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6"/>
    <p:sldMasterId id="2147483670" r:id="rId7"/>
  </p:sldMasterIdLst>
  <p:notesMasterIdLst>
    <p:notesMasterId r:id="rId42"/>
  </p:notesMasterIdLst>
  <p:handoutMasterIdLst>
    <p:handoutMasterId r:id="rId43"/>
  </p:handoutMasterIdLst>
  <p:sldIdLst>
    <p:sldId id="420" r:id="rId8"/>
    <p:sldId id="421" r:id="rId9"/>
    <p:sldId id="422" r:id="rId10"/>
    <p:sldId id="380" r:id="rId11"/>
    <p:sldId id="408" r:id="rId12"/>
    <p:sldId id="413" r:id="rId13"/>
    <p:sldId id="415" r:id="rId14"/>
    <p:sldId id="416" r:id="rId15"/>
    <p:sldId id="418" r:id="rId16"/>
    <p:sldId id="403" r:id="rId17"/>
    <p:sldId id="419" r:id="rId18"/>
    <p:sldId id="390" r:id="rId19"/>
    <p:sldId id="389" r:id="rId20"/>
    <p:sldId id="393" r:id="rId21"/>
    <p:sldId id="391" r:id="rId22"/>
    <p:sldId id="409" r:id="rId23"/>
    <p:sldId id="407" r:id="rId24"/>
    <p:sldId id="405" r:id="rId25"/>
    <p:sldId id="406" r:id="rId26"/>
    <p:sldId id="397" r:id="rId27"/>
    <p:sldId id="404" r:id="rId28"/>
    <p:sldId id="4283" r:id="rId29"/>
    <p:sldId id="4402" r:id="rId30"/>
    <p:sldId id="4403" r:id="rId31"/>
    <p:sldId id="4408" r:id="rId32"/>
    <p:sldId id="4404" r:id="rId33"/>
    <p:sldId id="4405" r:id="rId34"/>
    <p:sldId id="4406" r:id="rId35"/>
    <p:sldId id="4407" r:id="rId36"/>
    <p:sldId id="4409" r:id="rId37"/>
    <p:sldId id="4411" r:id="rId38"/>
    <p:sldId id="4401" r:id="rId39"/>
    <p:sldId id="423" r:id="rId40"/>
    <p:sldId id="392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3C31DB0-EE4A-EEFA-74AB-1547176AECC8}" name="Inga Savin" initials="IS" userId="S::isavin@gavi.org::21b0d89b-aa83-485c-98a6-ab0e687678c3" providerId="AD"/>
  <p188:author id="{91730FB9-2D70-98EB-E771-7F544752F2B4}" name="Kim Harper" initials="KH" userId="S::kharper@gavi.org::cbb7df20-64eb-4b10-b4ec-837447309aa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70B8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185" autoAdjust="0"/>
    <p:restoredTop sz="94660"/>
  </p:normalViewPr>
  <p:slideViewPr>
    <p:cSldViewPr snapToGrid="0">
      <p:cViewPr varScale="1">
        <p:scale>
          <a:sx n="153" d="100"/>
          <a:sy n="153" d="100"/>
        </p:scale>
        <p:origin x="150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5124"/>
    </p:cViewPr>
  </p:sorterViewPr>
  <p:notesViewPr>
    <p:cSldViewPr snapToGrid="0">
      <p:cViewPr varScale="1">
        <p:scale>
          <a:sx n="82" d="100"/>
          <a:sy n="82" d="100"/>
        </p:scale>
        <p:origin x="3992" y="1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viewProps" Target="viewProps.xml"/><Relationship Id="rId36" Type="http://schemas.openxmlformats.org/officeDocument/2006/relationships/slide" Target="slides/slide29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handoutMaster" Target="handoutMasters/handoutMaster1.xml"/><Relationship Id="rId48" Type="http://schemas.microsoft.com/office/2018/10/relationships/authors" Target="authors.xml"/><Relationship Id="rId8" Type="http://schemas.openxmlformats.org/officeDocument/2006/relationships/slide" Target="slides/slide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heme" Target="theme/theme1.xml"/><Relationship Id="rId20" Type="http://schemas.openxmlformats.org/officeDocument/2006/relationships/slide" Target="slides/slide13.xml"/><Relationship Id="rId41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Acces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ccess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41A-4C08-BC9A-6992911BBC11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41A-4C08-BC9A-6992911BBC11}"/>
              </c:ext>
            </c:extLst>
          </c:dPt>
          <c:dPt>
            <c:idx val="2"/>
            <c:bubble3D val="0"/>
            <c:spPr>
              <a:solidFill>
                <a:schemeClr val="accent6">
                  <a:shade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41A-4C08-BC9A-6992911BBC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ulse campaigns </c:v>
                </c:pt>
                <c:pt idx="1">
                  <c:v>Facility Acess </c:v>
                </c:pt>
                <c:pt idx="2">
                  <c:v>Mixed 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.2</c:v>
                </c:pt>
                <c:pt idx="1">
                  <c:v>1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41A-4C08-BC9A-6992911BBC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irls</c:v>
                </c:pt>
              </c:strCache>
            </c:strRef>
          </c:tx>
          <c:spPr>
            <a:ln w="19050" cap="rnd" cmpd="sng" algn="ctr">
              <a:solidFill>
                <a:schemeClr val="accent6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65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691B-4F3D-B404-D99A70E0F4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3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55</c:v>
                </c:pt>
                <c:pt idx="1">
                  <c:v>45</c:v>
                </c:pt>
                <c:pt idx="2">
                  <c:v>45</c:v>
                </c:pt>
                <c:pt idx="3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1B-4F3D-B404-D99A70E0F45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oys</c:v>
                </c:pt>
              </c:strCache>
            </c:strRef>
          </c:tx>
          <c:spPr>
            <a:ln w="19050" cap="rnd" cmpd="sng" algn="ctr">
              <a:solidFill>
                <a:schemeClr val="accent5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6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691B-4F3D-B404-D99A70E0F45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691B-4F3D-B404-D99A70E0F4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3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21</c:v>
                </c:pt>
                <c:pt idx="3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1B-4F3D-B404-D99A70E0F45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9640720"/>
        <c:axId val="103206408"/>
      </c:lineChart>
      <c:catAx>
        <c:axId val="159640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3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206408"/>
        <c:crosses val="autoZero"/>
        <c:auto val="1"/>
        <c:lblAlgn val="ctr"/>
        <c:lblOffset val="100"/>
        <c:noMultiLvlLbl val="0"/>
      </c:catAx>
      <c:valAx>
        <c:axId val="1032064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9640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7-2023 girls 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Region 1</c:v>
                </c:pt>
                <c:pt idx="1">
                  <c:v>Region 2</c:v>
                </c:pt>
                <c:pt idx="2">
                  <c:v>Region 3</c:v>
                </c:pt>
                <c:pt idx="3">
                  <c:v>Region 4</c:v>
                </c:pt>
                <c:pt idx="4">
                  <c:v>Region 5</c:v>
                </c:pt>
                <c:pt idx="5">
                  <c:v>Region 6</c:v>
                </c:pt>
                <c:pt idx="6">
                  <c:v>Region 6</c:v>
                </c:pt>
                <c:pt idx="7">
                  <c:v>Region 8</c:v>
                </c:pt>
                <c:pt idx="8">
                  <c:v>Region 9</c:v>
                </c:pt>
                <c:pt idx="9">
                  <c:v>Region 10 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40</c:v>
                </c:pt>
                <c:pt idx="1">
                  <c:v>45.6</c:v>
                </c:pt>
                <c:pt idx="2">
                  <c:v>39.799999999999997</c:v>
                </c:pt>
                <c:pt idx="3">
                  <c:v>57</c:v>
                </c:pt>
                <c:pt idx="4">
                  <c:v>68</c:v>
                </c:pt>
                <c:pt idx="5">
                  <c:v>55</c:v>
                </c:pt>
                <c:pt idx="6">
                  <c:v>62</c:v>
                </c:pt>
                <c:pt idx="7">
                  <c:v>37</c:v>
                </c:pt>
                <c:pt idx="8">
                  <c:v>69</c:v>
                </c:pt>
                <c:pt idx="9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9E-453E-99AD-EB884A84CA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9-2023 boys </c:v>
                </c:pt>
              </c:strCache>
            </c:strRef>
          </c:tx>
          <c:spPr>
            <a:solidFill>
              <a:schemeClr val="accent6">
                <a:tint val="77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Region 1</c:v>
                </c:pt>
                <c:pt idx="1">
                  <c:v>Region 2</c:v>
                </c:pt>
                <c:pt idx="2">
                  <c:v>Region 3</c:v>
                </c:pt>
                <c:pt idx="3">
                  <c:v>Region 4</c:v>
                </c:pt>
                <c:pt idx="4">
                  <c:v>Region 5</c:v>
                </c:pt>
                <c:pt idx="5">
                  <c:v>Region 6</c:v>
                </c:pt>
                <c:pt idx="6">
                  <c:v>Region 6</c:v>
                </c:pt>
                <c:pt idx="7">
                  <c:v>Region 8</c:v>
                </c:pt>
                <c:pt idx="8">
                  <c:v>Region 9</c:v>
                </c:pt>
                <c:pt idx="9">
                  <c:v>Region 10 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5</c:v>
                </c:pt>
                <c:pt idx="1">
                  <c:v>39</c:v>
                </c:pt>
                <c:pt idx="2">
                  <c:v>44</c:v>
                </c:pt>
                <c:pt idx="3">
                  <c:v>45</c:v>
                </c:pt>
                <c:pt idx="4">
                  <c:v>40</c:v>
                </c:pt>
                <c:pt idx="5">
                  <c:v>40</c:v>
                </c:pt>
                <c:pt idx="6">
                  <c:v>39</c:v>
                </c:pt>
                <c:pt idx="7">
                  <c:v>20</c:v>
                </c:pt>
                <c:pt idx="8">
                  <c:v>50</c:v>
                </c:pt>
                <c:pt idx="9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9E-453E-99AD-EB884A84CAD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67489808"/>
        <c:axId val="167492944"/>
        <c:axId val="160650560"/>
      </c:bar3DChart>
      <c:catAx>
        <c:axId val="167489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492944"/>
        <c:crosses val="autoZero"/>
        <c:auto val="1"/>
        <c:lblAlgn val="ctr"/>
        <c:lblOffset val="100"/>
        <c:noMultiLvlLbl val="0"/>
      </c:catAx>
      <c:valAx>
        <c:axId val="167492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489808"/>
        <c:crosses val="autoZero"/>
        <c:crossBetween val="between"/>
      </c:valAx>
      <c:serAx>
        <c:axId val="16065056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492944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cs:styleClr val="auto"/>
    </cs:fontRef>
    <cs:spPr/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915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A3EFA7-9519-4305-85F1-B6CDAD0886F8}" type="doc">
      <dgm:prSet loTypeId="urn:microsoft.com/office/officeart/2005/8/layout/hProcess9" loCatId="process" qsTypeId="urn:microsoft.com/office/officeart/2005/8/quickstyle/simple1" qsCatId="simple" csTypeId="urn:microsoft.com/office/officeart/2005/8/colors/colorful2" csCatId="colorful" phldr="1"/>
      <dgm:spPr/>
    </dgm:pt>
    <dgm:pt modelId="{7C773EF7-E324-4AA6-9653-88015DD29138}">
      <dgm:prSet phldrT="[Text]"/>
      <dgm:spPr/>
      <dgm:t>
        <a:bodyPr/>
        <a:lstStyle/>
        <a:p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Intro 2012, girls only, dual modality, 9-13  </a:t>
          </a:r>
        </a:p>
      </dgm:t>
    </dgm:pt>
    <dgm:pt modelId="{C5A103BF-8232-487B-916A-0A5EFAA6AF62}" type="parTrans" cxnId="{DA54091F-4406-4790-AD1F-D6CFD7481132}">
      <dgm:prSet/>
      <dgm:spPr/>
      <dgm:t>
        <a:bodyPr/>
        <a:lstStyle/>
        <a:p>
          <a:endParaRPr lang="en-US"/>
        </a:p>
      </dgm:t>
    </dgm:pt>
    <dgm:pt modelId="{417F2465-681D-4B17-9B83-900298EBE879}" type="sibTrans" cxnId="{DA54091F-4406-4790-AD1F-D6CFD7481132}">
      <dgm:prSet/>
      <dgm:spPr/>
      <dgm:t>
        <a:bodyPr/>
        <a:lstStyle/>
        <a:p>
          <a:endParaRPr lang="en-US"/>
        </a:p>
      </dgm:t>
    </dgm:pt>
    <dgm:pt modelId="{CC4B80C9-BB8D-4BD8-9F84-FDE7BD6EF552}">
      <dgm:prSet phldrT="[Text]"/>
      <dgm:spPr/>
      <dgm:t>
        <a:bodyPr/>
        <a:lstStyle/>
        <a:p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Re-intro 2017 ,girls only, dual modality , 9-13</a:t>
          </a:r>
        </a:p>
      </dgm:t>
    </dgm:pt>
    <dgm:pt modelId="{9422A222-9194-4620-A1FD-5E844BEE1743}" type="parTrans" cxnId="{47EAA9BC-7B72-43A4-9CE3-EF687C70D66D}">
      <dgm:prSet/>
      <dgm:spPr/>
      <dgm:t>
        <a:bodyPr/>
        <a:lstStyle/>
        <a:p>
          <a:endParaRPr lang="en-US"/>
        </a:p>
      </dgm:t>
    </dgm:pt>
    <dgm:pt modelId="{4C55FAAD-8F16-4387-A001-E10F4977C5E0}" type="sibTrans" cxnId="{47EAA9BC-7B72-43A4-9CE3-EF687C70D66D}">
      <dgm:prSet/>
      <dgm:spPr/>
      <dgm:t>
        <a:bodyPr/>
        <a:lstStyle/>
        <a:p>
          <a:endParaRPr lang="en-US"/>
        </a:p>
      </dgm:t>
    </dgm:pt>
    <dgm:pt modelId="{5E9A986B-F022-4D23-9CED-0CE631C9F236}">
      <dgm:prSet phldrT="[Text]"/>
      <dgm:spPr/>
      <dgm:t>
        <a:bodyPr/>
        <a:lstStyle/>
        <a:p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2019- boys targeted, age extended 9-15</a:t>
          </a:r>
        </a:p>
      </dgm:t>
    </dgm:pt>
    <dgm:pt modelId="{1CB202F0-6A3C-4C7C-9168-557C462D36A7}" type="parTrans" cxnId="{E390B75C-DAED-4DB6-9DAC-0056B785ED5E}">
      <dgm:prSet/>
      <dgm:spPr/>
      <dgm:t>
        <a:bodyPr/>
        <a:lstStyle/>
        <a:p>
          <a:endParaRPr lang="en-US"/>
        </a:p>
      </dgm:t>
    </dgm:pt>
    <dgm:pt modelId="{6E448328-FED0-46A9-AF01-30B3157D6C50}" type="sibTrans" cxnId="{E390B75C-DAED-4DB6-9DAC-0056B785ED5E}">
      <dgm:prSet/>
      <dgm:spPr/>
      <dgm:t>
        <a:bodyPr/>
        <a:lstStyle/>
        <a:p>
          <a:endParaRPr lang="en-US"/>
        </a:p>
      </dgm:t>
    </dgm:pt>
    <dgm:pt modelId="{6F2DF145-0855-47A7-9359-E81D6B9D8530}" type="pres">
      <dgm:prSet presAssocID="{B7A3EFA7-9519-4305-85F1-B6CDAD0886F8}" presName="CompostProcess" presStyleCnt="0">
        <dgm:presLayoutVars>
          <dgm:dir/>
          <dgm:resizeHandles val="exact"/>
        </dgm:presLayoutVars>
      </dgm:prSet>
      <dgm:spPr/>
    </dgm:pt>
    <dgm:pt modelId="{1312805C-3978-408C-8593-087F4AE9C7A1}" type="pres">
      <dgm:prSet presAssocID="{B7A3EFA7-9519-4305-85F1-B6CDAD0886F8}" presName="arrow" presStyleLbl="bgShp" presStyleIdx="0" presStyleCnt="1"/>
      <dgm:spPr/>
    </dgm:pt>
    <dgm:pt modelId="{C7DE2978-EEC3-4442-8A34-9697C05703A8}" type="pres">
      <dgm:prSet presAssocID="{B7A3EFA7-9519-4305-85F1-B6CDAD0886F8}" presName="linearProcess" presStyleCnt="0"/>
      <dgm:spPr/>
    </dgm:pt>
    <dgm:pt modelId="{D8BCA5CC-2C2A-4855-A52B-C2E947849B81}" type="pres">
      <dgm:prSet presAssocID="{7C773EF7-E324-4AA6-9653-88015DD29138}" presName="textNode" presStyleLbl="node1" presStyleIdx="0" presStyleCnt="3">
        <dgm:presLayoutVars>
          <dgm:bulletEnabled val="1"/>
        </dgm:presLayoutVars>
      </dgm:prSet>
      <dgm:spPr/>
    </dgm:pt>
    <dgm:pt modelId="{893A9273-8B87-46D7-B4E3-E80000B1AB98}" type="pres">
      <dgm:prSet presAssocID="{417F2465-681D-4B17-9B83-900298EBE879}" presName="sibTrans" presStyleCnt="0"/>
      <dgm:spPr/>
    </dgm:pt>
    <dgm:pt modelId="{7750A210-2D89-4359-9CCD-7199BE05DE90}" type="pres">
      <dgm:prSet presAssocID="{CC4B80C9-BB8D-4BD8-9F84-FDE7BD6EF552}" presName="textNode" presStyleLbl="node1" presStyleIdx="1" presStyleCnt="3">
        <dgm:presLayoutVars>
          <dgm:bulletEnabled val="1"/>
        </dgm:presLayoutVars>
      </dgm:prSet>
      <dgm:spPr/>
    </dgm:pt>
    <dgm:pt modelId="{0BB1F00F-ED41-4DDC-B029-061BC55DE7CF}" type="pres">
      <dgm:prSet presAssocID="{4C55FAAD-8F16-4387-A001-E10F4977C5E0}" presName="sibTrans" presStyleCnt="0"/>
      <dgm:spPr/>
    </dgm:pt>
    <dgm:pt modelId="{475134D3-B830-4C36-A077-FD625DE4FBB9}" type="pres">
      <dgm:prSet presAssocID="{5E9A986B-F022-4D23-9CED-0CE631C9F236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C445A301-54B5-4ABF-92AD-8A2A747CF2DC}" type="presOf" srcId="{7C773EF7-E324-4AA6-9653-88015DD29138}" destId="{D8BCA5CC-2C2A-4855-A52B-C2E947849B81}" srcOrd="0" destOrd="0" presId="urn:microsoft.com/office/officeart/2005/8/layout/hProcess9"/>
    <dgm:cxn modelId="{DA54091F-4406-4790-AD1F-D6CFD7481132}" srcId="{B7A3EFA7-9519-4305-85F1-B6CDAD0886F8}" destId="{7C773EF7-E324-4AA6-9653-88015DD29138}" srcOrd="0" destOrd="0" parTransId="{C5A103BF-8232-487B-916A-0A5EFAA6AF62}" sibTransId="{417F2465-681D-4B17-9B83-900298EBE879}"/>
    <dgm:cxn modelId="{E390B75C-DAED-4DB6-9DAC-0056B785ED5E}" srcId="{B7A3EFA7-9519-4305-85F1-B6CDAD0886F8}" destId="{5E9A986B-F022-4D23-9CED-0CE631C9F236}" srcOrd="2" destOrd="0" parTransId="{1CB202F0-6A3C-4C7C-9168-557C462D36A7}" sibTransId="{6E448328-FED0-46A9-AF01-30B3157D6C50}"/>
    <dgm:cxn modelId="{59C84B79-DFBE-4405-9180-563384C3B26B}" type="presOf" srcId="{B7A3EFA7-9519-4305-85F1-B6CDAD0886F8}" destId="{6F2DF145-0855-47A7-9359-E81D6B9D8530}" srcOrd="0" destOrd="0" presId="urn:microsoft.com/office/officeart/2005/8/layout/hProcess9"/>
    <dgm:cxn modelId="{F17A3994-4577-4DF2-B86B-1673E4F088E2}" type="presOf" srcId="{CC4B80C9-BB8D-4BD8-9F84-FDE7BD6EF552}" destId="{7750A210-2D89-4359-9CCD-7199BE05DE90}" srcOrd="0" destOrd="0" presId="urn:microsoft.com/office/officeart/2005/8/layout/hProcess9"/>
    <dgm:cxn modelId="{47EAA9BC-7B72-43A4-9CE3-EF687C70D66D}" srcId="{B7A3EFA7-9519-4305-85F1-B6CDAD0886F8}" destId="{CC4B80C9-BB8D-4BD8-9F84-FDE7BD6EF552}" srcOrd="1" destOrd="0" parTransId="{9422A222-9194-4620-A1FD-5E844BEE1743}" sibTransId="{4C55FAAD-8F16-4387-A001-E10F4977C5E0}"/>
    <dgm:cxn modelId="{C86F51EE-7B01-4B98-83F0-C44520A2721F}" type="presOf" srcId="{5E9A986B-F022-4D23-9CED-0CE631C9F236}" destId="{475134D3-B830-4C36-A077-FD625DE4FBB9}" srcOrd="0" destOrd="0" presId="urn:microsoft.com/office/officeart/2005/8/layout/hProcess9"/>
    <dgm:cxn modelId="{B6773D67-3035-46DF-A931-541EBB95D56E}" type="presParOf" srcId="{6F2DF145-0855-47A7-9359-E81D6B9D8530}" destId="{1312805C-3978-408C-8593-087F4AE9C7A1}" srcOrd="0" destOrd="0" presId="urn:microsoft.com/office/officeart/2005/8/layout/hProcess9"/>
    <dgm:cxn modelId="{1B7E0B67-96A5-4CFE-8C78-ABA7325BD660}" type="presParOf" srcId="{6F2DF145-0855-47A7-9359-E81D6B9D8530}" destId="{C7DE2978-EEC3-4442-8A34-9697C05703A8}" srcOrd="1" destOrd="0" presId="urn:microsoft.com/office/officeart/2005/8/layout/hProcess9"/>
    <dgm:cxn modelId="{3F961CF0-D407-49EA-989C-0A933A5E7B4D}" type="presParOf" srcId="{C7DE2978-EEC3-4442-8A34-9697C05703A8}" destId="{D8BCA5CC-2C2A-4855-A52B-C2E947849B81}" srcOrd="0" destOrd="0" presId="urn:microsoft.com/office/officeart/2005/8/layout/hProcess9"/>
    <dgm:cxn modelId="{110B3B5A-CA49-49C5-B5AE-C4E5E3DF756F}" type="presParOf" srcId="{C7DE2978-EEC3-4442-8A34-9697C05703A8}" destId="{893A9273-8B87-46D7-B4E3-E80000B1AB98}" srcOrd="1" destOrd="0" presId="urn:microsoft.com/office/officeart/2005/8/layout/hProcess9"/>
    <dgm:cxn modelId="{58BA4947-15D8-48CF-83BB-E71F9E679A83}" type="presParOf" srcId="{C7DE2978-EEC3-4442-8A34-9697C05703A8}" destId="{7750A210-2D89-4359-9CCD-7199BE05DE90}" srcOrd="2" destOrd="0" presId="urn:microsoft.com/office/officeart/2005/8/layout/hProcess9"/>
    <dgm:cxn modelId="{6FA73282-84AD-43B5-A573-2EE06F20C7C0}" type="presParOf" srcId="{C7DE2978-EEC3-4442-8A34-9697C05703A8}" destId="{0BB1F00F-ED41-4DDC-B029-061BC55DE7CF}" srcOrd="3" destOrd="0" presId="urn:microsoft.com/office/officeart/2005/8/layout/hProcess9"/>
    <dgm:cxn modelId="{DA2039A6-1EC6-4CCC-98AB-8A7FEE31E803}" type="presParOf" srcId="{C7DE2978-EEC3-4442-8A34-9697C05703A8}" destId="{475134D3-B830-4C36-A077-FD625DE4FBB9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780298F-289A-4DC4-B9BC-7B7588A03B32}" type="doc">
      <dgm:prSet loTypeId="urn:microsoft.com/office/officeart/2005/8/layout/pyramid2" loCatId="pyramid" qsTypeId="urn:microsoft.com/office/officeart/2005/8/quickstyle/simple1" qsCatId="simple" csTypeId="urn:microsoft.com/office/officeart/2005/8/colors/accent6_1" csCatId="accent6" phldr="1"/>
      <dgm:spPr/>
    </dgm:pt>
    <dgm:pt modelId="{4B71F7C8-0A49-4E26-A1B6-99813C6245AD}">
      <dgm:prSet phldrT="[Text]"/>
      <dgm:spPr/>
      <dgm:t>
        <a:bodyPr/>
        <a:lstStyle/>
        <a:p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Pulse Campaigns </a:t>
          </a:r>
        </a:p>
      </dgm:t>
    </dgm:pt>
    <dgm:pt modelId="{C422477F-F175-4BB3-8754-50FFD62DA176}" type="parTrans" cxnId="{2101F4A5-AD59-4E06-AD57-398B0EC2C3B7}">
      <dgm:prSet/>
      <dgm:spPr/>
      <dgm:t>
        <a:bodyPr/>
        <a:lstStyle/>
        <a:p>
          <a:endParaRPr lang="en-US"/>
        </a:p>
      </dgm:t>
    </dgm:pt>
    <dgm:pt modelId="{2F11F09E-C2CC-435D-954D-B2F9F24F24B8}" type="sibTrans" cxnId="{2101F4A5-AD59-4E06-AD57-398B0EC2C3B7}">
      <dgm:prSet/>
      <dgm:spPr/>
      <dgm:t>
        <a:bodyPr/>
        <a:lstStyle/>
        <a:p>
          <a:endParaRPr lang="en-US"/>
        </a:p>
      </dgm:t>
    </dgm:pt>
    <dgm:pt modelId="{09327111-B2A5-4E67-9B65-7EE713987566}">
      <dgm:prSet phldrT="[Text]"/>
      <dgm:spPr/>
      <dgm:t>
        <a:bodyPr/>
        <a:lstStyle/>
        <a:p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Facility Access  </a:t>
          </a:r>
        </a:p>
      </dgm:t>
    </dgm:pt>
    <dgm:pt modelId="{5E8DC272-7BD5-4894-86D6-41DDCDEF75F2}" type="parTrans" cxnId="{4FC7DB58-DE91-451D-8570-AA957B6B5FAB}">
      <dgm:prSet/>
      <dgm:spPr/>
      <dgm:t>
        <a:bodyPr/>
        <a:lstStyle/>
        <a:p>
          <a:endParaRPr lang="en-US"/>
        </a:p>
      </dgm:t>
    </dgm:pt>
    <dgm:pt modelId="{1203D445-24DE-4DF7-96C7-360B272ED314}" type="sibTrans" cxnId="{4FC7DB58-DE91-451D-8570-AA957B6B5FAB}">
      <dgm:prSet/>
      <dgm:spPr/>
      <dgm:t>
        <a:bodyPr/>
        <a:lstStyle/>
        <a:p>
          <a:endParaRPr lang="en-US"/>
        </a:p>
      </dgm:t>
    </dgm:pt>
    <dgm:pt modelId="{558C5FF2-AE19-431D-8890-D5520D13956A}">
      <dgm:prSet phldrT="[Text]"/>
      <dgm:spPr/>
      <dgm:t>
        <a:bodyPr/>
        <a:lstStyle/>
        <a:p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Mixed</a:t>
          </a:r>
        </a:p>
      </dgm:t>
    </dgm:pt>
    <dgm:pt modelId="{60D503A0-0757-47F1-BCAD-184930570339}" type="parTrans" cxnId="{EBE7C9E5-8C68-4985-B0C6-C1EFF72666E9}">
      <dgm:prSet/>
      <dgm:spPr/>
      <dgm:t>
        <a:bodyPr/>
        <a:lstStyle/>
        <a:p>
          <a:endParaRPr lang="en-US"/>
        </a:p>
      </dgm:t>
    </dgm:pt>
    <dgm:pt modelId="{3476937F-8116-4608-B665-EB231712A775}" type="sibTrans" cxnId="{EBE7C9E5-8C68-4985-B0C6-C1EFF72666E9}">
      <dgm:prSet/>
      <dgm:spPr/>
      <dgm:t>
        <a:bodyPr/>
        <a:lstStyle/>
        <a:p>
          <a:endParaRPr lang="en-US"/>
        </a:p>
      </dgm:t>
    </dgm:pt>
    <dgm:pt modelId="{4DE22FE4-D553-4D97-A88B-43F7156C8B9E}" type="pres">
      <dgm:prSet presAssocID="{E780298F-289A-4DC4-B9BC-7B7588A03B32}" presName="compositeShape" presStyleCnt="0">
        <dgm:presLayoutVars>
          <dgm:dir/>
          <dgm:resizeHandles/>
        </dgm:presLayoutVars>
      </dgm:prSet>
      <dgm:spPr/>
    </dgm:pt>
    <dgm:pt modelId="{21FC79B7-1ECC-482A-9816-DCDF853E7945}" type="pres">
      <dgm:prSet presAssocID="{E780298F-289A-4DC4-B9BC-7B7588A03B32}" presName="pyramid" presStyleLbl="node1" presStyleIdx="0" presStyleCnt="1"/>
      <dgm:spPr/>
    </dgm:pt>
    <dgm:pt modelId="{F1651BA9-C5CB-42C3-A1B9-7175553A5FFB}" type="pres">
      <dgm:prSet presAssocID="{E780298F-289A-4DC4-B9BC-7B7588A03B32}" presName="theList" presStyleCnt="0"/>
      <dgm:spPr/>
    </dgm:pt>
    <dgm:pt modelId="{953B7B81-45E7-42B5-AFF6-A0F57719ACEC}" type="pres">
      <dgm:prSet presAssocID="{4B71F7C8-0A49-4E26-A1B6-99813C6245AD}" presName="aNode" presStyleLbl="fgAcc1" presStyleIdx="0" presStyleCnt="3">
        <dgm:presLayoutVars>
          <dgm:bulletEnabled val="1"/>
        </dgm:presLayoutVars>
      </dgm:prSet>
      <dgm:spPr/>
    </dgm:pt>
    <dgm:pt modelId="{F5B4CDFA-B719-4A1D-8FA3-5C03C4F8E9BA}" type="pres">
      <dgm:prSet presAssocID="{4B71F7C8-0A49-4E26-A1B6-99813C6245AD}" presName="aSpace" presStyleCnt="0"/>
      <dgm:spPr/>
    </dgm:pt>
    <dgm:pt modelId="{0D5117E2-0BF7-4DF0-A925-2368DA21A446}" type="pres">
      <dgm:prSet presAssocID="{09327111-B2A5-4E67-9B65-7EE713987566}" presName="aNode" presStyleLbl="fgAcc1" presStyleIdx="1" presStyleCnt="3">
        <dgm:presLayoutVars>
          <dgm:bulletEnabled val="1"/>
        </dgm:presLayoutVars>
      </dgm:prSet>
      <dgm:spPr/>
    </dgm:pt>
    <dgm:pt modelId="{A9FFCC69-0B96-415C-83A4-3DDF8E837469}" type="pres">
      <dgm:prSet presAssocID="{09327111-B2A5-4E67-9B65-7EE713987566}" presName="aSpace" presStyleCnt="0"/>
      <dgm:spPr/>
    </dgm:pt>
    <dgm:pt modelId="{4F74ECA1-7144-4204-98C8-9197C4E2D977}" type="pres">
      <dgm:prSet presAssocID="{558C5FF2-AE19-431D-8890-D5520D13956A}" presName="aNode" presStyleLbl="fgAcc1" presStyleIdx="2" presStyleCnt="3">
        <dgm:presLayoutVars>
          <dgm:bulletEnabled val="1"/>
        </dgm:presLayoutVars>
      </dgm:prSet>
      <dgm:spPr/>
    </dgm:pt>
    <dgm:pt modelId="{1D5C6EAD-BCD6-422E-9869-6C48D8EC6278}" type="pres">
      <dgm:prSet presAssocID="{558C5FF2-AE19-431D-8890-D5520D13956A}" presName="aSpace" presStyleCnt="0"/>
      <dgm:spPr/>
    </dgm:pt>
  </dgm:ptLst>
  <dgm:cxnLst>
    <dgm:cxn modelId="{E8501513-7A65-4975-A793-430357C650F5}" type="presOf" srcId="{558C5FF2-AE19-431D-8890-D5520D13956A}" destId="{4F74ECA1-7144-4204-98C8-9197C4E2D977}" srcOrd="0" destOrd="0" presId="urn:microsoft.com/office/officeart/2005/8/layout/pyramid2"/>
    <dgm:cxn modelId="{062A3C2D-2AE5-4330-8D5F-A03432F03706}" type="presOf" srcId="{09327111-B2A5-4E67-9B65-7EE713987566}" destId="{0D5117E2-0BF7-4DF0-A925-2368DA21A446}" srcOrd="0" destOrd="0" presId="urn:microsoft.com/office/officeart/2005/8/layout/pyramid2"/>
    <dgm:cxn modelId="{2F42A137-7D7E-4434-8CE0-4E6DC4454513}" type="presOf" srcId="{E780298F-289A-4DC4-B9BC-7B7588A03B32}" destId="{4DE22FE4-D553-4D97-A88B-43F7156C8B9E}" srcOrd="0" destOrd="0" presId="urn:microsoft.com/office/officeart/2005/8/layout/pyramid2"/>
    <dgm:cxn modelId="{4FC7DB58-DE91-451D-8570-AA957B6B5FAB}" srcId="{E780298F-289A-4DC4-B9BC-7B7588A03B32}" destId="{09327111-B2A5-4E67-9B65-7EE713987566}" srcOrd="1" destOrd="0" parTransId="{5E8DC272-7BD5-4894-86D6-41DDCDEF75F2}" sibTransId="{1203D445-24DE-4DF7-96C7-360B272ED314}"/>
    <dgm:cxn modelId="{2101F4A5-AD59-4E06-AD57-398B0EC2C3B7}" srcId="{E780298F-289A-4DC4-B9BC-7B7588A03B32}" destId="{4B71F7C8-0A49-4E26-A1B6-99813C6245AD}" srcOrd="0" destOrd="0" parTransId="{C422477F-F175-4BB3-8754-50FFD62DA176}" sibTransId="{2F11F09E-C2CC-435D-954D-B2F9F24F24B8}"/>
    <dgm:cxn modelId="{851DF4D3-565B-4D5F-9908-DAFD882666D4}" type="presOf" srcId="{4B71F7C8-0A49-4E26-A1B6-99813C6245AD}" destId="{953B7B81-45E7-42B5-AFF6-A0F57719ACEC}" srcOrd="0" destOrd="0" presId="urn:microsoft.com/office/officeart/2005/8/layout/pyramid2"/>
    <dgm:cxn modelId="{EBE7C9E5-8C68-4985-B0C6-C1EFF72666E9}" srcId="{E780298F-289A-4DC4-B9BC-7B7588A03B32}" destId="{558C5FF2-AE19-431D-8890-D5520D13956A}" srcOrd="2" destOrd="0" parTransId="{60D503A0-0757-47F1-BCAD-184930570339}" sibTransId="{3476937F-8116-4608-B665-EB231712A775}"/>
    <dgm:cxn modelId="{DA5A5BA2-6E5C-4F59-B3DE-724C5AFE93E2}" type="presParOf" srcId="{4DE22FE4-D553-4D97-A88B-43F7156C8B9E}" destId="{21FC79B7-1ECC-482A-9816-DCDF853E7945}" srcOrd="0" destOrd="0" presId="urn:microsoft.com/office/officeart/2005/8/layout/pyramid2"/>
    <dgm:cxn modelId="{A7C668D8-C87E-4405-99D4-1B938175541E}" type="presParOf" srcId="{4DE22FE4-D553-4D97-A88B-43F7156C8B9E}" destId="{F1651BA9-C5CB-42C3-A1B9-7175553A5FFB}" srcOrd="1" destOrd="0" presId="urn:microsoft.com/office/officeart/2005/8/layout/pyramid2"/>
    <dgm:cxn modelId="{6B3275B7-73EE-443A-9C56-794854A6F350}" type="presParOf" srcId="{F1651BA9-C5CB-42C3-A1B9-7175553A5FFB}" destId="{953B7B81-45E7-42B5-AFF6-A0F57719ACEC}" srcOrd="0" destOrd="0" presId="urn:microsoft.com/office/officeart/2005/8/layout/pyramid2"/>
    <dgm:cxn modelId="{2141F44E-D6B7-42A1-8D7C-7AB5BDD347FD}" type="presParOf" srcId="{F1651BA9-C5CB-42C3-A1B9-7175553A5FFB}" destId="{F5B4CDFA-B719-4A1D-8FA3-5C03C4F8E9BA}" srcOrd="1" destOrd="0" presId="urn:microsoft.com/office/officeart/2005/8/layout/pyramid2"/>
    <dgm:cxn modelId="{D41E5510-FEF1-499D-8F4D-DC4B2EF80D0E}" type="presParOf" srcId="{F1651BA9-C5CB-42C3-A1B9-7175553A5FFB}" destId="{0D5117E2-0BF7-4DF0-A925-2368DA21A446}" srcOrd="2" destOrd="0" presId="urn:microsoft.com/office/officeart/2005/8/layout/pyramid2"/>
    <dgm:cxn modelId="{A89FC6DB-D631-4E95-8F78-0FB4A1E6D2F4}" type="presParOf" srcId="{F1651BA9-C5CB-42C3-A1B9-7175553A5FFB}" destId="{A9FFCC69-0B96-415C-83A4-3DDF8E837469}" srcOrd="3" destOrd="0" presId="urn:microsoft.com/office/officeart/2005/8/layout/pyramid2"/>
    <dgm:cxn modelId="{9E772413-EF37-4318-95D4-CE573806A5C8}" type="presParOf" srcId="{F1651BA9-C5CB-42C3-A1B9-7175553A5FFB}" destId="{4F74ECA1-7144-4204-98C8-9197C4E2D977}" srcOrd="4" destOrd="0" presId="urn:microsoft.com/office/officeart/2005/8/layout/pyramid2"/>
    <dgm:cxn modelId="{5FE37374-8094-4570-813D-29313BE9ECC0}" type="presParOf" srcId="{F1651BA9-C5CB-42C3-A1B9-7175553A5FFB}" destId="{1D5C6EAD-BCD6-422E-9869-6C48D8EC6278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927F931-9F39-4810-82F1-E22C8C18B96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62C7A23F-2251-4BFF-8016-062917C8CFA2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n-US" sz="1200" dirty="0">
              <a:latin typeface="Cambria" panose="02040503050406030204" pitchFamily="18" charset="0"/>
              <a:ea typeface="Cambria" panose="02040503050406030204" pitchFamily="18" charset="0"/>
            </a:rPr>
            <a:t>2016: Conducted a pre reintroduction study </a:t>
          </a:r>
        </a:p>
        <a:p>
          <a:pPr algn="ctr"/>
          <a:endParaRPr lang="en-US" sz="1200" b="1" dirty="0">
            <a:latin typeface="Cambria" panose="02040503050406030204" pitchFamily="18" charset="0"/>
            <a:ea typeface="Cambria" panose="02040503050406030204" pitchFamily="18" charset="0"/>
          </a:endParaRPr>
        </a:p>
        <a:p>
          <a:pPr algn="ctr"/>
          <a:r>
            <a:rPr lang="en-US" sz="1200" b="1" dirty="0">
              <a:latin typeface="Cambria" panose="02040503050406030204" pitchFamily="18" charset="0"/>
              <a:ea typeface="Cambria" panose="02040503050406030204" pitchFamily="18" charset="0"/>
            </a:rPr>
            <a:t>KAP study</a:t>
          </a:r>
          <a:endParaRPr lang="en-US" sz="1200" dirty="0">
            <a:latin typeface="Cambria" panose="02040503050406030204" pitchFamily="18" charset="0"/>
            <a:ea typeface="Cambria" panose="02040503050406030204" pitchFamily="18" charset="0"/>
          </a:endParaRPr>
        </a:p>
        <a:p>
          <a:pPr algn="l"/>
          <a:r>
            <a:rPr lang="en-US" sz="1200" dirty="0">
              <a:latin typeface="Cambria" panose="02040503050406030204" pitchFamily="18" charset="0"/>
              <a:ea typeface="Cambria" panose="02040503050406030204" pitchFamily="18" charset="0"/>
            </a:rPr>
            <a:t>Covered:</a:t>
          </a:r>
        </a:p>
        <a:p>
          <a:pPr algn="l"/>
          <a:r>
            <a:rPr lang="en-US" sz="1200" dirty="0">
              <a:latin typeface="Cambria" panose="02040503050406030204" pitchFamily="18" charset="0"/>
              <a:ea typeface="Cambria" panose="02040503050406030204" pitchFamily="18" charset="0"/>
            </a:rPr>
            <a:t>- Lessons learnt from 2010</a:t>
          </a:r>
        </a:p>
        <a:p>
          <a:pPr algn="l"/>
          <a:r>
            <a:rPr lang="en-US" sz="1200" dirty="0">
              <a:latin typeface="Cambria" panose="02040503050406030204" pitchFamily="18" charset="0"/>
              <a:ea typeface="Cambria" panose="02040503050406030204" pitchFamily="18" charset="0"/>
            </a:rPr>
            <a:t>- Acceptance views</a:t>
          </a:r>
        </a:p>
        <a:p>
          <a:pPr algn="l"/>
          <a:r>
            <a:rPr lang="en-US" sz="1200" dirty="0">
              <a:latin typeface="Cambria" panose="02040503050406030204" pitchFamily="18" charset="0"/>
              <a:ea typeface="Cambria" panose="02040503050406030204" pitchFamily="18" charset="0"/>
            </a:rPr>
            <a:t>- Barriers</a:t>
          </a:r>
        </a:p>
        <a:p>
          <a:pPr algn="l"/>
          <a:r>
            <a:rPr lang="en-US" sz="1200" dirty="0">
              <a:latin typeface="Cambria" panose="02040503050406030204" pitchFamily="18" charset="0"/>
              <a:ea typeface="Cambria" panose="02040503050406030204" pitchFamily="18" charset="0"/>
            </a:rPr>
            <a:t>- Attitudes to health </a:t>
          </a:r>
        </a:p>
        <a:p>
          <a:pPr algn="l"/>
          <a:r>
            <a:rPr lang="en-US" sz="1200" dirty="0">
              <a:latin typeface="Cambria" panose="02040503050406030204" pitchFamily="18" charset="0"/>
              <a:ea typeface="Cambria" panose="02040503050406030204" pitchFamily="18" charset="0"/>
            </a:rPr>
            <a:t>- Knowledge of vaccine </a:t>
          </a:r>
        </a:p>
      </dgm:t>
    </dgm:pt>
    <dgm:pt modelId="{6642F949-4DE6-4852-B4A7-CD457DF716F4}" type="parTrans" cxnId="{304207A1-0590-4190-B0AD-E7DE072AA503}">
      <dgm:prSet/>
      <dgm:spPr/>
      <dgm:t>
        <a:bodyPr/>
        <a:lstStyle/>
        <a:p>
          <a:endParaRPr lang="en-US"/>
        </a:p>
      </dgm:t>
    </dgm:pt>
    <dgm:pt modelId="{BC309D29-6CFE-4661-838D-2FEE4B2D07F0}" type="sibTrans" cxnId="{304207A1-0590-4190-B0AD-E7DE072AA503}">
      <dgm:prSet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en-US"/>
        </a:p>
      </dgm:t>
    </dgm:pt>
    <dgm:pt modelId="{5FC33D15-6049-49E9-AFEE-D3209737BB8D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1200" dirty="0">
              <a:latin typeface="Cambria" panose="02040503050406030204" pitchFamily="18" charset="0"/>
              <a:ea typeface="Cambria" panose="02040503050406030204" pitchFamily="18" charset="0"/>
            </a:rPr>
            <a:t>2016: </a:t>
          </a:r>
        </a:p>
        <a:p>
          <a:r>
            <a:rPr lang="en-US" sz="1200" dirty="0">
              <a:latin typeface="Cambria" panose="02040503050406030204" pitchFamily="18" charset="0"/>
              <a:ea typeface="Cambria" panose="02040503050406030204" pitchFamily="18" charset="0"/>
            </a:rPr>
            <a:t>First HPV risk communication strategy </a:t>
          </a:r>
        </a:p>
      </dgm:t>
    </dgm:pt>
    <dgm:pt modelId="{51BF4580-344B-4A55-8FEA-B468C6B2DEE6}" type="parTrans" cxnId="{C8EC3909-E6C7-444A-A0DA-CE5F4A3D0CC0}">
      <dgm:prSet/>
      <dgm:spPr/>
      <dgm:t>
        <a:bodyPr/>
        <a:lstStyle/>
        <a:p>
          <a:endParaRPr lang="en-US"/>
        </a:p>
      </dgm:t>
    </dgm:pt>
    <dgm:pt modelId="{A1BCB9F7-5B6E-4308-9DDE-8A0F73EBFFAD}" type="sibTrans" cxnId="{C8EC3909-E6C7-444A-A0DA-CE5F4A3D0CC0}">
      <dgm:prSet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en-US"/>
        </a:p>
      </dgm:t>
    </dgm:pt>
    <dgm:pt modelId="{C4F53329-B275-46EB-9991-C063ED2B8894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1200">
              <a:latin typeface="Cambria" panose="02040503050406030204" pitchFamily="18" charset="0"/>
              <a:ea typeface="Cambria" panose="02040503050406030204" pitchFamily="18" charset="0"/>
            </a:rPr>
            <a:t>2018: </a:t>
          </a:r>
        </a:p>
        <a:p>
          <a:r>
            <a:rPr lang="en-US" sz="1200">
              <a:latin typeface="Cambria" panose="02040503050406030204" pitchFamily="18" charset="0"/>
              <a:ea typeface="Cambria" panose="02040503050406030204" pitchFamily="18" charset="0"/>
            </a:rPr>
            <a:t>Post introduction study </a:t>
          </a:r>
        </a:p>
      </dgm:t>
    </dgm:pt>
    <dgm:pt modelId="{A25B6609-ED36-4A1B-AB11-C73CFFF90AD5}" type="parTrans" cxnId="{71B08D8F-5FF1-469F-AB57-8639B51C1B71}">
      <dgm:prSet/>
      <dgm:spPr/>
      <dgm:t>
        <a:bodyPr/>
        <a:lstStyle/>
        <a:p>
          <a:endParaRPr lang="en-US"/>
        </a:p>
      </dgm:t>
    </dgm:pt>
    <dgm:pt modelId="{EB594ECF-0766-49DC-AB2B-409C9369B0B2}" type="sibTrans" cxnId="{71B08D8F-5FF1-469F-AB57-8639B51C1B71}">
      <dgm:prSet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en-US"/>
        </a:p>
      </dgm:t>
    </dgm:pt>
    <dgm:pt modelId="{E0BA6C88-F8CA-462B-8282-023A2F5777A7}">
      <dgm:prSet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1200">
              <a:latin typeface="Cambria" panose="02040503050406030204" pitchFamily="18" charset="0"/>
              <a:ea typeface="Cambria" panose="02040503050406030204" pitchFamily="18" charset="0"/>
            </a:rPr>
            <a:t>2019, 2023 &amp; 2024: Prepared updated versions of communication strategic plan </a:t>
          </a:r>
        </a:p>
      </dgm:t>
    </dgm:pt>
    <dgm:pt modelId="{3D7135BC-1EC3-4E89-AA54-13A7BAE3075A}" type="parTrans" cxnId="{922F1711-E57D-4626-8AF0-77979E5CA41D}">
      <dgm:prSet/>
      <dgm:spPr/>
      <dgm:t>
        <a:bodyPr/>
        <a:lstStyle/>
        <a:p>
          <a:endParaRPr lang="en-US"/>
        </a:p>
      </dgm:t>
    </dgm:pt>
    <dgm:pt modelId="{E8B8B4E7-71B1-4A52-A08C-0F3C5BDCF2F7}" type="sibTrans" cxnId="{922F1711-E57D-4626-8AF0-77979E5CA41D}">
      <dgm:prSet/>
      <dgm:spPr/>
      <dgm:t>
        <a:bodyPr/>
        <a:lstStyle/>
        <a:p>
          <a:endParaRPr lang="en-US"/>
        </a:p>
      </dgm:t>
    </dgm:pt>
    <dgm:pt modelId="{6B614C7E-23E7-45CE-93DA-ED414DA19166}" type="pres">
      <dgm:prSet presAssocID="{D927F931-9F39-4810-82F1-E22C8C18B961}" presName="Name0" presStyleCnt="0">
        <dgm:presLayoutVars>
          <dgm:dir/>
          <dgm:resizeHandles val="exact"/>
        </dgm:presLayoutVars>
      </dgm:prSet>
      <dgm:spPr/>
    </dgm:pt>
    <dgm:pt modelId="{09D13E58-65CB-4E8A-AB0A-9654D282BDED}" type="pres">
      <dgm:prSet presAssocID="{62C7A23F-2251-4BFF-8016-062917C8CFA2}" presName="node" presStyleLbl="node1" presStyleIdx="0" presStyleCnt="4" custScaleX="123414" custScaleY="97044">
        <dgm:presLayoutVars>
          <dgm:bulletEnabled val="1"/>
        </dgm:presLayoutVars>
      </dgm:prSet>
      <dgm:spPr/>
    </dgm:pt>
    <dgm:pt modelId="{A7576D7D-1025-4DD3-A5BF-F2CADF1C6D1B}" type="pres">
      <dgm:prSet presAssocID="{BC309D29-6CFE-4661-838D-2FEE4B2D07F0}" presName="sibTrans" presStyleLbl="sibTrans2D1" presStyleIdx="0" presStyleCnt="3"/>
      <dgm:spPr/>
    </dgm:pt>
    <dgm:pt modelId="{7800FE94-4C13-4EBD-A7FC-284193E11F00}" type="pres">
      <dgm:prSet presAssocID="{BC309D29-6CFE-4661-838D-2FEE4B2D07F0}" presName="connectorText" presStyleLbl="sibTrans2D1" presStyleIdx="0" presStyleCnt="3"/>
      <dgm:spPr/>
    </dgm:pt>
    <dgm:pt modelId="{F6A8A3D1-3128-4269-8AFC-F5EACB15342B}" type="pres">
      <dgm:prSet presAssocID="{5FC33D15-6049-49E9-AFEE-D3209737BB8D}" presName="node" presStyleLbl="node1" presStyleIdx="1" presStyleCnt="4" custScaleX="83325">
        <dgm:presLayoutVars>
          <dgm:bulletEnabled val="1"/>
        </dgm:presLayoutVars>
      </dgm:prSet>
      <dgm:spPr/>
    </dgm:pt>
    <dgm:pt modelId="{041C34F0-4C61-4086-96A9-77792B293404}" type="pres">
      <dgm:prSet presAssocID="{A1BCB9F7-5B6E-4308-9DDE-8A0F73EBFFAD}" presName="sibTrans" presStyleLbl="sibTrans2D1" presStyleIdx="1" presStyleCnt="3"/>
      <dgm:spPr/>
    </dgm:pt>
    <dgm:pt modelId="{8D1574E4-2309-4A1B-BA79-0EC08DD40738}" type="pres">
      <dgm:prSet presAssocID="{A1BCB9F7-5B6E-4308-9DDE-8A0F73EBFFAD}" presName="connectorText" presStyleLbl="sibTrans2D1" presStyleIdx="1" presStyleCnt="3"/>
      <dgm:spPr/>
    </dgm:pt>
    <dgm:pt modelId="{BA8C0708-51A6-4984-9309-4808B18AB5AB}" type="pres">
      <dgm:prSet presAssocID="{C4F53329-B275-46EB-9991-C063ED2B8894}" presName="node" presStyleLbl="node1" presStyleIdx="2" presStyleCnt="4" custScaleX="84433">
        <dgm:presLayoutVars>
          <dgm:bulletEnabled val="1"/>
        </dgm:presLayoutVars>
      </dgm:prSet>
      <dgm:spPr/>
    </dgm:pt>
    <dgm:pt modelId="{06C88136-CD3D-4FE2-93C2-3A362F3AFBC9}" type="pres">
      <dgm:prSet presAssocID="{EB594ECF-0766-49DC-AB2B-409C9369B0B2}" presName="sibTrans" presStyleLbl="sibTrans2D1" presStyleIdx="2" presStyleCnt="3"/>
      <dgm:spPr/>
    </dgm:pt>
    <dgm:pt modelId="{BE1B8EEA-6452-4064-9C2D-D813925BFB67}" type="pres">
      <dgm:prSet presAssocID="{EB594ECF-0766-49DC-AB2B-409C9369B0B2}" presName="connectorText" presStyleLbl="sibTrans2D1" presStyleIdx="2" presStyleCnt="3"/>
      <dgm:spPr/>
    </dgm:pt>
    <dgm:pt modelId="{47C93DED-8530-4D21-9B30-6F43C1710E4F}" type="pres">
      <dgm:prSet presAssocID="{E0BA6C88-F8CA-462B-8282-023A2F5777A7}" presName="node" presStyleLbl="node1" presStyleIdx="3" presStyleCnt="4" custScaleX="102708">
        <dgm:presLayoutVars>
          <dgm:bulletEnabled val="1"/>
        </dgm:presLayoutVars>
      </dgm:prSet>
      <dgm:spPr/>
    </dgm:pt>
  </dgm:ptLst>
  <dgm:cxnLst>
    <dgm:cxn modelId="{4D63AD01-06E9-40F4-BC40-37C24BBA5B25}" type="presOf" srcId="{5FC33D15-6049-49E9-AFEE-D3209737BB8D}" destId="{F6A8A3D1-3128-4269-8AFC-F5EACB15342B}" srcOrd="0" destOrd="0" presId="urn:microsoft.com/office/officeart/2005/8/layout/process1"/>
    <dgm:cxn modelId="{68DE3603-FE27-4BA3-AFB5-4833983BE8D0}" type="presOf" srcId="{EB594ECF-0766-49DC-AB2B-409C9369B0B2}" destId="{BE1B8EEA-6452-4064-9C2D-D813925BFB67}" srcOrd="1" destOrd="0" presId="urn:microsoft.com/office/officeart/2005/8/layout/process1"/>
    <dgm:cxn modelId="{C8EC3909-E6C7-444A-A0DA-CE5F4A3D0CC0}" srcId="{D927F931-9F39-4810-82F1-E22C8C18B961}" destId="{5FC33D15-6049-49E9-AFEE-D3209737BB8D}" srcOrd="1" destOrd="0" parTransId="{51BF4580-344B-4A55-8FEA-B468C6B2DEE6}" sibTransId="{A1BCB9F7-5B6E-4308-9DDE-8A0F73EBFFAD}"/>
    <dgm:cxn modelId="{9CFDBD0F-A8A6-4AEC-88B2-49AB189C28D5}" type="presOf" srcId="{E0BA6C88-F8CA-462B-8282-023A2F5777A7}" destId="{47C93DED-8530-4D21-9B30-6F43C1710E4F}" srcOrd="0" destOrd="0" presId="urn:microsoft.com/office/officeart/2005/8/layout/process1"/>
    <dgm:cxn modelId="{922F1711-E57D-4626-8AF0-77979E5CA41D}" srcId="{D927F931-9F39-4810-82F1-E22C8C18B961}" destId="{E0BA6C88-F8CA-462B-8282-023A2F5777A7}" srcOrd="3" destOrd="0" parTransId="{3D7135BC-1EC3-4E89-AA54-13A7BAE3075A}" sibTransId="{E8B8B4E7-71B1-4A52-A08C-0F3C5BDCF2F7}"/>
    <dgm:cxn modelId="{2B7DB913-D63F-4E4F-88E2-0FC69F8CD5B4}" type="presOf" srcId="{D927F931-9F39-4810-82F1-E22C8C18B961}" destId="{6B614C7E-23E7-45CE-93DA-ED414DA19166}" srcOrd="0" destOrd="0" presId="urn:microsoft.com/office/officeart/2005/8/layout/process1"/>
    <dgm:cxn modelId="{70923126-734B-41DE-87FF-B8F521233958}" type="presOf" srcId="{A1BCB9F7-5B6E-4308-9DDE-8A0F73EBFFAD}" destId="{8D1574E4-2309-4A1B-BA79-0EC08DD40738}" srcOrd="1" destOrd="0" presId="urn:microsoft.com/office/officeart/2005/8/layout/process1"/>
    <dgm:cxn modelId="{72F67934-344F-4598-BE3F-D3F4BB47976E}" type="presOf" srcId="{BC309D29-6CFE-4661-838D-2FEE4B2D07F0}" destId="{A7576D7D-1025-4DD3-A5BF-F2CADF1C6D1B}" srcOrd="0" destOrd="0" presId="urn:microsoft.com/office/officeart/2005/8/layout/process1"/>
    <dgm:cxn modelId="{BAE08C6E-A087-4E3F-88AE-58EAE7DAA048}" type="presOf" srcId="{EB594ECF-0766-49DC-AB2B-409C9369B0B2}" destId="{06C88136-CD3D-4FE2-93C2-3A362F3AFBC9}" srcOrd="0" destOrd="0" presId="urn:microsoft.com/office/officeart/2005/8/layout/process1"/>
    <dgm:cxn modelId="{D3D50B52-F16F-4A0E-A5AA-52E626715530}" type="presOf" srcId="{C4F53329-B275-46EB-9991-C063ED2B8894}" destId="{BA8C0708-51A6-4984-9309-4808B18AB5AB}" srcOrd="0" destOrd="0" presId="urn:microsoft.com/office/officeart/2005/8/layout/process1"/>
    <dgm:cxn modelId="{E7F34356-13E6-4BA0-96B8-C26F42F2DFDF}" type="presOf" srcId="{A1BCB9F7-5B6E-4308-9DDE-8A0F73EBFFAD}" destId="{041C34F0-4C61-4086-96A9-77792B293404}" srcOrd="0" destOrd="0" presId="urn:microsoft.com/office/officeart/2005/8/layout/process1"/>
    <dgm:cxn modelId="{546BFE8C-557A-4C66-8F4F-5BAD800EBB0E}" type="presOf" srcId="{BC309D29-6CFE-4661-838D-2FEE4B2D07F0}" destId="{7800FE94-4C13-4EBD-A7FC-284193E11F00}" srcOrd="1" destOrd="0" presId="urn:microsoft.com/office/officeart/2005/8/layout/process1"/>
    <dgm:cxn modelId="{71B08D8F-5FF1-469F-AB57-8639B51C1B71}" srcId="{D927F931-9F39-4810-82F1-E22C8C18B961}" destId="{C4F53329-B275-46EB-9991-C063ED2B8894}" srcOrd="2" destOrd="0" parTransId="{A25B6609-ED36-4A1B-AB11-C73CFFF90AD5}" sibTransId="{EB594ECF-0766-49DC-AB2B-409C9369B0B2}"/>
    <dgm:cxn modelId="{304207A1-0590-4190-B0AD-E7DE072AA503}" srcId="{D927F931-9F39-4810-82F1-E22C8C18B961}" destId="{62C7A23F-2251-4BFF-8016-062917C8CFA2}" srcOrd="0" destOrd="0" parTransId="{6642F949-4DE6-4852-B4A7-CD457DF716F4}" sibTransId="{BC309D29-6CFE-4661-838D-2FEE4B2D07F0}"/>
    <dgm:cxn modelId="{9581B4C4-4FC2-436C-8488-5CD7B4D2AFBD}" type="presOf" srcId="{62C7A23F-2251-4BFF-8016-062917C8CFA2}" destId="{09D13E58-65CB-4E8A-AB0A-9654D282BDED}" srcOrd="0" destOrd="0" presId="urn:microsoft.com/office/officeart/2005/8/layout/process1"/>
    <dgm:cxn modelId="{29DE613C-1D55-4A6D-82DC-BC1A71FA8417}" type="presParOf" srcId="{6B614C7E-23E7-45CE-93DA-ED414DA19166}" destId="{09D13E58-65CB-4E8A-AB0A-9654D282BDED}" srcOrd="0" destOrd="0" presId="urn:microsoft.com/office/officeart/2005/8/layout/process1"/>
    <dgm:cxn modelId="{B5B02808-DE0E-4B51-983E-6BB23379C657}" type="presParOf" srcId="{6B614C7E-23E7-45CE-93DA-ED414DA19166}" destId="{A7576D7D-1025-4DD3-A5BF-F2CADF1C6D1B}" srcOrd="1" destOrd="0" presId="urn:microsoft.com/office/officeart/2005/8/layout/process1"/>
    <dgm:cxn modelId="{865925F6-7525-474D-A02F-5A7F9E498EC3}" type="presParOf" srcId="{A7576D7D-1025-4DD3-A5BF-F2CADF1C6D1B}" destId="{7800FE94-4C13-4EBD-A7FC-284193E11F00}" srcOrd="0" destOrd="0" presId="urn:microsoft.com/office/officeart/2005/8/layout/process1"/>
    <dgm:cxn modelId="{2D4D5821-FD7F-435D-82F4-62596D04C3D2}" type="presParOf" srcId="{6B614C7E-23E7-45CE-93DA-ED414DA19166}" destId="{F6A8A3D1-3128-4269-8AFC-F5EACB15342B}" srcOrd="2" destOrd="0" presId="urn:microsoft.com/office/officeart/2005/8/layout/process1"/>
    <dgm:cxn modelId="{E9B9E241-8F8E-4DB7-87D2-079B87FD6980}" type="presParOf" srcId="{6B614C7E-23E7-45CE-93DA-ED414DA19166}" destId="{041C34F0-4C61-4086-96A9-77792B293404}" srcOrd="3" destOrd="0" presId="urn:microsoft.com/office/officeart/2005/8/layout/process1"/>
    <dgm:cxn modelId="{BB70875F-A69B-4FC0-B804-1169E64C28A9}" type="presParOf" srcId="{041C34F0-4C61-4086-96A9-77792B293404}" destId="{8D1574E4-2309-4A1B-BA79-0EC08DD40738}" srcOrd="0" destOrd="0" presId="urn:microsoft.com/office/officeart/2005/8/layout/process1"/>
    <dgm:cxn modelId="{D5DFB508-CC7E-45F4-8637-49F70B3AF5DE}" type="presParOf" srcId="{6B614C7E-23E7-45CE-93DA-ED414DA19166}" destId="{BA8C0708-51A6-4984-9309-4808B18AB5AB}" srcOrd="4" destOrd="0" presId="urn:microsoft.com/office/officeart/2005/8/layout/process1"/>
    <dgm:cxn modelId="{72030219-315B-4856-959D-CFFCC9720554}" type="presParOf" srcId="{6B614C7E-23E7-45CE-93DA-ED414DA19166}" destId="{06C88136-CD3D-4FE2-93C2-3A362F3AFBC9}" srcOrd="5" destOrd="0" presId="urn:microsoft.com/office/officeart/2005/8/layout/process1"/>
    <dgm:cxn modelId="{083FABEE-7E59-43B5-8A98-C5280A9AB867}" type="presParOf" srcId="{06C88136-CD3D-4FE2-93C2-3A362F3AFBC9}" destId="{BE1B8EEA-6452-4064-9C2D-D813925BFB67}" srcOrd="0" destOrd="0" presId="urn:microsoft.com/office/officeart/2005/8/layout/process1"/>
    <dgm:cxn modelId="{CA83A624-3478-40B4-9E93-572ED2ECCFCE}" type="presParOf" srcId="{6B614C7E-23E7-45CE-93DA-ED414DA19166}" destId="{47C93DED-8530-4D21-9B30-6F43C1710E4F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12805C-3978-408C-8593-087F4AE9C7A1}">
      <dsp:nvSpPr>
        <dsp:cNvPr id="0" name=""/>
        <dsp:cNvSpPr/>
      </dsp:nvSpPr>
      <dsp:spPr>
        <a:xfrm>
          <a:off x="772001" y="0"/>
          <a:ext cx="8749347" cy="3052763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BCA5CC-2C2A-4855-A52B-C2E947849B81}">
      <dsp:nvSpPr>
        <dsp:cNvPr id="0" name=""/>
        <dsp:cNvSpPr/>
      </dsp:nvSpPr>
      <dsp:spPr>
        <a:xfrm>
          <a:off x="348807" y="915828"/>
          <a:ext cx="3088005" cy="122110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Cambria" panose="02040503050406030204" pitchFamily="18" charset="0"/>
              <a:ea typeface="Cambria" panose="02040503050406030204" pitchFamily="18" charset="0"/>
            </a:rPr>
            <a:t>Intro 2012, girls only, dual modality, 9-13  </a:t>
          </a:r>
        </a:p>
      </dsp:txBody>
      <dsp:txXfrm>
        <a:off x="408416" y="975437"/>
        <a:ext cx="2968787" cy="1101887"/>
      </dsp:txXfrm>
    </dsp:sp>
    <dsp:sp modelId="{7750A210-2D89-4359-9CCD-7199BE05DE90}">
      <dsp:nvSpPr>
        <dsp:cNvPr id="0" name=""/>
        <dsp:cNvSpPr/>
      </dsp:nvSpPr>
      <dsp:spPr>
        <a:xfrm>
          <a:off x="3602672" y="915828"/>
          <a:ext cx="3088005" cy="1221105"/>
        </a:xfrm>
        <a:prstGeom prst="roundRect">
          <a:avLst/>
        </a:prstGeom>
        <a:solidFill>
          <a:schemeClr val="accent2">
            <a:hueOff val="658111"/>
            <a:satOff val="-8823"/>
            <a:lumOff val="1049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Cambria" panose="02040503050406030204" pitchFamily="18" charset="0"/>
              <a:ea typeface="Cambria" panose="02040503050406030204" pitchFamily="18" charset="0"/>
            </a:rPr>
            <a:t>Re-intro 2017 ,girls only, dual modality , 9-13</a:t>
          </a:r>
        </a:p>
      </dsp:txBody>
      <dsp:txXfrm>
        <a:off x="3662281" y="975437"/>
        <a:ext cx="2968787" cy="1101887"/>
      </dsp:txXfrm>
    </dsp:sp>
    <dsp:sp modelId="{475134D3-B830-4C36-A077-FD625DE4FBB9}">
      <dsp:nvSpPr>
        <dsp:cNvPr id="0" name=""/>
        <dsp:cNvSpPr/>
      </dsp:nvSpPr>
      <dsp:spPr>
        <a:xfrm>
          <a:off x="6856537" y="915828"/>
          <a:ext cx="3088005" cy="1221105"/>
        </a:xfrm>
        <a:prstGeom prst="roundRect">
          <a:avLst/>
        </a:prstGeom>
        <a:solidFill>
          <a:schemeClr val="accent2">
            <a:hueOff val="1316223"/>
            <a:satOff val="-17646"/>
            <a:lumOff val="209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Cambria" panose="02040503050406030204" pitchFamily="18" charset="0"/>
              <a:ea typeface="Cambria" panose="02040503050406030204" pitchFamily="18" charset="0"/>
            </a:rPr>
            <a:t>2019- boys targeted, age extended 9-15</a:t>
          </a:r>
        </a:p>
      </dsp:txBody>
      <dsp:txXfrm>
        <a:off x="6916146" y="975437"/>
        <a:ext cx="2968787" cy="11018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FC79B7-1ECC-482A-9816-DCDF853E7945}">
      <dsp:nvSpPr>
        <dsp:cNvPr id="0" name=""/>
        <dsp:cNvSpPr/>
      </dsp:nvSpPr>
      <dsp:spPr>
        <a:xfrm>
          <a:off x="460255" y="0"/>
          <a:ext cx="3684588" cy="3684588"/>
        </a:xfrm>
        <a:prstGeom prst="triangl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3B7B81-45E7-42B5-AFF6-A0F57719ACEC}">
      <dsp:nvSpPr>
        <dsp:cNvPr id="0" name=""/>
        <dsp:cNvSpPr/>
      </dsp:nvSpPr>
      <dsp:spPr>
        <a:xfrm>
          <a:off x="2302549" y="370437"/>
          <a:ext cx="2394982" cy="872211"/>
        </a:xfrm>
        <a:prstGeom prst="round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Cambria" panose="02040503050406030204" pitchFamily="18" charset="0"/>
              <a:ea typeface="Cambria" panose="02040503050406030204" pitchFamily="18" charset="0"/>
            </a:rPr>
            <a:t>Pulse Campaigns </a:t>
          </a:r>
        </a:p>
      </dsp:txBody>
      <dsp:txXfrm>
        <a:off x="2345127" y="413015"/>
        <a:ext cx="2309826" cy="787055"/>
      </dsp:txXfrm>
    </dsp:sp>
    <dsp:sp modelId="{0D5117E2-0BF7-4DF0-A925-2368DA21A446}">
      <dsp:nvSpPr>
        <dsp:cNvPr id="0" name=""/>
        <dsp:cNvSpPr/>
      </dsp:nvSpPr>
      <dsp:spPr>
        <a:xfrm>
          <a:off x="2302549" y="1351675"/>
          <a:ext cx="2394982" cy="872211"/>
        </a:xfrm>
        <a:prstGeom prst="round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Cambria" panose="02040503050406030204" pitchFamily="18" charset="0"/>
              <a:ea typeface="Cambria" panose="02040503050406030204" pitchFamily="18" charset="0"/>
            </a:rPr>
            <a:t>Facility Access  </a:t>
          </a:r>
        </a:p>
      </dsp:txBody>
      <dsp:txXfrm>
        <a:off x="2345127" y="1394253"/>
        <a:ext cx="2309826" cy="787055"/>
      </dsp:txXfrm>
    </dsp:sp>
    <dsp:sp modelId="{4F74ECA1-7144-4204-98C8-9197C4E2D977}">
      <dsp:nvSpPr>
        <dsp:cNvPr id="0" name=""/>
        <dsp:cNvSpPr/>
      </dsp:nvSpPr>
      <dsp:spPr>
        <a:xfrm>
          <a:off x="2302549" y="2332912"/>
          <a:ext cx="2394982" cy="872211"/>
        </a:xfrm>
        <a:prstGeom prst="round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Cambria" panose="02040503050406030204" pitchFamily="18" charset="0"/>
              <a:ea typeface="Cambria" panose="02040503050406030204" pitchFamily="18" charset="0"/>
            </a:rPr>
            <a:t>Mixed</a:t>
          </a:r>
        </a:p>
      </dsp:txBody>
      <dsp:txXfrm>
        <a:off x="2345127" y="2375490"/>
        <a:ext cx="2309826" cy="78705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D13E58-65CB-4E8A-AB0A-9654D282BDED}">
      <dsp:nvSpPr>
        <dsp:cNvPr id="0" name=""/>
        <dsp:cNvSpPr/>
      </dsp:nvSpPr>
      <dsp:spPr>
        <a:xfrm>
          <a:off x="524" y="1433913"/>
          <a:ext cx="2741780" cy="2334480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mbria" panose="02040503050406030204" pitchFamily="18" charset="0"/>
              <a:ea typeface="Cambria" panose="02040503050406030204" pitchFamily="18" charset="0"/>
            </a:rPr>
            <a:t>2016: Conducted a pre reintroduction study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1" kern="1200" dirty="0">
            <a:latin typeface="Cambria" panose="02040503050406030204" pitchFamily="18" charset="0"/>
            <a:ea typeface="Cambria" panose="02040503050406030204" pitchFamily="18" charset="0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Cambria" panose="02040503050406030204" pitchFamily="18" charset="0"/>
              <a:ea typeface="Cambria" panose="02040503050406030204" pitchFamily="18" charset="0"/>
            </a:rPr>
            <a:t>KAP study</a:t>
          </a:r>
          <a:endParaRPr lang="en-US" sz="1200" kern="1200" dirty="0">
            <a:latin typeface="Cambria" panose="02040503050406030204" pitchFamily="18" charset="0"/>
            <a:ea typeface="Cambria" panose="02040503050406030204" pitchFamily="18" charset="0"/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mbria" panose="02040503050406030204" pitchFamily="18" charset="0"/>
              <a:ea typeface="Cambria" panose="02040503050406030204" pitchFamily="18" charset="0"/>
            </a:rPr>
            <a:t>Covered: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mbria" panose="02040503050406030204" pitchFamily="18" charset="0"/>
              <a:ea typeface="Cambria" panose="02040503050406030204" pitchFamily="18" charset="0"/>
            </a:rPr>
            <a:t>- Lessons learnt from 2010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mbria" panose="02040503050406030204" pitchFamily="18" charset="0"/>
              <a:ea typeface="Cambria" panose="02040503050406030204" pitchFamily="18" charset="0"/>
            </a:rPr>
            <a:t>- Acceptance view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mbria" panose="02040503050406030204" pitchFamily="18" charset="0"/>
              <a:ea typeface="Cambria" panose="02040503050406030204" pitchFamily="18" charset="0"/>
            </a:rPr>
            <a:t>- Barrier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mbria" panose="02040503050406030204" pitchFamily="18" charset="0"/>
              <a:ea typeface="Cambria" panose="02040503050406030204" pitchFamily="18" charset="0"/>
            </a:rPr>
            <a:t>- Attitudes to health 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mbria" panose="02040503050406030204" pitchFamily="18" charset="0"/>
              <a:ea typeface="Cambria" panose="02040503050406030204" pitchFamily="18" charset="0"/>
            </a:rPr>
            <a:t>- Knowledge of vaccine </a:t>
          </a:r>
        </a:p>
      </dsp:txBody>
      <dsp:txXfrm>
        <a:off x="68899" y="1502288"/>
        <a:ext cx="2605030" cy="2197730"/>
      </dsp:txXfrm>
    </dsp:sp>
    <dsp:sp modelId="{A7576D7D-1025-4DD3-A5BF-F2CADF1C6D1B}">
      <dsp:nvSpPr>
        <dsp:cNvPr id="0" name=""/>
        <dsp:cNvSpPr/>
      </dsp:nvSpPr>
      <dsp:spPr>
        <a:xfrm>
          <a:off x="2964466" y="2325674"/>
          <a:ext cx="470981" cy="5509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2964466" y="2435866"/>
        <a:ext cx="329687" cy="330575"/>
      </dsp:txXfrm>
    </dsp:sp>
    <dsp:sp modelId="{F6A8A3D1-3128-4269-8AFC-F5EACB15342B}">
      <dsp:nvSpPr>
        <dsp:cNvPr id="0" name=""/>
        <dsp:cNvSpPr/>
      </dsp:nvSpPr>
      <dsp:spPr>
        <a:xfrm>
          <a:off x="3630950" y="1398359"/>
          <a:ext cx="1851158" cy="240558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mbria" panose="02040503050406030204" pitchFamily="18" charset="0"/>
              <a:ea typeface="Cambria" panose="02040503050406030204" pitchFamily="18" charset="0"/>
            </a:rPr>
            <a:t>2016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mbria" panose="02040503050406030204" pitchFamily="18" charset="0"/>
              <a:ea typeface="Cambria" panose="02040503050406030204" pitchFamily="18" charset="0"/>
            </a:rPr>
            <a:t>First HPV risk communication strategy </a:t>
          </a:r>
        </a:p>
      </dsp:txBody>
      <dsp:txXfrm>
        <a:off x="3685169" y="1452578"/>
        <a:ext cx="1742720" cy="2297151"/>
      </dsp:txXfrm>
    </dsp:sp>
    <dsp:sp modelId="{041C34F0-4C61-4086-96A9-77792B293404}">
      <dsp:nvSpPr>
        <dsp:cNvPr id="0" name=""/>
        <dsp:cNvSpPr/>
      </dsp:nvSpPr>
      <dsp:spPr>
        <a:xfrm>
          <a:off x="5704270" y="2325674"/>
          <a:ext cx="470981" cy="5509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5704270" y="2435866"/>
        <a:ext cx="329687" cy="330575"/>
      </dsp:txXfrm>
    </dsp:sp>
    <dsp:sp modelId="{BA8C0708-51A6-4984-9309-4808B18AB5AB}">
      <dsp:nvSpPr>
        <dsp:cNvPr id="0" name=""/>
        <dsp:cNvSpPr/>
      </dsp:nvSpPr>
      <dsp:spPr>
        <a:xfrm>
          <a:off x="6370754" y="1398359"/>
          <a:ext cx="1875774" cy="240558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Cambria" panose="02040503050406030204" pitchFamily="18" charset="0"/>
              <a:ea typeface="Cambria" panose="02040503050406030204" pitchFamily="18" charset="0"/>
            </a:rPr>
            <a:t>2018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Cambria" panose="02040503050406030204" pitchFamily="18" charset="0"/>
              <a:ea typeface="Cambria" panose="02040503050406030204" pitchFamily="18" charset="0"/>
            </a:rPr>
            <a:t>Post introduction study </a:t>
          </a:r>
        </a:p>
      </dsp:txBody>
      <dsp:txXfrm>
        <a:off x="6425694" y="1453299"/>
        <a:ext cx="1765894" cy="2295709"/>
      </dsp:txXfrm>
    </dsp:sp>
    <dsp:sp modelId="{06C88136-CD3D-4FE2-93C2-3A362F3AFBC9}">
      <dsp:nvSpPr>
        <dsp:cNvPr id="0" name=""/>
        <dsp:cNvSpPr/>
      </dsp:nvSpPr>
      <dsp:spPr>
        <a:xfrm>
          <a:off x="8468689" y="2325674"/>
          <a:ext cx="470981" cy="5509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8468689" y="2435866"/>
        <a:ext cx="329687" cy="330575"/>
      </dsp:txXfrm>
    </dsp:sp>
    <dsp:sp modelId="{47C93DED-8530-4D21-9B30-6F43C1710E4F}">
      <dsp:nvSpPr>
        <dsp:cNvPr id="0" name=""/>
        <dsp:cNvSpPr/>
      </dsp:nvSpPr>
      <dsp:spPr>
        <a:xfrm>
          <a:off x="9135173" y="1398359"/>
          <a:ext cx="2281773" cy="240558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Cambria" panose="02040503050406030204" pitchFamily="18" charset="0"/>
              <a:ea typeface="Cambria" panose="02040503050406030204" pitchFamily="18" charset="0"/>
            </a:rPr>
            <a:t>2019, 2023 &amp; 2024: Prepared updated versions of communication strategic plan </a:t>
          </a:r>
        </a:p>
      </dsp:txBody>
      <dsp:txXfrm>
        <a:off x="9202004" y="1465190"/>
        <a:ext cx="2148111" cy="22719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000C606-2339-37C1-CC8D-9916263EFCA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DFFF22-7644-66E5-23F0-A9BD20ABF79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25DFB3-AA17-4D4F-941E-715BEAF6EC4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10D6F9-AC9F-1C1E-ED6E-5844B511F5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093BF3-2F2C-D62A-F911-DB2AD54549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BF7A5B-4D13-7B48-80AA-A9B87C7E4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5935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E5160-FBFE-46B3-8966-792633D71EBE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305D75-986B-436C-96B6-B1ABE670B6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426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55365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1200" y="2209800"/>
            <a:ext cx="8331200" cy="609600"/>
          </a:xfrm>
        </p:spPr>
        <p:txBody>
          <a:bodyPr>
            <a:noAutofit/>
          </a:bodyPr>
          <a:lstStyle>
            <a:lvl1pPr marL="0" indent="0" algn="l">
              <a:buNone/>
              <a:defRPr sz="3200" b="0" i="0">
                <a:solidFill>
                  <a:srgbClr val="FFFFFF"/>
                </a:solidFill>
                <a:latin typeface="+mn-lt"/>
                <a:cs typeface="Museo Sans 50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11200" y="3124200"/>
            <a:ext cx="5791200" cy="1447800"/>
          </a:xfrm>
          <a:noFill/>
        </p:spPr>
        <p:txBody>
          <a:bodyPr/>
          <a:lstStyle>
            <a:lvl1pPr marL="0" marR="0" indent="-342891" algn="l" defTabSz="914377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solidFill>
                  <a:srgbClr val="FFFFFF"/>
                </a:solidFill>
                <a:latin typeface="+mn-lt"/>
                <a:cs typeface="Museo Slab 300"/>
              </a:defRPr>
            </a:lvl1pPr>
          </a:lstStyle>
          <a:p>
            <a:pPr lvl="0"/>
            <a:r>
              <a:rPr lang="en-US"/>
              <a:t>Click to edit Presentation Location</a:t>
            </a:r>
          </a:p>
          <a:p>
            <a:pPr marL="342891" marR="0" lvl="0" indent="-342891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Presentation Dat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11200" y="4877477"/>
            <a:ext cx="9753600" cy="304800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16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present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74EF63-55A6-4F45-9DCF-4DDF12899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F:\Karen Flash\Logos &amp; Letterhead\MOH Logo\PHOTO-2021-11-15-09-15-23 (1)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27" y="5879805"/>
            <a:ext cx="871868" cy="8661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11575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i/tagaleht logog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D3D8D9-23B9-7AE8-30A9-F07E4A71E55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486829 h 6858000"/>
              <a:gd name="connsiteX3" fmla="*/ 10051073 w 12192000"/>
              <a:gd name="connsiteY3" fmla="*/ 5486829 h 6858000"/>
              <a:gd name="connsiteX4" fmla="*/ 9576237 w 12192000"/>
              <a:gd name="connsiteY4" fmla="*/ 5960366 h 6858000"/>
              <a:gd name="connsiteX5" fmla="*/ 10051073 w 12192000"/>
              <a:gd name="connsiteY5" fmla="*/ 6434392 h 6858000"/>
              <a:gd name="connsiteX6" fmla="*/ 12192000 w 12192000"/>
              <a:gd name="connsiteY6" fmla="*/ 64343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486829"/>
                </a:lnTo>
                <a:lnTo>
                  <a:pt x="10051073" y="5486829"/>
                </a:lnTo>
                <a:cubicBezTo>
                  <a:pt x="9788909" y="5486829"/>
                  <a:pt x="9576237" y="5698919"/>
                  <a:pt x="9576237" y="5960366"/>
                </a:cubicBezTo>
                <a:cubicBezTo>
                  <a:pt x="9576237" y="6222302"/>
                  <a:pt x="9788909" y="6434392"/>
                  <a:pt x="10051073" y="6434392"/>
                </a:cubicBezTo>
                <a:lnTo>
                  <a:pt x="12192000" y="64343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Click icon to add pictur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A6544BD-E47A-BDB2-A0A7-FEE3CBD9E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10522334" cy="1617675"/>
          </a:xfrm>
        </p:spPr>
        <p:txBody>
          <a:bodyPr/>
          <a:lstStyle>
            <a:lvl1pPr>
              <a:defRPr sz="6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4A5A21-A3CA-77C4-9598-111AA3165F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Picture Placeholder 369">
            <a:extLst>
              <a:ext uri="{FF2B5EF4-FFF2-40B4-BE49-F238E27FC236}">
                <a16:creationId xmlns:a16="http://schemas.microsoft.com/office/drawing/2014/main" id="{74E0B818-A99E-F20D-0FB9-1BE9D6051DC8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4842702"/>
            <a:ext cx="5400000" cy="20152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EE"/>
              <a:t>Täpilain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929311-E419-DFFD-664C-F19BCDA31B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1246"/>
            <a:ext cx="2445142" cy="98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33273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i/tagaleht logoga_2rida_E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323FCC4-5DCD-F3B3-756C-4C1DA83625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27727" y="0"/>
            <a:ext cx="6561873" cy="6858000"/>
          </a:xfrm>
          <a:custGeom>
            <a:avLst/>
            <a:gdLst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0 w 12189600"/>
              <a:gd name="connsiteY9" fmla="*/ 6855671 h 6858000"/>
              <a:gd name="connsiteX10" fmla="*/ 5627727 w 12189600"/>
              <a:gd name="connsiteY10" fmla="*/ 6855671 h 6858000"/>
              <a:gd name="connsiteX11" fmla="*/ 8254334 w 12189600"/>
              <a:gd name="connsiteY11" fmla="*/ 0 h 6858000"/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5627727 w 12189600"/>
              <a:gd name="connsiteY9" fmla="*/ 6855671 h 6858000"/>
              <a:gd name="connsiteX10" fmla="*/ 8254334 w 12189600"/>
              <a:gd name="connsiteY10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4421367 w 6561873"/>
              <a:gd name="connsiteY3" fmla="*/ 5486829 h 6858000"/>
              <a:gd name="connsiteX4" fmla="*/ 3946625 w 6561873"/>
              <a:gd name="connsiteY4" fmla="*/ 5960366 h 6858000"/>
              <a:gd name="connsiteX5" fmla="*/ 4421367 w 6561873"/>
              <a:gd name="connsiteY5" fmla="*/ 6434392 h 6858000"/>
              <a:gd name="connsiteX6" fmla="*/ 6561873 w 6561873"/>
              <a:gd name="connsiteY6" fmla="*/ 6434392 h 6858000"/>
              <a:gd name="connsiteX7" fmla="*/ 6561873 w 6561873"/>
              <a:gd name="connsiteY7" fmla="*/ 6858000 h 6858000"/>
              <a:gd name="connsiteX8" fmla="*/ 0 w 6561873"/>
              <a:gd name="connsiteY8" fmla="*/ 6855671 h 6858000"/>
              <a:gd name="connsiteX9" fmla="*/ 2626607 w 6561873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61873" h="6858000">
                <a:moveTo>
                  <a:pt x="2626607" y="0"/>
                </a:moveTo>
                <a:lnTo>
                  <a:pt x="6561873" y="0"/>
                </a:lnTo>
                <a:lnTo>
                  <a:pt x="6561873" y="5486829"/>
                </a:lnTo>
                <a:lnTo>
                  <a:pt x="4421367" y="5486829"/>
                </a:lnTo>
                <a:cubicBezTo>
                  <a:pt x="4159255" y="5486829"/>
                  <a:pt x="3946625" y="5698919"/>
                  <a:pt x="3946625" y="5960366"/>
                </a:cubicBezTo>
                <a:cubicBezTo>
                  <a:pt x="3946625" y="6222302"/>
                  <a:pt x="4159255" y="6434392"/>
                  <a:pt x="4421367" y="6434392"/>
                </a:cubicBezTo>
                <a:lnTo>
                  <a:pt x="6561873" y="6434392"/>
                </a:lnTo>
                <a:lnTo>
                  <a:pt x="6561873" y="6858000"/>
                </a:lnTo>
                <a:lnTo>
                  <a:pt x="0" y="6855671"/>
                </a:lnTo>
                <a:cubicBezTo>
                  <a:pt x="1630590" y="5035972"/>
                  <a:pt x="2623240" y="2633860"/>
                  <a:pt x="262660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                Click icon to add pictur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6FE6F80-8390-484E-C7E2-E30C3A7C1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626" y="657225"/>
            <a:ext cx="6439384" cy="1619251"/>
          </a:xfrm>
        </p:spPr>
        <p:txBody>
          <a:bodyPr/>
          <a:lstStyle>
            <a:lvl1pPr>
              <a:defRPr sz="60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EE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2B982F5-6047-51D9-C45B-4E85C19FDA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C3187B4-17C9-D6A6-54B1-7D91DB83302A}"/>
              </a:ext>
            </a:extLst>
          </p:cNvPr>
          <p:cNvSpPr/>
          <p:nvPr/>
        </p:nvSpPr>
        <p:spPr>
          <a:xfrm flipH="1">
            <a:off x="726940" y="536818"/>
            <a:ext cx="45719" cy="1860064"/>
          </a:xfrm>
          <a:prstGeom prst="rect">
            <a:avLst/>
          </a:prstGeom>
          <a:solidFill>
            <a:schemeClr val="tx2"/>
          </a:solidFill>
          <a:ln w="9017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EE">
              <a:solidFill>
                <a:schemeClr val="accent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07FF434-BC83-A2EC-E948-27F59EA144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3949"/>
            <a:ext cx="2438400" cy="977508"/>
          </a:xfrm>
          <a:prstGeom prst="rect">
            <a:avLst/>
          </a:prstGeom>
        </p:spPr>
      </p:pic>
      <p:sp>
        <p:nvSpPr>
          <p:cNvPr id="6" name="Teksti kohatäide 6">
            <a:extLst>
              <a:ext uri="{FF2B5EF4-FFF2-40B4-BE49-F238E27FC236}">
                <a16:creationId xmlns:a16="http://schemas.microsoft.com/office/drawing/2014/main" id="{CDD2BD26-F1A5-74DE-436C-F594A66AA9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6940" y="3938954"/>
            <a:ext cx="4629853" cy="2298335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1800" b="0" i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et-EE" sz="2000"/>
              <a:t>Klõpsake juhteksemplari tekstilaadide redigeerimisek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AEFBFC-B0EC-3810-984F-17A1664D7C35}"/>
              </a:ext>
            </a:extLst>
          </p:cNvPr>
          <p:cNvSpPr/>
          <p:nvPr userDrawn="1"/>
        </p:nvSpPr>
        <p:spPr>
          <a:xfrm flipH="1">
            <a:off x="726939" y="536818"/>
            <a:ext cx="90000" cy="1860064"/>
          </a:xfrm>
          <a:prstGeom prst="rect">
            <a:avLst/>
          </a:prstGeom>
          <a:solidFill>
            <a:schemeClr val="tx2"/>
          </a:solidFill>
          <a:ln w="9017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EE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229404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si/tagaleht logoga_3rida_E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323FCC4-5DCD-F3B3-756C-4C1DA83625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27727" y="0"/>
            <a:ext cx="6561873" cy="6858000"/>
          </a:xfrm>
          <a:custGeom>
            <a:avLst/>
            <a:gdLst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0 w 12189600"/>
              <a:gd name="connsiteY9" fmla="*/ 6855671 h 6858000"/>
              <a:gd name="connsiteX10" fmla="*/ 5627727 w 12189600"/>
              <a:gd name="connsiteY10" fmla="*/ 6855671 h 6858000"/>
              <a:gd name="connsiteX11" fmla="*/ 8254334 w 12189600"/>
              <a:gd name="connsiteY11" fmla="*/ 0 h 6858000"/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5627727 w 12189600"/>
              <a:gd name="connsiteY9" fmla="*/ 6855671 h 6858000"/>
              <a:gd name="connsiteX10" fmla="*/ 8254334 w 12189600"/>
              <a:gd name="connsiteY10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4421367 w 6561873"/>
              <a:gd name="connsiteY3" fmla="*/ 5486829 h 6858000"/>
              <a:gd name="connsiteX4" fmla="*/ 3946625 w 6561873"/>
              <a:gd name="connsiteY4" fmla="*/ 5960366 h 6858000"/>
              <a:gd name="connsiteX5" fmla="*/ 4421367 w 6561873"/>
              <a:gd name="connsiteY5" fmla="*/ 6434392 h 6858000"/>
              <a:gd name="connsiteX6" fmla="*/ 6561873 w 6561873"/>
              <a:gd name="connsiteY6" fmla="*/ 6434392 h 6858000"/>
              <a:gd name="connsiteX7" fmla="*/ 6561873 w 6561873"/>
              <a:gd name="connsiteY7" fmla="*/ 6858000 h 6858000"/>
              <a:gd name="connsiteX8" fmla="*/ 0 w 6561873"/>
              <a:gd name="connsiteY8" fmla="*/ 6855671 h 6858000"/>
              <a:gd name="connsiteX9" fmla="*/ 2626607 w 6561873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61873" h="6858000">
                <a:moveTo>
                  <a:pt x="2626607" y="0"/>
                </a:moveTo>
                <a:lnTo>
                  <a:pt x="6561873" y="0"/>
                </a:lnTo>
                <a:lnTo>
                  <a:pt x="6561873" y="5486829"/>
                </a:lnTo>
                <a:lnTo>
                  <a:pt x="4421367" y="5486829"/>
                </a:lnTo>
                <a:cubicBezTo>
                  <a:pt x="4159255" y="5486829"/>
                  <a:pt x="3946625" y="5698919"/>
                  <a:pt x="3946625" y="5960366"/>
                </a:cubicBezTo>
                <a:cubicBezTo>
                  <a:pt x="3946625" y="6222302"/>
                  <a:pt x="4159255" y="6434392"/>
                  <a:pt x="4421367" y="6434392"/>
                </a:cubicBezTo>
                <a:lnTo>
                  <a:pt x="6561873" y="6434392"/>
                </a:lnTo>
                <a:lnTo>
                  <a:pt x="6561873" y="6858000"/>
                </a:lnTo>
                <a:lnTo>
                  <a:pt x="0" y="6855671"/>
                </a:lnTo>
                <a:cubicBezTo>
                  <a:pt x="1630590" y="5035972"/>
                  <a:pt x="2623240" y="2633860"/>
                  <a:pt x="262660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                Click icon to add pictures</a:t>
            </a:r>
          </a:p>
        </p:txBody>
      </p:sp>
      <p:sp>
        <p:nvSpPr>
          <p:cNvPr id="5" name="Teksti kohatäide 6">
            <a:extLst>
              <a:ext uri="{FF2B5EF4-FFF2-40B4-BE49-F238E27FC236}">
                <a16:creationId xmlns:a16="http://schemas.microsoft.com/office/drawing/2014/main" id="{AC0972FF-6B3E-534D-42D6-92D2C72300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6940" y="3429002"/>
            <a:ext cx="4629853" cy="2808287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1800" b="0" i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et-EE" sz="2000"/>
              <a:t>Klõpsake juhteksemplari tekstilaadide redigeerimisek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6FE6F80-8390-484E-C7E2-E30C3A7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9626" y="657225"/>
            <a:ext cx="6319364" cy="2651366"/>
          </a:xfrm>
        </p:spPr>
        <p:txBody>
          <a:bodyPr/>
          <a:lstStyle>
            <a:lvl1pPr>
              <a:defRPr sz="60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Master title </a:t>
            </a:r>
            <a:br>
              <a:rPr lang="en-GB" dirty="0"/>
            </a:br>
            <a:r>
              <a:rPr lang="en-GB" dirty="0"/>
              <a:t>style</a:t>
            </a:r>
            <a:endParaRPr lang="en-EE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2B982F5-6047-51D9-C45B-4E85C19FDA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49F967-501D-4A51-EDFC-C9974B051A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3949"/>
            <a:ext cx="2438400" cy="97750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A092231-7C2C-D39A-F9EC-22800E0FC4B9}"/>
              </a:ext>
            </a:extLst>
          </p:cNvPr>
          <p:cNvSpPr/>
          <p:nvPr userDrawn="1"/>
        </p:nvSpPr>
        <p:spPr>
          <a:xfrm flipH="1">
            <a:off x="726936" y="536818"/>
            <a:ext cx="90000" cy="2771773"/>
          </a:xfrm>
          <a:prstGeom prst="rect">
            <a:avLst/>
          </a:prstGeom>
          <a:solidFill>
            <a:schemeClr val="tx2"/>
          </a:solidFill>
          <a:ln w="9017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EE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92389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i/tagaleht logoga_4rida_E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323FCC4-5DCD-F3B3-756C-4C1DA83625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27727" y="0"/>
            <a:ext cx="6561873" cy="6858000"/>
          </a:xfrm>
          <a:custGeom>
            <a:avLst/>
            <a:gdLst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0 w 12189600"/>
              <a:gd name="connsiteY9" fmla="*/ 6855671 h 6858000"/>
              <a:gd name="connsiteX10" fmla="*/ 5627727 w 12189600"/>
              <a:gd name="connsiteY10" fmla="*/ 6855671 h 6858000"/>
              <a:gd name="connsiteX11" fmla="*/ 8254334 w 12189600"/>
              <a:gd name="connsiteY11" fmla="*/ 0 h 6858000"/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5627727 w 12189600"/>
              <a:gd name="connsiteY9" fmla="*/ 6855671 h 6858000"/>
              <a:gd name="connsiteX10" fmla="*/ 8254334 w 12189600"/>
              <a:gd name="connsiteY10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4421367 w 6561873"/>
              <a:gd name="connsiteY3" fmla="*/ 5486829 h 6858000"/>
              <a:gd name="connsiteX4" fmla="*/ 3946625 w 6561873"/>
              <a:gd name="connsiteY4" fmla="*/ 5960366 h 6858000"/>
              <a:gd name="connsiteX5" fmla="*/ 4421367 w 6561873"/>
              <a:gd name="connsiteY5" fmla="*/ 6434392 h 6858000"/>
              <a:gd name="connsiteX6" fmla="*/ 6561873 w 6561873"/>
              <a:gd name="connsiteY6" fmla="*/ 6434392 h 6858000"/>
              <a:gd name="connsiteX7" fmla="*/ 6561873 w 6561873"/>
              <a:gd name="connsiteY7" fmla="*/ 6858000 h 6858000"/>
              <a:gd name="connsiteX8" fmla="*/ 0 w 6561873"/>
              <a:gd name="connsiteY8" fmla="*/ 6855671 h 6858000"/>
              <a:gd name="connsiteX9" fmla="*/ 2626607 w 6561873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61873" h="6858000">
                <a:moveTo>
                  <a:pt x="2626607" y="0"/>
                </a:moveTo>
                <a:lnTo>
                  <a:pt x="6561873" y="0"/>
                </a:lnTo>
                <a:lnTo>
                  <a:pt x="6561873" y="5486829"/>
                </a:lnTo>
                <a:lnTo>
                  <a:pt x="4421367" y="5486829"/>
                </a:lnTo>
                <a:cubicBezTo>
                  <a:pt x="4159255" y="5486829"/>
                  <a:pt x="3946625" y="5698919"/>
                  <a:pt x="3946625" y="5960366"/>
                </a:cubicBezTo>
                <a:cubicBezTo>
                  <a:pt x="3946625" y="6222302"/>
                  <a:pt x="4159255" y="6434392"/>
                  <a:pt x="4421367" y="6434392"/>
                </a:cubicBezTo>
                <a:lnTo>
                  <a:pt x="6561873" y="6434392"/>
                </a:lnTo>
                <a:lnTo>
                  <a:pt x="6561873" y="6858000"/>
                </a:lnTo>
                <a:lnTo>
                  <a:pt x="0" y="6855671"/>
                </a:lnTo>
                <a:cubicBezTo>
                  <a:pt x="1630590" y="5035972"/>
                  <a:pt x="2623240" y="2633860"/>
                  <a:pt x="262660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                Click icon to add pictur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6FE6F80-8390-484E-C7E2-E30C3A7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9626" y="657224"/>
            <a:ext cx="5708280" cy="3591391"/>
          </a:xfrm>
        </p:spPr>
        <p:txBody>
          <a:bodyPr/>
          <a:lstStyle>
            <a:lvl1pPr>
              <a:defRPr sz="60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</a:t>
            </a:r>
            <a:br>
              <a:rPr lang="en-GB" dirty="0"/>
            </a:br>
            <a:r>
              <a:rPr lang="en-GB" dirty="0"/>
              <a:t>edit </a:t>
            </a:r>
            <a:br>
              <a:rPr lang="en-GB" dirty="0"/>
            </a:br>
            <a:r>
              <a:rPr lang="en-GB" dirty="0"/>
              <a:t>Master </a:t>
            </a:r>
            <a:br>
              <a:rPr lang="en-GB" dirty="0"/>
            </a:br>
            <a:r>
              <a:rPr lang="en-GB" dirty="0"/>
              <a:t>title style</a:t>
            </a:r>
            <a:endParaRPr lang="en-EE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2B982F5-6047-51D9-C45B-4E85C19FDA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99F2F7-0CEF-4452-0C22-1D4761725C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3949"/>
            <a:ext cx="2438400" cy="977508"/>
          </a:xfrm>
          <a:prstGeom prst="rect">
            <a:avLst/>
          </a:prstGeom>
        </p:spPr>
      </p:pic>
      <p:sp>
        <p:nvSpPr>
          <p:cNvPr id="6" name="Teksti kohatäide 6">
            <a:extLst>
              <a:ext uri="{FF2B5EF4-FFF2-40B4-BE49-F238E27FC236}">
                <a16:creationId xmlns:a16="http://schemas.microsoft.com/office/drawing/2014/main" id="{5C164ACF-E880-BFC2-69E3-2E45341ADE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6940" y="4501662"/>
            <a:ext cx="4629853" cy="1735627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1800" b="0" i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et-EE" sz="2000"/>
              <a:t>Klõpsake juhteksemplari tekstilaadide redigeerimisek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4A90460-8EB5-B96D-409D-72DBB078660A}"/>
              </a:ext>
            </a:extLst>
          </p:cNvPr>
          <p:cNvSpPr/>
          <p:nvPr userDrawn="1"/>
        </p:nvSpPr>
        <p:spPr>
          <a:xfrm flipH="1">
            <a:off x="726936" y="536817"/>
            <a:ext cx="90000" cy="3711798"/>
          </a:xfrm>
          <a:prstGeom prst="rect">
            <a:avLst/>
          </a:prstGeom>
          <a:solidFill>
            <a:schemeClr val="tx2"/>
          </a:solidFill>
          <a:ln w="9017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EE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413390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si/tagaleht logoga E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57F5E5DE-EB90-5243-DC2B-8A0AFE0D23C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26940 w 12192000"/>
              <a:gd name="connsiteY0" fmla="*/ 536818 h 6858000"/>
              <a:gd name="connsiteX1" fmla="*/ 726940 w 12192000"/>
              <a:gd name="connsiteY1" fmla="*/ 2396882 h 6858000"/>
              <a:gd name="connsiteX2" fmla="*/ 772659 w 12192000"/>
              <a:gd name="connsiteY2" fmla="*/ 2396882 h 6858000"/>
              <a:gd name="connsiteX3" fmla="*/ 772659 w 12192000"/>
              <a:gd name="connsiteY3" fmla="*/ 536818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5486829 h 6858000"/>
              <a:gd name="connsiteX7" fmla="*/ 10051073 w 12192000"/>
              <a:gd name="connsiteY7" fmla="*/ 5486829 h 6858000"/>
              <a:gd name="connsiteX8" fmla="*/ 9576237 w 12192000"/>
              <a:gd name="connsiteY8" fmla="*/ 5960366 h 6858000"/>
              <a:gd name="connsiteX9" fmla="*/ 10051073 w 12192000"/>
              <a:gd name="connsiteY9" fmla="*/ 6434392 h 6858000"/>
              <a:gd name="connsiteX10" fmla="*/ 12192000 w 12192000"/>
              <a:gd name="connsiteY10" fmla="*/ 6434392 h 6858000"/>
              <a:gd name="connsiteX11" fmla="*/ 12192000 w 12192000"/>
              <a:gd name="connsiteY11" fmla="*/ 6858000 h 6858000"/>
              <a:gd name="connsiteX12" fmla="*/ 0 w 12192000"/>
              <a:gd name="connsiteY12" fmla="*/ 6858000 h 6858000"/>
              <a:gd name="connsiteX0" fmla="*/ 726940 w 12192000"/>
              <a:gd name="connsiteY0" fmla="*/ 536818 h 6858000"/>
              <a:gd name="connsiteX1" fmla="*/ 726940 w 12192000"/>
              <a:gd name="connsiteY1" fmla="*/ 2396882 h 6858000"/>
              <a:gd name="connsiteX2" fmla="*/ 815729 w 12192000"/>
              <a:gd name="connsiteY2" fmla="*/ 2400195 h 6858000"/>
              <a:gd name="connsiteX3" fmla="*/ 772659 w 12192000"/>
              <a:gd name="connsiteY3" fmla="*/ 536818 h 6858000"/>
              <a:gd name="connsiteX4" fmla="*/ 726940 w 12192000"/>
              <a:gd name="connsiteY4" fmla="*/ 536818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5486829 h 6858000"/>
              <a:gd name="connsiteX8" fmla="*/ 10051073 w 12192000"/>
              <a:gd name="connsiteY8" fmla="*/ 5486829 h 6858000"/>
              <a:gd name="connsiteX9" fmla="*/ 9576237 w 12192000"/>
              <a:gd name="connsiteY9" fmla="*/ 5960366 h 6858000"/>
              <a:gd name="connsiteX10" fmla="*/ 10051073 w 12192000"/>
              <a:gd name="connsiteY10" fmla="*/ 6434392 h 6858000"/>
              <a:gd name="connsiteX11" fmla="*/ 12192000 w 12192000"/>
              <a:gd name="connsiteY11" fmla="*/ 64343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726940 w 12192000"/>
              <a:gd name="connsiteY0" fmla="*/ 536818 h 6858000"/>
              <a:gd name="connsiteX1" fmla="*/ 726940 w 12192000"/>
              <a:gd name="connsiteY1" fmla="*/ 2396882 h 6858000"/>
              <a:gd name="connsiteX2" fmla="*/ 815729 w 12192000"/>
              <a:gd name="connsiteY2" fmla="*/ 2400195 h 6858000"/>
              <a:gd name="connsiteX3" fmla="*/ 815729 w 12192000"/>
              <a:gd name="connsiteY3" fmla="*/ 536818 h 6858000"/>
              <a:gd name="connsiteX4" fmla="*/ 726940 w 12192000"/>
              <a:gd name="connsiteY4" fmla="*/ 536818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5486829 h 6858000"/>
              <a:gd name="connsiteX8" fmla="*/ 10051073 w 12192000"/>
              <a:gd name="connsiteY8" fmla="*/ 5486829 h 6858000"/>
              <a:gd name="connsiteX9" fmla="*/ 9576237 w 12192000"/>
              <a:gd name="connsiteY9" fmla="*/ 5960366 h 6858000"/>
              <a:gd name="connsiteX10" fmla="*/ 10051073 w 12192000"/>
              <a:gd name="connsiteY10" fmla="*/ 6434392 h 6858000"/>
              <a:gd name="connsiteX11" fmla="*/ 12192000 w 12192000"/>
              <a:gd name="connsiteY11" fmla="*/ 64343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726940" y="536818"/>
                </a:moveTo>
                <a:lnTo>
                  <a:pt x="726940" y="2396882"/>
                </a:lnTo>
                <a:lnTo>
                  <a:pt x="815729" y="2400195"/>
                </a:lnTo>
                <a:lnTo>
                  <a:pt x="815729" y="536818"/>
                </a:lnTo>
                <a:lnTo>
                  <a:pt x="726940" y="53681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86829"/>
                </a:lnTo>
                <a:lnTo>
                  <a:pt x="10051073" y="5486829"/>
                </a:lnTo>
                <a:cubicBezTo>
                  <a:pt x="9788909" y="5486829"/>
                  <a:pt x="9576237" y="5698919"/>
                  <a:pt x="9576237" y="5960366"/>
                </a:cubicBezTo>
                <a:cubicBezTo>
                  <a:pt x="9576237" y="6222302"/>
                  <a:pt x="9788909" y="6434392"/>
                  <a:pt x="10051073" y="6434392"/>
                </a:cubicBezTo>
                <a:lnTo>
                  <a:pt x="12192000" y="6434392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tabLst>
                <a:tab pos="4975225" algn="l"/>
              </a:tabLst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30A07A-D1B4-2C3E-1BE4-1944F7732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625" y="657225"/>
            <a:ext cx="9949751" cy="1619251"/>
          </a:xfrm>
        </p:spPr>
        <p:txBody>
          <a:bodyPr/>
          <a:lstStyle>
            <a:lvl1pPr>
              <a:defRPr sz="6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EE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C933BE91-3456-895A-7379-5C50688685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6" name="Picture Placeholder 369">
            <a:extLst>
              <a:ext uri="{FF2B5EF4-FFF2-40B4-BE49-F238E27FC236}">
                <a16:creationId xmlns:a16="http://schemas.microsoft.com/office/drawing/2014/main" id="{A0D99C92-A2A5-7B65-91C8-AB0A88785F76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4842702"/>
            <a:ext cx="5400000" cy="20152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EE"/>
              <a:t>Täpila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EFA925-C795-C74F-F247-8D3C84EB03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3949"/>
            <a:ext cx="2438400" cy="977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858190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si/tagaleht logoga E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D3D8D9-23B9-7AE8-30A9-F07E4A71E55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486829 h 6858000"/>
              <a:gd name="connsiteX3" fmla="*/ 10051073 w 12192000"/>
              <a:gd name="connsiteY3" fmla="*/ 5486829 h 6858000"/>
              <a:gd name="connsiteX4" fmla="*/ 9576237 w 12192000"/>
              <a:gd name="connsiteY4" fmla="*/ 5960366 h 6858000"/>
              <a:gd name="connsiteX5" fmla="*/ 10051073 w 12192000"/>
              <a:gd name="connsiteY5" fmla="*/ 6434392 h 6858000"/>
              <a:gd name="connsiteX6" fmla="*/ 12192000 w 12192000"/>
              <a:gd name="connsiteY6" fmla="*/ 64343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486829"/>
                </a:lnTo>
                <a:lnTo>
                  <a:pt x="10051073" y="5486829"/>
                </a:lnTo>
                <a:cubicBezTo>
                  <a:pt x="9788909" y="5486829"/>
                  <a:pt x="9576237" y="5698919"/>
                  <a:pt x="9576237" y="5960366"/>
                </a:cubicBezTo>
                <a:cubicBezTo>
                  <a:pt x="9576237" y="6222302"/>
                  <a:pt x="9788909" y="6434392"/>
                  <a:pt x="10051073" y="6434392"/>
                </a:cubicBezTo>
                <a:lnTo>
                  <a:pt x="12192000" y="64343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Click icon to add pictur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A6544BD-E47A-BDB2-A0A7-FEE3CBD9E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10522334" cy="1617675"/>
          </a:xfrm>
        </p:spPr>
        <p:txBody>
          <a:bodyPr/>
          <a:lstStyle>
            <a:lvl1pPr>
              <a:defRPr sz="6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4A5A21-A3CA-77C4-9598-111AA3165F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Picture Placeholder 369">
            <a:extLst>
              <a:ext uri="{FF2B5EF4-FFF2-40B4-BE49-F238E27FC236}">
                <a16:creationId xmlns:a16="http://schemas.microsoft.com/office/drawing/2014/main" id="{74E0B818-A99E-F20D-0FB9-1BE9D6051DC8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4842702"/>
            <a:ext cx="5400000" cy="20152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EE"/>
              <a:t>Täpila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7FAE1D-E3F4-D924-FA98-C18CA16397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3949"/>
            <a:ext cx="2438400" cy="977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365944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õpuslaid_hall_logodeg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6965633" cy="1617675"/>
          </a:xfrm>
        </p:spPr>
        <p:txBody>
          <a:bodyPr/>
          <a:lstStyle>
            <a:lvl1pPr>
              <a:defRPr sz="60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7BF905E-5D00-0711-AE42-4F56B8586B6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06937" y="4471640"/>
            <a:ext cx="3824869" cy="176565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s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6B34B8F-A7FD-F832-9AA7-EF869D3210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6713615" cy="2808288"/>
          </a:xfrm>
          <a:prstGeom prst="rect">
            <a:avLst/>
          </a:prstGeom>
        </p:spPr>
        <p:txBody>
          <a:bodyPr bIns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7722260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õpuslaid_valge_logodeg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6957531" cy="1617675"/>
          </a:xfrm>
        </p:spPr>
        <p:txBody>
          <a:bodyPr/>
          <a:lstStyle>
            <a:lvl1pPr>
              <a:defRPr sz="6000" b="0" i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6713615" cy="2808288"/>
          </a:xfrm>
          <a:prstGeom prst="rect">
            <a:avLst/>
          </a:prstGeom>
        </p:spPr>
        <p:txBody>
          <a:bodyPr bIns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9D7781A8-3604-CDB7-63A1-35D216761BA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06937" y="4471640"/>
            <a:ext cx="3824869" cy="176565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s</a:t>
            </a:r>
          </a:p>
        </p:txBody>
      </p:sp>
    </p:spTree>
    <p:extLst>
      <p:ext uri="{BB962C8B-B14F-4D97-AF65-F5344CB8AC3E}">
        <p14:creationId xmlns:p14="http://schemas.microsoft.com/office/powerpoint/2010/main" val="3808854529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Vahepealkiri_sin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pic>
        <p:nvPicPr>
          <p:cNvPr id="5" name="Picture 4" descr="A black and white dotted background&#10;&#10;Description automatically generated">
            <a:extLst>
              <a:ext uri="{FF2B5EF4-FFF2-40B4-BE49-F238E27FC236}">
                <a16:creationId xmlns:a16="http://schemas.microsoft.com/office/drawing/2014/main" id="{D17F4CBE-DC0E-BBB1-2D5D-0CB0B205B1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00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796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hepealkiri_hall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pic>
        <p:nvPicPr>
          <p:cNvPr id="4" name="Picture 3" descr="A blue and black dotted wave&#10;&#10;Description automatically generated">
            <a:extLst>
              <a:ext uri="{FF2B5EF4-FFF2-40B4-BE49-F238E27FC236}">
                <a16:creationId xmlns:a16="http://schemas.microsoft.com/office/drawing/2014/main" id="{62122B85-92CA-8789-0DE8-FB983B6DC3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00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801281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content_bottom-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9572" y="2209800"/>
            <a:ext cx="10292856" cy="3053038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b="0" i="0">
                <a:solidFill>
                  <a:schemeClr val="accent5"/>
                </a:solidFill>
                <a:latin typeface="+mn-lt"/>
                <a:cs typeface="Museo Slab 300"/>
              </a:defRPr>
            </a:lvl1pPr>
            <a:lvl2pPr>
              <a:buClr>
                <a:schemeClr val="accent1"/>
              </a:buClr>
              <a:buSzPct val="125000"/>
              <a:buFont typeface="Wingdings" pitchFamily="2" charset="2"/>
              <a:buChar char="§"/>
              <a:defRPr sz="2000" b="0" i="0">
                <a:solidFill>
                  <a:schemeClr val="accent5"/>
                </a:solidFill>
                <a:latin typeface="+mn-lt"/>
                <a:cs typeface="Museo Slab 300"/>
              </a:defRPr>
            </a:lvl2pPr>
            <a:lvl3pPr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b="0" i="0">
                <a:solidFill>
                  <a:schemeClr val="accent5"/>
                </a:solidFill>
                <a:latin typeface="+mn-lt"/>
                <a:cs typeface="Museo Slab 300"/>
              </a:defRPr>
            </a:lvl3pPr>
            <a:lvl4pPr>
              <a:buClr>
                <a:schemeClr val="accent1"/>
              </a:buClr>
              <a:buSzPct val="125000"/>
              <a:buFont typeface="Wingdings" pitchFamily="2" charset="2"/>
              <a:buChar char="§"/>
              <a:defRPr sz="1600" b="0" i="0">
                <a:solidFill>
                  <a:schemeClr val="accent5"/>
                </a:solidFill>
                <a:latin typeface="+mn-lt"/>
                <a:cs typeface="Museo Slab 300"/>
              </a:defRPr>
            </a:lvl4pPr>
            <a:lvl5pPr>
              <a:buClr>
                <a:schemeClr val="accent1"/>
              </a:buClr>
              <a:buSzPct val="125000"/>
              <a:buFont typeface="Wingdings" pitchFamily="2" charset="2"/>
              <a:buChar char="§"/>
              <a:defRPr sz="1400" b="0" i="0">
                <a:solidFill>
                  <a:schemeClr val="accent5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49572" y="1524000"/>
            <a:ext cx="10292856" cy="609600"/>
          </a:xfrm>
        </p:spPr>
        <p:txBody>
          <a:bodyPr>
            <a:noAutofit/>
          </a:bodyPr>
          <a:lstStyle>
            <a:lvl1pPr>
              <a:buNone/>
              <a:defRPr sz="2800" b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in sentence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BABF8012-9965-4BAF-A594-3F6F2F652BE0}"/>
              </a:ext>
            </a:extLst>
          </p:cNvPr>
          <p:cNvSpPr/>
          <p:nvPr userDrawn="1"/>
        </p:nvSpPr>
        <p:spPr>
          <a:xfrm>
            <a:off x="9891252" y="4616249"/>
            <a:ext cx="2300749" cy="2241755"/>
          </a:xfrm>
          <a:prstGeom prst="triangle">
            <a:avLst>
              <a:gd name="adj" fmla="val 10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1388" y="63363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2"/>
                </a:solidFill>
                <a:latin typeface="+mn-lt"/>
                <a:cs typeface="Museo Sans 300"/>
              </a:defRPr>
            </a:lvl1pPr>
          </a:lstStyle>
          <a:p>
            <a:fld id="{F32F67E5-730B-4B3A-9A58-41E5E3F0691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401F3C-5133-4946-B9C3-622788077AF9}"/>
              </a:ext>
            </a:extLst>
          </p:cNvPr>
          <p:cNvCxnSpPr>
            <a:cxnSpLocks/>
          </p:cNvCxnSpPr>
          <p:nvPr userDrawn="1"/>
        </p:nvCxnSpPr>
        <p:spPr>
          <a:xfrm>
            <a:off x="949572" y="1165761"/>
            <a:ext cx="1029285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7B333BB0-0257-4CBE-BDEA-A24FAFC83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47342"/>
            <a:ext cx="10292856" cy="891111"/>
          </a:xfrm>
        </p:spPr>
        <p:txBody>
          <a:bodyPr lIns="0" bIns="0" anchor="b"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chemeClr val="accent1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F:\Karen Flash\Logos &amp; Letterhead\MOH Logo\PHOTO-2021-11-15-09-15-23 (1)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27" y="5879805"/>
            <a:ext cx="871868" cy="8661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42908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hepealkiri_val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pic>
        <p:nvPicPr>
          <p:cNvPr id="4" name="Picture 3" descr="A blue and black dotted wave&#10;&#10;Description automatically generated">
            <a:extLst>
              <a:ext uri="{FF2B5EF4-FFF2-40B4-BE49-F238E27FC236}">
                <a16:creationId xmlns:a16="http://schemas.microsoft.com/office/drawing/2014/main" id="{E16DE1CB-5146-9D76-8FF4-C6151C7666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00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890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Vahepealkiri_sin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7" y="1809000"/>
            <a:ext cx="10944227" cy="3240000"/>
          </a:xfrm>
        </p:spPr>
        <p:txBody>
          <a:bodyPr anchor="ctr" anchorCtr="0"/>
          <a:lstStyle>
            <a:lvl1pPr algn="ctr"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pic>
        <p:nvPicPr>
          <p:cNvPr id="3" name="Picture 2" descr="A black and white dotted background&#10;&#10;Description automatically generated">
            <a:extLst>
              <a:ext uri="{FF2B5EF4-FFF2-40B4-BE49-F238E27FC236}">
                <a16:creationId xmlns:a16="http://schemas.microsoft.com/office/drawing/2014/main" id="{FCCC075F-281A-3DD3-016E-FAB6ADA865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00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648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hepealkiri_hall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7" y="1809000"/>
            <a:ext cx="10944227" cy="3240000"/>
          </a:xfrm>
        </p:spPr>
        <p:txBody>
          <a:bodyPr anchor="ctr" anchorCtr="0"/>
          <a:lstStyle>
            <a:lvl1pPr algn="ctr"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pic>
        <p:nvPicPr>
          <p:cNvPr id="4" name="Picture 3" descr="A blue and black dotted wave&#10;&#10;Description automatically generated">
            <a:extLst>
              <a:ext uri="{FF2B5EF4-FFF2-40B4-BE49-F238E27FC236}">
                <a16:creationId xmlns:a16="http://schemas.microsoft.com/office/drawing/2014/main" id="{420CD528-44D3-729C-E05A-0A0430387D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00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47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hepealkiri_valge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7" y="1809000"/>
            <a:ext cx="10944227" cy="3240000"/>
          </a:xfrm>
        </p:spPr>
        <p:txBody>
          <a:bodyPr anchor="ctr" anchorCtr="0"/>
          <a:lstStyle>
            <a:lvl1pPr algn="ctr">
              <a:defRPr sz="6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pic>
        <p:nvPicPr>
          <p:cNvPr id="4" name="Picture 3" descr="A blue and black dotted wave&#10;&#10;Description automatically generated">
            <a:extLst>
              <a:ext uri="{FF2B5EF4-FFF2-40B4-BE49-F238E27FC236}">
                <a16:creationId xmlns:a16="http://schemas.microsoft.com/office/drawing/2014/main" id="{C59DCB50-C734-18D4-6D6D-2651D7C5FB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00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20676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ahepealkiri_sin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pic>
        <p:nvPicPr>
          <p:cNvPr id="8" name="Picture 7" descr="A white dots on a black background&#10;&#10;Description automatically generated">
            <a:extLst>
              <a:ext uri="{FF2B5EF4-FFF2-40B4-BE49-F238E27FC236}">
                <a16:creationId xmlns:a16="http://schemas.microsoft.com/office/drawing/2014/main" id="{1EE8E74E-4671-5499-2EC4-1D4BA564B3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498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ahepealkiri_hall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pic>
        <p:nvPicPr>
          <p:cNvPr id="3" name="Picture 2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F6FAF516-32F9-EB9C-8845-AE3C0F6E63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106411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Vahepealkiri_val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pic>
        <p:nvPicPr>
          <p:cNvPr id="3" name="Picture 2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A7CB4C40-ECC1-28B3-2B32-4DDB30F598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859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Vahepealkiri_sin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000" y="1809000"/>
            <a:ext cx="10944000" cy="3240000"/>
          </a:xfrm>
        </p:spPr>
        <p:txBody>
          <a:bodyPr anchor="ctr" anchorCtr="0"/>
          <a:lstStyle>
            <a:lvl1pPr algn="ctr"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pic>
        <p:nvPicPr>
          <p:cNvPr id="4" name="Picture 3" descr="A white dots on a black background&#10;&#10;Description automatically generated">
            <a:extLst>
              <a:ext uri="{FF2B5EF4-FFF2-40B4-BE49-F238E27FC236}">
                <a16:creationId xmlns:a16="http://schemas.microsoft.com/office/drawing/2014/main" id="{50142099-1996-2CFC-F73A-8CAF21D27D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772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ahepealkiri_hall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7" y="1809000"/>
            <a:ext cx="10944227" cy="3240000"/>
          </a:xfrm>
        </p:spPr>
        <p:txBody>
          <a:bodyPr anchor="ctr" anchorCtr="0"/>
          <a:lstStyle>
            <a:lvl1pPr algn="ctr"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pic>
        <p:nvPicPr>
          <p:cNvPr id="3" name="Picture 2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E8EE7A74-9E23-ED84-282A-6F55081A42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660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Vahepealkiri_valge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7" y="1809000"/>
            <a:ext cx="10944227" cy="3240000"/>
          </a:xfrm>
        </p:spPr>
        <p:txBody>
          <a:bodyPr anchor="ctr" anchorCtr="0"/>
          <a:lstStyle>
            <a:lvl1pPr algn="ctr">
              <a:defRPr sz="6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pic>
        <p:nvPicPr>
          <p:cNvPr id="3" name="Picture 2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FA14F595-3BC3-0F08-CB7C-C4EBB0DAAE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439863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19C9877-5612-47B5-9F46-1951A60A03D2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008D599-518E-4BEA-9974-F85840E4A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6435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hepealkiri fotog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1809000"/>
            <a:ext cx="10944227" cy="3240000"/>
          </a:xfrm>
        </p:spPr>
        <p:txBody>
          <a:bodyPr anchor="ctr" anchorCtr="0"/>
          <a:lstStyle>
            <a:lvl1pPr algn="ctr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9519430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hepealkiri fotoga + täpid pare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Click icon to add pictur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7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7480AB8-622B-99BC-0CC1-E07048BA1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 sz="6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3" name="Picture Placeholder 369">
            <a:extLst>
              <a:ext uri="{FF2B5EF4-FFF2-40B4-BE49-F238E27FC236}">
                <a16:creationId xmlns:a16="http://schemas.microsoft.com/office/drawing/2014/main" id="{84CB2BE2-3BDB-BA5A-BF60-4AAF51BE90B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 flipH="1">
            <a:off x="6792000" y="4842702"/>
            <a:ext cx="5403600" cy="20152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EE" dirty="0"/>
              <a:t>Täpilaine</a:t>
            </a:r>
          </a:p>
        </p:txBody>
      </p:sp>
    </p:spTree>
    <p:extLst>
      <p:ext uri="{BB962C8B-B14F-4D97-AF65-F5344CB8AC3E}">
        <p14:creationId xmlns:p14="http://schemas.microsoft.com/office/powerpoint/2010/main" val="8852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hepealkiri fotoga + täpid vasak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>
              <a:buNone/>
              <a:defRPr/>
            </a:lvl4pPr>
          </a:lstStyle>
          <a:p>
            <a:r>
              <a:rPr lang="en-GB"/>
              <a:t>Click icon to add pictur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1DC3A10-8DE9-162E-EE0D-EE852BBA29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12FB3E-6D83-6EF3-4A5A-FCA24ED15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 sz="6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8" name="Picture Placeholder 369">
            <a:extLst>
              <a:ext uri="{FF2B5EF4-FFF2-40B4-BE49-F238E27FC236}">
                <a16:creationId xmlns:a16="http://schemas.microsoft.com/office/drawing/2014/main" id="{9DECD6CE-3524-A96A-92A3-B3563DFB97F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4842702"/>
            <a:ext cx="5400000" cy="20152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EE"/>
              <a:t>Täpilaine</a:t>
            </a:r>
          </a:p>
        </p:txBody>
      </p:sp>
    </p:spTree>
    <p:extLst>
      <p:ext uri="{BB962C8B-B14F-4D97-AF65-F5344CB8AC3E}">
        <p14:creationId xmlns:p14="http://schemas.microsoft.com/office/powerpoint/2010/main" val="221287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ühi slaid_Sin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36141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ühi slaid_Hal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5794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ühi slaid_val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9029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su_Sin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2"/>
            <a:ext cx="10944000" cy="97463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10944000" cy="1421993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9" y="3055434"/>
            <a:ext cx="10943998" cy="3181855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bg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t-EE" dirty="0"/>
              <a:t>Klõpsake redigeerimiseks</a:t>
            </a:r>
          </a:p>
          <a:p>
            <a:pPr lvl="0"/>
            <a:endParaRPr lang="et-EE" dirty="0"/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</p:spTree>
    <p:extLst>
      <p:ext uri="{BB962C8B-B14F-4D97-AF65-F5344CB8AC3E}">
        <p14:creationId xmlns:p14="http://schemas.microsoft.com/office/powerpoint/2010/main" val="722604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su_Hal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2"/>
            <a:ext cx="10944000" cy="97463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10944000" cy="1421993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9" y="3055434"/>
            <a:ext cx="10943998" cy="3181855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t-EE" dirty="0"/>
              <a:t>Klõpsake redigeerimiseks</a:t>
            </a:r>
          </a:p>
          <a:p>
            <a:pPr lvl="0"/>
            <a:endParaRPr lang="et-EE" dirty="0"/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</p:spTree>
    <p:extLst>
      <p:ext uri="{BB962C8B-B14F-4D97-AF65-F5344CB8AC3E}">
        <p14:creationId xmlns:p14="http://schemas.microsoft.com/office/powerpoint/2010/main" val="2983008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su_Val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2"/>
            <a:ext cx="10944000" cy="97463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10944000" cy="1421993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4001" y="3055434"/>
            <a:ext cx="10943998" cy="3181855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t-EE" dirty="0"/>
              <a:t>Klõpsake redigeerimiseks</a:t>
            </a:r>
          </a:p>
          <a:p>
            <a:pPr lvl="0"/>
            <a:endParaRPr lang="et-EE" dirty="0"/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</p:spTree>
    <p:extLst>
      <p:ext uri="{BB962C8B-B14F-4D97-AF65-F5344CB8AC3E}">
        <p14:creationId xmlns:p14="http://schemas.microsoft.com/office/powerpoint/2010/main" val="2122559338"/>
      </p:ext>
    </p:extLst>
  </p:cSld>
  <p:clrMapOvr>
    <a:masterClrMapping/>
  </p:clrMapOvr>
  <p:transition spd="slow">
    <p:push dir="u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su_Sin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6" y="658802"/>
            <a:ext cx="10944000" cy="974638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C58903D-0FAC-22B0-B4CC-3D5A243814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0"/>
            <a:ext cx="10944000" cy="1488901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274058E-3B34-E670-4220-CD3B2B018E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233854"/>
            <a:ext cx="5333998" cy="3003434"/>
          </a:xfrm>
          <a:prstGeom prst="rect">
            <a:avLst/>
          </a:prstGeom>
        </p:spPr>
        <p:txBody>
          <a:bodyPr wrap="square" bIns="0" anchor="b" anchorCtr="0"/>
          <a:lstStyle>
            <a:lvl1pPr>
              <a:buClr>
                <a:schemeClr val="tx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t-EE" dirty="0"/>
              <a:t>Klõpsake redigeerimiseks</a:t>
            </a:r>
          </a:p>
          <a:p>
            <a:pPr lvl="0"/>
            <a:endParaRPr lang="et-EE" dirty="0"/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  <p:sp>
        <p:nvSpPr>
          <p:cNvPr id="11" name="Teksti kohatäide 3">
            <a:extLst>
              <a:ext uri="{FF2B5EF4-FFF2-40B4-BE49-F238E27FC236}">
                <a16:creationId xmlns:a16="http://schemas.microsoft.com/office/drawing/2014/main" id="{9B8D5616-2965-A1DA-C1FB-ED0E61DC8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4117" y="3233854"/>
            <a:ext cx="5333770" cy="3003434"/>
          </a:xfrm>
          <a:prstGeom prst="rect">
            <a:avLst/>
          </a:prstGeom>
        </p:spPr>
        <p:txBody>
          <a:bodyPr anchor="b" anchorCtr="0"/>
          <a:lstStyle>
            <a:lvl1pPr>
              <a:buClr>
                <a:schemeClr val="tx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t-EE" dirty="0"/>
              <a:t>Klõpsake redigeerimiseks</a:t>
            </a:r>
          </a:p>
          <a:p>
            <a:pPr lvl="0"/>
            <a:endParaRPr lang="et-EE" dirty="0"/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</p:spTree>
    <p:extLst>
      <p:ext uri="{BB962C8B-B14F-4D97-AF65-F5344CB8AC3E}">
        <p14:creationId xmlns:p14="http://schemas.microsoft.com/office/powerpoint/2010/main" val="1843857162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836915-A50F-40FF-BCFB-95D35BD7A9CD}" type="datetime1">
              <a:rPr lang="en-US" smtClean="0"/>
              <a:t>10/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MOH.MCH.EPI. "To reduce the incidence of cervical cancer by preventing HPV infection through vaccination."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85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su_Hall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2"/>
            <a:ext cx="10944000" cy="9746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0"/>
            <a:ext cx="10944000" cy="147551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D81D1D37-F210-76A7-02CB-906EE4DF69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233854"/>
            <a:ext cx="5333998" cy="3003434"/>
          </a:xfrm>
          <a:prstGeom prst="rect">
            <a:avLst/>
          </a:prstGeom>
        </p:spPr>
        <p:txBody>
          <a:bodyPr wrap="square" bIns="0" anchor="b" anchorCtr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t-EE" dirty="0"/>
              <a:t>Esimene tase</a:t>
            </a:r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  <p:sp>
        <p:nvSpPr>
          <p:cNvPr id="5" name="Teksti kohatäide 3">
            <a:extLst>
              <a:ext uri="{FF2B5EF4-FFF2-40B4-BE49-F238E27FC236}">
                <a16:creationId xmlns:a16="http://schemas.microsoft.com/office/drawing/2014/main" id="{410114DA-66CC-8543-C54F-C78EFDDE48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4117" y="3233854"/>
            <a:ext cx="5333770" cy="3003434"/>
          </a:xfrm>
          <a:prstGeom prst="rect">
            <a:avLst/>
          </a:prstGeom>
        </p:spPr>
        <p:txBody>
          <a:bodyPr anchor="b" anchorCtr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t-EE" dirty="0"/>
              <a:t>Esimene tase</a:t>
            </a:r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</p:spTree>
    <p:extLst>
      <p:ext uri="{BB962C8B-B14F-4D97-AF65-F5344CB8AC3E}">
        <p14:creationId xmlns:p14="http://schemas.microsoft.com/office/powerpoint/2010/main" val="1934616679"/>
      </p:ext>
    </p:extLst>
  </p:cSld>
  <p:clrMapOvr>
    <a:masterClrMapping/>
  </p:clrMapOvr>
  <p:transition spd="slow">
    <p:push dir="u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su_Val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2"/>
            <a:ext cx="10944000" cy="974639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0"/>
            <a:ext cx="10944000" cy="1488901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B15CD4D-3DE1-15EA-809F-3C4B25F80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233854"/>
            <a:ext cx="5333998" cy="3003434"/>
          </a:xfrm>
          <a:prstGeom prst="rect">
            <a:avLst/>
          </a:prstGeom>
        </p:spPr>
        <p:txBody>
          <a:bodyPr wrap="square" bIns="0" anchor="b" anchorCtr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t-EE" dirty="0"/>
              <a:t>Esimene tase</a:t>
            </a:r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  <p:sp>
        <p:nvSpPr>
          <p:cNvPr id="7" name="Teksti kohatäide 3">
            <a:extLst>
              <a:ext uri="{FF2B5EF4-FFF2-40B4-BE49-F238E27FC236}">
                <a16:creationId xmlns:a16="http://schemas.microsoft.com/office/drawing/2014/main" id="{66561D95-6278-DEDE-F58F-B2498991AB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4117" y="3233854"/>
            <a:ext cx="5333770" cy="3003434"/>
          </a:xfrm>
          <a:prstGeom prst="rect">
            <a:avLst/>
          </a:prstGeom>
        </p:spPr>
        <p:txBody>
          <a:bodyPr anchor="b" anchorCtr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t-EE" dirty="0"/>
              <a:t>Esimene tase</a:t>
            </a:r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</p:spTree>
    <p:extLst>
      <p:ext uri="{BB962C8B-B14F-4D97-AF65-F5344CB8AC3E}">
        <p14:creationId xmlns:p14="http://schemas.microsoft.com/office/powerpoint/2010/main" val="3070038351"/>
      </p:ext>
    </p:extLst>
  </p:cSld>
  <p:clrMapOvr>
    <a:masterClrMapping/>
  </p:clrMapOvr>
  <p:transition spd="slow">
    <p:push dir="u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isu_Sin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658801"/>
            <a:ext cx="10943999" cy="1617675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50741"/>
            <a:ext cx="10944000" cy="4486547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tx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1209951"/>
      </p:ext>
    </p:extLst>
  </p:cSld>
  <p:clrMapOvr>
    <a:masterClrMapping/>
  </p:clrMapOvr>
  <p:transition spd="slow">
    <p:push dir="u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isu_Hall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658801"/>
            <a:ext cx="10944000" cy="1617675"/>
          </a:xfrm>
        </p:spPr>
        <p:txBody>
          <a:bodyPr/>
          <a:lstStyle>
            <a:lvl1pPr>
              <a:defRPr sz="5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12653"/>
            <a:ext cx="10944000" cy="4524636"/>
          </a:xfrm>
          <a:prstGeom prst="rect">
            <a:avLst/>
          </a:prstGeom>
        </p:spPr>
        <p:txBody>
          <a:bodyPr wrap="square" bIns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3713489"/>
      </p:ext>
    </p:extLst>
  </p:cSld>
  <p:clrMapOvr>
    <a:masterClrMapping/>
  </p:clrMapOvr>
  <p:transition spd="slow">
    <p:push dir="u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isu_Val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658801"/>
            <a:ext cx="10944000" cy="16176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8DE4B2D1-AF69-83C1-9EA7-F336925CD6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12653"/>
            <a:ext cx="10944000" cy="4524636"/>
          </a:xfrm>
          <a:prstGeom prst="rect">
            <a:avLst/>
          </a:prstGeom>
        </p:spPr>
        <p:txBody>
          <a:bodyPr wrap="square" bIns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384711"/>
      </p:ext>
    </p:extLst>
  </p:cSld>
  <p:clrMapOvr>
    <a:masterClrMapping/>
  </p:clrMapOvr>
  <p:transition spd="slow">
    <p:push dir="u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isu_Sin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94CF298-A6B7-C76B-DB85-269436838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6" y="658802"/>
            <a:ext cx="10944000" cy="1114242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7A1AA7C-1EC0-2EAA-2422-D91B570F3D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6" y="1962614"/>
            <a:ext cx="5333999" cy="4273200"/>
          </a:xfrm>
          <a:prstGeom prst="rect">
            <a:avLst/>
          </a:prstGeom>
        </p:spPr>
        <p:txBody>
          <a:bodyPr wrap="square" bIns="0" anchor="b" anchorCtr="0"/>
          <a:lstStyle>
            <a:lvl1pPr>
              <a:buClr>
                <a:schemeClr val="tx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6" name="Teksti kohatäide 3">
            <a:extLst>
              <a:ext uri="{FF2B5EF4-FFF2-40B4-BE49-F238E27FC236}">
                <a16:creationId xmlns:a16="http://schemas.microsoft.com/office/drawing/2014/main" id="{5DC5E15F-754B-3BB6-5778-4784912252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4117" y="1962614"/>
            <a:ext cx="5333998" cy="4274673"/>
          </a:xfrm>
          <a:prstGeom prst="rect">
            <a:avLst/>
          </a:prstGeom>
        </p:spPr>
        <p:txBody>
          <a:bodyPr anchor="b" anchorCtr="0"/>
          <a:lstStyle>
            <a:lvl1pPr>
              <a:buClr>
                <a:schemeClr val="tx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2355743"/>
      </p:ext>
    </p:extLst>
  </p:cSld>
  <p:clrMapOvr>
    <a:masterClrMapping/>
  </p:clrMapOvr>
  <p:transition spd="slow">
    <p:push dir="u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isu_Hall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000" cy="122575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74F2DA10-9148-B9D4-4FD7-0F1FC4FB9E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1962616"/>
            <a:ext cx="5333998" cy="4274672"/>
          </a:xfrm>
          <a:prstGeom prst="rect">
            <a:avLst/>
          </a:prstGeom>
        </p:spPr>
        <p:txBody>
          <a:bodyPr wrap="square" bIns="0" anchor="b" anchorCtr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8" name="Teksti kohatäide 3">
            <a:extLst>
              <a:ext uri="{FF2B5EF4-FFF2-40B4-BE49-F238E27FC236}">
                <a16:creationId xmlns:a16="http://schemas.microsoft.com/office/drawing/2014/main" id="{F8DBE1C6-1619-02CD-145F-80D5F6F61B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4117" y="1962616"/>
            <a:ext cx="5333770" cy="4274672"/>
          </a:xfrm>
          <a:prstGeom prst="rect">
            <a:avLst/>
          </a:prstGeom>
        </p:spPr>
        <p:txBody>
          <a:bodyPr anchor="b" anchorCtr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922850"/>
      </p:ext>
    </p:extLst>
  </p:cSld>
  <p:clrMapOvr>
    <a:masterClrMapping/>
  </p:clrMapOvr>
  <p:transition spd="slow">
    <p:push dir="u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isu_Val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D61E035-0075-833A-FD33-B4AD08FC2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000" cy="122575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CE97DD7-FBBF-6297-4FC5-D872BF8E64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1962616"/>
            <a:ext cx="5333998" cy="4274672"/>
          </a:xfrm>
          <a:prstGeom prst="rect">
            <a:avLst/>
          </a:prstGeom>
        </p:spPr>
        <p:txBody>
          <a:bodyPr wrap="square" bIns="0" anchor="b" anchorCtr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6" name="Teksti kohatäide 3">
            <a:extLst>
              <a:ext uri="{FF2B5EF4-FFF2-40B4-BE49-F238E27FC236}">
                <a16:creationId xmlns:a16="http://schemas.microsoft.com/office/drawing/2014/main" id="{0264A5E0-A977-E6C5-D4C2-E5808E724F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4117" y="1962616"/>
            <a:ext cx="5333770" cy="4274672"/>
          </a:xfrm>
          <a:prstGeom prst="rect">
            <a:avLst/>
          </a:prstGeom>
        </p:spPr>
        <p:txBody>
          <a:bodyPr anchor="b" anchorCtr="0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3185840"/>
      </p:ext>
    </p:extLst>
  </p:cSld>
  <p:clrMapOvr>
    <a:masterClrMapping/>
  </p:clrMapOvr>
  <p:transition spd="slow">
    <p:push dir="u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isu_Suur list_sin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FF7499B-C7EA-E456-F005-43E96D8C24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123440"/>
            <a:ext cx="10944225" cy="411384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719982" indent="-71998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Roboto"/>
              <a:buChar char="●"/>
              <a:defRPr sz="3600" b="0" i="0">
                <a:solidFill>
                  <a:schemeClr val="tx1"/>
                </a:solidFill>
                <a:latin typeface="+mn-lt"/>
                <a:ea typeface="Roboto Light" panose="02000000000000000000" pitchFamily="2" charset="0"/>
              </a:defRPr>
            </a:lvl1pPr>
            <a:lvl2pPr marL="539987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2pPr>
            <a:lvl3pPr marL="809980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3pPr>
            <a:lvl4pPr marL="1169971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4pPr>
            <a:lvl5pPr marL="1079973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large bullet lis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101A4D-2552-C188-EE4A-CB4B50586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4" cy="161767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77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isu_Suur list_Hall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27D9916-8724-20C4-81E3-147203331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4" cy="161767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3C64AC-9BFE-CB32-A656-6E3F2650D2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123440"/>
            <a:ext cx="10944225" cy="411384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685800" indent="-6858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5"/>
              </a:buClr>
              <a:buFont typeface="Roboto"/>
              <a:buChar char="●"/>
              <a:defRPr sz="3600" b="0" i="0">
                <a:solidFill>
                  <a:schemeClr val="tx1"/>
                </a:solidFill>
                <a:latin typeface="+mn-lt"/>
                <a:ea typeface="Roboto Light" panose="02000000000000000000" pitchFamily="2" charset="0"/>
              </a:defRPr>
            </a:lvl1pPr>
            <a:lvl2pPr marL="539987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2pPr>
            <a:lvl3pPr marL="809980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3pPr>
            <a:lvl4pPr marL="1169971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4pPr>
            <a:lvl5pPr marL="1079973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large bullet list</a:t>
            </a:r>
          </a:p>
        </p:txBody>
      </p:sp>
    </p:spTree>
    <p:extLst>
      <p:ext uri="{BB962C8B-B14F-4D97-AF65-F5344CB8AC3E}">
        <p14:creationId xmlns:p14="http://schemas.microsoft.com/office/powerpoint/2010/main" val="2290218596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si/tagaleht logoga E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D3D8D9-23B9-7AE8-30A9-F07E4A71E55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5486829 h 6858000"/>
              <a:gd name="connsiteX3" fmla="*/ 10051073 w 12192000"/>
              <a:gd name="connsiteY3" fmla="*/ 5486829 h 6858000"/>
              <a:gd name="connsiteX4" fmla="*/ 9576237 w 12192000"/>
              <a:gd name="connsiteY4" fmla="*/ 5960366 h 6858000"/>
              <a:gd name="connsiteX5" fmla="*/ 10051073 w 12192000"/>
              <a:gd name="connsiteY5" fmla="*/ 6434392 h 6858000"/>
              <a:gd name="connsiteX6" fmla="*/ 12192000 w 12192000"/>
              <a:gd name="connsiteY6" fmla="*/ 64343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5486829"/>
                </a:lnTo>
                <a:lnTo>
                  <a:pt x="10051073" y="5486829"/>
                </a:lnTo>
                <a:cubicBezTo>
                  <a:pt x="9788909" y="5486829"/>
                  <a:pt x="9576237" y="5698919"/>
                  <a:pt x="9576237" y="5960366"/>
                </a:cubicBezTo>
                <a:cubicBezTo>
                  <a:pt x="9576237" y="6222302"/>
                  <a:pt x="9788909" y="6434392"/>
                  <a:pt x="10051073" y="6434392"/>
                </a:cubicBezTo>
                <a:lnTo>
                  <a:pt x="12192000" y="64343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Click icon to add pictur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A6544BD-E47A-BDB2-A0A7-FEE3CBD9E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10522334" cy="1617675"/>
          </a:xfrm>
        </p:spPr>
        <p:txBody>
          <a:bodyPr/>
          <a:lstStyle>
            <a:lvl1pPr>
              <a:defRPr sz="6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4A5A21-A3CA-77C4-9598-111AA3165F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Picture Placeholder 369">
            <a:extLst>
              <a:ext uri="{FF2B5EF4-FFF2-40B4-BE49-F238E27FC236}">
                <a16:creationId xmlns:a16="http://schemas.microsoft.com/office/drawing/2014/main" id="{74E0B818-A99E-F20D-0FB9-1BE9D6051DC8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4842702"/>
            <a:ext cx="5400000" cy="20152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EE"/>
              <a:t>Täpila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7FAE1D-E3F4-D924-FA98-C18CA16397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3949"/>
            <a:ext cx="2438400" cy="977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408783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isu_Suur list_val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A5DCA6-E3A5-A892-89D6-275D0E09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4" cy="1617675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C178D0B-A45A-B66E-CD98-6C972FE50E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123440"/>
            <a:ext cx="10944225" cy="411384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685800" indent="-6858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5"/>
              </a:buClr>
              <a:buFont typeface="Roboto"/>
              <a:buChar char="●"/>
              <a:defRPr sz="3600" b="0" i="0">
                <a:solidFill>
                  <a:schemeClr val="tx1"/>
                </a:solidFill>
                <a:latin typeface="+mn-lt"/>
                <a:ea typeface="Roboto Light" panose="02000000000000000000" pitchFamily="2" charset="0"/>
              </a:defRPr>
            </a:lvl1pPr>
            <a:lvl2pPr marL="539987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2pPr>
            <a:lvl3pPr marL="809980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3pPr>
            <a:lvl4pPr marL="1169971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4pPr>
            <a:lvl5pPr marL="1079973" indent="-269993">
              <a:buClr>
                <a:schemeClr val="bg1"/>
              </a:buClr>
              <a:buFont typeface="Roboto" panose="020B0303040504020204" pitchFamily="34" charset="0"/>
              <a:buChar char="+"/>
              <a:defRPr sz="5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large bullet list</a:t>
            </a:r>
          </a:p>
        </p:txBody>
      </p:sp>
    </p:spTree>
    <p:extLst>
      <p:ext uri="{BB962C8B-B14F-4D97-AF65-F5344CB8AC3E}">
        <p14:creationId xmlns:p14="http://schemas.microsoft.com/office/powerpoint/2010/main" val="2479358093"/>
      </p:ext>
    </p:extLst>
  </p:cSld>
  <p:clrMapOvr>
    <a:masterClrMapping/>
  </p:clrMapOvr>
  <p:transition spd="slow">
    <p:push dir="u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isu_Tsitaat_Sin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7" cy="4789499"/>
          </a:xfrm>
        </p:spPr>
        <p:txBody>
          <a:bodyPr/>
          <a:lstStyle>
            <a:lvl1pPr>
              <a:defRPr sz="8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5448300"/>
            <a:ext cx="7559676" cy="788989"/>
          </a:xfrm>
          <a:prstGeom prst="rect">
            <a:avLst/>
          </a:prstGeom>
        </p:spPr>
        <p:txBody>
          <a:bodyPr bIns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860240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isu_Tsitaat_Ha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7" cy="4789499"/>
          </a:xfrm>
        </p:spPr>
        <p:txBody>
          <a:bodyPr/>
          <a:lstStyle>
            <a:lvl1pPr>
              <a:defRPr sz="8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5448300"/>
            <a:ext cx="7559676" cy="788989"/>
          </a:xfrm>
          <a:prstGeom prst="rect">
            <a:avLst/>
          </a:prstGeom>
        </p:spPr>
        <p:txBody>
          <a:bodyPr bIns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251837498"/>
      </p:ext>
    </p:extLst>
  </p:cSld>
  <p:clrMapOvr>
    <a:masterClrMapping/>
  </p:clrMapOvr>
  <p:transition spd="slow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isu_Tsitaat_Val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7" cy="4789499"/>
          </a:xfrm>
        </p:spPr>
        <p:txBody>
          <a:bodyPr/>
          <a:lstStyle>
            <a:lvl1pPr>
              <a:defRPr sz="8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5448300"/>
            <a:ext cx="7559676" cy="788989"/>
          </a:xfrm>
          <a:prstGeom prst="rect">
            <a:avLst/>
          </a:prstGeom>
        </p:spPr>
        <p:txBody>
          <a:bodyPr bIns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93819885"/>
      </p:ext>
    </p:extLst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isu_Sinine_Fotog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22BE6A-BF46-417C-8758-C28B140D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C1FC2F-B308-D080-BAE3-0B21110EC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2"/>
            <a:ext cx="5111751" cy="1384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298976F-5555-0923-033D-3A2FFFBB88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2166424"/>
            <a:ext cx="5111751" cy="1827725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35C022-DBE8-EBEE-4842-EAD640381A9F}"/>
              </a:ext>
            </a:extLst>
          </p:cNvPr>
          <p:cNvSpPr txBox="1">
            <a:spLocks/>
          </p:cNvSpPr>
          <p:nvPr userDrawn="1"/>
        </p:nvSpPr>
        <p:spPr>
          <a:xfrm>
            <a:off x="623888" y="658801"/>
            <a:ext cx="5111751" cy="16176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0" i="0" kern="1200">
                <a:solidFill>
                  <a:schemeClr val="tx2"/>
                </a:solidFill>
                <a:latin typeface="+mj-lt"/>
                <a:ea typeface="Roboto Light" panose="02000000000000000000" pitchFamily="2" charset="0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E4691BF-AF95-9E3B-7921-3A26F434ED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3994149"/>
            <a:ext cx="5111751" cy="2243139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bg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508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isu_Hall_Fotoga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22BE6A-BF46-417C-8758-C28B140D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6DAECB3-DB22-7E8D-5872-BF9A4856CB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3994149"/>
            <a:ext cx="5111751" cy="2243139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4C1FC2F-B308-D080-BAE3-0B21110EC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2"/>
            <a:ext cx="5111751" cy="1384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298976F-5555-0923-033D-3A2FFFBB88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2166424"/>
            <a:ext cx="5111751" cy="1827726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375359346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isu_Valge_Fotog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3994149"/>
            <a:ext cx="5111751" cy="2243139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22BE6A-BF46-417C-8758-C28B140D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85977D5-8BA6-E854-D2F4-05418E4C2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2"/>
            <a:ext cx="5111751" cy="13843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7C86051F-61AC-66E5-8670-40938F0C9D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2166424"/>
            <a:ext cx="5111751" cy="1827726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415072567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isu_Sinine_Fotog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22BE6A-BF46-417C-8758-C28B140D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6700" y="3429000"/>
            <a:ext cx="360363" cy="2808288"/>
          </a:xfrm>
          <a:prstGeom prst="rect">
            <a:avLst/>
          </a:prstGeom>
        </p:spPr>
        <p:txBody>
          <a:bodyPr vert="vert270" bIns="0" anchor="t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727D13C-FB73-D342-FD3F-5F60AA75A4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3701" y="3994149"/>
            <a:ext cx="5056408" cy="2243139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bg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FFFFB-279F-8AF2-FD9A-B5F598874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3702" y="658802"/>
            <a:ext cx="5133224" cy="138431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7FA38D5-CCFA-6F5A-E3C1-C08BE56F35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43702" y="2166424"/>
            <a:ext cx="5056408" cy="1827726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</p:spTree>
    <p:extLst>
      <p:ext uri="{BB962C8B-B14F-4D97-AF65-F5344CB8AC3E}">
        <p14:creationId xmlns:p14="http://schemas.microsoft.com/office/powerpoint/2010/main" val="3160942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isu_Hall_Fotoga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22BE6A-BF46-417C-8758-C28B140D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6700" y="3429000"/>
            <a:ext cx="360363" cy="2808288"/>
          </a:xfrm>
          <a:prstGeom prst="rect">
            <a:avLst/>
          </a:prstGeom>
        </p:spPr>
        <p:txBody>
          <a:bodyPr vert="vert270" bIns="0" anchor="t" anchorCtr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727D13C-FB73-D342-FD3F-5F60AA75A4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3701" y="3994149"/>
            <a:ext cx="5056408" cy="2243139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FFFFB-279F-8AF2-FD9A-B5F598874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3702" y="658802"/>
            <a:ext cx="5133224" cy="138431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7FA38D5-CCFA-6F5A-E3C1-C08BE56F35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43702" y="2166424"/>
            <a:ext cx="5056408" cy="1827726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</p:spTree>
    <p:extLst>
      <p:ext uri="{BB962C8B-B14F-4D97-AF65-F5344CB8AC3E}">
        <p14:creationId xmlns:p14="http://schemas.microsoft.com/office/powerpoint/2010/main" val="2134010016"/>
      </p:ext>
    </p:extLst>
  </p:cSld>
  <p:clrMapOvr>
    <a:masterClrMapping/>
  </p:clrMapOvr>
  <p:transition spd="slow">
    <p:push dir="u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isu_Valge_Fotog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743701" y="3994149"/>
            <a:ext cx="5056408" cy="2243139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22BE6A-BF46-417C-8758-C28B140D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6700" y="3429000"/>
            <a:ext cx="360363" cy="2808288"/>
          </a:xfrm>
          <a:prstGeom prst="rect">
            <a:avLst/>
          </a:prstGeom>
        </p:spPr>
        <p:txBody>
          <a:bodyPr vert="vert270" bIns="0" anchor="t" anchorCtr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6AD91E7-C52D-25DF-8F15-5BC1C0B2F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3702" y="658802"/>
            <a:ext cx="5164046" cy="1384311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68F252-8117-6B22-AD1F-48B07FDAB7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43702" y="2166424"/>
            <a:ext cx="5056408" cy="1827726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09394514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si/tagaleht logoga_2ri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323FCC4-5DCD-F3B3-756C-4C1DA83625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27727" y="0"/>
            <a:ext cx="6561873" cy="6858000"/>
          </a:xfrm>
          <a:custGeom>
            <a:avLst/>
            <a:gdLst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0 w 12189600"/>
              <a:gd name="connsiteY9" fmla="*/ 6855671 h 6858000"/>
              <a:gd name="connsiteX10" fmla="*/ 5627727 w 12189600"/>
              <a:gd name="connsiteY10" fmla="*/ 6855671 h 6858000"/>
              <a:gd name="connsiteX11" fmla="*/ 8254334 w 12189600"/>
              <a:gd name="connsiteY11" fmla="*/ 0 h 6858000"/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5627727 w 12189600"/>
              <a:gd name="connsiteY9" fmla="*/ 6855671 h 6858000"/>
              <a:gd name="connsiteX10" fmla="*/ 8254334 w 12189600"/>
              <a:gd name="connsiteY10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4421367 w 6561873"/>
              <a:gd name="connsiteY3" fmla="*/ 5486829 h 6858000"/>
              <a:gd name="connsiteX4" fmla="*/ 3946625 w 6561873"/>
              <a:gd name="connsiteY4" fmla="*/ 5960366 h 6858000"/>
              <a:gd name="connsiteX5" fmla="*/ 4421367 w 6561873"/>
              <a:gd name="connsiteY5" fmla="*/ 6434392 h 6858000"/>
              <a:gd name="connsiteX6" fmla="*/ 6561873 w 6561873"/>
              <a:gd name="connsiteY6" fmla="*/ 6434392 h 6858000"/>
              <a:gd name="connsiteX7" fmla="*/ 6561873 w 6561873"/>
              <a:gd name="connsiteY7" fmla="*/ 6858000 h 6858000"/>
              <a:gd name="connsiteX8" fmla="*/ 0 w 6561873"/>
              <a:gd name="connsiteY8" fmla="*/ 6855671 h 6858000"/>
              <a:gd name="connsiteX9" fmla="*/ 2626607 w 6561873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61873" h="6858000">
                <a:moveTo>
                  <a:pt x="2626607" y="0"/>
                </a:moveTo>
                <a:lnTo>
                  <a:pt x="6561873" y="0"/>
                </a:lnTo>
                <a:lnTo>
                  <a:pt x="6561873" y="5486829"/>
                </a:lnTo>
                <a:lnTo>
                  <a:pt x="4421367" y="5486829"/>
                </a:lnTo>
                <a:cubicBezTo>
                  <a:pt x="4159255" y="5486829"/>
                  <a:pt x="3946625" y="5698919"/>
                  <a:pt x="3946625" y="5960366"/>
                </a:cubicBezTo>
                <a:cubicBezTo>
                  <a:pt x="3946625" y="6222302"/>
                  <a:pt x="4159255" y="6434392"/>
                  <a:pt x="4421367" y="6434392"/>
                </a:cubicBezTo>
                <a:lnTo>
                  <a:pt x="6561873" y="6434392"/>
                </a:lnTo>
                <a:lnTo>
                  <a:pt x="6561873" y="6858000"/>
                </a:lnTo>
                <a:lnTo>
                  <a:pt x="0" y="6855671"/>
                </a:lnTo>
                <a:cubicBezTo>
                  <a:pt x="1630590" y="5035972"/>
                  <a:pt x="2623240" y="2633860"/>
                  <a:pt x="262660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                Click icon to add pictures</a:t>
            </a:r>
          </a:p>
        </p:txBody>
      </p:sp>
      <p:sp>
        <p:nvSpPr>
          <p:cNvPr id="5" name="Teksti kohatäide 6">
            <a:extLst>
              <a:ext uri="{FF2B5EF4-FFF2-40B4-BE49-F238E27FC236}">
                <a16:creationId xmlns:a16="http://schemas.microsoft.com/office/drawing/2014/main" id="{AC0972FF-6B3E-534D-42D6-92D2C72300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6940" y="3938954"/>
            <a:ext cx="4629853" cy="229833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 i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et-EE" sz="2000"/>
              <a:t>Klõpsake juhteksemplari tekstilaadide redigeerimisek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6FE6F80-8390-484E-C7E2-E30C3A7C1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626" y="657225"/>
            <a:ext cx="6439384" cy="1739657"/>
          </a:xfrm>
        </p:spPr>
        <p:txBody>
          <a:bodyPr/>
          <a:lstStyle>
            <a:lvl1pPr>
              <a:defRPr sz="60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EE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2B982F5-6047-51D9-C45B-4E85C19FDA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FE5942-0A46-D221-071D-D998372F05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1246"/>
            <a:ext cx="2445142" cy="98021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91991CF-46C0-7068-524B-43CCD4F59EC6}"/>
              </a:ext>
            </a:extLst>
          </p:cNvPr>
          <p:cNvSpPr/>
          <p:nvPr userDrawn="1"/>
        </p:nvSpPr>
        <p:spPr>
          <a:xfrm flipH="1">
            <a:off x="726939" y="536818"/>
            <a:ext cx="90000" cy="1860064"/>
          </a:xfrm>
          <a:prstGeom prst="rect">
            <a:avLst/>
          </a:prstGeom>
          <a:solidFill>
            <a:schemeClr val="tx2"/>
          </a:solidFill>
          <a:ln w="9017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EE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030279"/>
      </p:ext>
    </p:extLst>
  </p:cSld>
  <p:clrMapOvr>
    <a:masterClrMapping/>
  </p:clrMapOvr>
  <p:transition spd="slow">
    <p:push dir="u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isu_valge_Fotoga-eri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60794E4A-0B3C-EA7B-1548-C5BCE1278A3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1815519 h 6858000"/>
              <a:gd name="connsiteX5" fmla="*/ 3157356 w 6096000"/>
              <a:gd name="connsiteY5" fmla="*/ 1815519 h 6858000"/>
              <a:gd name="connsiteX6" fmla="*/ 3857625 w 6096000"/>
              <a:gd name="connsiteY6" fmla="*/ 1116445 h 6858000"/>
              <a:gd name="connsiteX7" fmla="*/ 3157356 w 6096000"/>
              <a:gd name="connsiteY7" fmla="*/ 418091 h 6858000"/>
              <a:gd name="connsiteX8" fmla="*/ 0 w 6096000"/>
              <a:gd name="connsiteY8" fmla="*/ 4180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lnTo>
                  <a:pt x="0" y="1815519"/>
                </a:lnTo>
                <a:lnTo>
                  <a:pt x="3157356" y="1815519"/>
                </a:lnTo>
                <a:cubicBezTo>
                  <a:pt x="3543985" y="1815519"/>
                  <a:pt x="3857625" y="1502737"/>
                  <a:pt x="3857625" y="1116445"/>
                </a:cubicBezTo>
                <a:cubicBezTo>
                  <a:pt x="3857625" y="730873"/>
                  <a:pt x="3543985" y="418091"/>
                  <a:pt x="3157356" y="418091"/>
                </a:cubicBezTo>
                <a:lnTo>
                  <a:pt x="0" y="418091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46CE165-5786-4FD8-B859-19F1A06E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3429000"/>
            <a:ext cx="360363" cy="2808288"/>
          </a:xfrm>
          <a:prstGeom prst="rect">
            <a:avLst/>
          </a:prstGeom>
        </p:spPr>
        <p:txBody>
          <a:bodyPr vert="vert270" bIns="0" anchor="t" anchorCtr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1F5174A-C071-3A74-990F-A6B47AC68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47599"/>
            <a:ext cx="3005138" cy="1364343"/>
          </a:xfrm>
        </p:spPr>
        <p:txBody>
          <a:bodyPr anchor="ctr"/>
          <a:lstStyle>
            <a:lvl1pPr>
              <a:defRPr sz="35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CE00402D-6E4E-3607-0ABC-44D6A3376E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3702" y="1889703"/>
            <a:ext cx="5056408" cy="3607412"/>
          </a:xfrm>
          <a:prstGeom prst="rect">
            <a:avLst/>
          </a:prstGeom>
        </p:spPr>
        <p:txBody>
          <a:bodyPr wrap="square" bIns="0" anchor="ctr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656791"/>
      </p:ext>
    </p:extLst>
  </p:cSld>
  <p:clrMapOvr>
    <a:masterClrMapping/>
  </p:clrMapOvr>
  <p:transition spd="slow">
    <p:push dir="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isu_hall_eri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DFD05D-F997-89EA-8C2B-DF581712D5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04348" y="1937018"/>
            <a:ext cx="9979964" cy="9144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34882B3-8AD4-5D79-C532-21981456C9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51472" y="3058659"/>
            <a:ext cx="2470673" cy="147379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2E1742E-AE5F-FE3B-F313-DBD4A9F589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13936" y="3058659"/>
            <a:ext cx="3164128" cy="147379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BC4DB9A-6E31-1B8C-1B7D-6172B52B7A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98541" y="3058659"/>
            <a:ext cx="2441986" cy="147379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3438F6C-963C-EB0B-2B2F-E78D82EDB1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2128" y="4978399"/>
            <a:ext cx="8974672" cy="1353623"/>
          </a:xfrm>
        </p:spPr>
        <p:txBody>
          <a:bodyPr anchor="ctr"/>
          <a:lstStyle>
            <a:lvl1pPr marL="0" indent="0" algn="l">
              <a:buNone/>
              <a:defRPr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71D6E37A-5FCC-A8F7-0DD0-F08EF5BA6A8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4348" y="5115232"/>
            <a:ext cx="1002885" cy="1079956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3" name="Freeform 419">
            <a:extLst>
              <a:ext uri="{FF2B5EF4-FFF2-40B4-BE49-F238E27FC236}">
                <a16:creationId xmlns:a16="http://schemas.microsoft.com/office/drawing/2014/main" id="{3763CDF5-C953-DCB7-AD74-0C1C160BD23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432064"/>
            <a:ext cx="3847171" cy="1393642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1B6CDAD-2E49-3786-5DFD-4D6ED09C2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47599"/>
            <a:ext cx="3005138" cy="1364343"/>
          </a:xfrm>
        </p:spPr>
        <p:txBody>
          <a:bodyPr anchor="ctr"/>
          <a:lstStyle>
            <a:lvl1pPr>
              <a:defRPr sz="35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698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isu_hall_eri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19">
            <a:extLst>
              <a:ext uri="{FF2B5EF4-FFF2-40B4-BE49-F238E27FC236}">
                <a16:creationId xmlns:a16="http://schemas.microsoft.com/office/drawing/2014/main" id="{7236B95C-CD13-57E4-9B97-E13D7D8E9823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420913"/>
            <a:ext cx="3847171" cy="1393642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1F5174A-C071-3A74-990F-A6B47AC68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43216"/>
            <a:ext cx="3005138" cy="1364343"/>
          </a:xfrm>
        </p:spPr>
        <p:txBody>
          <a:bodyPr anchor="ctr"/>
          <a:lstStyle>
            <a:lvl1pPr>
              <a:defRPr sz="35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9C0FB322-3054-CC1D-DD34-076AA88186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3994149"/>
            <a:ext cx="5111751" cy="2243139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19644E5-A3DB-369D-B58A-381D3F2051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2043114"/>
            <a:ext cx="5111751" cy="1951036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1080931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Sisu_Hall_eri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19">
            <a:extLst>
              <a:ext uri="{FF2B5EF4-FFF2-40B4-BE49-F238E27FC236}">
                <a16:creationId xmlns:a16="http://schemas.microsoft.com/office/drawing/2014/main" id="{FE289F9F-C8E3-EE95-B395-483062D741AE}"/>
              </a:ext>
            </a:extLst>
          </p:cNvPr>
          <p:cNvSpPr>
            <a:spLocks/>
          </p:cNvSpPr>
          <p:nvPr userDrawn="1"/>
        </p:nvSpPr>
        <p:spPr bwMode="auto">
          <a:xfrm>
            <a:off x="1588" y="2553160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3" name="Freeform 420">
            <a:extLst>
              <a:ext uri="{FF2B5EF4-FFF2-40B4-BE49-F238E27FC236}">
                <a16:creationId xmlns:a16="http://schemas.microsoft.com/office/drawing/2014/main" id="{356AF9F7-9C51-BE19-8C74-B8DAA1B90744}"/>
              </a:ext>
            </a:extLst>
          </p:cNvPr>
          <p:cNvSpPr>
            <a:spLocks/>
          </p:cNvSpPr>
          <p:nvPr userDrawn="1"/>
        </p:nvSpPr>
        <p:spPr bwMode="auto">
          <a:xfrm>
            <a:off x="1588" y="3552491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4" name="Freeform 421">
            <a:extLst>
              <a:ext uri="{FF2B5EF4-FFF2-40B4-BE49-F238E27FC236}">
                <a16:creationId xmlns:a16="http://schemas.microsoft.com/office/drawing/2014/main" id="{F6FBF006-9F94-D48A-884A-D943885C0D27}"/>
              </a:ext>
            </a:extLst>
          </p:cNvPr>
          <p:cNvSpPr>
            <a:spLocks/>
          </p:cNvSpPr>
          <p:nvPr userDrawn="1"/>
        </p:nvSpPr>
        <p:spPr bwMode="auto">
          <a:xfrm>
            <a:off x="1588" y="4552616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69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69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solidFill>
                <a:schemeClr val="accent5"/>
              </a:solidFill>
              <a:latin typeface="Roboto" panose="02000000000000000000" pitchFamily="2" charset="0"/>
            </a:endParaRPr>
          </a:p>
        </p:txBody>
      </p:sp>
      <p:sp>
        <p:nvSpPr>
          <p:cNvPr id="5" name="Freeform 422">
            <a:extLst>
              <a:ext uri="{FF2B5EF4-FFF2-40B4-BE49-F238E27FC236}">
                <a16:creationId xmlns:a16="http://schemas.microsoft.com/office/drawing/2014/main" id="{EA02CAAF-EA66-6EAF-73E0-82B5A5EF9A88}"/>
              </a:ext>
            </a:extLst>
          </p:cNvPr>
          <p:cNvSpPr>
            <a:spLocks/>
          </p:cNvSpPr>
          <p:nvPr userDrawn="1"/>
        </p:nvSpPr>
        <p:spPr bwMode="auto">
          <a:xfrm>
            <a:off x="1588" y="5551948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69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69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45" name="Freeform 419">
            <a:extLst>
              <a:ext uri="{FF2B5EF4-FFF2-40B4-BE49-F238E27FC236}">
                <a16:creationId xmlns:a16="http://schemas.microsoft.com/office/drawing/2014/main" id="{78E4536A-9CE8-1E2E-7B5D-8C7504E657C2}"/>
              </a:ext>
            </a:extLst>
          </p:cNvPr>
          <p:cNvSpPr>
            <a:spLocks noChangeAspect="1"/>
          </p:cNvSpPr>
          <p:nvPr/>
        </p:nvSpPr>
        <p:spPr bwMode="auto">
          <a:xfrm>
            <a:off x="1588" y="2553160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46" name="Freeform 420">
            <a:extLst>
              <a:ext uri="{FF2B5EF4-FFF2-40B4-BE49-F238E27FC236}">
                <a16:creationId xmlns:a16="http://schemas.microsoft.com/office/drawing/2014/main" id="{C2B6517E-A422-DDA0-99B1-BE0E1F31F12D}"/>
              </a:ext>
            </a:extLst>
          </p:cNvPr>
          <p:cNvSpPr>
            <a:spLocks noChangeAspect="1"/>
          </p:cNvSpPr>
          <p:nvPr/>
        </p:nvSpPr>
        <p:spPr bwMode="auto">
          <a:xfrm>
            <a:off x="1588" y="3552491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47" name="Freeform 421">
            <a:extLst>
              <a:ext uri="{FF2B5EF4-FFF2-40B4-BE49-F238E27FC236}">
                <a16:creationId xmlns:a16="http://schemas.microsoft.com/office/drawing/2014/main" id="{2DD22634-836D-9BDB-7721-37CA676F4078}"/>
              </a:ext>
            </a:extLst>
          </p:cNvPr>
          <p:cNvSpPr>
            <a:spLocks noChangeAspect="1"/>
          </p:cNvSpPr>
          <p:nvPr/>
        </p:nvSpPr>
        <p:spPr bwMode="auto">
          <a:xfrm>
            <a:off x="1588" y="4552616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69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69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solidFill>
                <a:schemeClr val="accent5"/>
              </a:solidFill>
              <a:latin typeface="Roboto" panose="02000000000000000000" pitchFamily="2" charset="0"/>
            </a:endParaRPr>
          </a:p>
        </p:txBody>
      </p:sp>
      <p:sp>
        <p:nvSpPr>
          <p:cNvPr id="48" name="Freeform 422">
            <a:extLst>
              <a:ext uri="{FF2B5EF4-FFF2-40B4-BE49-F238E27FC236}">
                <a16:creationId xmlns:a16="http://schemas.microsoft.com/office/drawing/2014/main" id="{706784E8-D306-A640-7327-B550558E9F64}"/>
              </a:ext>
            </a:extLst>
          </p:cNvPr>
          <p:cNvSpPr>
            <a:spLocks noChangeAspect="1"/>
          </p:cNvSpPr>
          <p:nvPr/>
        </p:nvSpPr>
        <p:spPr bwMode="auto">
          <a:xfrm>
            <a:off x="1588" y="5551948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69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69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B01B21E4-1BBC-1E7C-2DC4-8585F0314A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3820" y="713505"/>
            <a:ext cx="9883858" cy="1169551"/>
          </a:xfrm>
        </p:spPr>
        <p:txBody>
          <a:bodyPr anchor="ctr"/>
          <a:lstStyle>
            <a:lvl1pPr>
              <a:defRPr sz="35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71D6E37A-5FCC-A8F7-0DD0-F08EF5BA6A8F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210201" y="2610590"/>
            <a:ext cx="612000" cy="612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3EC8C15F-5725-884B-6408-99AC209C3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16480" y="5587632"/>
            <a:ext cx="8910319" cy="744390"/>
          </a:xfrm>
        </p:spPr>
        <p:txBody>
          <a:bodyPr anchor="ctr"/>
          <a:lstStyle>
            <a:lvl1pPr marL="0" indent="0" algn="l">
              <a:buNone/>
              <a:defRPr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DB9F07BD-D836-F047-7BA5-FF8D0293F5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16480" y="4541152"/>
            <a:ext cx="8910319" cy="744390"/>
          </a:xfrm>
        </p:spPr>
        <p:txBody>
          <a:bodyPr anchor="ctr"/>
          <a:lstStyle>
            <a:lvl1pPr marL="0" indent="0" algn="l">
              <a:buNone/>
              <a:defRPr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DE180CD1-4C4A-DE51-BDDC-0B1D28CC68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16480" y="3575952"/>
            <a:ext cx="8910319" cy="744390"/>
          </a:xfrm>
        </p:spPr>
        <p:txBody>
          <a:bodyPr anchor="ctr"/>
          <a:lstStyle>
            <a:lvl1pPr marL="0" indent="0" algn="l">
              <a:buNone/>
              <a:defRPr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5055DB51-0594-C769-EBFE-D1D6F5757C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16480" y="2549792"/>
            <a:ext cx="8910319" cy="744390"/>
          </a:xfrm>
        </p:spPr>
        <p:txBody>
          <a:bodyPr anchor="ctr"/>
          <a:lstStyle>
            <a:lvl1pPr marL="0" indent="0" algn="l">
              <a:buNone/>
              <a:defRPr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70" name="Picture Placeholder 19">
            <a:extLst>
              <a:ext uri="{FF2B5EF4-FFF2-40B4-BE49-F238E27FC236}">
                <a16:creationId xmlns:a16="http://schemas.microsoft.com/office/drawing/2014/main" id="{43D654CD-7FCF-E969-2A6D-418602D3F41A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1210201" y="3606270"/>
            <a:ext cx="612000" cy="612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71" name="Picture Placeholder 19">
            <a:extLst>
              <a:ext uri="{FF2B5EF4-FFF2-40B4-BE49-F238E27FC236}">
                <a16:creationId xmlns:a16="http://schemas.microsoft.com/office/drawing/2014/main" id="{3D4360BD-C02F-7C0F-D2F1-81A7269CCF2F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1210201" y="4612110"/>
            <a:ext cx="612000" cy="612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72" name="Picture Placeholder 19">
            <a:extLst>
              <a:ext uri="{FF2B5EF4-FFF2-40B4-BE49-F238E27FC236}">
                <a16:creationId xmlns:a16="http://schemas.microsoft.com/office/drawing/2014/main" id="{58B8C81C-5150-2738-7726-08BD40FC6D03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210201" y="5617950"/>
            <a:ext cx="612000" cy="612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67E5C2-FC13-89C5-6D1F-CFF299EFB4B3}"/>
              </a:ext>
            </a:extLst>
          </p:cNvPr>
          <p:cNvSpPr/>
          <p:nvPr userDrawn="1"/>
        </p:nvSpPr>
        <p:spPr>
          <a:xfrm flipH="1">
            <a:off x="518712" y="713504"/>
            <a:ext cx="90000" cy="1169552"/>
          </a:xfrm>
          <a:prstGeom prst="rect">
            <a:avLst/>
          </a:prstGeom>
          <a:solidFill>
            <a:schemeClr val="tx2"/>
          </a:solidFill>
          <a:ln w="9017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EE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287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Sisu_Valge_eri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19">
            <a:extLst>
              <a:ext uri="{FF2B5EF4-FFF2-40B4-BE49-F238E27FC236}">
                <a16:creationId xmlns:a16="http://schemas.microsoft.com/office/drawing/2014/main" id="{FE289F9F-C8E3-EE95-B395-483062D741AE}"/>
              </a:ext>
            </a:extLst>
          </p:cNvPr>
          <p:cNvSpPr>
            <a:spLocks/>
          </p:cNvSpPr>
          <p:nvPr userDrawn="1"/>
        </p:nvSpPr>
        <p:spPr bwMode="auto">
          <a:xfrm>
            <a:off x="1588" y="2553160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3" name="Freeform 420">
            <a:extLst>
              <a:ext uri="{FF2B5EF4-FFF2-40B4-BE49-F238E27FC236}">
                <a16:creationId xmlns:a16="http://schemas.microsoft.com/office/drawing/2014/main" id="{356AF9F7-9C51-BE19-8C74-B8DAA1B90744}"/>
              </a:ext>
            </a:extLst>
          </p:cNvPr>
          <p:cNvSpPr>
            <a:spLocks/>
          </p:cNvSpPr>
          <p:nvPr userDrawn="1"/>
        </p:nvSpPr>
        <p:spPr bwMode="auto">
          <a:xfrm>
            <a:off x="1588" y="3552491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4" name="Freeform 421">
            <a:extLst>
              <a:ext uri="{FF2B5EF4-FFF2-40B4-BE49-F238E27FC236}">
                <a16:creationId xmlns:a16="http://schemas.microsoft.com/office/drawing/2014/main" id="{F6FBF006-9F94-D48A-884A-D943885C0D27}"/>
              </a:ext>
            </a:extLst>
          </p:cNvPr>
          <p:cNvSpPr>
            <a:spLocks/>
          </p:cNvSpPr>
          <p:nvPr userDrawn="1"/>
        </p:nvSpPr>
        <p:spPr bwMode="auto">
          <a:xfrm>
            <a:off x="1588" y="4552616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69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69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solidFill>
                <a:schemeClr val="accent5"/>
              </a:solidFill>
              <a:latin typeface="Roboto" panose="02000000000000000000" pitchFamily="2" charset="0"/>
            </a:endParaRPr>
          </a:p>
        </p:txBody>
      </p:sp>
      <p:sp>
        <p:nvSpPr>
          <p:cNvPr id="5" name="Freeform 422">
            <a:extLst>
              <a:ext uri="{FF2B5EF4-FFF2-40B4-BE49-F238E27FC236}">
                <a16:creationId xmlns:a16="http://schemas.microsoft.com/office/drawing/2014/main" id="{EA02CAAF-EA66-6EAF-73E0-82B5A5EF9A88}"/>
              </a:ext>
            </a:extLst>
          </p:cNvPr>
          <p:cNvSpPr>
            <a:spLocks/>
          </p:cNvSpPr>
          <p:nvPr userDrawn="1"/>
        </p:nvSpPr>
        <p:spPr bwMode="auto">
          <a:xfrm>
            <a:off x="1588" y="5551948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69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69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45" name="Freeform 419">
            <a:extLst>
              <a:ext uri="{FF2B5EF4-FFF2-40B4-BE49-F238E27FC236}">
                <a16:creationId xmlns:a16="http://schemas.microsoft.com/office/drawing/2014/main" id="{78E4536A-9CE8-1E2E-7B5D-8C7504E657C2}"/>
              </a:ext>
            </a:extLst>
          </p:cNvPr>
          <p:cNvSpPr>
            <a:spLocks noChangeAspect="1"/>
          </p:cNvSpPr>
          <p:nvPr/>
        </p:nvSpPr>
        <p:spPr bwMode="auto">
          <a:xfrm>
            <a:off x="1588" y="2553160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46" name="Freeform 420">
            <a:extLst>
              <a:ext uri="{FF2B5EF4-FFF2-40B4-BE49-F238E27FC236}">
                <a16:creationId xmlns:a16="http://schemas.microsoft.com/office/drawing/2014/main" id="{C2B6517E-A422-DDA0-99B1-BE0E1F31F12D}"/>
              </a:ext>
            </a:extLst>
          </p:cNvPr>
          <p:cNvSpPr>
            <a:spLocks noChangeAspect="1"/>
          </p:cNvSpPr>
          <p:nvPr/>
        </p:nvSpPr>
        <p:spPr bwMode="auto">
          <a:xfrm>
            <a:off x="1588" y="3552491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70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70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47" name="Freeform 421">
            <a:extLst>
              <a:ext uri="{FF2B5EF4-FFF2-40B4-BE49-F238E27FC236}">
                <a16:creationId xmlns:a16="http://schemas.microsoft.com/office/drawing/2014/main" id="{2DD22634-836D-9BDB-7721-37CA676F4078}"/>
              </a:ext>
            </a:extLst>
          </p:cNvPr>
          <p:cNvSpPr>
            <a:spLocks noChangeAspect="1"/>
          </p:cNvSpPr>
          <p:nvPr/>
        </p:nvSpPr>
        <p:spPr bwMode="auto">
          <a:xfrm>
            <a:off x="1588" y="4552616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69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69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solidFill>
                <a:schemeClr val="accent5"/>
              </a:solidFill>
              <a:latin typeface="Roboto" panose="02000000000000000000" pitchFamily="2" charset="0"/>
            </a:endParaRPr>
          </a:p>
        </p:txBody>
      </p:sp>
      <p:sp>
        <p:nvSpPr>
          <p:cNvPr id="48" name="Freeform 422">
            <a:extLst>
              <a:ext uri="{FF2B5EF4-FFF2-40B4-BE49-F238E27FC236}">
                <a16:creationId xmlns:a16="http://schemas.microsoft.com/office/drawing/2014/main" id="{706784E8-D306-A640-7327-B550558E9F64}"/>
              </a:ext>
            </a:extLst>
          </p:cNvPr>
          <p:cNvSpPr>
            <a:spLocks noChangeAspect="1"/>
          </p:cNvSpPr>
          <p:nvPr/>
        </p:nvSpPr>
        <p:spPr bwMode="auto">
          <a:xfrm>
            <a:off x="1588" y="5551948"/>
            <a:ext cx="2031207" cy="735807"/>
          </a:xfrm>
          <a:custGeom>
            <a:avLst/>
            <a:gdLst>
              <a:gd name="T0" fmla="*/ 4369 w 5338"/>
              <a:gd name="T1" fmla="*/ 0 h 1939"/>
              <a:gd name="T2" fmla="*/ 0 w 5338"/>
              <a:gd name="T3" fmla="*/ 0 h 1939"/>
              <a:gd name="T4" fmla="*/ 0 w 5338"/>
              <a:gd name="T5" fmla="*/ 1939 h 1939"/>
              <a:gd name="T6" fmla="*/ 4369 w 5338"/>
              <a:gd name="T7" fmla="*/ 1939 h 1939"/>
              <a:gd name="T8" fmla="*/ 5338 w 5338"/>
              <a:gd name="T9" fmla="*/ 969 h 1939"/>
              <a:gd name="T10" fmla="*/ 4369 w 5338"/>
              <a:gd name="T11" fmla="*/ 0 h 1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38" h="1939">
                <a:moveTo>
                  <a:pt x="4369" y="0"/>
                </a:moveTo>
                <a:lnTo>
                  <a:pt x="0" y="0"/>
                </a:lnTo>
                <a:lnTo>
                  <a:pt x="0" y="1939"/>
                </a:lnTo>
                <a:lnTo>
                  <a:pt x="4369" y="1939"/>
                </a:lnTo>
                <a:cubicBezTo>
                  <a:pt x="4904" y="1939"/>
                  <a:pt x="5338" y="1505"/>
                  <a:pt x="5338" y="969"/>
                </a:cubicBezTo>
                <a:cubicBezTo>
                  <a:pt x="5338" y="434"/>
                  <a:pt x="4904" y="0"/>
                  <a:pt x="4369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latin typeface="Roboto" panose="02000000000000000000" pitchFamily="2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B01B21E4-1BBC-1E7C-2DC4-8585F0314A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3820" y="713505"/>
            <a:ext cx="9883858" cy="1169551"/>
          </a:xfrm>
        </p:spPr>
        <p:txBody>
          <a:bodyPr anchor="ctr"/>
          <a:lstStyle>
            <a:lvl1pPr>
              <a:defRPr sz="35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25" name="Picture Placeholder 19">
            <a:extLst>
              <a:ext uri="{FF2B5EF4-FFF2-40B4-BE49-F238E27FC236}">
                <a16:creationId xmlns:a16="http://schemas.microsoft.com/office/drawing/2014/main" id="{71D6E37A-5FCC-A8F7-0DD0-F08EF5BA6A8F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210201" y="2610590"/>
            <a:ext cx="612000" cy="612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3EC8C15F-5725-884B-6408-99AC209C3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16480" y="5587632"/>
            <a:ext cx="8910319" cy="744390"/>
          </a:xfrm>
        </p:spPr>
        <p:txBody>
          <a:bodyPr anchor="ctr"/>
          <a:lstStyle>
            <a:lvl1pPr marL="0" indent="0" algn="l">
              <a:buNone/>
              <a:defRPr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DB9F07BD-D836-F047-7BA5-FF8D0293F5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16480" y="4541152"/>
            <a:ext cx="8910319" cy="744390"/>
          </a:xfrm>
        </p:spPr>
        <p:txBody>
          <a:bodyPr anchor="ctr"/>
          <a:lstStyle>
            <a:lvl1pPr marL="0" indent="0" algn="l">
              <a:buNone/>
              <a:defRPr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DE180CD1-4C4A-DE51-BDDC-0B1D28CC68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16480" y="3575952"/>
            <a:ext cx="8910319" cy="744390"/>
          </a:xfrm>
        </p:spPr>
        <p:txBody>
          <a:bodyPr anchor="ctr"/>
          <a:lstStyle>
            <a:lvl1pPr marL="0" indent="0" algn="l">
              <a:buNone/>
              <a:defRPr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5055DB51-0594-C769-EBFE-D1D6F5757C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16480" y="2549792"/>
            <a:ext cx="8910319" cy="744390"/>
          </a:xfrm>
        </p:spPr>
        <p:txBody>
          <a:bodyPr anchor="ctr"/>
          <a:lstStyle>
            <a:lvl1pPr marL="0" indent="0" algn="l">
              <a:buNone/>
              <a:defRPr/>
            </a:lvl1pPr>
            <a:lvl2pPr marL="269994" indent="0" algn="ctr">
              <a:buNone/>
              <a:defRPr/>
            </a:lvl2pPr>
            <a:lvl3pPr marL="539987" indent="0" algn="ctr">
              <a:buNone/>
              <a:defRPr/>
            </a:lvl3pPr>
            <a:lvl4pPr marL="899978" indent="0" algn="ctr">
              <a:buNone/>
              <a:defRPr/>
            </a:lvl4pPr>
            <a:lvl5pPr marL="809980" indent="0" algn="ctr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70" name="Picture Placeholder 19">
            <a:extLst>
              <a:ext uri="{FF2B5EF4-FFF2-40B4-BE49-F238E27FC236}">
                <a16:creationId xmlns:a16="http://schemas.microsoft.com/office/drawing/2014/main" id="{43D654CD-7FCF-E969-2A6D-418602D3F41A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1210201" y="3606270"/>
            <a:ext cx="612000" cy="612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71" name="Picture Placeholder 19">
            <a:extLst>
              <a:ext uri="{FF2B5EF4-FFF2-40B4-BE49-F238E27FC236}">
                <a16:creationId xmlns:a16="http://schemas.microsoft.com/office/drawing/2014/main" id="{3D4360BD-C02F-7C0F-D2F1-81A7269CCF2F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1210201" y="4612110"/>
            <a:ext cx="612000" cy="612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72" name="Picture Placeholder 19">
            <a:extLst>
              <a:ext uri="{FF2B5EF4-FFF2-40B4-BE49-F238E27FC236}">
                <a16:creationId xmlns:a16="http://schemas.microsoft.com/office/drawing/2014/main" id="{58B8C81C-5150-2738-7726-08BD40FC6D03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210201" y="5617950"/>
            <a:ext cx="612000" cy="612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FED0162-5B7C-C600-47CA-B30CF6CC1881}"/>
              </a:ext>
            </a:extLst>
          </p:cNvPr>
          <p:cNvSpPr/>
          <p:nvPr userDrawn="1"/>
        </p:nvSpPr>
        <p:spPr>
          <a:xfrm flipH="1">
            <a:off x="518712" y="713504"/>
            <a:ext cx="90000" cy="1169552"/>
          </a:xfrm>
          <a:prstGeom prst="rect">
            <a:avLst/>
          </a:prstGeom>
          <a:solidFill>
            <a:schemeClr val="tx2"/>
          </a:solidFill>
          <a:ln w="9017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EE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691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Sisu_Valge_er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4D1630CB-00D8-1CCE-66E3-4B1E3E4F718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27727" y="0"/>
            <a:ext cx="6561873" cy="6858000"/>
          </a:xfrm>
          <a:custGeom>
            <a:avLst/>
            <a:gdLst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0 w 12189600"/>
              <a:gd name="connsiteY9" fmla="*/ 6855671 h 6858000"/>
              <a:gd name="connsiteX10" fmla="*/ 5627727 w 12189600"/>
              <a:gd name="connsiteY10" fmla="*/ 6855671 h 6858000"/>
              <a:gd name="connsiteX11" fmla="*/ 8254334 w 12189600"/>
              <a:gd name="connsiteY11" fmla="*/ 0 h 6858000"/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5627727 w 12189600"/>
              <a:gd name="connsiteY9" fmla="*/ 6855671 h 6858000"/>
              <a:gd name="connsiteX10" fmla="*/ 8254334 w 12189600"/>
              <a:gd name="connsiteY10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4421367 w 6561873"/>
              <a:gd name="connsiteY3" fmla="*/ 5486829 h 6858000"/>
              <a:gd name="connsiteX4" fmla="*/ 3946625 w 6561873"/>
              <a:gd name="connsiteY4" fmla="*/ 5960366 h 6858000"/>
              <a:gd name="connsiteX5" fmla="*/ 4421367 w 6561873"/>
              <a:gd name="connsiteY5" fmla="*/ 6434392 h 6858000"/>
              <a:gd name="connsiteX6" fmla="*/ 6561873 w 6561873"/>
              <a:gd name="connsiteY6" fmla="*/ 6434392 h 6858000"/>
              <a:gd name="connsiteX7" fmla="*/ 6561873 w 6561873"/>
              <a:gd name="connsiteY7" fmla="*/ 6858000 h 6858000"/>
              <a:gd name="connsiteX8" fmla="*/ 0 w 6561873"/>
              <a:gd name="connsiteY8" fmla="*/ 6855671 h 6858000"/>
              <a:gd name="connsiteX9" fmla="*/ 2626607 w 6561873"/>
              <a:gd name="connsiteY9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3946625 w 6561873"/>
              <a:gd name="connsiteY3" fmla="*/ 5960366 h 6858000"/>
              <a:gd name="connsiteX4" fmla="*/ 4421367 w 6561873"/>
              <a:gd name="connsiteY4" fmla="*/ 6434392 h 6858000"/>
              <a:gd name="connsiteX5" fmla="*/ 6561873 w 6561873"/>
              <a:gd name="connsiteY5" fmla="*/ 6434392 h 6858000"/>
              <a:gd name="connsiteX6" fmla="*/ 6561873 w 6561873"/>
              <a:gd name="connsiteY6" fmla="*/ 6858000 h 6858000"/>
              <a:gd name="connsiteX7" fmla="*/ 0 w 6561873"/>
              <a:gd name="connsiteY7" fmla="*/ 6855671 h 6858000"/>
              <a:gd name="connsiteX8" fmla="*/ 2626607 w 6561873"/>
              <a:gd name="connsiteY8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4421367 w 6561873"/>
              <a:gd name="connsiteY3" fmla="*/ 6434392 h 6858000"/>
              <a:gd name="connsiteX4" fmla="*/ 6561873 w 6561873"/>
              <a:gd name="connsiteY4" fmla="*/ 6434392 h 6858000"/>
              <a:gd name="connsiteX5" fmla="*/ 6561873 w 6561873"/>
              <a:gd name="connsiteY5" fmla="*/ 6858000 h 6858000"/>
              <a:gd name="connsiteX6" fmla="*/ 0 w 6561873"/>
              <a:gd name="connsiteY6" fmla="*/ 6855671 h 6858000"/>
              <a:gd name="connsiteX7" fmla="*/ 2626607 w 6561873"/>
              <a:gd name="connsiteY7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6561873 w 6561873"/>
              <a:gd name="connsiteY3" fmla="*/ 6434392 h 6858000"/>
              <a:gd name="connsiteX4" fmla="*/ 6561873 w 6561873"/>
              <a:gd name="connsiteY4" fmla="*/ 6858000 h 6858000"/>
              <a:gd name="connsiteX5" fmla="*/ 0 w 6561873"/>
              <a:gd name="connsiteY5" fmla="*/ 6855671 h 6858000"/>
              <a:gd name="connsiteX6" fmla="*/ 2626607 w 6561873"/>
              <a:gd name="connsiteY6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6561873 w 6561873"/>
              <a:gd name="connsiteY3" fmla="*/ 6858000 h 6858000"/>
              <a:gd name="connsiteX4" fmla="*/ 0 w 6561873"/>
              <a:gd name="connsiteY4" fmla="*/ 6855671 h 6858000"/>
              <a:gd name="connsiteX5" fmla="*/ 2626607 w 6561873"/>
              <a:gd name="connsiteY5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6858000 h 6858000"/>
              <a:gd name="connsiteX3" fmla="*/ 0 w 6561873"/>
              <a:gd name="connsiteY3" fmla="*/ 6855671 h 6858000"/>
              <a:gd name="connsiteX4" fmla="*/ 2626607 w 656187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1873" h="6858000">
                <a:moveTo>
                  <a:pt x="2626607" y="0"/>
                </a:moveTo>
                <a:lnTo>
                  <a:pt x="6561873" y="0"/>
                </a:lnTo>
                <a:lnTo>
                  <a:pt x="6561873" y="6858000"/>
                </a:lnTo>
                <a:lnTo>
                  <a:pt x="0" y="6855671"/>
                </a:lnTo>
                <a:cubicBezTo>
                  <a:pt x="1630590" y="5035972"/>
                  <a:pt x="2623240" y="2633860"/>
                  <a:pt x="262660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 dirty="0"/>
              <a:t>                Click icon to add pictur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4EE5288-5EFD-85D4-2C57-C17C94754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58801"/>
            <a:ext cx="5111751" cy="1617675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5FAF652E-4E2C-2871-C5D9-177F57B034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2276475"/>
            <a:ext cx="5111751" cy="3960813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DAA4324-4293-1F2F-E49A-9FFA9BDAD8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8322279"/>
      </p:ext>
    </p:extLst>
  </p:cSld>
  <p:clrMapOvr>
    <a:masterClrMapping/>
  </p:clrMapOvr>
  <p:transition spd="slow">
    <p:push dir="u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Sisu_Valge_eri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76825F8-B62E-41B6-BCD4-9DD663D8B571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013041" cy="6858000"/>
          </a:xfrm>
          <a:custGeom>
            <a:avLst/>
            <a:gdLst>
              <a:gd name="connsiteX0" fmla="*/ 12177713 w 12192000"/>
              <a:gd name="connsiteY0" fmla="*/ 0 h 6931026"/>
              <a:gd name="connsiteX1" fmla="*/ 12192000 w 12192000"/>
              <a:gd name="connsiteY1" fmla="*/ 0 h 6931026"/>
              <a:gd name="connsiteX2" fmla="*/ 12192000 w 12192000"/>
              <a:gd name="connsiteY2" fmla="*/ 6931026 h 6931026"/>
              <a:gd name="connsiteX3" fmla="*/ 6591289 w 12192000"/>
              <a:gd name="connsiteY3" fmla="*/ 6931026 h 6931026"/>
              <a:gd name="connsiteX4" fmla="*/ 12191335 w 12192000"/>
              <a:gd name="connsiteY4" fmla="*/ 6910289 h 6931026"/>
              <a:gd name="connsiteX5" fmla="*/ 12177107 w 12192000"/>
              <a:gd name="connsiteY5" fmla="*/ 871295 h 6931026"/>
              <a:gd name="connsiteX6" fmla="*/ 0 w 12192000"/>
              <a:gd name="connsiteY6" fmla="*/ 0 h 6931026"/>
              <a:gd name="connsiteX7" fmla="*/ 11998435 w 12192000"/>
              <a:gd name="connsiteY7" fmla="*/ 0 h 6931026"/>
              <a:gd name="connsiteX8" fmla="*/ 9109015 w 12192000"/>
              <a:gd name="connsiteY8" fmla="*/ 8994 h 6931026"/>
              <a:gd name="connsiteX9" fmla="*/ 6452933 w 12192000"/>
              <a:gd name="connsiteY9" fmla="*/ 6433195 h 6931026"/>
              <a:gd name="connsiteX10" fmla="*/ 6440615 w 12192000"/>
              <a:gd name="connsiteY10" fmla="*/ 6931026 h 6931026"/>
              <a:gd name="connsiteX11" fmla="*/ 0 w 12192000"/>
              <a:gd name="connsiteY11" fmla="*/ 6931026 h 6931026"/>
              <a:gd name="connsiteX0" fmla="*/ 12177107 w 12192000"/>
              <a:gd name="connsiteY0" fmla="*/ 871295 h 6931026"/>
              <a:gd name="connsiteX1" fmla="*/ 12192000 w 12192000"/>
              <a:gd name="connsiteY1" fmla="*/ 0 h 6931026"/>
              <a:gd name="connsiteX2" fmla="*/ 12192000 w 12192000"/>
              <a:gd name="connsiteY2" fmla="*/ 6931026 h 6931026"/>
              <a:gd name="connsiteX3" fmla="*/ 6591289 w 12192000"/>
              <a:gd name="connsiteY3" fmla="*/ 6931026 h 6931026"/>
              <a:gd name="connsiteX4" fmla="*/ 12191335 w 12192000"/>
              <a:gd name="connsiteY4" fmla="*/ 6910289 h 6931026"/>
              <a:gd name="connsiteX5" fmla="*/ 12177107 w 12192000"/>
              <a:gd name="connsiteY5" fmla="*/ 871295 h 6931026"/>
              <a:gd name="connsiteX6" fmla="*/ 0 w 12192000"/>
              <a:gd name="connsiteY6" fmla="*/ 0 h 6931026"/>
              <a:gd name="connsiteX7" fmla="*/ 11998435 w 12192000"/>
              <a:gd name="connsiteY7" fmla="*/ 0 h 6931026"/>
              <a:gd name="connsiteX8" fmla="*/ 9109015 w 12192000"/>
              <a:gd name="connsiteY8" fmla="*/ 8994 h 6931026"/>
              <a:gd name="connsiteX9" fmla="*/ 6452933 w 12192000"/>
              <a:gd name="connsiteY9" fmla="*/ 6433195 h 6931026"/>
              <a:gd name="connsiteX10" fmla="*/ 6440615 w 12192000"/>
              <a:gd name="connsiteY10" fmla="*/ 6931026 h 6931026"/>
              <a:gd name="connsiteX11" fmla="*/ 0 w 12192000"/>
              <a:gd name="connsiteY11" fmla="*/ 6931026 h 6931026"/>
              <a:gd name="connsiteX12" fmla="*/ 0 w 12192000"/>
              <a:gd name="connsiteY12" fmla="*/ 0 h 6931026"/>
              <a:gd name="connsiteX0" fmla="*/ 12177107 w 12192000"/>
              <a:gd name="connsiteY0" fmla="*/ 871295 h 6931026"/>
              <a:gd name="connsiteX1" fmla="*/ 12192000 w 12192000"/>
              <a:gd name="connsiteY1" fmla="*/ 6931026 h 6931026"/>
              <a:gd name="connsiteX2" fmla="*/ 6591289 w 12192000"/>
              <a:gd name="connsiteY2" fmla="*/ 6931026 h 6931026"/>
              <a:gd name="connsiteX3" fmla="*/ 12191335 w 12192000"/>
              <a:gd name="connsiteY3" fmla="*/ 6910289 h 6931026"/>
              <a:gd name="connsiteX4" fmla="*/ 12177107 w 12192000"/>
              <a:gd name="connsiteY4" fmla="*/ 871295 h 6931026"/>
              <a:gd name="connsiteX5" fmla="*/ 0 w 12192000"/>
              <a:gd name="connsiteY5" fmla="*/ 0 h 6931026"/>
              <a:gd name="connsiteX6" fmla="*/ 11998435 w 12192000"/>
              <a:gd name="connsiteY6" fmla="*/ 0 h 6931026"/>
              <a:gd name="connsiteX7" fmla="*/ 9109015 w 12192000"/>
              <a:gd name="connsiteY7" fmla="*/ 8994 h 6931026"/>
              <a:gd name="connsiteX8" fmla="*/ 6452933 w 12192000"/>
              <a:gd name="connsiteY8" fmla="*/ 6433195 h 6931026"/>
              <a:gd name="connsiteX9" fmla="*/ 6440615 w 12192000"/>
              <a:gd name="connsiteY9" fmla="*/ 6931026 h 6931026"/>
              <a:gd name="connsiteX10" fmla="*/ 0 w 12192000"/>
              <a:gd name="connsiteY10" fmla="*/ 6931026 h 6931026"/>
              <a:gd name="connsiteX11" fmla="*/ 0 w 12192000"/>
              <a:gd name="connsiteY11" fmla="*/ 0 h 6931026"/>
              <a:gd name="connsiteX0" fmla="*/ 12177107 w 12192000"/>
              <a:gd name="connsiteY0" fmla="*/ 871295 h 6931026"/>
              <a:gd name="connsiteX1" fmla="*/ 12192000 w 12192000"/>
              <a:gd name="connsiteY1" fmla="*/ 6931026 h 6931026"/>
              <a:gd name="connsiteX2" fmla="*/ 6591289 w 12192000"/>
              <a:gd name="connsiteY2" fmla="*/ 6931026 h 6931026"/>
              <a:gd name="connsiteX3" fmla="*/ 12191335 w 12192000"/>
              <a:gd name="connsiteY3" fmla="*/ 6910289 h 6931026"/>
              <a:gd name="connsiteX4" fmla="*/ 12177107 w 12192000"/>
              <a:gd name="connsiteY4" fmla="*/ 871295 h 6931026"/>
              <a:gd name="connsiteX5" fmla="*/ 0 w 12192000"/>
              <a:gd name="connsiteY5" fmla="*/ 0 h 6931026"/>
              <a:gd name="connsiteX6" fmla="*/ 9109015 w 12192000"/>
              <a:gd name="connsiteY6" fmla="*/ 8994 h 6931026"/>
              <a:gd name="connsiteX7" fmla="*/ 6452933 w 12192000"/>
              <a:gd name="connsiteY7" fmla="*/ 6433195 h 6931026"/>
              <a:gd name="connsiteX8" fmla="*/ 6440615 w 12192000"/>
              <a:gd name="connsiteY8" fmla="*/ 6931026 h 6931026"/>
              <a:gd name="connsiteX9" fmla="*/ 0 w 12192000"/>
              <a:gd name="connsiteY9" fmla="*/ 6931026 h 6931026"/>
              <a:gd name="connsiteX10" fmla="*/ 0 w 12192000"/>
              <a:gd name="connsiteY10" fmla="*/ 0 h 6931026"/>
              <a:gd name="connsiteX0" fmla="*/ 12191335 w 12891714"/>
              <a:gd name="connsiteY0" fmla="*/ 6910289 h 6931026"/>
              <a:gd name="connsiteX1" fmla="*/ 12192000 w 12891714"/>
              <a:gd name="connsiteY1" fmla="*/ 6931026 h 6931026"/>
              <a:gd name="connsiteX2" fmla="*/ 6591289 w 12891714"/>
              <a:gd name="connsiteY2" fmla="*/ 6931026 h 6931026"/>
              <a:gd name="connsiteX3" fmla="*/ 12191335 w 12891714"/>
              <a:gd name="connsiteY3" fmla="*/ 6910289 h 6931026"/>
              <a:gd name="connsiteX4" fmla="*/ 0 w 12891714"/>
              <a:gd name="connsiteY4" fmla="*/ 0 h 6931026"/>
              <a:gd name="connsiteX5" fmla="*/ 9109015 w 12891714"/>
              <a:gd name="connsiteY5" fmla="*/ 8994 h 6931026"/>
              <a:gd name="connsiteX6" fmla="*/ 6452933 w 12891714"/>
              <a:gd name="connsiteY6" fmla="*/ 6433195 h 6931026"/>
              <a:gd name="connsiteX7" fmla="*/ 6440615 w 12891714"/>
              <a:gd name="connsiteY7" fmla="*/ 6931026 h 6931026"/>
              <a:gd name="connsiteX8" fmla="*/ 0 w 12891714"/>
              <a:gd name="connsiteY8" fmla="*/ 6931026 h 6931026"/>
              <a:gd name="connsiteX9" fmla="*/ 0 w 12891714"/>
              <a:gd name="connsiteY9" fmla="*/ 0 h 6931026"/>
              <a:gd name="connsiteX0" fmla="*/ 6591289 w 12192000"/>
              <a:gd name="connsiteY0" fmla="*/ 6931026 h 6931026"/>
              <a:gd name="connsiteX1" fmla="*/ 12192000 w 12192000"/>
              <a:gd name="connsiteY1" fmla="*/ 6931026 h 6931026"/>
              <a:gd name="connsiteX2" fmla="*/ 6591289 w 12192000"/>
              <a:gd name="connsiteY2" fmla="*/ 6931026 h 6931026"/>
              <a:gd name="connsiteX3" fmla="*/ 0 w 12192000"/>
              <a:gd name="connsiteY3" fmla="*/ 0 h 6931026"/>
              <a:gd name="connsiteX4" fmla="*/ 9109015 w 12192000"/>
              <a:gd name="connsiteY4" fmla="*/ 8994 h 6931026"/>
              <a:gd name="connsiteX5" fmla="*/ 6452933 w 12192000"/>
              <a:gd name="connsiteY5" fmla="*/ 6433195 h 6931026"/>
              <a:gd name="connsiteX6" fmla="*/ 6440615 w 12192000"/>
              <a:gd name="connsiteY6" fmla="*/ 6931026 h 6931026"/>
              <a:gd name="connsiteX7" fmla="*/ 0 w 12192000"/>
              <a:gd name="connsiteY7" fmla="*/ 6931026 h 6931026"/>
              <a:gd name="connsiteX8" fmla="*/ 0 w 12192000"/>
              <a:gd name="connsiteY8" fmla="*/ 0 h 6931026"/>
              <a:gd name="connsiteX0" fmla="*/ 0 w 9109015"/>
              <a:gd name="connsiteY0" fmla="*/ 0 h 6931026"/>
              <a:gd name="connsiteX1" fmla="*/ 9109015 w 9109015"/>
              <a:gd name="connsiteY1" fmla="*/ 8994 h 6931026"/>
              <a:gd name="connsiteX2" fmla="*/ 6452933 w 9109015"/>
              <a:gd name="connsiteY2" fmla="*/ 6433195 h 6931026"/>
              <a:gd name="connsiteX3" fmla="*/ 6440615 w 9109015"/>
              <a:gd name="connsiteY3" fmla="*/ 6931026 h 6931026"/>
              <a:gd name="connsiteX4" fmla="*/ 0 w 9109015"/>
              <a:gd name="connsiteY4" fmla="*/ 6931026 h 6931026"/>
              <a:gd name="connsiteX5" fmla="*/ 0 w 9109015"/>
              <a:gd name="connsiteY5" fmla="*/ 0 h 6931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09015" h="6931026">
                <a:moveTo>
                  <a:pt x="0" y="0"/>
                </a:moveTo>
                <a:lnTo>
                  <a:pt x="9109015" y="8994"/>
                </a:lnTo>
                <a:cubicBezTo>
                  <a:pt x="7556006" y="1742116"/>
                  <a:pt x="6572610" y="3958179"/>
                  <a:pt x="6452933" y="6433195"/>
                </a:cubicBezTo>
                <a:lnTo>
                  <a:pt x="6440615" y="6931026"/>
                </a:lnTo>
                <a:lnTo>
                  <a:pt x="0" y="693102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               Click icon to add pictures</a:t>
            </a:r>
            <a:endParaRPr lang="en-E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92FC6B-CCBE-2FEA-4CC3-F1CF0FB59D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80737" y="751329"/>
            <a:ext cx="3277771" cy="1800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/>
            </a:lvl1pPr>
            <a:lvl2pPr marL="269994" indent="0">
              <a:buNone/>
              <a:defRPr/>
            </a:lvl2pPr>
            <a:lvl3pPr marL="539987" indent="0">
              <a:buNone/>
              <a:defRPr/>
            </a:lvl3pPr>
            <a:lvl4pPr marL="899978" indent="0">
              <a:buNone/>
              <a:defRPr/>
            </a:lvl4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A75D292-E7FC-CBF7-DA63-DCAE737E0F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6700" y="3429000"/>
            <a:ext cx="360363" cy="2808288"/>
          </a:xfrm>
          <a:prstGeom prst="rect">
            <a:avLst/>
          </a:prstGeom>
        </p:spPr>
        <p:txBody>
          <a:bodyPr vert="vert270" bIns="0" anchor="t" anchorCtr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43F71447-2F51-9893-A0BE-D10FACC67B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76382" y="2752858"/>
            <a:ext cx="3277771" cy="1800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/>
            </a:lvl1pPr>
            <a:lvl2pPr marL="269994" indent="0">
              <a:buNone/>
              <a:defRPr/>
            </a:lvl2pPr>
            <a:lvl3pPr marL="539987" indent="0">
              <a:buNone/>
              <a:defRPr/>
            </a:lvl3pPr>
            <a:lvl4pPr marL="899978" indent="0">
              <a:buNone/>
              <a:defRPr/>
            </a:lvl4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D162959-7C56-8A21-C04E-3C6B185523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85648" y="4754387"/>
            <a:ext cx="3277771" cy="1800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/>
            </a:lvl1pPr>
            <a:lvl2pPr marL="269994" indent="0">
              <a:buNone/>
              <a:defRPr/>
            </a:lvl2pPr>
            <a:lvl3pPr marL="539987" indent="0">
              <a:buNone/>
              <a:defRPr/>
            </a:lvl3pPr>
            <a:lvl4pPr marL="899978" indent="0">
              <a:buNone/>
              <a:defRPr/>
            </a:lvl4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</p:spTree>
    <p:extLst>
      <p:ext uri="{BB962C8B-B14F-4D97-AF65-F5344CB8AC3E}">
        <p14:creationId xmlns:p14="http://schemas.microsoft.com/office/powerpoint/2010/main" val="1930726391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Sisu_Valge_eri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4EE5288-5EFD-85D4-2C57-C17C94754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58801"/>
            <a:ext cx="5111751" cy="1617675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5FAF652E-4E2C-2871-C5D9-177F57B034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2276475"/>
            <a:ext cx="5111751" cy="3960813"/>
          </a:xfrm>
          <a:prstGeom prst="rect">
            <a:avLst/>
          </a:prstGeom>
        </p:spPr>
        <p:txBody>
          <a:bodyPr wrap="square" bIns="0" anchor="b"/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04A0DFF-2C1B-7DD2-DEBF-96B510D1B9B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486739" y="0"/>
            <a:ext cx="5705261" cy="6858000"/>
          </a:xfrm>
          <a:custGeom>
            <a:avLst/>
            <a:gdLst>
              <a:gd name="connsiteX0" fmla="*/ 0 w 5735637"/>
              <a:gd name="connsiteY0" fmla="*/ 0 h 6894513"/>
              <a:gd name="connsiteX1" fmla="*/ 5735637 w 5735637"/>
              <a:gd name="connsiteY1" fmla="*/ 0 h 6894513"/>
              <a:gd name="connsiteX2" fmla="*/ 5735637 w 5735637"/>
              <a:gd name="connsiteY2" fmla="*/ 6894513 h 6894513"/>
              <a:gd name="connsiteX3" fmla="*/ 0 w 5735637"/>
              <a:gd name="connsiteY3" fmla="*/ 6894513 h 6894513"/>
              <a:gd name="connsiteX4" fmla="*/ 0 w 5735637"/>
              <a:gd name="connsiteY4" fmla="*/ 6891191 h 6894513"/>
              <a:gd name="connsiteX5" fmla="*/ 231322 w 5735637"/>
              <a:gd name="connsiteY5" fmla="*/ 6891581 h 6894513"/>
              <a:gd name="connsiteX6" fmla="*/ 2669051 w 5735637"/>
              <a:gd name="connsiteY6" fmla="*/ 6894490 h 6894513"/>
              <a:gd name="connsiteX7" fmla="*/ 2487027 w 5735637"/>
              <a:gd name="connsiteY7" fmla="*/ 6683082 h 6894513"/>
              <a:gd name="connsiteX8" fmla="*/ 35628 w 5735637"/>
              <a:gd name="connsiteY8" fmla="*/ 345162 h 6894513"/>
              <a:gd name="connsiteX9" fmla="*/ 27755 w 5735637"/>
              <a:gd name="connsiteY9" fmla="*/ 28149 h 6894513"/>
              <a:gd name="connsiteX10" fmla="*/ 0 w 5735637"/>
              <a:gd name="connsiteY10" fmla="*/ 26191 h 6894513"/>
              <a:gd name="connsiteX0" fmla="*/ 0 w 5735637"/>
              <a:gd name="connsiteY0" fmla="*/ 0 h 6894513"/>
              <a:gd name="connsiteX1" fmla="*/ 5735637 w 5735637"/>
              <a:gd name="connsiteY1" fmla="*/ 0 h 6894513"/>
              <a:gd name="connsiteX2" fmla="*/ 5735637 w 5735637"/>
              <a:gd name="connsiteY2" fmla="*/ 6894513 h 6894513"/>
              <a:gd name="connsiteX3" fmla="*/ 0 w 5735637"/>
              <a:gd name="connsiteY3" fmla="*/ 6894513 h 6894513"/>
              <a:gd name="connsiteX4" fmla="*/ 0 w 5735637"/>
              <a:gd name="connsiteY4" fmla="*/ 6891191 h 6894513"/>
              <a:gd name="connsiteX5" fmla="*/ 231322 w 5735637"/>
              <a:gd name="connsiteY5" fmla="*/ 6891581 h 6894513"/>
              <a:gd name="connsiteX6" fmla="*/ 2669051 w 5735637"/>
              <a:gd name="connsiteY6" fmla="*/ 6894490 h 6894513"/>
              <a:gd name="connsiteX7" fmla="*/ 2487027 w 5735637"/>
              <a:gd name="connsiteY7" fmla="*/ 6683082 h 6894513"/>
              <a:gd name="connsiteX8" fmla="*/ 35628 w 5735637"/>
              <a:gd name="connsiteY8" fmla="*/ 345162 h 6894513"/>
              <a:gd name="connsiteX9" fmla="*/ 27755 w 5735637"/>
              <a:gd name="connsiteY9" fmla="*/ 28149 h 6894513"/>
              <a:gd name="connsiteX10" fmla="*/ 0 w 5735637"/>
              <a:gd name="connsiteY10" fmla="*/ 0 h 6894513"/>
              <a:gd name="connsiteX0" fmla="*/ 28727 w 5735637"/>
              <a:gd name="connsiteY0" fmla="*/ 0 h 6894513"/>
              <a:gd name="connsiteX1" fmla="*/ 5735637 w 5735637"/>
              <a:gd name="connsiteY1" fmla="*/ 0 h 6894513"/>
              <a:gd name="connsiteX2" fmla="*/ 5735637 w 5735637"/>
              <a:gd name="connsiteY2" fmla="*/ 6894513 h 6894513"/>
              <a:gd name="connsiteX3" fmla="*/ 0 w 5735637"/>
              <a:gd name="connsiteY3" fmla="*/ 6894513 h 6894513"/>
              <a:gd name="connsiteX4" fmla="*/ 0 w 5735637"/>
              <a:gd name="connsiteY4" fmla="*/ 6891191 h 6894513"/>
              <a:gd name="connsiteX5" fmla="*/ 231322 w 5735637"/>
              <a:gd name="connsiteY5" fmla="*/ 6891581 h 6894513"/>
              <a:gd name="connsiteX6" fmla="*/ 2669051 w 5735637"/>
              <a:gd name="connsiteY6" fmla="*/ 6894490 h 6894513"/>
              <a:gd name="connsiteX7" fmla="*/ 2487027 w 5735637"/>
              <a:gd name="connsiteY7" fmla="*/ 6683082 h 6894513"/>
              <a:gd name="connsiteX8" fmla="*/ 35628 w 5735637"/>
              <a:gd name="connsiteY8" fmla="*/ 345162 h 6894513"/>
              <a:gd name="connsiteX9" fmla="*/ 27755 w 5735637"/>
              <a:gd name="connsiteY9" fmla="*/ 28149 h 6894513"/>
              <a:gd name="connsiteX10" fmla="*/ 28727 w 5735637"/>
              <a:gd name="connsiteY10" fmla="*/ 0 h 6894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35637" h="6894513">
                <a:moveTo>
                  <a:pt x="28727" y="0"/>
                </a:moveTo>
                <a:lnTo>
                  <a:pt x="5735637" y="0"/>
                </a:lnTo>
                <a:lnTo>
                  <a:pt x="5735637" y="6894513"/>
                </a:lnTo>
                <a:lnTo>
                  <a:pt x="0" y="6894513"/>
                </a:lnTo>
                <a:lnTo>
                  <a:pt x="0" y="6891191"/>
                </a:lnTo>
                <a:lnTo>
                  <a:pt x="231322" y="6891581"/>
                </a:lnTo>
                <a:lnTo>
                  <a:pt x="2669051" y="6894490"/>
                </a:lnTo>
                <a:lnTo>
                  <a:pt x="2487027" y="6683082"/>
                </a:lnTo>
                <a:cubicBezTo>
                  <a:pt x="1052157" y="4939997"/>
                  <a:pt x="151989" y="2744870"/>
                  <a:pt x="35628" y="345162"/>
                </a:cubicBezTo>
                <a:lnTo>
                  <a:pt x="27755" y="28149"/>
                </a:lnTo>
                <a:lnTo>
                  <a:pt x="2872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l">
              <a:buFont typeface="+mj-lt"/>
              <a:buNone/>
              <a:defRPr>
                <a:solidFill>
                  <a:schemeClr val="bg1"/>
                </a:solidFill>
              </a:defRPr>
            </a:lvl1pPr>
          </a:lstStyle>
          <a:p>
            <a:pPr marL="342900" marR="0" lvl="0" indent="-342900" algn="l" defTabSz="269993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lang="en-GB"/>
              <a:t>                   Click icon to add pictures</a:t>
            </a:r>
            <a:endParaRPr lang="en-EE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3024585C-B815-2059-F967-7C0DC75B38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0733886"/>
      </p:ext>
    </p:extLst>
  </p:cSld>
  <p:clrMapOvr>
    <a:masterClrMapping/>
  </p:clrMapOvr>
  <p:transition spd="slow">
    <p:push dir="u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isu_Valge_eri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E0E987D9-EF17-944D-DA41-ECF84CF78B0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486739" y="0"/>
            <a:ext cx="5705261" cy="6858000"/>
          </a:xfrm>
          <a:custGeom>
            <a:avLst/>
            <a:gdLst>
              <a:gd name="connsiteX0" fmla="*/ 0 w 5735637"/>
              <a:gd name="connsiteY0" fmla="*/ 0 h 6894513"/>
              <a:gd name="connsiteX1" fmla="*/ 5735637 w 5735637"/>
              <a:gd name="connsiteY1" fmla="*/ 0 h 6894513"/>
              <a:gd name="connsiteX2" fmla="*/ 5735637 w 5735637"/>
              <a:gd name="connsiteY2" fmla="*/ 6894513 h 6894513"/>
              <a:gd name="connsiteX3" fmla="*/ 0 w 5735637"/>
              <a:gd name="connsiteY3" fmla="*/ 6894513 h 6894513"/>
              <a:gd name="connsiteX4" fmla="*/ 0 w 5735637"/>
              <a:gd name="connsiteY4" fmla="*/ 6891191 h 6894513"/>
              <a:gd name="connsiteX5" fmla="*/ 231322 w 5735637"/>
              <a:gd name="connsiteY5" fmla="*/ 6891581 h 6894513"/>
              <a:gd name="connsiteX6" fmla="*/ 2669051 w 5735637"/>
              <a:gd name="connsiteY6" fmla="*/ 6894490 h 6894513"/>
              <a:gd name="connsiteX7" fmla="*/ 2487027 w 5735637"/>
              <a:gd name="connsiteY7" fmla="*/ 6683082 h 6894513"/>
              <a:gd name="connsiteX8" fmla="*/ 35628 w 5735637"/>
              <a:gd name="connsiteY8" fmla="*/ 345162 h 6894513"/>
              <a:gd name="connsiteX9" fmla="*/ 27755 w 5735637"/>
              <a:gd name="connsiteY9" fmla="*/ 28149 h 6894513"/>
              <a:gd name="connsiteX10" fmla="*/ 0 w 5735637"/>
              <a:gd name="connsiteY10" fmla="*/ 26191 h 6894513"/>
              <a:gd name="connsiteX0" fmla="*/ 0 w 5735637"/>
              <a:gd name="connsiteY0" fmla="*/ 0 h 6894513"/>
              <a:gd name="connsiteX1" fmla="*/ 5735637 w 5735637"/>
              <a:gd name="connsiteY1" fmla="*/ 0 h 6894513"/>
              <a:gd name="connsiteX2" fmla="*/ 5735637 w 5735637"/>
              <a:gd name="connsiteY2" fmla="*/ 6894513 h 6894513"/>
              <a:gd name="connsiteX3" fmla="*/ 0 w 5735637"/>
              <a:gd name="connsiteY3" fmla="*/ 6894513 h 6894513"/>
              <a:gd name="connsiteX4" fmla="*/ 0 w 5735637"/>
              <a:gd name="connsiteY4" fmla="*/ 6891191 h 6894513"/>
              <a:gd name="connsiteX5" fmla="*/ 231322 w 5735637"/>
              <a:gd name="connsiteY5" fmla="*/ 6891581 h 6894513"/>
              <a:gd name="connsiteX6" fmla="*/ 2669051 w 5735637"/>
              <a:gd name="connsiteY6" fmla="*/ 6894490 h 6894513"/>
              <a:gd name="connsiteX7" fmla="*/ 2487027 w 5735637"/>
              <a:gd name="connsiteY7" fmla="*/ 6683082 h 6894513"/>
              <a:gd name="connsiteX8" fmla="*/ 35628 w 5735637"/>
              <a:gd name="connsiteY8" fmla="*/ 345162 h 6894513"/>
              <a:gd name="connsiteX9" fmla="*/ 27755 w 5735637"/>
              <a:gd name="connsiteY9" fmla="*/ 28149 h 6894513"/>
              <a:gd name="connsiteX10" fmla="*/ 0 w 5735637"/>
              <a:gd name="connsiteY10" fmla="*/ 0 h 6894513"/>
              <a:gd name="connsiteX0" fmla="*/ 28727 w 5735637"/>
              <a:gd name="connsiteY0" fmla="*/ 0 h 6894513"/>
              <a:gd name="connsiteX1" fmla="*/ 5735637 w 5735637"/>
              <a:gd name="connsiteY1" fmla="*/ 0 h 6894513"/>
              <a:gd name="connsiteX2" fmla="*/ 5735637 w 5735637"/>
              <a:gd name="connsiteY2" fmla="*/ 6894513 h 6894513"/>
              <a:gd name="connsiteX3" fmla="*/ 0 w 5735637"/>
              <a:gd name="connsiteY3" fmla="*/ 6894513 h 6894513"/>
              <a:gd name="connsiteX4" fmla="*/ 0 w 5735637"/>
              <a:gd name="connsiteY4" fmla="*/ 6891191 h 6894513"/>
              <a:gd name="connsiteX5" fmla="*/ 231322 w 5735637"/>
              <a:gd name="connsiteY5" fmla="*/ 6891581 h 6894513"/>
              <a:gd name="connsiteX6" fmla="*/ 2669051 w 5735637"/>
              <a:gd name="connsiteY6" fmla="*/ 6894490 h 6894513"/>
              <a:gd name="connsiteX7" fmla="*/ 2487027 w 5735637"/>
              <a:gd name="connsiteY7" fmla="*/ 6683082 h 6894513"/>
              <a:gd name="connsiteX8" fmla="*/ 35628 w 5735637"/>
              <a:gd name="connsiteY8" fmla="*/ 345162 h 6894513"/>
              <a:gd name="connsiteX9" fmla="*/ 27755 w 5735637"/>
              <a:gd name="connsiteY9" fmla="*/ 28149 h 6894513"/>
              <a:gd name="connsiteX10" fmla="*/ 28727 w 5735637"/>
              <a:gd name="connsiteY10" fmla="*/ 0 h 6894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35637" h="6894513">
                <a:moveTo>
                  <a:pt x="28727" y="0"/>
                </a:moveTo>
                <a:lnTo>
                  <a:pt x="5735637" y="0"/>
                </a:lnTo>
                <a:lnTo>
                  <a:pt x="5735637" y="6894513"/>
                </a:lnTo>
                <a:lnTo>
                  <a:pt x="0" y="6894513"/>
                </a:lnTo>
                <a:lnTo>
                  <a:pt x="0" y="6891191"/>
                </a:lnTo>
                <a:lnTo>
                  <a:pt x="231322" y="6891581"/>
                </a:lnTo>
                <a:lnTo>
                  <a:pt x="2669051" y="6894490"/>
                </a:lnTo>
                <a:lnTo>
                  <a:pt x="2487027" y="6683082"/>
                </a:lnTo>
                <a:cubicBezTo>
                  <a:pt x="1052157" y="4939997"/>
                  <a:pt x="151989" y="2744870"/>
                  <a:pt x="35628" y="345162"/>
                </a:cubicBezTo>
                <a:lnTo>
                  <a:pt x="27755" y="28149"/>
                </a:lnTo>
                <a:lnTo>
                  <a:pt x="2872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l">
              <a:buFont typeface="+mj-lt"/>
              <a:buNone/>
              <a:defRPr>
                <a:solidFill>
                  <a:schemeClr val="bg1"/>
                </a:solidFill>
              </a:defRPr>
            </a:lvl1pPr>
          </a:lstStyle>
          <a:p>
            <a:pPr marL="342900" marR="0" lvl="0" indent="-342900" algn="l" defTabSz="269993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lang="en-GB"/>
              <a:t>                   Click icon to add pictures</a:t>
            </a:r>
            <a:endParaRPr lang="en-EE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0C2A4D2-3865-CE4C-7F37-4B5972E76EFC}"/>
              </a:ext>
            </a:extLst>
          </p:cNvPr>
          <p:cNvCxnSpPr>
            <a:cxnSpLocks/>
          </p:cNvCxnSpPr>
          <p:nvPr userDrawn="1"/>
        </p:nvCxnSpPr>
        <p:spPr>
          <a:xfrm>
            <a:off x="1987448" y="615906"/>
            <a:ext cx="0" cy="1080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B05B97E-9BFE-1C9E-36BA-F81617968E04}"/>
              </a:ext>
            </a:extLst>
          </p:cNvPr>
          <p:cNvCxnSpPr>
            <a:cxnSpLocks/>
          </p:cNvCxnSpPr>
          <p:nvPr userDrawn="1"/>
        </p:nvCxnSpPr>
        <p:spPr>
          <a:xfrm>
            <a:off x="1987448" y="2106205"/>
            <a:ext cx="0" cy="108000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03C86FE-9133-2E9A-71EE-D7C92A87D419}"/>
              </a:ext>
            </a:extLst>
          </p:cNvPr>
          <p:cNvCxnSpPr>
            <a:cxnSpLocks/>
          </p:cNvCxnSpPr>
          <p:nvPr userDrawn="1"/>
        </p:nvCxnSpPr>
        <p:spPr>
          <a:xfrm>
            <a:off x="1987448" y="3585940"/>
            <a:ext cx="0" cy="108000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E5F942E-8A7C-3DAD-EDA1-A2D4CC1DE38A}"/>
              </a:ext>
            </a:extLst>
          </p:cNvPr>
          <p:cNvCxnSpPr>
            <a:cxnSpLocks/>
          </p:cNvCxnSpPr>
          <p:nvPr userDrawn="1"/>
        </p:nvCxnSpPr>
        <p:spPr>
          <a:xfrm>
            <a:off x="1987448" y="5132851"/>
            <a:ext cx="0" cy="10800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icture Placeholder 19">
            <a:extLst>
              <a:ext uri="{FF2B5EF4-FFF2-40B4-BE49-F238E27FC236}">
                <a16:creationId xmlns:a16="http://schemas.microsoft.com/office/drawing/2014/main" id="{206653EB-5D14-D1AC-D160-8A625F506C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3752" y="615950"/>
            <a:ext cx="1002885" cy="1079956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40" name="Picture Placeholder 19">
            <a:extLst>
              <a:ext uri="{FF2B5EF4-FFF2-40B4-BE49-F238E27FC236}">
                <a16:creationId xmlns:a16="http://schemas.microsoft.com/office/drawing/2014/main" id="{70D12DD3-A268-D688-55CE-E2232B0CAA8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83752" y="2111827"/>
            <a:ext cx="1002885" cy="1079956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41" name="Picture Placeholder 19">
            <a:extLst>
              <a:ext uri="{FF2B5EF4-FFF2-40B4-BE49-F238E27FC236}">
                <a16:creationId xmlns:a16="http://schemas.microsoft.com/office/drawing/2014/main" id="{F4AD269D-E2C1-7FCD-6797-3D0B9B4D3A9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83752" y="3634923"/>
            <a:ext cx="1002885" cy="1079956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42" name="Picture Placeholder 19">
            <a:extLst>
              <a:ext uri="{FF2B5EF4-FFF2-40B4-BE49-F238E27FC236}">
                <a16:creationId xmlns:a16="http://schemas.microsoft.com/office/drawing/2014/main" id="{19444EFB-E8D4-DF2A-1A7E-A49D3A1C37C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83752" y="5109080"/>
            <a:ext cx="1002885" cy="1079956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43" name="Text Placeholder 26">
            <a:extLst>
              <a:ext uri="{FF2B5EF4-FFF2-40B4-BE49-F238E27FC236}">
                <a16:creationId xmlns:a16="http://schemas.microsoft.com/office/drawing/2014/main" id="{5CE6A1EB-0347-44EE-C077-290C81E00C0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170113" y="615950"/>
            <a:ext cx="4115814" cy="612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44" name="Text Placeholder 26">
            <a:extLst>
              <a:ext uri="{FF2B5EF4-FFF2-40B4-BE49-F238E27FC236}">
                <a16:creationId xmlns:a16="http://schemas.microsoft.com/office/drawing/2014/main" id="{D139EC8C-F8E4-C9E4-F877-4CA6EC37B8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70113" y="1192167"/>
            <a:ext cx="4115814" cy="54519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45" name="Text Placeholder 26">
            <a:extLst>
              <a:ext uri="{FF2B5EF4-FFF2-40B4-BE49-F238E27FC236}">
                <a16:creationId xmlns:a16="http://schemas.microsoft.com/office/drawing/2014/main" id="{55CA5EB4-656B-B03C-4FD1-DFDFE39715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70113" y="2111827"/>
            <a:ext cx="4115814" cy="612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accent5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890BCA59-4E52-C19F-FECA-A3DA150D83E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70113" y="2688045"/>
            <a:ext cx="4115814" cy="54519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47" name="Text Placeholder 26">
            <a:extLst>
              <a:ext uri="{FF2B5EF4-FFF2-40B4-BE49-F238E27FC236}">
                <a16:creationId xmlns:a16="http://schemas.microsoft.com/office/drawing/2014/main" id="{6A5E367E-4CA1-7674-E6E5-398D1A3A474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170113" y="3591380"/>
            <a:ext cx="4115814" cy="612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4DF6B707-8A45-95D7-38AB-3015D78867B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170113" y="4167598"/>
            <a:ext cx="4115814" cy="54519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49" name="Text Placeholder 26">
            <a:extLst>
              <a:ext uri="{FF2B5EF4-FFF2-40B4-BE49-F238E27FC236}">
                <a16:creationId xmlns:a16="http://schemas.microsoft.com/office/drawing/2014/main" id="{C877ABDD-D127-7481-767A-32EB515C91D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170113" y="5115380"/>
            <a:ext cx="4115814" cy="612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3D6370A2-0B7A-54F9-7303-ED693326D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170113" y="5691598"/>
            <a:ext cx="4115814" cy="54519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EB53B3A-89B1-2B57-0F18-19107F1B96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0650316"/>
      </p:ext>
    </p:extLst>
  </p:cSld>
  <p:clrMapOvr>
    <a:masterClrMapping/>
  </p:clrMapOvr>
  <p:transition spd="slow">
    <p:push dir="u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Sisu_Valge_eri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3F33DBEE-FBE3-4C51-78B1-85817AFB3E72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6486739" y="0"/>
            <a:ext cx="5705261" cy="6858000"/>
          </a:xfrm>
          <a:custGeom>
            <a:avLst/>
            <a:gdLst>
              <a:gd name="connsiteX0" fmla="*/ 0 w 5735637"/>
              <a:gd name="connsiteY0" fmla="*/ 0 h 6894513"/>
              <a:gd name="connsiteX1" fmla="*/ 5735637 w 5735637"/>
              <a:gd name="connsiteY1" fmla="*/ 0 h 6894513"/>
              <a:gd name="connsiteX2" fmla="*/ 5735637 w 5735637"/>
              <a:gd name="connsiteY2" fmla="*/ 6894513 h 6894513"/>
              <a:gd name="connsiteX3" fmla="*/ 0 w 5735637"/>
              <a:gd name="connsiteY3" fmla="*/ 6894513 h 6894513"/>
              <a:gd name="connsiteX4" fmla="*/ 0 w 5735637"/>
              <a:gd name="connsiteY4" fmla="*/ 6891191 h 6894513"/>
              <a:gd name="connsiteX5" fmla="*/ 231322 w 5735637"/>
              <a:gd name="connsiteY5" fmla="*/ 6891581 h 6894513"/>
              <a:gd name="connsiteX6" fmla="*/ 2669051 w 5735637"/>
              <a:gd name="connsiteY6" fmla="*/ 6894490 h 6894513"/>
              <a:gd name="connsiteX7" fmla="*/ 2487027 w 5735637"/>
              <a:gd name="connsiteY7" fmla="*/ 6683082 h 6894513"/>
              <a:gd name="connsiteX8" fmla="*/ 35628 w 5735637"/>
              <a:gd name="connsiteY8" fmla="*/ 345162 h 6894513"/>
              <a:gd name="connsiteX9" fmla="*/ 27755 w 5735637"/>
              <a:gd name="connsiteY9" fmla="*/ 28149 h 6894513"/>
              <a:gd name="connsiteX10" fmla="*/ 0 w 5735637"/>
              <a:gd name="connsiteY10" fmla="*/ 26191 h 6894513"/>
              <a:gd name="connsiteX0" fmla="*/ 0 w 5735637"/>
              <a:gd name="connsiteY0" fmla="*/ 0 h 6894513"/>
              <a:gd name="connsiteX1" fmla="*/ 5735637 w 5735637"/>
              <a:gd name="connsiteY1" fmla="*/ 0 h 6894513"/>
              <a:gd name="connsiteX2" fmla="*/ 5735637 w 5735637"/>
              <a:gd name="connsiteY2" fmla="*/ 6894513 h 6894513"/>
              <a:gd name="connsiteX3" fmla="*/ 0 w 5735637"/>
              <a:gd name="connsiteY3" fmla="*/ 6894513 h 6894513"/>
              <a:gd name="connsiteX4" fmla="*/ 0 w 5735637"/>
              <a:gd name="connsiteY4" fmla="*/ 6891191 h 6894513"/>
              <a:gd name="connsiteX5" fmla="*/ 231322 w 5735637"/>
              <a:gd name="connsiteY5" fmla="*/ 6891581 h 6894513"/>
              <a:gd name="connsiteX6" fmla="*/ 2669051 w 5735637"/>
              <a:gd name="connsiteY6" fmla="*/ 6894490 h 6894513"/>
              <a:gd name="connsiteX7" fmla="*/ 2487027 w 5735637"/>
              <a:gd name="connsiteY7" fmla="*/ 6683082 h 6894513"/>
              <a:gd name="connsiteX8" fmla="*/ 35628 w 5735637"/>
              <a:gd name="connsiteY8" fmla="*/ 345162 h 6894513"/>
              <a:gd name="connsiteX9" fmla="*/ 27755 w 5735637"/>
              <a:gd name="connsiteY9" fmla="*/ 28149 h 6894513"/>
              <a:gd name="connsiteX10" fmla="*/ 0 w 5735637"/>
              <a:gd name="connsiteY10" fmla="*/ 0 h 6894513"/>
              <a:gd name="connsiteX0" fmla="*/ 28727 w 5735637"/>
              <a:gd name="connsiteY0" fmla="*/ 0 h 6894513"/>
              <a:gd name="connsiteX1" fmla="*/ 5735637 w 5735637"/>
              <a:gd name="connsiteY1" fmla="*/ 0 h 6894513"/>
              <a:gd name="connsiteX2" fmla="*/ 5735637 w 5735637"/>
              <a:gd name="connsiteY2" fmla="*/ 6894513 h 6894513"/>
              <a:gd name="connsiteX3" fmla="*/ 0 w 5735637"/>
              <a:gd name="connsiteY3" fmla="*/ 6894513 h 6894513"/>
              <a:gd name="connsiteX4" fmla="*/ 0 w 5735637"/>
              <a:gd name="connsiteY4" fmla="*/ 6891191 h 6894513"/>
              <a:gd name="connsiteX5" fmla="*/ 231322 w 5735637"/>
              <a:gd name="connsiteY5" fmla="*/ 6891581 h 6894513"/>
              <a:gd name="connsiteX6" fmla="*/ 2669051 w 5735637"/>
              <a:gd name="connsiteY6" fmla="*/ 6894490 h 6894513"/>
              <a:gd name="connsiteX7" fmla="*/ 2487027 w 5735637"/>
              <a:gd name="connsiteY7" fmla="*/ 6683082 h 6894513"/>
              <a:gd name="connsiteX8" fmla="*/ 35628 w 5735637"/>
              <a:gd name="connsiteY8" fmla="*/ 345162 h 6894513"/>
              <a:gd name="connsiteX9" fmla="*/ 27755 w 5735637"/>
              <a:gd name="connsiteY9" fmla="*/ 28149 h 6894513"/>
              <a:gd name="connsiteX10" fmla="*/ 28727 w 5735637"/>
              <a:gd name="connsiteY10" fmla="*/ 0 h 6894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35637" h="6894513">
                <a:moveTo>
                  <a:pt x="28727" y="0"/>
                </a:moveTo>
                <a:lnTo>
                  <a:pt x="5735637" y="0"/>
                </a:lnTo>
                <a:lnTo>
                  <a:pt x="5735637" y="6894513"/>
                </a:lnTo>
                <a:lnTo>
                  <a:pt x="0" y="6894513"/>
                </a:lnTo>
                <a:lnTo>
                  <a:pt x="0" y="6891191"/>
                </a:lnTo>
                <a:lnTo>
                  <a:pt x="231322" y="6891581"/>
                </a:lnTo>
                <a:lnTo>
                  <a:pt x="2669051" y="6894490"/>
                </a:lnTo>
                <a:lnTo>
                  <a:pt x="2487027" y="6683082"/>
                </a:lnTo>
                <a:cubicBezTo>
                  <a:pt x="1052157" y="4939997"/>
                  <a:pt x="151989" y="2744870"/>
                  <a:pt x="35628" y="345162"/>
                </a:cubicBezTo>
                <a:lnTo>
                  <a:pt x="27755" y="28149"/>
                </a:lnTo>
                <a:lnTo>
                  <a:pt x="2872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l">
              <a:buFont typeface="+mj-lt"/>
              <a:buNone/>
              <a:defRPr>
                <a:solidFill>
                  <a:schemeClr val="bg1"/>
                </a:solidFill>
              </a:defRPr>
            </a:lvl1pPr>
          </a:lstStyle>
          <a:p>
            <a:pPr marL="342900" marR="0" lvl="0" indent="-342900" algn="l" defTabSz="269993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5"/>
              </a:buClr>
              <a:buSzTx/>
              <a:tabLst/>
              <a:defRPr/>
            </a:pPr>
            <a:r>
              <a:rPr lang="en-GB"/>
              <a:t>                   Click icon to add pictures</a:t>
            </a:r>
            <a:endParaRPr lang="en-EE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1A23B53-12C8-3201-A176-839F221B15AC}"/>
              </a:ext>
            </a:extLst>
          </p:cNvPr>
          <p:cNvCxnSpPr>
            <a:cxnSpLocks/>
          </p:cNvCxnSpPr>
          <p:nvPr/>
        </p:nvCxnSpPr>
        <p:spPr>
          <a:xfrm>
            <a:off x="1987448" y="1646421"/>
            <a:ext cx="0" cy="1080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52FFCF-7BF3-584B-0747-ABB1556EBB35}"/>
              </a:ext>
            </a:extLst>
          </p:cNvPr>
          <p:cNvCxnSpPr>
            <a:cxnSpLocks/>
          </p:cNvCxnSpPr>
          <p:nvPr/>
        </p:nvCxnSpPr>
        <p:spPr>
          <a:xfrm>
            <a:off x="1987448" y="3136720"/>
            <a:ext cx="0" cy="108000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CA625E-9432-8930-3807-33884F4D841A}"/>
              </a:ext>
            </a:extLst>
          </p:cNvPr>
          <p:cNvCxnSpPr>
            <a:cxnSpLocks/>
          </p:cNvCxnSpPr>
          <p:nvPr/>
        </p:nvCxnSpPr>
        <p:spPr>
          <a:xfrm>
            <a:off x="1987448" y="4616455"/>
            <a:ext cx="0" cy="108000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0AC03E2-EE90-F4CF-E8D4-A801F5FEFE2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3752" y="1646465"/>
            <a:ext cx="1002885" cy="1079956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E88627-A698-0837-AEB7-97E56FB8298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83752" y="3142342"/>
            <a:ext cx="1002885" cy="1079956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24" name="Picture Placeholder 19">
            <a:extLst>
              <a:ext uri="{FF2B5EF4-FFF2-40B4-BE49-F238E27FC236}">
                <a16:creationId xmlns:a16="http://schemas.microsoft.com/office/drawing/2014/main" id="{6BD491F5-2088-FAE6-DCD9-616D54CC7B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83752" y="4665438"/>
            <a:ext cx="1002885" cy="1079956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EE"/>
              <a:t>icon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B019A14E-F9D2-A8C4-835F-6E22808226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170112" y="1646465"/>
            <a:ext cx="4240841" cy="54573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0BD79A8A-F2D1-0569-183A-0BCB1378561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70112" y="2212522"/>
            <a:ext cx="4240841" cy="54573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C989D314-C993-AEEE-8BE6-EBE91FC7B4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70112" y="3142343"/>
            <a:ext cx="4240841" cy="54573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8B50DD3D-E739-8EA3-25C5-53C3D0364B8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70112" y="3708400"/>
            <a:ext cx="4240841" cy="54573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63731E30-7B74-F090-E145-ABBF2F73828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170112" y="4621896"/>
            <a:ext cx="4240841" cy="54573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2CF1BCE5-A91B-EF7A-4D89-B82261905E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170112" y="5187953"/>
            <a:ext cx="4240841" cy="54573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BC4FAFD5-F95A-038D-BA73-9E2E70A1D0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1D35723-3DAE-82B6-08F2-C0F74A8B5733}"/>
              </a:ext>
            </a:extLst>
          </p:cNvPr>
          <p:cNvCxnSpPr>
            <a:cxnSpLocks/>
          </p:cNvCxnSpPr>
          <p:nvPr userDrawn="1"/>
        </p:nvCxnSpPr>
        <p:spPr>
          <a:xfrm>
            <a:off x="1987448" y="1646421"/>
            <a:ext cx="0" cy="1080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50B38C6-7167-A178-F9C5-47ABFA5531D4}"/>
              </a:ext>
            </a:extLst>
          </p:cNvPr>
          <p:cNvCxnSpPr>
            <a:cxnSpLocks/>
          </p:cNvCxnSpPr>
          <p:nvPr userDrawn="1"/>
        </p:nvCxnSpPr>
        <p:spPr>
          <a:xfrm>
            <a:off x="1987448" y="3136720"/>
            <a:ext cx="0" cy="108000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7301D3C-BE83-B4DF-74A4-01B09C65A2F7}"/>
              </a:ext>
            </a:extLst>
          </p:cNvPr>
          <p:cNvCxnSpPr>
            <a:cxnSpLocks/>
          </p:cNvCxnSpPr>
          <p:nvPr userDrawn="1"/>
        </p:nvCxnSpPr>
        <p:spPr>
          <a:xfrm>
            <a:off x="1987448" y="4616455"/>
            <a:ext cx="0" cy="108000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5626590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i/tagaleht logoga_3ri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323FCC4-5DCD-F3B3-756C-4C1DA83625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27727" y="0"/>
            <a:ext cx="6561873" cy="6858000"/>
          </a:xfrm>
          <a:custGeom>
            <a:avLst/>
            <a:gdLst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0 w 12189600"/>
              <a:gd name="connsiteY9" fmla="*/ 6855671 h 6858000"/>
              <a:gd name="connsiteX10" fmla="*/ 5627727 w 12189600"/>
              <a:gd name="connsiteY10" fmla="*/ 6855671 h 6858000"/>
              <a:gd name="connsiteX11" fmla="*/ 8254334 w 12189600"/>
              <a:gd name="connsiteY11" fmla="*/ 0 h 6858000"/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5627727 w 12189600"/>
              <a:gd name="connsiteY9" fmla="*/ 6855671 h 6858000"/>
              <a:gd name="connsiteX10" fmla="*/ 8254334 w 12189600"/>
              <a:gd name="connsiteY10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4421367 w 6561873"/>
              <a:gd name="connsiteY3" fmla="*/ 5486829 h 6858000"/>
              <a:gd name="connsiteX4" fmla="*/ 3946625 w 6561873"/>
              <a:gd name="connsiteY4" fmla="*/ 5960366 h 6858000"/>
              <a:gd name="connsiteX5" fmla="*/ 4421367 w 6561873"/>
              <a:gd name="connsiteY5" fmla="*/ 6434392 h 6858000"/>
              <a:gd name="connsiteX6" fmla="*/ 6561873 w 6561873"/>
              <a:gd name="connsiteY6" fmla="*/ 6434392 h 6858000"/>
              <a:gd name="connsiteX7" fmla="*/ 6561873 w 6561873"/>
              <a:gd name="connsiteY7" fmla="*/ 6858000 h 6858000"/>
              <a:gd name="connsiteX8" fmla="*/ 0 w 6561873"/>
              <a:gd name="connsiteY8" fmla="*/ 6855671 h 6858000"/>
              <a:gd name="connsiteX9" fmla="*/ 2626607 w 6561873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61873" h="6858000">
                <a:moveTo>
                  <a:pt x="2626607" y="0"/>
                </a:moveTo>
                <a:lnTo>
                  <a:pt x="6561873" y="0"/>
                </a:lnTo>
                <a:lnTo>
                  <a:pt x="6561873" y="5486829"/>
                </a:lnTo>
                <a:lnTo>
                  <a:pt x="4421367" y="5486829"/>
                </a:lnTo>
                <a:cubicBezTo>
                  <a:pt x="4159255" y="5486829"/>
                  <a:pt x="3946625" y="5698919"/>
                  <a:pt x="3946625" y="5960366"/>
                </a:cubicBezTo>
                <a:cubicBezTo>
                  <a:pt x="3946625" y="6222302"/>
                  <a:pt x="4159255" y="6434392"/>
                  <a:pt x="4421367" y="6434392"/>
                </a:cubicBezTo>
                <a:lnTo>
                  <a:pt x="6561873" y="6434392"/>
                </a:lnTo>
                <a:lnTo>
                  <a:pt x="6561873" y="6858000"/>
                </a:lnTo>
                <a:lnTo>
                  <a:pt x="0" y="6855671"/>
                </a:lnTo>
                <a:cubicBezTo>
                  <a:pt x="1630590" y="5035972"/>
                  <a:pt x="2623240" y="2633860"/>
                  <a:pt x="262660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                Click icon to add pictures</a:t>
            </a:r>
          </a:p>
        </p:txBody>
      </p:sp>
      <p:sp>
        <p:nvSpPr>
          <p:cNvPr id="5" name="Teksti kohatäide 6">
            <a:extLst>
              <a:ext uri="{FF2B5EF4-FFF2-40B4-BE49-F238E27FC236}">
                <a16:creationId xmlns:a16="http://schemas.microsoft.com/office/drawing/2014/main" id="{AC0972FF-6B3E-534D-42D6-92D2C72300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6940" y="3938954"/>
            <a:ext cx="4629853" cy="229833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 i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et-EE" sz="2000"/>
              <a:t>Klõpsake juhteksemplari tekstilaadide redigeerimisek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6FE6F80-8390-484E-C7E2-E30C3A7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9626" y="657225"/>
            <a:ext cx="6319364" cy="2651366"/>
          </a:xfrm>
        </p:spPr>
        <p:txBody>
          <a:bodyPr/>
          <a:lstStyle>
            <a:lvl1pPr>
              <a:defRPr sz="60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edit Master title </a:t>
            </a:r>
            <a:br>
              <a:rPr lang="en-GB" dirty="0"/>
            </a:br>
            <a:r>
              <a:rPr lang="en-GB" dirty="0"/>
              <a:t>style</a:t>
            </a:r>
            <a:endParaRPr lang="en-EE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2B982F5-6047-51D9-C45B-4E85C19FDA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FE5942-0A46-D221-071D-D998372F05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1246"/>
            <a:ext cx="2445142" cy="98021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6F60823-1753-3468-02A5-A9BB909BF25C}"/>
              </a:ext>
            </a:extLst>
          </p:cNvPr>
          <p:cNvSpPr/>
          <p:nvPr userDrawn="1"/>
        </p:nvSpPr>
        <p:spPr>
          <a:xfrm flipH="1">
            <a:off x="726936" y="536818"/>
            <a:ext cx="90000" cy="2771773"/>
          </a:xfrm>
          <a:prstGeom prst="rect">
            <a:avLst/>
          </a:prstGeom>
          <a:solidFill>
            <a:schemeClr val="tx2"/>
          </a:solidFill>
          <a:ln w="9017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EE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70465"/>
      </p:ext>
    </p:extLst>
  </p:cSld>
  <p:clrMapOvr>
    <a:masterClrMapping/>
  </p:clrMapOvr>
  <p:transition spd="slow">
    <p:push dir="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isu_Hall_Tabel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183563" y="657226"/>
            <a:ext cx="3384551" cy="800100"/>
          </a:xfrm>
          <a:prstGeom prst="rect">
            <a:avLst/>
          </a:prstGeom>
        </p:spPr>
        <p:txBody>
          <a:bodyPr wrap="square" bIns="0" anchor="t" anchorCtr="0"/>
          <a:lstStyle>
            <a:lvl1pPr marL="0" indent="0" algn="r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1pPr>
            <a:lvl2pPr marL="269993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39987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899978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LLIKAS:</a:t>
            </a:r>
            <a:endParaRPr lang="en-GB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D09C8661-A967-457B-1FB0-DB06553FF0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3888" y="1962617"/>
            <a:ext cx="10944225" cy="4274672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4pPr>
              <a:defRPr/>
            </a:lvl4pPr>
          </a:lstStyle>
          <a:p>
            <a:pPr lvl="0"/>
            <a:r>
              <a:rPr lang="en-GB" dirty="0"/>
              <a:t>Click to edit text styles</a:t>
            </a:r>
          </a:p>
          <a:p>
            <a:pPr marL="539987" marR="0" lvl="1" indent="-269993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5565682"/>
      </p:ext>
    </p:extLst>
  </p:cSld>
  <p:clrMapOvr>
    <a:masterClrMapping/>
  </p:clrMapOvr>
  <p:transition spd="slow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isu_Valge_Tab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183563" y="657226"/>
            <a:ext cx="3384551" cy="800100"/>
          </a:xfrm>
          <a:prstGeom prst="rect">
            <a:avLst/>
          </a:prstGeom>
        </p:spPr>
        <p:txBody>
          <a:bodyPr wrap="square" bIns="0" anchor="t" anchorCtr="0"/>
          <a:lstStyle>
            <a:lvl1pPr marL="0" indent="0" algn="r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1pPr>
            <a:lvl2pPr marL="269993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39987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899978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LLIKAS:</a:t>
            </a:r>
            <a:endParaRPr lang="en-GB" dirty="0"/>
          </a:p>
        </p:txBody>
      </p:sp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71BAFAC3-9EBB-25A5-0106-0C296398C00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3888" y="1962617"/>
            <a:ext cx="10944225" cy="4274672"/>
          </a:xfrm>
        </p:spPr>
        <p:txBody>
          <a:bodyPr/>
          <a:lstStyle/>
          <a:p>
            <a:pPr lvl="0"/>
            <a:r>
              <a:rPr lang="en-GB" dirty="0"/>
              <a:t>Click to edit text styles</a:t>
            </a:r>
          </a:p>
          <a:p>
            <a:pPr marL="539987" marR="0" lvl="1" indent="-269993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379418"/>
      </p:ext>
    </p:extLst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isu_Hall_Graafik"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5437189"/>
            <a:ext cx="5472112" cy="800100"/>
          </a:xfrm>
          <a:prstGeom prst="rect">
            <a:avLst/>
          </a:prstGeom>
        </p:spPr>
        <p:txBody>
          <a:bodyPr wrap="square" bIns="0" anchor="b" anchorCtr="0"/>
          <a:lstStyle>
            <a:lvl1pPr marL="0" indent="0" algn="l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1pPr>
            <a:lvl2pPr marL="269993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39987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899978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LLIKAS: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05A0C6-3529-1E23-17B4-A43532C63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2"/>
            <a:ext cx="5472113" cy="1707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09A3E3BD-EDF3-0751-621C-CF013C5259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2366681"/>
            <a:ext cx="5472112" cy="2877671"/>
          </a:xfrm>
          <a:prstGeom prst="rect">
            <a:avLst/>
          </a:prstGeom>
        </p:spPr>
        <p:txBody>
          <a:bodyPr bIns="0" anchor="t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274C956-040C-4C0D-CF62-1B0336E17B9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2375" y="658803"/>
            <a:ext cx="5265738" cy="5578486"/>
          </a:xfrm>
        </p:spPr>
        <p:txBody>
          <a:bodyPr/>
          <a:lstStyle/>
          <a:p>
            <a:pPr lvl="0"/>
            <a:r>
              <a:rPr lang="en-GB" dirty="0"/>
              <a:t>Click to edit text styles</a:t>
            </a:r>
          </a:p>
          <a:p>
            <a:pPr marL="539987" marR="0" lvl="1" indent="-269993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4392777"/>
      </p:ext>
    </p:extLst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isu_Valge_Graaf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2"/>
            <a:ext cx="5472113" cy="1707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5437189"/>
            <a:ext cx="5472112" cy="800100"/>
          </a:xfrm>
          <a:prstGeom prst="rect">
            <a:avLst/>
          </a:prstGeom>
        </p:spPr>
        <p:txBody>
          <a:bodyPr wrap="square" bIns="0" anchor="b" anchorCtr="0"/>
          <a:lstStyle>
            <a:lvl1pPr marL="0" indent="0" algn="l">
              <a:buClr>
                <a:schemeClr val="bg1"/>
              </a:buClr>
              <a:buNone/>
              <a:defRPr sz="1200">
                <a:solidFill>
                  <a:schemeClr val="tx1"/>
                </a:solidFill>
              </a:defRPr>
            </a:lvl1pPr>
            <a:lvl2pPr marL="269993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39987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899978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marL="0" marR="0" lvl="0" indent="0" algn="l" defTabSz="269993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/>
              </a:buClr>
              <a:buSzTx/>
              <a:buFont typeface="Courier New" panose="02070309020205020404" pitchFamily="49" charset="0"/>
              <a:buNone/>
              <a:tabLst/>
              <a:defRPr/>
            </a:pPr>
            <a:r>
              <a:rPr lang="en-US" dirty="0"/>
              <a:t>ALLIKAS:</a:t>
            </a:r>
            <a:endParaRPr lang="en-GB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F7DD244-CDA6-2334-58D9-C377EC3DF2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2366681"/>
            <a:ext cx="5472112" cy="2877671"/>
          </a:xfrm>
          <a:prstGeom prst="rect">
            <a:avLst/>
          </a:prstGeom>
        </p:spPr>
        <p:txBody>
          <a:bodyPr bIns="0" anchor="t">
            <a:normAutofit/>
          </a:bodyPr>
          <a:lstStyle>
            <a:lvl1pPr marL="0" indent="0">
              <a:spcBef>
                <a:spcPts val="20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id="{F8461437-BE46-001B-39C2-6611FC375AC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02375" y="658803"/>
            <a:ext cx="5265738" cy="5578486"/>
          </a:xfrm>
        </p:spPr>
        <p:txBody>
          <a:bodyPr/>
          <a:lstStyle/>
          <a:p>
            <a:pPr lvl="0"/>
            <a:r>
              <a:rPr lang="en-GB" dirty="0"/>
              <a:t>Click to edit text styles</a:t>
            </a:r>
          </a:p>
          <a:p>
            <a:pPr marL="539987" marR="0" lvl="1" indent="-269993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0109796"/>
      </p:ext>
    </p:extLst>
  </p:cSld>
  <p:clrMapOvr>
    <a:masterClrMapping/>
  </p:clrMapOvr>
  <p:transition spd="slow">
    <p:push dir="u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isu_Sinine_Tapila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658802"/>
            <a:ext cx="10944000" cy="128875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1514F1B-22B3-46E1-5B45-7062ABDF9A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5333997" cy="460384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4B6FF45-3A75-8737-5DFA-25E395A59E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3888" y="1633441"/>
            <a:ext cx="5333998" cy="302776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pic>
        <p:nvPicPr>
          <p:cNvPr id="3" name="Picture 2" descr="A black and white dotted background&#10;&#10;Description automatically generated">
            <a:extLst>
              <a:ext uri="{FF2B5EF4-FFF2-40B4-BE49-F238E27FC236}">
                <a16:creationId xmlns:a16="http://schemas.microsoft.com/office/drawing/2014/main" id="{9A9B44EB-2378-D38F-3213-54D4D2FA8A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00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750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isu_Hall_Tapila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658802"/>
            <a:ext cx="10944000" cy="128875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086661DE-96F8-6CC5-6B60-02E7D03B3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5333997" cy="460384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A36CAC-1915-6E7D-97D6-5226F329D3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3888" y="1633441"/>
            <a:ext cx="5333998" cy="302776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pic>
        <p:nvPicPr>
          <p:cNvPr id="3" name="Picture 2" descr="A blue and black dotted wave&#10;&#10;Description automatically generated">
            <a:extLst>
              <a:ext uri="{FF2B5EF4-FFF2-40B4-BE49-F238E27FC236}">
                <a16:creationId xmlns:a16="http://schemas.microsoft.com/office/drawing/2014/main" id="{30BFD70A-CF26-AB2B-0458-29842E80B8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00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081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isu_Valge_Tapila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658802"/>
            <a:ext cx="10944000" cy="1288752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4C65F9-B12A-2F68-0CA0-E0CCC8C25A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5333997" cy="460384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77AB784-5BBA-5A88-FAD3-5D3F190CA7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3888" y="1633441"/>
            <a:ext cx="5333998" cy="302776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pic>
        <p:nvPicPr>
          <p:cNvPr id="3" name="Picture 2" descr="A blue and black dotted wave&#10;&#10;Description automatically generated">
            <a:extLst>
              <a:ext uri="{FF2B5EF4-FFF2-40B4-BE49-F238E27FC236}">
                <a16:creationId xmlns:a16="http://schemas.microsoft.com/office/drawing/2014/main" id="{D07F5737-DA3D-F24F-7969-70A7486A2B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200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193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isu_Sinine_Tapila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54B9D5F-306A-9A8E-B672-FD20CEBFE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58802"/>
            <a:ext cx="10944000" cy="128875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5B25B0B-0DDA-9189-3FAA-1E1D33946E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5333997" cy="302776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56CE9FB-B573-258B-FD0D-8F0138BB3E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3888" y="1633441"/>
            <a:ext cx="5333998" cy="4603848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pic>
        <p:nvPicPr>
          <p:cNvPr id="2" name="Picture 1" descr="A white dots on a black background&#10;&#10;Description automatically generated">
            <a:extLst>
              <a:ext uri="{FF2B5EF4-FFF2-40B4-BE49-F238E27FC236}">
                <a16:creationId xmlns:a16="http://schemas.microsoft.com/office/drawing/2014/main" id="{EBE88F8E-4E54-B126-69AC-49661FBDB3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5277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isu_Hall_Tapila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54B9D5F-306A-9A8E-B672-FD20CEBFE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58802"/>
            <a:ext cx="10944000" cy="128875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A67BC31-8DD8-69FD-7C77-7FEB1049A5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5333997" cy="302776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4B50D2F-1DC1-4073-0CBE-68DEC7371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3888" y="1633441"/>
            <a:ext cx="5333998" cy="4603848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pic>
        <p:nvPicPr>
          <p:cNvPr id="2" name="Picture 1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B17B03F7-AA8A-5919-DB6C-C64532BD5B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732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isu_Valge_Tapila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54B9D5F-306A-9A8E-B672-FD20CEBFE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58802"/>
            <a:ext cx="10944000" cy="1288752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7C70D2FC-551D-4E93-6667-D530541739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5333997" cy="302776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3B883B5-C4B6-FB55-776B-C4F058C3AD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3888" y="1633441"/>
            <a:ext cx="5333998" cy="4603848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t-EE"/>
              <a:t>Klõpsake juhteksemplari tekstilaadide redigeerimiseks</a:t>
            </a:r>
          </a:p>
        </p:txBody>
      </p:sp>
      <p:pic>
        <p:nvPicPr>
          <p:cNvPr id="2" name="Picture 1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4357F092-5CBB-3BB3-470A-178EA5AD65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98000"/>
            <a:ext cx="540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45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i/tagaleht logoga_4ri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323FCC4-5DCD-F3B3-756C-4C1DA83625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27727" y="0"/>
            <a:ext cx="6561873" cy="6858000"/>
          </a:xfrm>
          <a:custGeom>
            <a:avLst/>
            <a:gdLst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0 w 12189600"/>
              <a:gd name="connsiteY9" fmla="*/ 6855671 h 6858000"/>
              <a:gd name="connsiteX10" fmla="*/ 5627727 w 12189600"/>
              <a:gd name="connsiteY10" fmla="*/ 6855671 h 6858000"/>
              <a:gd name="connsiteX11" fmla="*/ 8254334 w 12189600"/>
              <a:gd name="connsiteY11" fmla="*/ 0 h 6858000"/>
              <a:gd name="connsiteX0" fmla="*/ 8254334 w 12189600"/>
              <a:gd name="connsiteY0" fmla="*/ 0 h 6858000"/>
              <a:gd name="connsiteX1" fmla="*/ 12189600 w 12189600"/>
              <a:gd name="connsiteY1" fmla="*/ 0 h 6858000"/>
              <a:gd name="connsiteX2" fmla="*/ 12189600 w 12189600"/>
              <a:gd name="connsiteY2" fmla="*/ 5486829 h 6858000"/>
              <a:gd name="connsiteX3" fmla="*/ 10049094 w 12189600"/>
              <a:gd name="connsiteY3" fmla="*/ 5486829 h 6858000"/>
              <a:gd name="connsiteX4" fmla="*/ 9574352 w 12189600"/>
              <a:gd name="connsiteY4" fmla="*/ 5960366 h 6858000"/>
              <a:gd name="connsiteX5" fmla="*/ 10049094 w 12189600"/>
              <a:gd name="connsiteY5" fmla="*/ 6434392 h 6858000"/>
              <a:gd name="connsiteX6" fmla="*/ 12189600 w 12189600"/>
              <a:gd name="connsiteY6" fmla="*/ 6434392 h 6858000"/>
              <a:gd name="connsiteX7" fmla="*/ 12189600 w 12189600"/>
              <a:gd name="connsiteY7" fmla="*/ 6858000 h 6858000"/>
              <a:gd name="connsiteX8" fmla="*/ 0 w 12189600"/>
              <a:gd name="connsiteY8" fmla="*/ 6858000 h 6858000"/>
              <a:gd name="connsiteX9" fmla="*/ 5627727 w 12189600"/>
              <a:gd name="connsiteY9" fmla="*/ 6855671 h 6858000"/>
              <a:gd name="connsiteX10" fmla="*/ 8254334 w 12189600"/>
              <a:gd name="connsiteY10" fmla="*/ 0 h 6858000"/>
              <a:gd name="connsiteX0" fmla="*/ 2626607 w 6561873"/>
              <a:gd name="connsiteY0" fmla="*/ 0 h 6858000"/>
              <a:gd name="connsiteX1" fmla="*/ 6561873 w 6561873"/>
              <a:gd name="connsiteY1" fmla="*/ 0 h 6858000"/>
              <a:gd name="connsiteX2" fmla="*/ 6561873 w 6561873"/>
              <a:gd name="connsiteY2" fmla="*/ 5486829 h 6858000"/>
              <a:gd name="connsiteX3" fmla="*/ 4421367 w 6561873"/>
              <a:gd name="connsiteY3" fmla="*/ 5486829 h 6858000"/>
              <a:gd name="connsiteX4" fmla="*/ 3946625 w 6561873"/>
              <a:gd name="connsiteY4" fmla="*/ 5960366 h 6858000"/>
              <a:gd name="connsiteX5" fmla="*/ 4421367 w 6561873"/>
              <a:gd name="connsiteY5" fmla="*/ 6434392 h 6858000"/>
              <a:gd name="connsiteX6" fmla="*/ 6561873 w 6561873"/>
              <a:gd name="connsiteY6" fmla="*/ 6434392 h 6858000"/>
              <a:gd name="connsiteX7" fmla="*/ 6561873 w 6561873"/>
              <a:gd name="connsiteY7" fmla="*/ 6858000 h 6858000"/>
              <a:gd name="connsiteX8" fmla="*/ 0 w 6561873"/>
              <a:gd name="connsiteY8" fmla="*/ 6855671 h 6858000"/>
              <a:gd name="connsiteX9" fmla="*/ 2626607 w 6561873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61873" h="6858000">
                <a:moveTo>
                  <a:pt x="2626607" y="0"/>
                </a:moveTo>
                <a:lnTo>
                  <a:pt x="6561873" y="0"/>
                </a:lnTo>
                <a:lnTo>
                  <a:pt x="6561873" y="5486829"/>
                </a:lnTo>
                <a:lnTo>
                  <a:pt x="4421367" y="5486829"/>
                </a:lnTo>
                <a:cubicBezTo>
                  <a:pt x="4159255" y="5486829"/>
                  <a:pt x="3946625" y="5698919"/>
                  <a:pt x="3946625" y="5960366"/>
                </a:cubicBezTo>
                <a:cubicBezTo>
                  <a:pt x="3946625" y="6222302"/>
                  <a:pt x="4159255" y="6434392"/>
                  <a:pt x="4421367" y="6434392"/>
                </a:cubicBezTo>
                <a:lnTo>
                  <a:pt x="6561873" y="6434392"/>
                </a:lnTo>
                <a:lnTo>
                  <a:pt x="6561873" y="6858000"/>
                </a:lnTo>
                <a:lnTo>
                  <a:pt x="0" y="6855671"/>
                </a:lnTo>
                <a:cubicBezTo>
                  <a:pt x="1630590" y="5035972"/>
                  <a:pt x="2623240" y="2633860"/>
                  <a:pt x="2626607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/>
              <a:t>                Click icon to add pictures</a:t>
            </a:r>
          </a:p>
        </p:txBody>
      </p:sp>
      <p:sp>
        <p:nvSpPr>
          <p:cNvPr id="5" name="Teksti kohatäide 6">
            <a:extLst>
              <a:ext uri="{FF2B5EF4-FFF2-40B4-BE49-F238E27FC236}">
                <a16:creationId xmlns:a16="http://schemas.microsoft.com/office/drawing/2014/main" id="{AC0972FF-6B3E-534D-42D6-92D2C72300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6940" y="4501662"/>
            <a:ext cx="4629853" cy="173562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 i="0"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et-EE" sz="2000"/>
              <a:t>Klõpsake juhteksemplari tekstilaadide redigeerimisek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6FE6F80-8390-484E-C7E2-E30C3A7C1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9626" y="657224"/>
            <a:ext cx="5708280" cy="3591391"/>
          </a:xfrm>
        </p:spPr>
        <p:txBody>
          <a:bodyPr/>
          <a:lstStyle>
            <a:lvl1pPr>
              <a:defRPr sz="60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</a:t>
            </a:r>
            <a:br>
              <a:rPr lang="en-GB" dirty="0"/>
            </a:br>
            <a:r>
              <a:rPr lang="en-GB" dirty="0"/>
              <a:t>edit </a:t>
            </a:r>
            <a:br>
              <a:rPr lang="en-GB" dirty="0"/>
            </a:br>
            <a:r>
              <a:rPr lang="en-GB" dirty="0"/>
              <a:t>Master </a:t>
            </a:r>
            <a:br>
              <a:rPr lang="en-GB" dirty="0"/>
            </a:br>
            <a:r>
              <a:rPr lang="en-GB" dirty="0"/>
              <a:t>title style</a:t>
            </a:r>
            <a:endParaRPr lang="en-EE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2B982F5-6047-51D9-C45B-4E85C19FDA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FE5942-0A46-D221-071D-D998372F05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1246"/>
            <a:ext cx="2445142" cy="98021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496A197-42DB-CCE1-9281-F14389927EF8}"/>
              </a:ext>
            </a:extLst>
          </p:cNvPr>
          <p:cNvSpPr/>
          <p:nvPr userDrawn="1"/>
        </p:nvSpPr>
        <p:spPr>
          <a:xfrm flipH="1">
            <a:off x="726936" y="536817"/>
            <a:ext cx="90000" cy="3711798"/>
          </a:xfrm>
          <a:prstGeom prst="rect">
            <a:avLst/>
          </a:prstGeom>
          <a:solidFill>
            <a:schemeClr val="tx2"/>
          </a:solidFill>
          <a:ln w="9017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EE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056150"/>
      </p:ext>
    </p:extLst>
  </p:cSld>
  <p:clrMapOvr>
    <a:masterClrMapping/>
  </p:clrMapOvr>
  <p:transition spd="slow">
    <p:push dir="u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ISLAID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B3ED564-E368-D5FB-D13B-EA2068D8BC0A}"/>
              </a:ext>
            </a:extLst>
          </p:cNvPr>
          <p:cNvSpPr txBox="1"/>
          <p:nvPr userDrawn="1"/>
        </p:nvSpPr>
        <p:spPr>
          <a:xfrm>
            <a:off x="6096001" y="1"/>
            <a:ext cx="5471887" cy="6572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chemeClr val="accent3"/>
                </a:solidFill>
              </a:rPr>
              <a:t>SEE ON ABISLAID, KUSTUTA ENNE ESITLUS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AB984D6-C14A-808A-A37D-5EB1D2197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58802"/>
            <a:ext cx="10944000" cy="1288752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E07616-1F8C-3A38-A387-ED703280A3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5333997" cy="460384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C95E93A-5547-A70E-7392-29421EB878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3888" y="1633441"/>
            <a:ext cx="5333998" cy="302776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77900087"/>
      </p:ext>
    </p:extLst>
  </p:cSld>
  <p:clrMapOvr>
    <a:masterClrMapping/>
  </p:clrMapOvr>
  <p:transition spd="slow">
    <p:push dir="u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ISLAIDID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74C68D-230D-7002-0A49-37FB774691C2}"/>
              </a:ext>
            </a:extLst>
          </p:cNvPr>
          <p:cNvSpPr txBox="1"/>
          <p:nvPr userDrawn="1"/>
        </p:nvSpPr>
        <p:spPr>
          <a:xfrm>
            <a:off x="5735413" y="1"/>
            <a:ext cx="5832475" cy="6572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chemeClr val="accent2"/>
                </a:solidFill>
              </a:rPr>
              <a:t>SEE ON ABISLAID, KUSTUTA ENNE ESITLUS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FCD35CC-5BCA-3068-2ACF-969C4469E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658802"/>
            <a:ext cx="10944000" cy="128875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394B9B-31DA-8A27-E908-6B4CF0AF32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1"/>
            <a:ext cx="5333997" cy="3027769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CB587FC-EF8F-B117-B26A-87744FDAF7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3888" y="1633441"/>
            <a:ext cx="5333998" cy="4603848"/>
          </a:xfrm>
          <a:prstGeom prst="rect">
            <a:avLst/>
          </a:prstGeom>
        </p:spPr>
        <p:txBody>
          <a:bodyPr bIns="0" anchor="t" anchorCtr="0">
            <a:normAutofit/>
          </a:bodyPr>
          <a:lstStyle>
            <a:lvl1pPr marL="0" indent="0">
              <a:spcBef>
                <a:spcPts val="200"/>
              </a:spcBef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4299634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si/tagaleht logog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9">
            <a:extLst>
              <a:ext uri="{FF2B5EF4-FFF2-40B4-BE49-F238E27FC236}">
                <a16:creationId xmlns:a16="http://schemas.microsoft.com/office/drawing/2014/main" id="{6F45843D-4AC7-CD06-E30D-9A19A82EF56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26940 w 12192000"/>
              <a:gd name="connsiteY0" fmla="*/ 536818 h 6858000"/>
              <a:gd name="connsiteX1" fmla="*/ 726940 w 12192000"/>
              <a:gd name="connsiteY1" fmla="*/ 2396882 h 6858000"/>
              <a:gd name="connsiteX2" fmla="*/ 772659 w 12192000"/>
              <a:gd name="connsiteY2" fmla="*/ 2396882 h 6858000"/>
              <a:gd name="connsiteX3" fmla="*/ 772659 w 12192000"/>
              <a:gd name="connsiteY3" fmla="*/ 536818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5486829 h 6858000"/>
              <a:gd name="connsiteX7" fmla="*/ 10051073 w 12192000"/>
              <a:gd name="connsiteY7" fmla="*/ 5486829 h 6858000"/>
              <a:gd name="connsiteX8" fmla="*/ 9576237 w 12192000"/>
              <a:gd name="connsiteY8" fmla="*/ 5960366 h 6858000"/>
              <a:gd name="connsiteX9" fmla="*/ 10051073 w 12192000"/>
              <a:gd name="connsiteY9" fmla="*/ 6434392 h 6858000"/>
              <a:gd name="connsiteX10" fmla="*/ 12192000 w 12192000"/>
              <a:gd name="connsiteY10" fmla="*/ 6434392 h 6858000"/>
              <a:gd name="connsiteX11" fmla="*/ 12192000 w 12192000"/>
              <a:gd name="connsiteY11" fmla="*/ 6858000 h 6858000"/>
              <a:gd name="connsiteX12" fmla="*/ 0 w 12192000"/>
              <a:gd name="connsiteY12" fmla="*/ 6858000 h 6858000"/>
              <a:gd name="connsiteX0" fmla="*/ 726940 w 12192000"/>
              <a:gd name="connsiteY0" fmla="*/ 536818 h 6858000"/>
              <a:gd name="connsiteX1" fmla="*/ 726940 w 12192000"/>
              <a:gd name="connsiteY1" fmla="*/ 2396882 h 6858000"/>
              <a:gd name="connsiteX2" fmla="*/ 815729 w 12192000"/>
              <a:gd name="connsiteY2" fmla="*/ 2400195 h 6858000"/>
              <a:gd name="connsiteX3" fmla="*/ 772659 w 12192000"/>
              <a:gd name="connsiteY3" fmla="*/ 536818 h 6858000"/>
              <a:gd name="connsiteX4" fmla="*/ 726940 w 12192000"/>
              <a:gd name="connsiteY4" fmla="*/ 536818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5486829 h 6858000"/>
              <a:gd name="connsiteX8" fmla="*/ 10051073 w 12192000"/>
              <a:gd name="connsiteY8" fmla="*/ 5486829 h 6858000"/>
              <a:gd name="connsiteX9" fmla="*/ 9576237 w 12192000"/>
              <a:gd name="connsiteY9" fmla="*/ 5960366 h 6858000"/>
              <a:gd name="connsiteX10" fmla="*/ 10051073 w 12192000"/>
              <a:gd name="connsiteY10" fmla="*/ 6434392 h 6858000"/>
              <a:gd name="connsiteX11" fmla="*/ 12192000 w 12192000"/>
              <a:gd name="connsiteY11" fmla="*/ 64343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726940 w 12192000"/>
              <a:gd name="connsiteY0" fmla="*/ 536818 h 6858000"/>
              <a:gd name="connsiteX1" fmla="*/ 726940 w 12192000"/>
              <a:gd name="connsiteY1" fmla="*/ 2396882 h 6858000"/>
              <a:gd name="connsiteX2" fmla="*/ 815729 w 12192000"/>
              <a:gd name="connsiteY2" fmla="*/ 2400195 h 6858000"/>
              <a:gd name="connsiteX3" fmla="*/ 815729 w 12192000"/>
              <a:gd name="connsiteY3" fmla="*/ 536818 h 6858000"/>
              <a:gd name="connsiteX4" fmla="*/ 726940 w 12192000"/>
              <a:gd name="connsiteY4" fmla="*/ 536818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5486829 h 6858000"/>
              <a:gd name="connsiteX8" fmla="*/ 10051073 w 12192000"/>
              <a:gd name="connsiteY8" fmla="*/ 5486829 h 6858000"/>
              <a:gd name="connsiteX9" fmla="*/ 9576237 w 12192000"/>
              <a:gd name="connsiteY9" fmla="*/ 5960366 h 6858000"/>
              <a:gd name="connsiteX10" fmla="*/ 10051073 w 12192000"/>
              <a:gd name="connsiteY10" fmla="*/ 6434392 h 6858000"/>
              <a:gd name="connsiteX11" fmla="*/ 12192000 w 12192000"/>
              <a:gd name="connsiteY11" fmla="*/ 64343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726940" y="536818"/>
                </a:moveTo>
                <a:lnTo>
                  <a:pt x="726940" y="2396882"/>
                </a:lnTo>
                <a:lnTo>
                  <a:pt x="815729" y="2400195"/>
                </a:lnTo>
                <a:lnTo>
                  <a:pt x="815729" y="536818"/>
                </a:lnTo>
                <a:lnTo>
                  <a:pt x="726940" y="53681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86829"/>
                </a:lnTo>
                <a:lnTo>
                  <a:pt x="10051073" y="5486829"/>
                </a:lnTo>
                <a:cubicBezTo>
                  <a:pt x="9788909" y="5486829"/>
                  <a:pt x="9576237" y="5698919"/>
                  <a:pt x="9576237" y="5960366"/>
                </a:cubicBezTo>
                <a:cubicBezTo>
                  <a:pt x="9576237" y="6222302"/>
                  <a:pt x="9788909" y="6434392"/>
                  <a:pt x="10051073" y="6434392"/>
                </a:cubicBezTo>
                <a:lnTo>
                  <a:pt x="12192000" y="6434392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tabLst>
                <a:tab pos="4975225" algn="l"/>
              </a:tabLst>
              <a:defRPr>
                <a:solidFill>
                  <a:schemeClr val="bg1"/>
                </a:solidFill>
              </a:defRPr>
            </a:lvl1pPr>
            <a:lvl4pPr marL="899978" indent="0" algn="ctr">
              <a:buNone/>
              <a:defRPr>
                <a:solidFill>
                  <a:schemeClr val="bg1"/>
                </a:solidFill>
              </a:defRPr>
            </a:lvl4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30A07A-D1B4-2C3E-1BE4-1944F7732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625" y="657225"/>
            <a:ext cx="9858311" cy="1619251"/>
          </a:xfrm>
        </p:spPr>
        <p:txBody>
          <a:bodyPr/>
          <a:lstStyle>
            <a:lvl1pPr>
              <a:defRPr sz="60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t-EE"/>
              <a:t>Klõpsake juhteksemplari pealkirja laadi redigeerimiseks</a:t>
            </a:r>
            <a:endParaRPr lang="en-EE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C933BE91-3456-895A-7379-5C50688685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657225"/>
            <a:ext cx="360363" cy="2808288"/>
          </a:xfrm>
          <a:prstGeom prst="rect">
            <a:avLst/>
          </a:prstGeom>
        </p:spPr>
        <p:txBody>
          <a:bodyPr vert="vert270" bIns="0"/>
          <a:lstStyle>
            <a:lvl1pPr marL="0" indent="0" algn="r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6" name="Picture Placeholder 369">
            <a:extLst>
              <a:ext uri="{FF2B5EF4-FFF2-40B4-BE49-F238E27FC236}">
                <a16:creationId xmlns:a16="http://schemas.microsoft.com/office/drawing/2014/main" id="{A0D99C92-A2A5-7B65-91C8-AB0A88785F76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4842702"/>
            <a:ext cx="5400000" cy="20152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EE"/>
              <a:t>Täpila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7B6385-E19E-BEDB-73F4-0B76C85C23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858" y="5491246"/>
            <a:ext cx="2445142" cy="980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844723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26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63" Type="http://schemas.openxmlformats.org/officeDocument/2006/relationships/slideLayout" Target="../slideLayouts/slideLayout68.xml"/><Relationship Id="rId68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53" Type="http://schemas.openxmlformats.org/officeDocument/2006/relationships/slideLayout" Target="../slideLayouts/slideLayout58.xml"/><Relationship Id="rId58" Type="http://schemas.openxmlformats.org/officeDocument/2006/relationships/slideLayout" Target="../slideLayouts/slideLayout63.xml"/><Relationship Id="rId66" Type="http://schemas.openxmlformats.org/officeDocument/2006/relationships/slideLayout" Target="../slideLayouts/slideLayout71.xml"/><Relationship Id="rId7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10.xml"/><Relationship Id="rId61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56" Type="http://schemas.openxmlformats.org/officeDocument/2006/relationships/slideLayout" Target="../slideLayouts/slideLayout61.xml"/><Relationship Id="rId64" Type="http://schemas.openxmlformats.org/officeDocument/2006/relationships/slideLayout" Target="../slideLayouts/slideLayout69.xml"/><Relationship Id="rId69" Type="http://schemas.openxmlformats.org/officeDocument/2006/relationships/slideLayout" Target="../slideLayouts/slideLayout74.xml"/><Relationship Id="rId77" Type="http://schemas.openxmlformats.org/officeDocument/2006/relationships/theme" Target="../theme/theme2.xml"/><Relationship Id="rId8" Type="http://schemas.openxmlformats.org/officeDocument/2006/relationships/slideLayout" Target="../slideLayouts/slideLayout13.xml"/><Relationship Id="rId51" Type="http://schemas.openxmlformats.org/officeDocument/2006/relationships/slideLayout" Target="../slideLayouts/slideLayout56.xml"/><Relationship Id="rId72" Type="http://schemas.openxmlformats.org/officeDocument/2006/relationships/slideLayout" Target="../slideLayouts/slideLayout77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59" Type="http://schemas.openxmlformats.org/officeDocument/2006/relationships/slideLayout" Target="../slideLayouts/slideLayout64.xml"/><Relationship Id="rId67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25.xml"/><Relationship Id="rId41" Type="http://schemas.openxmlformats.org/officeDocument/2006/relationships/slideLayout" Target="../slideLayouts/slideLayout46.xml"/><Relationship Id="rId54" Type="http://schemas.openxmlformats.org/officeDocument/2006/relationships/slideLayout" Target="../slideLayouts/slideLayout59.xml"/><Relationship Id="rId62" Type="http://schemas.openxmlformats.org/officeDocument/2006/relationships/slideLayout" Target="../slideLayouts/slideLayout67.xml"/><Relationship Id="rId70" Type="http://schemas.openxmlformats.org/officeDocument/2006/relationships/slideLayout" Target="../slideLayouts/slideLayout75.xml"/><Relationship Id="rId75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54.xml"/><Relationship Id="rId57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15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52" Type="http://schemas.openxmlformats.org/officeDocument/2006/relationships/slideLayout" Target="../slideLayouts/slideLayout57.xml"/><Relationship Id="rId60" Type="http://schemas.openxmlformats.org/officeDocument/2006/relationships/slideLayout" Target="../slideLayouts/slideLayout65.xml"/><Relationship Id="rId65" Type="http://schemas.openxmlformats.org/officeDocument/2006/relationships/slideLayout" Target="../slideLayouts/slideLayout70.xml"/><Relationship Id="rId73" Type="http://schemas.openxmlformats.org/officeDocument/2006/relationships/slideLayout" Target="../slideLayouts/slideLayout78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9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5.xml"/><Relationship Id="rId55" Type="http://schemas.openxmlformats.org/officeDocument/2006/relationships/slideLayout" Target="../slideLayouts/slideLayout60.xml"/><Relationship Id="rId76" Type="http://schemas.openxmlformats.org/officeDocument/2006/relationships/slideLayout" Target="../slideLayouts/slideLayout81.xml"/><Relationship Id="rId7" Type="http://schemas.openxmlformats.org/officeDocument/2006/relationships/slideLayout" Target="../slideLayouts/slideLayout12.xml"/><Relationship Id="rId7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.xml"/><Relationship Id="rId2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848C9F-7C57-43CC-B2B9-47BC561FFE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25213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848C9F-7C57-43CC-B2B9-47BC561FF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A18719A-1C4F-4ABE-AF1A-ACD9861CA6B9}"/>
              </a:ext>
            </a:extLst>
          </p:cNvPr>
          <p:cNvSpPr txBox="1">
            <a:spLocks/>
          </p:cNvSpPr>
          <p:nvPr userDrawn="1"/>
        </p:nvSpPr>
        <p:spPr>
          <a:xfrm>
            <a:off x="9111388" y="6360239"/>
            <a:ext cx="2775812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rgbClr val="636466"/>
                </a:solidFill>
                <a:latin typeface="Museo Sans 300"/>
                <a:ea typeface="+mn-ea"/>
                <a:cs typeface="Museo Sans 30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  <a:latin typeface="+mj-lt"/>
              </a:rPr>
              <a:t>linkedimmunisation.org |  </a:t>
            </a:r>
            <a:fld id="{F32F67E5-730B-4B3A-9A58-41E5E3F0691E}" type="slidenum">
              <a:rPr lang="en-US" sz="1000" smtClean="0">
                <a:solidFill>
                  <a:schemeClr val="tx1"/>
                </a:solidFill>
                <a:latin typeface="+mj-lt"/>
              </a:rPr>
              <a:pPr/>
              <a:t>‹#›</a:t>
            </a:fld>
            <a:endParaRPr lang="en-US" sz="10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MSIPCMContentMarking" descr="{&quot;HashCode&quot;:2027334168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91906573-E537-E8B3-45EB-8016D00743C3}"/>
              </a:ext>
            </a:extLst>
          </p:cNvPr>
          <p:cNvSpPr txBox="1"/>
          <p:nvPr userDrawn="1"/>
        </p:nvSpPr>
        <p:spPr>
          <a:xfrm>
            <a:off x="0" y="0"/>
            <a:ext cx="134976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 as Internal</a:t>
            </a:r>
          </a:p>
        </p:txBody>
      </p:sp>
      <p:pic>
        <p:nvPicPr>
          <p:cNvPr id="9" name="Picture 8" descr="F:\Karen Flash\Logos &amp; Letterhead\MOH Logo\PHOTO-2021-11-15-09-15-23 (1).jpg"/>
          <p:cNvPicPr/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27" y="5879805"/>
            <a:ext cx="871868" cy="8661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1627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6" r:id="rId2"/>
    <p:sldLayoutId id="2147483667" r:id="rId3"/>
    <p:sldLayoutId id="2147483668" r:id="rId4"/>
    <p:sldLayoutId id="2147483669" r:id="rId5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4400" b="0" i="0" kern="1200">
          <a:solidFill>
            <a:schemeClr val="accent5"/>
          </a:solidFill>
          <a:latin typeface="+mn-lt"/>
          <a:ea typeface="+mj-ea"/>
          <a:cs typeface="Museo Sans 500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3200" b="0" i="0" kern="1200">
          <a:solidFill>
            <a:schemeClr val="accent5"/>
          </a:solidFill>
          <a:latin typeface="+mn-lt"/>
          <a:ea typeface="+mn-ea"/>
          <a:cs typeface="Museo Slab 300"/>
        </a:defRPr>
      </a:lvl1pPr>
      <a:lvl2pPr marL="742932" indent="-28574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800" b="0" i="0" kern="1200">
          <a:solidFill>
            <a:schemeClr val="accent5"/>
          </a:solidFill>
          <a:latin typeface="+mn-lt"/>
          <a:ea typeface="+mn-ea"/>
          <a:cs typeface="Museo Slab 300"/>
        </a:defRPr>
      </a:lvl2pPr>
      <a:lvl3pPr marL="1142971" indent="-22859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400" b="0" i="0" kern="1200">
          <a:solidFill>
            <a:schemeClr val="accent5"/>
          </a:solidFill>
          <a:latin typeface="+mn-lt"/>
          <a:ea typeface="+mn-ea"/>
          <a:cs typeface="Museo Slab 300"/>
        </a:defRPr>
      </a:lvl3pPr>
      <a:lvl4pPr marL="1600160" indent="-22859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000" b="0" i="0" kern="1200">
          <a:solidFill>
            <a:schemeClr val="accent5"/>
          </a:solidFill>
          <a:latin typeface="+mn-lt"/>
          <a:ea typeface="+mn-ea"/>
          <a:cs typeface="Museo Slab 300"/>
        </a:defRPr>
      </a:lvl4pPr>
      <a:lvl5pPr marL="2057349" indent="-228594" algn="l" defTabSz="914377" rtl="0" eaLnBrk="1" latinLnBrk="0" hangingPunct="1">
        <a:spcBef>
          <a:spcPct val="20000"/>
        </a:spcBef>
        <a:buClr>
          <a:srgbClr val="F7F7F7"/>
        </a:buClr>
        <a:buSzPct val="125000"/>
        <a:buFont typeface="Wingdings" charset="2"/>
        <a:buChar char="§"/>
        <a:defRPr sz="2000" b="0" i="0" kern="1200">
          <a:solidFill>
            <a:schemeClr val="accent5"/>
          </a:solidFill>
          <a:latin typeface="+mn-lt"/>
          <a:ea typeface="+mn-ea"/>
          <a:cs typeface="Museo Slab 30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1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3888" y="657224"/>
            <a:ext cx="7559675" cy="16192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4F940E-2DCA-5776-07E2-72C62F12F4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962615"/>
            <a:ext cx="10944000" cy="421434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/>
            <a:r>
              <a:rPr lang="et-EE" dirty="0"/>
              <a:t>Klõpsake juhteksemplari tekstilaadide redigeerimiseks</a:t>
            </a:r>
          </a:p>
          <a:p>
            <a:pPr lvl="1"/>
            <a:r>
              <a:rPr lang="et-EE" dirty="0"/>
              <a:t>Teine tase</a:t>
            </a:r>
          </a:p>
          <a:p>
            <a:pPr lvl="2"/>
            <a:r>
              <a:rPr lang="et-EE" dirty="0"/>
              <a:t>Kolmas tase</a:t>
            </a:r>
          </a:p>
          <a:p>
            <a:pPr lvl="3"/>
            <a:r>
              <a:rPr lang="et-EE" dirty="0"/>
              <a:t>Neljas tase</a:t>
            </a:r>
          </a:p>
        </p:txBody>
      </p:sp>
    </p:spTree>
    <p:extLst>
      <p:ext uri="{BB962C8B-B14F-4D97-AF65-F5344CB8AC3E}">
        <p14:creationId xmlns:p14="http://schemas.microsoft.com/office/powerpoint/2010/main" val="3278478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1" r:id="rId21"/>
    <p:sldLayoutId id="2147483692" r:id="rId22"/>
    <p:sldLayoutId id="2147483693" r:id="rId23"/>
    <p:sldLayoutId id="2147483694" r:id="rId24"/>
    <p:sldLayoutId id="2147483695" r:id="rId25"/>
    <p:sldLayoutId id="2147483696" r:id="rId26"/>
    <p:sldLayoutId id="2147483697" r:id="rId27"/>
    <p:sldLayoutId id="2147483698" r:id="rId28"/>
    <p:sldLayoutId id="2147483699" r:id="rId29"/>
    <p:sldLayoutId id="2147483700" r:id="rId30"/>
    <p:sldLayoutId id="2147483701" r:id="rId31"/>
    <p:sldLayoutId id="2147483702" r:id="rId32"/>
    <p:sldLayoutId id="2147483703" r:id="rId33"/>
    <p:sldLayoutId id="2147483704" r:id="rId34"/>
    <p:sldLayoutId id="2147483705" r:id="rId35"/>
    <p:sldLayoutId id="2147483706" r:id="rId36"/>
    <p:sldLayoutId id="2147483707" r:id="rId37"/>
    <p:sldLayoutId id="2147483708" r:id="rId38"/>
    <p:sldLayoutId id="2147483709" r:id="rId39"/>
    <p:sldLayoutId id="2147483710" r:id="rId40"/>
    <p:sldLayoutId id="2147483711" r:id="rId41"/>
    <p:sldLayoutId id="2147483712" r:id="rId42"/>
    <p:sldLayoutId id="2147483713" r:id="rId43"/>
    <p:sldLayoutId id="2147483714" r:id="rId44"/>
    <p:sldLayoutId id="2147483715" r:id="rId45"/>
    <p:sldLayoutId id="2147483716" r:id="rId46"/>
    <p:sldLayoutId id="2147483717" r:id="rId47"/>
    <p:sldLayoutId id="2147483718" r:id="rId48"/>
    <p:sldLayoutId id="2147483719" r:id="rId49"/>
    <p:sldLayoutId id="2147483720" r:id="rId50"/>
    <p:sldLayoutId id="2147483721" r:id="rId51"/>
    <p:sldLayoutId id="2147483722" r:id="rId52"/>
    <p:sldLayoutId id="2147483723" r:id="rId53"/>
    <p:sldLayoutId id="2147483724" r:id="rId54"/>
    <p:sldLayoutId id="2147483725" r:id="rId55"/>
    <p:sldLayoutId id="2147483726" r:id="rId56"/>
    <p:sldLayoutId id="2147483727" r:id="rId57"/>
    <p:sldLayoutId id="2147483728" r:id="rId58"/>
    <p:sldLayoutId id="2147483729" r:id="rId59"/>
    <p:sldLayoutId id="2147483730" r:id="rId60"/>
    <p:sldLayoutId id="2147483731" r:id="rId61"/>
    <p:sldLayoutId id="2147483732" r:id="rId62"/>
    <p:sldLayoutId id="2147483733" r:id="rId63"/>
    <p:sldLayoutId id="2147483734" r:id="rId64"/>
    <p:sldLayoutId id="2147483735" r:id="rId65"/>
    <p:sldLayoutId id="2147483736" r:id="rId66"/>
    <p:sldLayoutId id="2147483737" r:id="rId67"/>
    <p:sldLayoutId id="2147483738" r:id="rId68"/>
    <p:sldLayoutId id="2147483739" r:id="rId69"/>
    <p:sldLayoutId id="2147483740" r:id="rId70"/>
    <p:sldLayoutId id="2147483741" r:id="rId71"/>
    <p:sldLayoutId id="2147483742" r:id="rId72"/>
    <p:sldLayoutId id="2147483743" r:id="rId73"/>
    <p:sldLayoutId id="2147483744" r:id="rId74"/>
    <p:sldLayoutId id="2147483745" r:id="rId75"/>
    <p:sldLayoutId id="2147483746" r:id="rId76"/>
  </p:sldLayoutIdLst>
  <p:transition spd="slow">
    <p:push dir="u"/>
  </p:transition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5000" b="0" i="0" kern="1200">
          <a:solidFill>
            <a:schemeClr val="tx2"/>
          </a:solidFill>
          <a:latin typeface="+mj-lt"/>
          <a:ea typeface="Roboto Light" panose="02000000000000000000" pitchFamily="2" charset="0"/>
          <a:cs typeface="+mj-cs"/>
        </a:defRPr>
      </a:lvl1pPr>
    </p:titleStyle>
    <p:bodyStyle>
      <a:lvl1pPr marL="285750" indent="-285750" algn="l" defTabSz="269993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1pPr>
      <a:lvl2pPr marL="539987" indent="-269993" algn="l" defTabSz="914377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accent5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2pPr>
      <a:lvl3pPr marL="809980" indent="-269993" algn="l" defTabSz="269993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accent5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3pPr>
      <a:lvl4pPr marL="1169971" indent="-269993" algn="l" defTabSz="269993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4pPr>
      <a:lvl5pPr marL="1079973" indent="-269993" algn="l" defTabSz="269993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-269993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Roboto" panose="02000603040504020204" pitchFamily="50" charset="0"/>
        <a:buChar char="+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-269993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Roboto" panose="02000603040504020204" pitchFamily="50" charset="0"/>
        <a:buChar char="+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539987" indent="-269993" algn="l" defTabSz="91437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Roboto" panose="02000603040504020204" pitchFamily="50" charset="0"/>
        <a:buChar char="+"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809980" indent="-269993" algn="l" defTabSz="914377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Font typeface="Roboto" panose="02000603040504020204" pitchFamily="50" charset="0"/>
        <a:buChar char="+"/>
        <a:defRPr sz="18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5" orient="horz" pos="2160">
          <p15:clr>
            <a:srgbClr val="F26B43"/>
          </p15:clr>
        </p15:guide>
        <p15:guide id="16" pos="3840">
          <p15:clr>
            <a:srgbClr val="F26B43"/>
          </p15:clr>
        </p15:guide>
        <p15:guide id="17" pos="167">
          <p15:clr>
            <a:srgbClr val="F26B43"/>
          </p15:clr>
        </p15:guide>
        <p15:guide id="18" pos="7515">
          <p15:clr>
            <a:srgbClr val="F26B43"/>
          </p15:clr>
        </p15:guide>
        <p15:guide id="19" orient="horz" pos="3929">
          <p15:clr>
            <a:srgbClr val="F26B43"/>
          </p15:clr>
        </p15:guide>
        <p15:guide id="20" pos="393">
          <p15:clr>
            <a:srgbClr val="F26B43"/>
          </p15:clr>
        </p15:guide>
        <p15:guide id="21" pos="4248">
          <p15:clr>
            <a:srgbClr val="F26B43"/>
          </p15:clr>
        </p15:guide>
        <p15:guide id="22" pos="3432">
          <p15:clr>
            <a:srgbClr val="F26B43"/>
          </p15:clr>
        </p15:guide>
        <p15:guide id="23" pos="5155">
          <p15:clr>
            <a:srgbClr val="F26B43"/>
          </p15:clr>
        </p15:guide>
        <p15:guide id="24" pos="2525">
          <p15:clr>
            <a:srgbClr val="F26B43"/>
          </p15:clr>
        </p15:guide>
        <p15:guide id="25" orient="horz" pos="1027">
          <p15:clr>
            <a:srgbClr val="F26B43"/>
          </p15:clr>
        </p15:guide>
        <p15:guide id="26" orient="horz" pos="1435">
          <p15:clr>
            <a:srgbClr val="F26B43"/>
          </p15:clr>
        </p15:guide>
        <p15:guide id="27" orient="horz" pos="415">
          <p15:clr>
            <a:srgbClr val="F26B43"/>
          </p15:clr>
        </p15:guide>
        <p15:guide id="28" pos="72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5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chart" Target="../charts/chart1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8E095E-64D3-C92B-991D-5EC1DD54CC4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Linked Webinar</a:t>
            </a:r>
          </a:p>
          <a:p>
            <a:r>
              <a:rPr lang="en-US" sz="1800" dirty="0">
                <a:solidFill>
                  <a:schemeClr val="bg1"/>
                </a:solidFill>
              </a:rPr>
              <a:t>October 9</a:t>
            </a:r>
            <a:r>
              <a:rPr lang="en-US" sz="1800" baseline="30000" dirty="0">
                <a:solidFill>
                  <a:schemeClr val="bg1"/>
                </a:solidFill>
              </a:rPr>
              <a:t>th</a:t>
            </a:r>
            <a:r>
              <a:rPr lang="en-US" sz="1800" dirty="0">
                <a:solidFill>
                  <a:schemeClr val="bg1"/>
                </a:solidFill>
              </a:rPr>
              <a:t>, 2024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E7828E-BD23-E921-DB32-031B9E258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30475"/>
            <a:ext cx="11154032" cy="2300096"/>
          </a:xfrm>
        </p:spPr>
        <p:txBody>
          <a:bodyPr/>
          <a:lstStyle/>
          <a:p>
            <a:r>
              <a:rPr lang="en-US" b="1" dirty="0"/>
              <a:t>One-dose HPV vaccination webinar: Evidence, lessons learned and strategies with experiences from Guyana and Estonia</a:t>
            </a:r>
          </a:p>
        </p:txBody>
      </p:sp>
      <p:pic>
        <p:nvPicPr>
          <p:cNvPr id="2" name="Picture 1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6A473A8E-89B3-4A3C-BD4F-BFD231C95A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4303" y="5809171"/>
            <a:ext cx="3316255" cy="926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088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49572" y="1578118"/>
            <a:ext cx="10292856" cy="4318591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Decision to adopt single dose;</a:t>
            </a:r>
          </a:p>
          <a:p>
            <a:pPr lvl="0"/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Macroeconomic and geographic advantage: cost to conduct outreaches One dose better than no doses.</a:t>
            </a:r>
          </a:p>
          <a:p>
            <a:pPr marL="0" lvl="0" indent="0">
              <a:buNone/>
            </a:pP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0"/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 Dropout rate from 1</a:t>
            </a:r>
            <a:r>
              <a:rPr lang="en-US" sz="2000" baseline="30000" dirty="0">
                <a:latin typeface="Cambria" panose="02040503050406030204" pitchFamily="18" charset="0"/>
                <a:ea typeface="Cambria" panose="02040503050406030204" pitchFamily="18" charset="0"/>
              </a:rPr>
              <a:t>st</a:t>
            </a: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 – 3</a:t>
            </a:r>
            <a:r>
              <a:rPr lang="en-US" sz="2000" baseline="30000" dirty="0">
                <a:latin typeface="Cambria" panose="02040503050406030204" pitchFamily="18" charset="0"/>
                <a:ea typeface="Cambria" panose="02040503050406030204" pitchFamily="18" charset="0"/>
              </a:rPr>
              <a:t>rd</a:t>
            </a: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 dose was over 10%; because of the macroeconomic and geographic barriers</a:t>
            </a:r>
          </a:p>
          <a:p>
            <a:pPr marL="0" indent="0">
              <a:buNone/>
            </a:pP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0"/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 Barrier to multiple doses – strange correlation to administration to both sexes .[Vaccine uptake in February 2019, when vaccines were given to males, the coverage increased by 48%; population also requested one dose then ]</a:t>
            </a:r>
          </a:p>
          <a:p>
            <a:pPr marL="0" indent="0">
              <a:buNone/>
            </a:pP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0"/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Supporting Evidence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2AFDF184-1D3C-6BCC-B20E-F5A9B1D08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Why single dose strategy ?</a:t>
            </a:r>
          </a:p>
        </p:txBody>
      </p:sp>
    </p:spTree>
    <p:extLst>
      <p:ext uri="{BB962C8B-B14F-4D97-AF65-F5344CB8AC3E}">
        <p14:creationId xmlns:p14="http://schemas.microsoft.com/office/powerpoint/2010/main" val="40056672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90849" y="1605791"/>
            <a:ext cx="10292856" cy="4383947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latin typeface="Cambria" panose="02040503050406030204" pitchFamily="18" charset="0"/>
                <a:ea typeface="Cambria" panose="02040503050406030204" pitchFamily="18" charset="0"/>
              </a:rPr>
              <a:t> Executed  departmental study group  </a:t>
            </a:r>
          </a:p>
          <a:p>
            <a:endParaRPr lang="en-US" sz="18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en-US" sz="1800" dirty="0">
                <a:latin typeface="Cambria" panose="02040503050406030204" pitchFamily="18" charset="0"/>
                <a:ea typeface="Cambria" panose="02040503050406030204" pitchFamily="18" charset="0"/>
              </a:rPr>
              <a:t>Debated the evidence </a:t>
            </a:r>
          </a:p>
          <a:p>
            <a:endParaRPr lang="en-US" sz="18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en-US" sz="1800" dirty="0">
                <a:latin typeface="Cambria" panose="02040503050406030204" pitchFamily="18" charset="0"/>
                <a:ea typeface="Cambria" panose="02040503050406030204" pitchFamily="18" charset="0"/>
              </a:rPr>
              <a:t>Presented the pros and cons to policy</a:t>
            </a:r>
          </a:p>
          <a:p>
            <a:endParaRPr lang="en-US" sz="18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en-US" sz="1800" dirty="0">
                <a:latin typeface="Cambria" panose="02040503050406030204" pitchFamily="18" charset="0"/>
                <a:ea typeface="Cambria" panose="02040503050406030204" pitchFamily="18" charset="0"/>
              </a:rPr>
              <a:t>Policy reviewed                                                            Alerted cabinet</a:t>
            </a:r>
          </a:p>
          <a:p>
            <a:endParaRPr lang="en-US" sz="18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en-US" sz="1800" dirty="0">
                <a:latin typeface="Cambria" panose="02040503050406030204" pitchFamily="18" charset="0"/>
                <a:ea typeface="Cambria" panose="02040503050406030204" pitchFamily="18" charset="0"/>
              </a:rPr>
              <a:t>Issued no objection to CMO                                       No objection</a:t>
            </a:r>
          </a:p>
          <a:p>
            <a:endParaRPr lang="en-US" sz="18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en-US" sz="1800" dirty="0">
                <a:latin typeface="Cambria" panose="02040503050406030204" pitchFamily="18" charset="0"/>
                <a:ea typeface="Cambria" panose="02040503050406030204" pitchFamily="18" charset="0"/>
              </a:rPr>
              <a:t>Memo released </a:t>
            </a:r>
          </a:p>
          <a:p>
            <a:endParaRPr lang="en-US" sz="18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en-US" sz="1800" dirty="0">
                <a:latin typeface="Cambria" panose="02040503050406030204" pitchFamily="18" charset="0"/>
                <a:ea typeface="Cambria" panose="02040503050406030204" pitchFamily="18" charset="0"/>
              </a:rPr>
              <a:t>Public Health                  Care Worker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49572" y="835034"/>
            <a:ext cx="10292856" cy="891111"/>
          </a:xfrm>
        </p:spPr>
        <p:txBody>
          <a:bodyPr>
            <a:normAutofit fontScale="90000"/>
          </a:bodyPr>
          <a:lstStyle/>
          <a:p>
            <a:r>
              <a:rPr lang="en-US" sz="3300" b="1" dirty="0">
                <a:latin typeface="Cambria" panose="02040503050406030204" pitchFamily="18" charset="0"/>
                <a:ea typeface="Cambria" panose="02040503050406030204" pitchFamily="18" charset="0"/>
              </a:rPr>
              <a:t>Reviewing the evidence and making the case for one dose </a:t>
            </a:r>
            <a:br>
              <a:rPr lang="en-US" dirty="0"/>
            </a:br>
            <a:endParaRPr lang="en-US" dirty="0"/>
          </a:p>
        </p:txBody>
      </p:sp>
      <p:sp>
        <p:nvSpPr>
          <p:cNvPr id="6" name="Right Arrow 5"/>
          <p:cNvSpPr/>
          <p:nvPr/>
        </p:nvSpPr>
        <p:spPr>
          <a:xfrm>
            <a:off x="3489820" y="3749879"/>
            <a:ext cx="1518408" cy="1510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own Arrow 10"/>
          <p:cNvSpPr/>
          <p:nvPr/>
        </p:nvSpPr>
        <p:spPr>
          <a:xfrm>
            <a:off x="1863752" y="2039978"/>
            <a:ext cx="243281" cy="26774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own Arrow 12"/>
          <p:cNvSpPr/>
          <p:nvPr/>
        </p:nvSpPr>
        <p:spPr>
          <a:xfrm>
            <a:off x="1828796" y="2672859"/>
            <a:ext cx="243281" cy="26774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/>
          <p:cNvSpPr/>
          <p:nvPr/>
        </p:nvSpPr>
        <p:spPr>
          <a:xfrm>
            <a:off x="1858157" y="4683794"/>
            <a:ext cx="243281" cy="26774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Down Arrow 14"/>
          <p:cNvSpPr/>
          <p:nvPr/>
        </p:nvSpPr>
        <p:spPr>
          <a:xfrm>
            <a:off x="1828795" y="3356617"/>
            <a:ext cx="243281" cy="26774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own Arrow 15"/>
          <p:cNvSpPr/>
          <p:nvPr/>
        </p:nvSpPr>
        <p:spPr>
          <a:xfrm>
            <a:off x="1828795" y="4014936"/>
            <a:ext cx="243281" cy="26774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Down Arrow 16"/>
          <p:cNvSpPr/>
          <p:nvPr/>
        </p:nvSpPr>
        <p:spPr>
          <a:xfrm>
            <a:off x="1828794" y="5355038"/>
            <a:ext cx="243281" cy="26774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/>
          <p:cNvSpPr/>
          <p:nvPr/>
        </p:nvSpPr>
        <p:spPr>
          <a:xfrm flipV="1">
            <a:off x="2407640" y="5682209"/>
            <a:ext cx="587230" cy="1922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own Arrow 18"/>
          <p:cNvSpPr/>
          <p:nvPr/>
        </p:nvSpPr>
        <p:spPr>
          <a:xfrm>
            <a:off x="6096000" y="4014935"/>
            <a:ext cx="243281" cy="26774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6387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A03689-C614-7F23-C999-80CB9E511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FDF184-1D3C-6BCC-B20E-F5A9B1D08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Approach: </a:t>
            </a:r>
            <a:r>
              <a:rPr lang="en-US" b="1" dirty="0">
                <a:latin typeface="Cambria" panose="02040503050406030204" pitchFamily="18" charset="0"/>
                <a:ea typeface="Cambria" panose="02040503050406030204" pitchFamily="18" charset="0"/>
              </a:rPr>
              <a:t>leveraging social media to address HPV vaccine hesitancy</a:t>
            </a: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2101EDF-BDE1-5D3E-60C7-497CA1A36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9572" y="1232756"/>
            <a:ext cx="10292856" cy="5550816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441587638"/>
              </p:ext>
            </p:extLst>
          </p:nvPr>
        </p:nvGraphicFramePr>
        <p:xfrm>
          <a:off x="387264" y="1039763"/>
          <a:ext cx="11417472" cy="52023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822620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AFDF184-1D3C-6BCC-B20E-F5A9B1D08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Context: HPV vaccine hesitancy in Guyana 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2101EDF-BDE1-5D3E-60C7-497CA1A364C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2000" b="1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Hesitancy to accept vaccination: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auses:</a:t>
            </a:r>
          </a:p>
          <a:p>
            <a:pPr marL="742941" lvl="1" indent="-342900">
              <a:lnSpc>
                <a:spcPct val="107000"/>
              </a:lnSpc>
              <a:buFont typeface="Wingdings" panose="05000000000000000000" pitchFamily="2" charset="2"/>
              <a:buChar char=""/>
            </a:pP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Misinformation </a:t>
            </a:r>
          </a:p>
          <a:p>
            <a:pPr marL="742941" lvl="1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"/>
            </a:pP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Lack of information </a:t>
            </a:r>
          </a:p>
          <a:p>
            <a:pPr marL="0" lv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Major sources of misinformation:</a:t>
            </a:r>
          </a:p>
          <a:p>
            <a:pPr marL="742941" lvl="1" indent="-342900">
              <a:lnSpc>
                <a:spcPct val="107000"/>
              </a:lnSpc>
              <a:buFont typeface="Wingdings" panose="05000000000000000000" pitchFamily="2" charset="2"/>
              <a:buChar char=""/>
            </a:pP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Social medial- 90 %</a:t>
            </a:r>
          </a:p>
          <a:p>
            <a:pPr marL="742941" lvl="1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"/>
            </a:pP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ommunity personnel – 10%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Major themes relating to hesitancy :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opulation control | infertility 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romotes promiscuity 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Belief that the HPV vaccine is unnecessary for those who are not sexually activ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6570E07-FEED-AA75-6D42-911C51A2C8BF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2"/>
          <a:stretch>
            <a:fillRect/>
          </a:stretch>
        </p:blipFill>
        <p:spPr>
          <a:xfrm>
            <a:off x="6172200" y="2324327"/>
            <a:ext cx="5183188" cy="386533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A03689-C614-7F23-C999-80CB9E511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43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Approach: </a:t>
            </a:r>
            <a:r>
              <a:rPr lang="en-US" b="1" dirty="0">
                <a:latin typeface="Cambria" panose="02040503050406030204" pitchFamily="18" charset="0"/>
                <a:ea typeface="Cambria" panose="02040503050406030204" pitchFamily="18" charset="0"/>
              </a:rPr>
              <a:t>leveraging social media to address HPV vaccine hesitancy</a:t>
            </a: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98301868"/>
              </p:ext>
            </p:extLst>
          </p:nvPr>
        </p:nvGraphicFramePr>
        <p:xfrm>
          <a:off x="839788" y="2094271"/>
          <a:ext cx="5157786" cy="41000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788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88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336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ources of Misinformation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Methods</a:t>
                      </a:r>
                      <a:endParaRPr lang="en-US" sz="14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639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General Public </a:t>
                      </a:r>
                      <a:endParaRPr lang="en-US" sz="14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endParaRPr lang="en-US" sz="14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  <a:p>
                      <a:pPr marL="342900" lvl="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ocial medial advertising </a:t>
                      </a:r>
                    </a:p>
                    <a:p>
                      <a:pPr marL="342900" lvl="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Newspapers advertising</a:t>
                      </a:r>
                    </a:p>
                    <a:p>
                      <a:pPr marL="342900" lvl="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Billboards advertising</a:t>
                      </a:r>
                    </a:p>
                    <a:p>
                      <a:pPr marL="342900" lvl="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Radio advertising</a:t>
                      </a:r>
                    </a:p>
                    <a:p>
                      <a:pPr marL="342900" lvl="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US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Television advertising</a:t>
                      </a:r>
                      <a:endParaRPr lang="en-US" sz="14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4A35956-7A21-65FA-607E-A4C3B64B96BB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2"/>
          <a:stretch>
            <a:fillRect/>
          </a:stretch>
        </p:blipFill>
        <p:spPr>
          <a:xfrm>
            <a:off x="6172200" y="1848465"/>
            <a:ext cx="5183188" cy="464441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01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A03689-C614-7F23-C999-80CB9E511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FDF184-1D3C-6BCC-B20E-F5A9B1D08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Challenges &amp; Lessons learned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2101EDF-BDE1-5D3E-60C7-497CA1A36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9572" y="1902481"/>
            <a:ext cx="10443358" cy="3053038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Challenges</a:t>
            </a:r>
          </a:p>
          <a:p>
            <a:pPr lvl="1"/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Voluntary facility access (stunted health seeking behavior)</a:t>
            </a:r>
          </a:p>
          <a:p>
            <a:pPr lvl="1"/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Completing health agenda </a:t>
            </a:r>
          </a:p>
          <a:p>
            <a:pPr marL="0" indent="0">
              <a:buNone/>
            </a:pP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Lessons learnt:</a:t>
            </a:r>
          </a:p>
          <a:p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The voice of health needs to be as loud as those anti-</a:t>
            </a:r>
            <a:r>
              <a:rPr lang="en-US" sz="2000" dirty="0" err="1">
                <a:latin typeface="Cambria" panose="02040503050406030204" pitchFamily="18" charset="0"/>
                <a:ea typeface="Cambria" panose="02040503050406030204" pitchFamily="18" charset="0"/>
              </a:rPr>
              <a:t>vaxers</a:t>
            </a: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976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59359" y="274637"/>
            <a:ext cx="10972800" cy="2619287"/>
          </a:xfrm>
        </p:spPr>
        <p:txBody>
          <a:bodyPr/>
          <a:lstStyle/>
          <a:p>
            <a:r>
              <a:rPr lang="en-US" dirty="0"/>
              <a:t>2024 Campaign Material [ samples]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347200" y="6335713"/>
            <a:ext cx="2844800" cy="365125"/>
          </a:xfrm>
          <a:prstGeom prst="rect">
            <a:avLst/>
          </a:prstGeom>
        </p:spPr>
        <p:txBody>
          <a:bodyPr/>
          <a:lstStyle/>
          <a:p>
            <a:fld id="{F32F67E5-730B-4B3A-9A58-41E5E3F0691E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781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60204" y="311138"/>
            <a:ext cx="10292856" cy="891111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Approach: </a:t>
            </a:r>
            <a:r>
              <a:rPr lang="en-US" b="1" dirty="0">
                <a:latin typeface="Cambria" panose="02040503050406030204" pitchFamily="18" charset="0"/>
                <a:ea typeface="Cambria" panose="02040503050406030204" pitchFamily="18" charset="0"/>
              </a:rPr>
              <a:t>leveraging social media to address HPV vaccine hesitancy</a:t>
            </a: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b="1" dirty="0">
                <a:latin typeface="Cambria" panose="02040503050406030204" pitchFamily="18" charset="0"/>
                <a:ea typeface="Cambria" panose="02040503050406030204" pitchFamily="18" charset="0"/>
              </a:rPr>
              <a:t>[ 2024 promotion ]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1572" y="1521093"/>
            <a:ext cx="7869816" cy="481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5975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60204" y="311138"/>
            <a:ext cx="10292856" cy="891111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Approach: </a:t>
            </a:r>
            <a:r>
              <a:rPr lang="en-US" b="1" dirty="0">
                <a:latin typeface="Cambria" panose="02040503050406030204" pitchFamily="18" charset="0"/>
                <a:ea typeface="Cambria" panose="02040503050406030204" pitchFamily="18" charset="0"/>
              </a:rPr>
              <a:t>leveraging social media to address HPV vaccine hesitancy [ 2024 promotion ]</a:t>
            </a: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205" y="1395578"/>
            <a:ext cx="8678746" cy="4510271"/>
          </a:xfrm>
        </p:spPr>
      </p:pic>
    </p:spTree>
    <p:extLst>
      <p:ext uri="{BB962C8B-B14F-4D97-AF65-F5344CB8AC3E}">
        <p14:creationId xmlns:p14="http://schemas.microsoft.com/office/powerpoint/2010/main" val="2354006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60204" y="311138"/>
            <a:ext cx="10292856" cy="891111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Approach: </a:t>
            </a:r>
            <a:r>
              <a:rPr lang="en-US" b="1" dirty="0">
                <a:latin typeface="Cambria" panose="02040503050406030204" pitchFamily="18" charset="0"/>
                <a:ea typeface="Cambria" panose="02040503050406030204" pitchFamily="18" charset="0"/>
              </a:rPr>
              <a:t>leveraging social media to address HPV vaccine hesitancy [ 2024 promotion ]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462" y="1555450"/>
            <a:ext cx="8246378" cy="4427723"/>
          </a:xfrm>
        </p:spPr>
      </p:pic>
    </p:spTree>
    <p:extLst>
      <p:ext uri="{BB962C8B-B14F-4D97-AF65-F5344CB8AC3E}">
        <p14:creationId xmlns:p14="http://schemas.microsoft.com/office/powerpoint/2010/main" val="29887656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A03689-C614-7F23-C999-80CB9E511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FDF184-1D3C-6BCC-B20E-F5A9B1D08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lcome! 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2101EDF-BDE1-5D3E-60C7-497CA1A364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9572" y="1902481"/>
            <a:ext cx="3779003" cy="3053038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English, French, Spanish, and Russian interpretation are available</a:t>
            </a: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Please select </a:t>
            </a:r>
            <a:r>
              <a:rPr lang="en-US" dirty="0" err="1">
                <a:solidFill>
                  <a:schemeClr val="tx1"/>
                </a:solidFill>
              </a:rPr>
              <a:t>yourpreferred</a:t>
            </a:r>
            <a:r>
              <a:rPr lang="en-US" dirty="0">
                <a:solidFill>
                  <a:schemeClr val="tx1"/>
                </a:solidFill>
              </a:rPr>
              <a:t> language chann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461F8BD-82E0-A4FF-763F-CB092D0159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070" r="8997"/>
          <a:stretch/>
        </p:blipFill>
        <p:spPr>
          <a:xfrm>
            <a:off x="6850209" y="1397828"/>
            <a:ext cx="2860861" cy="4906879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43D61D18-231D-10EF-9A4B-41145AA00AB4}"/>
              </a:ext>
            </a:extLst>
          </p:cNvPr>
          <p:cNvSpPr/>
          <p:nvPr/>
        </p:nvSpPr>
        <p:spPr>
          <a:xfrm>
            <a:off x="6917619" y="2956531"/>
            <a:ext cx="2431312" cy="58124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9654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60204" y="311138"/>
            <a:ext cx="10292856" cy="891111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Approach: </a:t>
            </a:r>
            <a:r>
              <a:rPr lang="en-US" b="1" dirty="0">
                <a:latin typeface="Cambria" panose="02040503050406030204" pitchFamily="18" charset="0"/>
                <a:ea typeface="Cambria" panose="02040503050406030204" pitchFamily="18" charset="0"/>
              </a:rPr>
              <a:t>leveraging social media to address HPV vaccine hesitancy [ 2024 promotion ]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020" y="1612313"/>
            <a:ext cx="7508146" cy="4033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7224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2AFDF184-1D3C-6BCC-B20E-F5A9B1D08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3593977"/>
          </a:xfrm>
        </p:spPr>
        <p:txBody>
          <a:bodyPr>
            <a:normAutofit fontScale="90000"/>
          </a:bodyPr>
          <a:lstStyle/>
          <a:p>
            <a:b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Questions 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347200" y="6335713"/>
            <a:ext cx="2844800" cy="365125"/>
          </a:xfrm>
          <a:prstGeom prst="rect">
            <a:avLst/>
          </a:prstGeom>
        </p:spPr>
        <p:txBody>
          <a:bodyPr/>
          <a:lstStyle/>
          <a:p>
            <a:fld id="{F32F67E5-730B-4B3A-9A58-41E5E3F0691E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323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17" descr="A close-up of a stethoscope&#10;&#10;Description automatically generated">
            <a:extLst>
              <a:ext uri="{FF2B5EF4-FFF2-40B4-BE49-F238E27FC236}">
                <a16:creationId xmlns:a16="http://schemas.microsoft.com/office/drawing/2014/main" id="{2DFE2053-4DE3-81CB-6A53-60795450685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CA21E10-7E68-232C-EA8A-7E7E66E1BC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392" y="2211556"/>
            <a:ext cx="6648181" cy="1617675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  <a:ea typeface="Roboto Light"/>
              </a:rPr>
              <a:t>One-dose HPV vaccination—Estonian experience</a:t>
            </a:r>
            <a:endParaRPr lang="et-EE" dirty="0">
              <a:solidFill>
                <a:schemeClr val="tx1"/>
              </a:solidFill>
              <a:ea typeface="Roboto Light"/>
            </a:endParaRPr>
          </a:p>
        </p:txBody>
      </p:sp>
      <p:pic>
        <p:nvPicPr>
          <p:cNvPr id="5" name="Picture Placeholder 4" descr="A blue dots on a black background&#10;&#10;Description automatically generated">
            <a:extLst>
              <a:ext uri="{FF2B5EF4-FFF2-40B4-BE49-F238E27FC236}">
                <a16:creationId xmlns:a16="http://schemas.microsoft.com/office/drawing/2014/main" id="{A503BD64-7080-C13B-5262-51773E18742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73" b="3373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130259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73F1DB-633D-29EC-CD54-C6FF99E61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EE" dirty="0">
                <a:ea typeface="Roboto Light"/>
              </a:rPr>
              <a:t>Health </a:t>
            </a:r>
            <a:r>
              <a:rPr lang="en-EE" dirty="0" err="1">
                <a:ea typeface="Roboto Light"/>
              </a:rPr>
              <a:t>system</a:t>
            </a:r>
            <a:r>
              <a:rPr lang="en-EE" dirty="0">
                <a:ea typeface="Roboto Light"/>
              </a:rPr>
              <a:t> in Estonia</a:t>
            </a:r>
            <a:endParaRPr lang="et-E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B48530-5E63-1553-14D4-AE58D2CF71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3761675"/>
            <a:ext cx="5111751" cy="2475613"/>
          </a:xfrm>
        </p:spPr>
        <p:txBody>
          <a:bodyPr>
            <a:normAutofit fontScale="92500" lnSpcReduction="10000"/>
          </a:bodyPr>
          <a:lstStyle/>
          <a:p>
            <a:r>
              <a:rPr lang="en-GB" dirty="0">
                <a:ea typeface="Roboto"/>
                <a:cs typeface="Roboto"/>
              </a:rPr>
              <a:t>Children are vaccinated according to the immunisation schedule that is advised by the Estonian NITAG</a:t>
            </a:r>
          </a:p>
          <a:p>
            <a:r>
              <a:rPr lang="en-GB" dirty="0">
                <a:ea typeface="Roboto"/>
                <a:cs typeface="Roboto"/>
              </a:rPr>
              <a:t>Newborn babies are vaccinated at maternity wards, young children are vaccinated at family physician offices, and schoolchildren at health service providers at schools.</a:t>
            </a:r>
          </a:p>
          <a:p>
            <a:r>
              <a:rPr lang="en-GB" dirty="0">
                <a:ea typeface="Roboto"/>
                <a:cs typeface="Roboto"/>
              </a:rPr>
              <a:t>Consent for vaccinating a child is provided by a parent or guardian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EDC29C-2B97-C5FB-592A-B9F275B490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GB" dirty="0">
                <a:ea typeface="Roboto"/>
                <a:cs typeface="Roboto"/>
              </a:rPr>
              <a:t>Unified national health insurance is available in Estonia (13% of the salaries). Most medical costs are covered by health insurance. The list of services is updated annually and approved by government regulation. Vaccinations for children are free. </a:t>
            </a:r>
            <a:endParaRPr lang="et-EE">
              <a:cs typeface="Roboto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9974D42A-3AE4-F41F-AB09-244ABA844E0E}"/>
              </a:ext>
            </a:extLst>
          </p:cNvPr>
          <p:cNvGrpSpPr/>
          <p:nvPr/>
        </p:nvGrpSpPr>
        <p:grpSpPr>
          <a:xfrm>
            <a:off x="4291103" y="-14288"/>
            <a:ext cx="8912994" cy="7258050"/>
            <a:chOff x="4384675" y="280988"/>
            <a:chExt cx="7404100" cy="6029326"/>
          </a:xfrm>
          <a:solidFill>
            <a:schemeClr val="bg1"/>
          </a:solidFill>
        </p:grpSpPr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22A1F50A-A30B-4EB9-42E7-934796E38F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8063" y="3706813"/>
              <a:ext cx="1431925" cy="955675"/>
            </a:xfrm>
            <a:custGeom>
              <a:avLst/>
              <a:gdLst>
                <a:gd name="T0" fmla="*/ 500 w 902"/>
                <a:gd name="T1" fmla="*/ 475 h 602"/>
                <a:gd name="T2" fmla="*/ 850 w 902"/>
                <a:gd name="T3" fmla="*/ 201 h 602"/>
                <a:gd name="T4" fmla="*/ 792 w 902"/>
                <a:gd name="T5" fmla="*/ 190 h 602"/>
                <a:gd name="T6" fmla="*/ 715 w 902"/>
                <a:gd name="T7" fmla="*/ 165 h 602"/>
                <a:gd name="T8" fmla="*/ 666 w 902"/>
                <a:gd name="T9" fmla="*/ 130 h 602"/>
                <a:gd name="T10" fmla="*/ 628 w 902"/>
                <a:gd name="T11" fmla="*/ 96 h 602"/>
                <a:gd name="T12" fmla="*/ 599 w 902"/>
                <a:gd name="T13" fmla="*/ 60 h 602"/>
                <a:gd name="T14" fmla="*/ 586 w 902"/>
                <a:gd name="T15" fmla="*/ 6 h 602"/>
                <a:gd name="T16" fmla="*/ 512 w 902"/>
                <a:gd name="T17" fmla="*/ 4 h 602"/>
                <a:gd name="T18" fmla="*/ 442 w 902"/>
                <a:gd name="T19" fmla="*/ 29 h 602"/>
                <a:gd name="T20" fmla="*/ 426 w 902"/>
                <a:gd name="T21" fmla="*/ 53 h 602"/>
                <a:gd name="T22" fmla="*/ 426 w 902"/>
                <a:gd name="T23" fmla="*/ 78 h 602"/>
                <a:gd name="T24" fmla="*/ 390 w 902"/>
                <a:gd name="T25" fmla="*/ 73 h 602"/>
                <a:gd name="T26" fmla="*/ 344 w 902"/>
                <a:gd name="T27" fmla="*/ 64 h 602"/>
                <a:gd name="T28" fmla="*/ 301 w 902"/>
                <a:gd name="T29" fmla="*/ 62 h 602"/>
                <a:gd name="T30" fmla="*/ 254 w 902"/>
                <a:gd name="T31" fmla="*/ 58 h 602"/>
                <a:gd name="T32" fmla="*/ 86 w 902"/>
                <a:gd name="T33" fmla="*/ 60 h 602"/>
                <a:gd name="T34" fmla="*/ 90 w 902"/>
                <a:gd name="T35" fmla="*/ 109 h 602"/>
                <a:gd name="T36" fmla="*/ 90 w 902"/>
                <a:gd name="T37" fmla="*/ 157 h 602"/>
                <a:gd name="T38" fmla="*/ 30 w 902"/>
                <a:gd name="T39" fmla="*/ 244 h 602"/>
                <a:gd name="T40" fmla="*/ 16 w 902"/>
                <a:gd name="T41" fmla="*/ 271 h 602"/>
                <a:gd name="T42" fmla="*/ 9 w 902"/>
                <a:gd name="T43" fmla="*/ 315 h 602"/>
                <a:gd name="T44" fmla="*/ 39 w 902"/>
                <a:gd name="T45" fmla="*/ 344 h 602"/>
                <a:gd name="T46" fmla="*/ 93 w 902"/>
                <a:gd name="T47" fmla="*/ 344 h 602"/>
                <a:gd name="T48" fmla="*/ 193 w 902"/>
                <a:gd name="T49" fmla="*/ 344 h 602"/>
                <a:gd name="T50" fmla="*/ 236 w 902"/>
                <a:gd name="T51" fmla="*/ 313 h 602"/>
                <a:gd name="T52" fmla="*/ 290 w 902"/>
                <a:gd name="T53" fmla="*/ 315 h 602"/>
                <a:gd name="T54" fmla="*/ 319 w 902"/>
                <a:gd name="T55" fmla="*/ 333 h 602"/>
                <a:gd name="T56" fmla="*/ 355 w 902"/>
                <a:gd name="T57" fmla="*/ 360 h 602"/>
                <a:gd name="T58" fmla="*/ 372 w 902"/>
                <a:gd name="T59" fmla="*/ 390 h 602"/>
                <a:gd name="T60" fmla="*/ 386 w 902"/>
                <a:gd name="T61" fmla="*/ 425 h 602"/>
                <a:gd name="T62" fmla="*/ 399 w 902"/>
                <a:gd name="T63" fmla="*/ 461 h 602"/>
                <a:gd name="T64" fmla="*/ 361 w 902"/>
                <a:gd name="T65" fmla="*/ 454 h 602"/>
                <a:gd name="T66" fmla="*/ 341 w 902"/>
                <a:gd name="T67" fmla="*/ 488 h 602"/>
                <a:gd name="T68" fmla="*/ 308 w 902"/>
                <a:gd name="T69" fmla="*/ 521 h 602"/>
                <a:gd name="T70" fmla="*/ 344 w 902"/>
                <a:gd name="T71" fmla="*/ 535 h 602"/>
                <a:gd name="T72" fmla="*/ 382 w 902"/>
                <a:gd name="T73" fmla="*/ 537 h 602"/>
                <a:gd name="T74" fmla="*/ 373 w 902"/>
                <a:gd name="T75" fmla="*/ 511 h 602"/>
                <a:gd name="T76" fmla="*/ 384 w 902"/>
                <a:gd name="T77" fmla="*/ 508 h 602"/>
                <a:gd name="T78" fmla="*/ 400 w 902"/>
                <a:gd name="T79" fmla="*/ 495 h 602"/>
                <a:gd name="T80" fmla="*/ 442 w 902"/>
                <a:gd name="T81" fmla="*/ 445 h 602"/>
                <a:gd name="T82" fmla="*/ 473 w 902"/>
                <a:gd name="T83" fmla="*/ 432 h 602"/>
                <a:gd name="T84" fmla="*/ 487 w 902"/>
                <a:gd name="T85" fmla="*/ 414 h 602"/>
                <a:gd name="T86" fmla="*/ 494 w 902"/>
                <a:gd name="T87" fmla="*/ 419 h 602"/>
                <a:gd name="T88" fmla="*/ 512 w 902"/>
                <a:gd name="T89" fmla="*/ 454 h 602"/>
                <a:gd name="T90" fmla="*/ 483 w 902"/>
                <a:gd name="T91" fmla="*/ 465 h 602"/>
                <a:gd name="T92" fmla="*/ 539 w 902"/>
                <a:gd name="T93" fmla="*/ 479 h 602"/>
                <a:gd name="T94" fmla="*/ 577 w 902"/>
                <a:gd name="T95" fmla="*/ 481 h 602"/>
                <a:gd name="T96" fmla="*/ 563 w 902"/>
                <a:gd name="T97" fmla="*/ 501 h 602"/>
                <a:gd name="T98" fmla="*/ 530 w 902"/>
                <a:gd name="T99" fmla="*/ 533 h 602"/>
                <a:gd name="T100" fmla="*/ 570 w 902"/>
                <a:gd name="T101" fmla="*/ 577 h 602"/>
                <a:gd name="T102" fmla="*/ 599 w 902"/>
                <a:gd name="T103" fmla="*/ 598 h 602"/>
                <a:gd name="T104" fmla="*/ 646 w 902"/>
                <a:gd name="T105" fmla="*/ 571 h 602"/>
                <a:gd name="T106" fmla="*/ 698 w 902"/>
                <a:gd name="T107" fmla="*/ 555 h 602"/>
                <a:gd name="T108" fmla="*/ 718 w 902"/>
                <a:gd name="T109" fmla="*/ 526 h 602"/>
                <a:gd name="T110" fmla="*/ 642 w 902"/>
                <a:gd name="T111" fmla="*/ 502 h 602"/>
                <a:gd name="T112" fmla="*/ 659 w 902"/>
                <a:gd name="T113" fmla="*/ 456 h 602"/>
                <a:gd name="T114" fmla="*/ 691 w 902"/>
                <a:gd name="T115" fmla="*/ 439 h 602"/>
                <a:gd name="T116" fmla="*/ 731 w 902"/>
                <a:gd name="T117" fmla="*/ 441 h 602"/>
                <a:gd name="T118" fmla="*/ 805 w 902"/>
                <a:gd name="T119" fmla="*/ 407 h 602"/>
                <a:gd name="T120" fmla="*/ 861 w 902"/>
                <a:gd name="T121" fmla="*/ 353 h 602"/>
                <a:gd name="T122" fmla="*/ 888 w 902"/>
                <a:gd name="T123" fmla="*/ 315 h 602"/>
                <a:gd name="T124" fmla="*/ 890 w 902"/>
                <a:gd name="T125" fmla="*/ 27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2" h="602">
                  <a:moveTo>
                    <a:pt x="390" y="510"/>
                  </a:moveTo>
                  <a:lnTo>
                    <a:pt x="390" y="510"/>
                  </a:lnTo>
                  <a:lnTo>
                    <a:pt x="388" y="511"/>
                  </a:lnTo>
                  <a:lnTo>
                    <a:pt x="386" y="511"/>
                  </a:lnTo>
                  <a:lnTo>
                    <a:pt x="386" y="513"/>
                  </a:lnTo>
                  <a:lnTo>
                    <a:pt x="386" y="513"/>
                  </a:lnTo>
                  <a:lnTo>
                    <a:pt x="384" y="513"/>
                  </a:lnTo>
                  <a:lnTo>
                    <a:pt x="384" y="513"/>
                  </a:lnTo>
                  <a:lnTo>
                    <a:pt x="384" y="515"/>
                  </a:lnTo>
                  <a:lnTo>
                    <a:pt x="382" y="515"/>
                  </a:lnTo>
                  <a:lnTo>
                    <a:pt x="381" y="517"/>
                  </a:lnTo>
                  <a:lnTo>
                    <a:pt x="384" y="515"/>
                  </a:lnTo>
                  <a:lnTo>
                    <a:pt x="390" y="511"/>
                  </a:lnTo>
                  <a:lnTo>
                    <a:pt x="400" y="501"/>
                  </a:lnTo>
                  <a:lnTo>
                    <a:pt x="399" y="502"/>
                  </a:lnTo>
                  <a:lnTo>
                    <a:pt x="390" y="510"/>
                  </a:lnTo>
                  <a:close/>
                  <a:moveTo>
                    <a:pt x="547" y="486"/>
                  </a:moveTo>
                  <a:lnTo>
                    <a:pt x="547" y="484"/>
                  </a:lnTo>
                  <a:lnTo>
                    <a:pt x="545" y="484"/>
                  </a:lnTo>
                  <a:lnTo>
                    <a:pt x="543" y="484"/>
                  </a:lnTo>
                  <a:lnTo>
                    <a:pt x="543" y="483"/>
                  </a:lnTo>
                  <a:lnTo>
                    <a:pt x="541" y="483"/>
                  </a:lnTo>
                  <a:lnTo>
                    <a:pt x="539" y="484"/>
                  </a:lnTo>
                  <a:lnTo>
                    <a:pt x="538" y="483"/>
                  </a:lnTo>
                  <a:lnTo>
                    <a:pt x="538" y="483"/>
                  </a:lnTo>
                  <a:lnTo>
                    <a:pt x="534" y="484"/>
                  </a:lnTo>
                  <a:lnTo>
                    <a:pt x="527" y="483"/>
                  </a:lnTo>
                  <a:lnTo>
                    <a:pt x="525" y="483"/>
                  </a:lnTo>
                  <a:lnTo>
                    <a:pt x="525" y="483"/>
                  </a:lnTo>
                  <a:lnTo>
                    <a:pt x="525" y="483"/>
                  </a:lnTo>
                  <a:lnTo>
                    <a:pt x="547" y="486"/>
                  </a:lnTo>
                  <a:lnTo>
                    <a:pt x="547" y="486"/>
                  </a:lnTo>
                  <a:close/>
                  <a:moveTo>
                    <a:pt x="498" y="474"/>
                  </a:moveTo>
                  <a:lnTo>
                    <a:pt x="491" y="472"/>
                  </a:lnTo>
                  <a:lnTo>
                    <a:pt x="474" y="468"/>
                  </a:lnTo>
                  <a:lnTo>
                    <a:pt x="473" y="468"/>
                  </a:lnTo>
                  <a:lnTo>
                    <a:pt x="473" y="466"/>
                  </a:lnTo>
                  <a:lnTo>
                    <a:pt x="471" y="465"/>
                  </a:lnTo>
                  <a:lnTo>
                    <a:pt x="471" y="461"/>
                  </a:lnTo>
                  <a:lnTo>
                    <a:pt x="469" y="461"/>
                  </a:lnTo>
                  <a:lnTo>
                    <a:pt x="469" y="461"/>
                  </a:lnTo>
                  <a:lnTo>
                    <a:pt x="469" y="463"/>
                  </a:lnTo>
                  <a:lnTo>
                    <a:pt x="471" y="465"/>
                  </a:lnTo>
                  <a:lnTo>
                    <a:pt x="471" y="466"/>
                  </a:lnTo>
                  <a:lnTo>
                    <a:pt x="473" y="468"/>
                  </a:lnTo>
                  <a:lnTo>
                    <a:pt x="482" y="472"/>
                  </a:lnTo>
                  <a:lnTo>
                    <a:pt x="500" y="475"/>
                  </a:lnTo>
                  <a:lnTo>
                    <a:pt x="502" y="475"/>
                  </a:lnTo>
                  <a:lnTo>
                    <a:pt x="502" y="477"/>
                  </a:lnTo>
                  <a:lnTo>
                    <a:pt x="502" y="475"/>
                  </a:lnTo>
                  <a:lnTo>
                    <a:pt x="498" y="474"/>
                  </a:lnTo>
                  <a:close/>
                  <a:moveTo>
                    <a:pt x="902" y="239"/>
                  </a:moveTo>
                  <a:lnTo>
                    <a:pt x="899" y="235"/>
                  </a:lnTo>
                  <a:lnTo>
                    <a:pt x="897" y="233"/>
                  </a:lnTo>
                  <a:lnTo>
                    <a:pt x="897" y="230"/>
                  </a:lnTo>
                  <a:lnTo>
                    <a:pt x="897" y="228"/>
                  </a:lnTo>
                  <a:lnTo>
                    <a:pt x="897" y="226"/>
                  </a:lnTo>
                  <a:lnTo>
                    <a:pt x="899" y="224"/>
                  </a:lnTo>
                  <a:lnTo>
                    <a:pt x="901" y="224"/>
                  </a:lnTo>
                  <a:lnTo>
                    <a:pt x="901" y="222"/>
                  </a:lnTo>
                  <a:lnTo>
                    <a:pt x="901" y="221"/>
                  </a:lnTo>
                  <a:lnTo>
                    <a:pt x="901" y="221"/>
                  </a:lnTo>
                  <a:lnTo>
                    <a:pt x="901" y="221"/>
                  </a:lnTo>
                  <a:lnTo>
                    <a:pt x="895" y="219"/>
                  </a:lnTo>
                  <a:lnTo>
                    <a:pt x="895" y="219"/>
                  </a:lnTo>
                  <a:lnTo>
                    <a:pt x="893" y="219"/>
                  </a:lnTo>
                  <a:lnTo>
                    <a:pt x="890" y="222"/>
                  </a:lnTo>
                  <a:lnTo>
                    <a:pt x="890" y="222"/>
                  </a:lnTo>
                  <a:lnTo>
                    <a:pt x="888" y="224"/>
                  </a:lnTo>
                  <a:lnTo>
                    <a:pt x="886" y="224"/>
                  </a:lnTo>
                  <a:lnTo>
                    <a:pt x="884" y="224"/>
                  </a:lnTo>
                  <a:lnTo>
                    <a:pt x="884" y="224"/>
                  </a:lnTo>
                  <a:lnTo>
                    <a:pt x="881" y="221"/>
                  </a:lnTo>
                  <a:lnTo>
                    <a:pt x="879" y="221"/>
                  </a:lnTo>
                  <a:lnTo>
                    <a:pt x="877" y="219"/>
                  </a:lnTo>
                  <a:lnTo>
                    <a:pt x="875" y="219"/>
                  </a:lnTo>
                  <a:lnTo>
                    <a:pt x="874" y="215"/>
                  </a:lnTo>
                  <a:lnTo>
                    <a:pt x="874" y="212"/>
                  </a:lnTo>
                  <a:lnTo>
                    <a:pt x="874" y="210"/>
                  </a:lnTo>
                  <a:lnTo>
                    <a:pt x="872" y="210"/>
                  </a:lnTo>
                  <a:lnTo>
                    <a:pt x="870" y="210"/>
                  </a:lnTo>
                  <a:lnTo>
                    <a:pt x="868" y="210"/>
                  </a:lnTo>
                  <a:lnTo>
                    <a:pt x="866" y="208"/>
                  </a:lnTo>
                  <a:lnTo>
                    <a:pt x="865" y="208"/>
                  </a:lnTo>
                  <a:lnTo>
                    <a:pt x="863" y="210"/>
                  </a:lnTo>
                  <a:lnTo>
                    <a:pt x="861" y="210"/>
                  </a:lnTo>
                  <a:lnTo>
                    <a:pt x="859" y="210"/>
                  </a:lnTo>
                  <a:lnTo>
                    <a:pt x="857" y="208"/>
                  </a:lnTo>
                  <a:lnTo>
                    <a:pt x="857" y="206"/>
                  </a:lnTo>
                  <a:lnTo>
                    <a:pt x="854" y="199"/>
                  </a:lnTo>
                  <a:lnTo>
                    <a:pt x="854" y="199"/>
                  </a:lnTo>
                  <a:lnTo>
                    <a:pt x="852" y="199"/>
                  </a:lnTo>
                  <a:lnTo>
                    <a:pt x="850" y="199"/>
                  </a:lnTo>
                  <a:lnTo>
                    <a:pt x="850" y="201"/>
                  </a:lnTo>
                  <a:lnTo>
                    <a:pt x="848" y="203"/>
                  </a:lnTo>
                  <a:lnTo>
                    <a:pt x="846" y="203"/>
                  </a:lnTo>
                  <a:lnTo>
                    <a:pt x="846" y="203"/>
                  </a:lnTo>
                  <a:lnTo>
                    <a:pt x="841" y="204"/>
                  </a:lnTo>
                  <a:lnTo>
                    <a:pt x="839" y="203"/>
                  </a:lnTo>
                  <a:lnTo>
                    <a:pt x="839" y="201"/>
                  </a:lnTo>
                  <a:lnTo>
                    <a:pt x="837" y="199"/>
                  </a:lnTo>
                  <a:lnTo>
                    <a:pt x="832" y="197"/>
                  </a:lnTo>
                  <a:lnTo>
                    <a:pt x="828" y="195"/>
                  </a:lnTo>
                  <a:lnTo>
                    <a:pt x="828" y="195"/>
                  </a:lnTo>
                  <a:lnTo>
                    <a:pt x="828" y="194"/>
                  </a:lnTo>
                  <a:lnTo>
                    <a:pt x="828" y="194"/>
                  </a:lnTo>
                  <a:lnTo>
                    <a:pt x="828" y="192"/>
                  </a:lnTo>
                  <a:lnTo>
                    <a:pt x="828" y="192"/>
                  </a:lnTo>
                  <a:lnTo>
                    <a:pt x="828" y="192"/>
                  </a:lnTo>
                  <a:lnTo>
                    <a:pt x="827" y="192"/>
                  </a:lnTo>
                  <a:lnTo>
                    <a:pt x="827" y="192"/>
                  </a:lnTo>
                  <a:lnTo>
                    <a:pt x="825" y="192"/>
                  </a:lnTo>
                  <a:lnTo>
                    <a:pt x="823" y="192"/>
                  </a:lnTo>
                  <a:lnTo>
                    <a:pt x="819" y="192"/>
                  </a:lnTo>
                  <a:lnTo>
                    <a:pt x="818" y="192"/>
                  </a:lnTo>
                  <a:lnTo>
                    <a:pt x="816" y="192"/>
                  </a:lnTo>
                  <a:lnTo>
                    <a:pt x="816" y="190"/>
                  </a:lnTo>
                  <a:lnTo>
                    <a:pt x="814" y="190"/>
                  </a:lnTo>
                  <a:lnTo>
                    <a:pt x="812" y="190"/>
                  </a:lnTo>
                  <a:lnTo>
                    <a:pt x="812" y="190"/>
                  </a:lnTo>
                  <a:lnTo>
                    <a:pt x="810" y="185"/>
                  </a:lnTo>
                  <a:lnTo>
                    <a:pt x="810" y="185"/>
                  </a:lnTo>
                  <a:lnTo>
                    <a:pt x="809" y="185"/>
                  </a:lnTo>
                  <a:lnTo>
                    <a:pt x="807" y="185"/>
                  </a:lnTo>
                  <a:lnTo>
                    <a:pt x="803" y="183"/>
                  </a:lnTo>
                  <a:lnTo>
                    <a:pt x="803" y="185"/>
                  </a:lnTo>
                  <a:lnTo>
                    <a:pt x="803" y="186"/>
                  </a:lnTo>
                  <a:lnTo>
                    <a:pt x="803" y="190"/>
                  </a:lnTo>
                  <a:lnTo>
                    <a:pt x="803" y="194"/>
                  </a:lnTo>
                  <a:lnTo>
                    <a:pt x="800" y="195"/>
                  </a:lnTo>
                  <a:lnTo>
                    <a:pt x="800" y="195"/>
                  </a:lnTo>
                  <a:lnTo>
                    <a:pt x="800" y="194"/>
                  </a:lnTo>
                  <a:lnTo>
                    <a:pt x="798" y="194"/>
                  </a:lnTo>
                  <a:lnTo>
                    <a:pt x="798" y="194"/>
                  </a:lnTo>
                  <a:lnTo>
                    <a:pt x="796" y="195"/>
                  </a:lnTo>
                  <a:lnTo>
                    <a:pt x="794" y="197"/>
                  </a:lnTo>
                  <a:lnTo>
                    <a:pt x="794" y="195"/>
                  </a:lnTo>
                  <a:lnTo>
                    <a:pt x="794" y="195"/>
                  </a:lnTo>
                  <a:lnTo>
                    <a:pt x="794" y="194"/>
                  </a:lnTo>
                  <a:lnTo>
                    <a:pt x="794" y="194"/>
                  </a:lnTo>
                  <a:lnTo>
                    <a:pt x="792" y="190"/>
                  </a:lnTo>
                  <a:lnTo>
                    <a:pt x="790" y="188"/>
                  </a:lnTo>
                  <a:lnTo>
                    <a:pt x="789" y="186"/>
                  </a:lnTo>
                  <a:lnTo>
                    <a:pt x="787" y="186"/>
                  </a:lnTo>
                  <a:lnTo>
                    <a:pt x="783" y="185"/>
                  </a:lnTo>
                  <a:lnTo>
                    <a:pt x="781" y="183"/>
                  </a:lnTo>
                  <a:lnTo>
                    <a:pt x="776" y="176"/>
                  </a:lnTo>
                  <a:lnTo>
                    <a:pt x="774" y="174"/>
                  </a:lnTo>
                  <a:lnTo>
                    <a:pt x="774" y="172"/>
                  </a:lnTo>
                  <a:lnTo>
                    <a:pt x="774" y="172"/>
                  </a:lnTo>
                  <a:lnTo>
                    <a:pt x="774" y="170"/>
                  </a:lnTo>
                  <a:lnTo>
                    <a:pt x="774" y="168"/>
                  </a:lnTo>
                  <a:lnTo>
                    <a:pt x="774" y="166"/>
                  </a:lnTo>
                  <a:lnTo>
                    <a:pt x="772" y="165"/>
                  </a:lnTo>
                  <a:lnTo>
                    <a:pt x="769" y="163"/>
                  </a:lnTo>
                  <a:lnTo>
                    <a:pt x="767" y="159"/>
                  </a:lnTo>
                  <a:lnTo>
                    <a:pt x="767" y="157"/>
                  </a:lnTo>
                  <a:lnTo>
                    <a:pt x="767" y="156"/>
                  </a:lnTo>
                  <a:lnTo>
                    <a:pt x="765" y="156"/>
                  </a:lnTo>
                  <a:lnTo>
                    <a:pt x="760" y="156"/>
                  </a:lnTo>
                  <a:lnTo>
                    <a:pt x="758" y="156"/>
                  </a:lnTo>
                  <a:lnTo>
                    <a:pt x="756" y="159"/>
                  </a:lnTo>
                  <a:lnTo>
                    <a:pt x="754" y="161"/>
                  </a:lnTo>
                  <a:lnTo>
                    <a:pt x="747" y="163"/>
                  </a:lnTo>
                  <a:lnTo>
                    <a:pt x="744" y="161"/>
                  </a:lnTo>
                  <a:lnTo>
                    <a:pt x="740" y="163"/>
                  </a:lnTo>
                  <a:lnTo>
                    <a:pt x="736" y="163"/>
                  </a:lnTo>
                  <a:lnTo>
                    <a:pt x="729" y="168"/>
                  </a:lnTo>
                  <a:lnTo>
                    <a:pt x="727" y="168"/>
                  </a:lnTo>
                  <a:lnTo>
                    <a:pt x="727" y="170"/>
                  </a:lnTo>
                  <a:lnTo>
                    <a:pt x="727" y="172"/>
                  </a:lnTo>
                  <a:lnTo>
                    <a:pt x="725" y="172"/>
                  </a:lnTo>
                  <a:lnTo>
                    <a:pt x="725" y="172"/>
                  </a:lnTo>
                  <a:lnTo>
                    <a:pt x="724" y="172"/>
                  </a:lnTo>
                  <a:lnTo>
                    <a:pt x="724" y="172"/>
                  </a:lnTo>
                  <a:lnTo>
                    <a:pt x="722" y="172"/>
                  </a:lnTo>
                  <a:lnTo>
                    <a:pt x="722" y="172"/>
                  </a:lnTo>
                  <a:lnTo>
                    <a:pt x="720" y="170"/>
                  </a:lnTo>
                  <a:lnTo>
                    <a:pt x="722" y="170"/>
                  </a:lnTo>
                  <a:lnTo>
                    <a:pt x="722" y="168"/>
                  </a:lnTo>
                  <a:lnTo>
                    <a:pt x="722" y="168"/>
                  </a:lnTo>
                  <a:lnTo>
                    <a:pt x="722" y="168"/>
                  </a:lnTo>
                  <a:lnTo>
                    <a:pt x="720" y="166"/>
                  </a:lnTo>
                  <a:lnTo>
                    <a:pt x="720" y="166"/>
                  </a:lnTo>
                  <a:lnTo>
                    <a:pt x="718" y="166"/>
                  </a:lnTo>
                  <a:lnTo>
                    <a:pt x="716" y="166"/>
                  </a:lnTo>
                  <a:lnTo>
                    <a:pt x="716" y="165"/>
                  </a:lnTo>
                  <a:lnTo>
                    <a:pt x="715" y="165"/>
                  </a:lnTo>
                  <a:lnTo>
                    <a:pt x="715" y="165"/>
                  </a:lnTo>
                  <a:lnTo>
                    <a:pt x="715" y="165"/>
                  </a:lnTo>
                  <a:lnTo>
                    <a:pt x="713" y="165"/>
                  </a:lnTo>
                  <a:lnTo>
                    <a:pt x="713" y="166"/>
                  </a:lnTo>
                  <a:lnTo>
                    <a:pt x="711" y="166"/>
                  </a:lnTo>
                  <a:lnTo>
                    <a:pt x="711" y="166"/>
                  </a:lnTo>
                  <a:lnTo>
                    <a:pt x="709" y="166"/>
                  </a:lnTo>
                  <a:lnTo>
                    <a:pt x="707" y="166"/>
                  </a:lnTo>
                  <a:lnTo>
                    <a:pt x="702" y="159"/>
                  </a:lnTo>
                  <a:lnTo>
                    <a:pt x="702" y="157"/>
                  </a:lnTo>
                  <a:lnTo>
                    <a:pt x="700" y="156"/>
                  </a:lnTo>
                  <a:lnTo>
                    <a:pt x="700" y="156"/>
                  </a:lnTo>
                  <a:lnTo>
                    <a:pt x="691" y="156"/>
                  </a:lnTo>
                  <a:lnTo>
                    <a:pt x="686" y="156"/>
                  </a:lnTo>
                  <a:lnTo>
                    <a:pt x="686" y="156"/>
                  </a:lnTo>
                  <a:lnTo>
                    <a:pt x="684" y="156"/>
                  </a:lnTo>
                  <a:lnTo>
                    <a:pt x="684" y="157"/>
                  </a:lnTo>
                  <a:lnTo>
                    <a:pt x="684" y="157"/>
                  </a:lnTo>
                  <a:lnTo>
                    <a:pt x="682" y="159"/>
                  </a:lnTo>
                  <a:lnTo>
                    <a:pt x="682" y="159"/>
                  </a:lnTo>
                  <a:lnTo>
                    <a:pt x="680" y="159"/>
                  </a:lnTo>
                  <a:lnTo>
                    <a:pt x="680" y="159"/>
                  </a:lnTo>
                  <a:lnTo>
                    <a:pt x="680" y="161"/>
                  </a:lnTo>
                  <a:lnTo>
                    <a:pt x="679" y="161"/>
                  </a:lnTo>
                  <a:lnTo>
                    <a:pt x="679" y="161"/>
                  </a:lnTo>
                  <a:lnTo>
                    <a:pt x="679" y="163"/>
                  </a:lnTo>
                  <a:lnTo>
                    <a:pt x="677" y="161"/>
                  </a:lnTo>
                  <a:lnTo>
                    <a:pt x="677" y="161"/>
                  </a:lnTo>
                  <a:lnTo>
                    <a:pt x="675" y="161"/>
                  </a:lnTo>
                  <a:lnTo>
                    <a:pt x="673" y="161"/>
                  </a:lnTo>
                  <a:lnTo>
                    <a:pt x="673" y="159"/>
                  </a:lnTo>
                  <a:lnTo>
                    <a:pt x="673" y="157"/>
                  </a:lnTo>
                  <a:lnTo>
                    <a:pt x="673" y="157"/>
                  </a:lnTo>
                  <a:lnTo>
                    <a:pt x="671" y="154"/>
                  </a:lnTo>
                  <a:lnTo>
                    <a:pt x="671" y="154"/>
                  </a:lnTo>
                  <a:lnTo>
                    <a:pt x="671" y="152"/>
                  </a:lnTo>
                  <a:lnTo>
                    <a:pt x="669" y="152"/>
                  </a:lnTo>
                  <a:lnTo>
                    <a:pt x="668" y="152"/>
                  </a:lnTo>
                  <a:lnTo>
                    <a:pt x="666" y="152"/>
                  </a:lnTo>
                  <a:lnTo>
                    <a:pt x="666" y="150"/>
                  </a:lnTo>
                  <a:lnTo>
                    <a:pt x="664" y="139"/>
                  </a:lnTo>
                  <a:lnTo>
                    <a:pt x="662" y="139"/>
                  </a:lnTo>
                  <a:lnTo>
                    <a:pt x="664" y="138"/>
                  </a:lnTo>
                  <a:lnTo>
                    <a:pt x="668" y="136"/>
                  </a:lnTo>
                  <a:lnTo>
                    <a:pt x="666" y="134"/>
                  </a:lnTo>
                  <a:lnTo>
                    <a:pt x="666" y="132"/>
                  </a:lnTo>
                  <a:lnTo>
                    <a:pt x="666" y="130"/>
                  </a:lnTo>
                  <a:lnTo>
                    <a:pt x="666" y="129"/>
                  </a:lnTo>
                  <a:lnTo>
                    <a:pt x="666" y="129"/>
                  </a:lnTo>
                  <a:lnTo>
                    <a:pt x="666" y="127"/>
                  </a:lnTo>
                  <a:lnTo>
                    <a:pt x="664" y="127"/>
                  </a:lnTo>
                  <a:lnTo>
                    <a:pt x="664" y="127"/>
                  </a:lnTo>
                  <a:lnTo>
                    <a:pt x="664" y="125"/>
                  </a:lnTo>
                  <a:lnTo>
                    <a:pt x="664" y="125"/>
                  </a:lnTo>
                  <a:lnTo>
                    <a:pt x="664" y="123"/>
                  </a:lnTo>
                  <a:lnTo>
                    <a:pt x="662" y="121"/>
                  </a:lnTo>
                  <a:lnTo>
                    <a:pt x="662" y="121"/>
                  </a:lnTo>
                  <a:lnTo>
                    <a:pt x="662" y="120"/>
                  </a:lnTo>
                  <a:lnTo>
                    <a:pt x="660" y="118"/>
                  </a:lnTo>
                  <a:lnTo>
                    <a:pt x="662" y="118"/>
                  </a:lnTo>
                  <a:lnTo>
                    <a:pt x="662" y="116"/>
                  </a:lnTo>
                  <a:lnTo>
                    <a:pt x="660" y="116"/>
                  </a:lnTo>
                  <a:lnTo>
                    <a:pt x="660" y="116"/>
                  </a:lnTo>
                  <a:lnTo>
                    <a:pt x="659" y="114"/>
                  </a:lnTo>
                  <a:lnTo>
                    <a:pt x="659" y="114"/>
                  </a:lnTo>
                  <a:lnTo>
                    <a:pt x="659" y="114"/>
                  </a:lnTo>
                  <a:lnTo>
                    <a:pt x="659" y="112"/>
                  </a:lnTo>
                  <a:lnTo>
                    <a:pt x="659" y="110"/>
                  </a:lnTo>
                  <a:lnTo>
                    <a:pt x="660" y="110"/>
                  </a:lnTo>
                  <a:lnTo>
                    <a:pt x="662" y="109"/>
                  </a:lnTo>
                  <a:lnTo>
                    <a:pt x="662" y="109"/>
                  </a:lnTo>
                  <a:lnTo>
                    <a:pt x="662" y="107"/>
                  </a:lnTo>
                  <a:lnTo>
                    <a:pt x="660" y="107"/>
                  </a:lnTo>
                  <a:lnTo>
                    <a:pt x="660" y="107"/>
                  </a:lnTo>
                  <a:lnTo>
                    <a:pt x="659" y="107"/>
                  </a:lnTo>
                  <a:lnTo>
                    <a:pt x="655" y="107"/>
                  </a:lnTo>
                  <a:lnTo>
                    <a:pt x="653" y="107"/>
                  </a:lnTo>
                  <a:lnTo>
                    <a:pt x="651" y="105"/>
                  </a:lnTo>
                  <a:lnTo>
                    <a:pt x="650" y="103"/>
                  </a:lnTo>
                  <a:lnTo>
                    <a:pt x="650" y="96"/>
                  </a:lnTo>
                  <a:lnTo>
                    <a:pt x="650" y="94"/>
                  </a:lnTo>
                  <a:lnTo>
                    <a:pt x="648" y="94"/>
                  </a:lnTo>
                  <a:lnTo>
                    <a:pt x="648" y="92"/>
                  </a:lnTo>
                  <a:lnTo>
                    <a:pt x="646" y="92"/>
                  </a:lnTo>
                  <a:lnTo>
                    <a:pt x="646" y="94"/>
                  </a:lnTo>
                  <a:lnTo>
                    <a:pt x="644" y="94"/>
                  </a:lnTo>
                  <a:lnTo>
                    <a:pt x="642" y="94"/>
                  </a:lnTo>
                  <a:lnTo>
                    <a:pt x="642" y="92"/>
                  </a:lnTo>
                  <a:lnTo>
                    <a:pt x="642" y="92"/>
                  </a:lnTo>
                  <a:lnTo>
                    <a:pt x="639" y="94"/>
                  </a:lnTo>
                  <a:lnTo>
                    <a:pt x="635" y="96"/>
                  </a:lnTo>
                  <a:lnTo>
                    <a:pt x="632" y="96"/>
                  </a:lnTo>
                  <a:lnTo>
                    <a:pt x="628" y="96"/>
                  </a:lnTo>
                  <a:lnTo>
                    <a:pt x="628" y="96"/>
                  </a:lnTo>
                  <a:lnTo>
                    <a:pt x="626" y="96"/>
                  </a:lnTo>
                  <a:lnTo>
                    <a:pt x="626" y="94"/>
                  </a:lnTo>
                  <a:lnTo>
                    <a:pt x="626" y="92"/>
                  </a:lnTo>
                  <a:lnTo>
                    <a:pt x="626" y="92"/>
                  </a:lnTo>
                  <a:lnTo>
                    <a:pt x="624" y="91"/>
                  </a:lnTo>
                  <a:lnTo>
                    <a:pt x="623" y="91"/>
                  </a:lnTo>
                  <a:lnTo>
                    <a:pt x="621" y="92"/>
                  </a:lnTo>
                  <a:lnTo>
                    <a:pt x="619" y="91"/>
                  </a:lnTo>
                  <a:lnTo>
                    <a:pt x="615" y="91"/>
                  </a:lnTo>
                  <a:lnTo>
                    <a:pt x="614" y="89"/>
                  </a:lnTo>
                  <a:lnTo>
                    <a:pt x="612" y="91"/>
                  </a:lnTo>
                  <a:lnTo>
                    <a:pt x="610" y="92"/>
                  </a:lnTo>
                  <a:lnTo>
                    <a:pt x="608" y="92"/>
                  </a:lnTo>
                  <a:lnTo>
                    <a:pt x="606" y="92"/>
                  </a:lnTo>
                  <a:lnTo>
                    <a:pt x="603" y="91"/>
                  </a:lnTo>
                  <a:lnTo>
                    <a:pt x="606" y="89"/>
                  </a:lnTo>
                  <a:lnTo>
                    <a:pt x="608" y="85"/>
                  </a:lnTo>
                  <a:lnTo>
                    <a:pt x="610" y="83"/>
                  </a:lnTo>
                  <a:lnTo>
                    <a:pt x="610" y="80"/>
                  </a:lnTo>
                  <a:lnTo>
                    <a:pt x="608" y="82"/>
                  </a:lnTo>
                  <a:lnTo>
                    <a:pt x="608" y="82"/>
                  </a:lnTo>
                  <a:lnTo>
                    <a:pt x="606" y="82"/>
                  </a:lnTo>
                  <a:lnTo>
                    <a:pt x="606" y="82"/>
                  </a:lnTo>
                  <a:lnTo>
                    <a:pt x="604" y="80"/>
                  </a:lnTo>
                  <a:lnTo>
                    <a:pt x="604" y="80"/>
                  </a:lnTo>
                  <a:lnTo>
                    <a:pt x="603" y="78"/>
                  </a:lnTo>
                  <a:lnTo>
                    <a:pt x="603" y="78"/>
                  </a:lnTo>
                  <a:lnTo>
                    <a:pt x="604" y="78"/>
                  </a:lnTo>
                  <a:lnTo>
                    <a:pt x="604" y="78"/>
                  </a:lnTo>
                  <a:lnTo>
                    <a:pt x="604" y="76"/>
                  </a:lnTo>
                  <a:lnTo>
                    <a:pt x="604" y="76"/>
                  </a:lnTo>
                  <a:lnTo>
                    <a:pt x="604" y="74"/>
                  </a:lnTo>
                  <a:lnTo>
                    <a:pt x="604" y="74"/>
                  </a:lnTo>
                  <a:lnTo>
                    <a:pt x="604" y="74"/>
                  </a:lnTo>
                  <a:lnTo>
                    <a:pt x="604" y="73"/>
                  </a:lnTo>
                  <a:lnTo>
                    <a:pt x="606" y="71"/>
                  </a:lnTo>
                  <a:lnTo>
                    <a:pt x="606" y="71"/>
                  </a:lnTo>
                  <a:lnTo>
                    <a:pt x="606" y="69"/>
                  </a:lnTo>
                  <a:lnTo>
                    <a:pt x="604" y="67"/>
                  </a:lnTo>
                  <a:lnTo>
                    <a:pt x="604" y="67"/>
                  </a:lnTo>
                  <a:lnTo>
                    <a:pt x="603" y="64"/>
                  </a:lnTo>
                  <a:lnTo>
                    <a:pt x="603" y="64"/>
                  </a:lnTo>
                  <a:lnTo>
                    <a:pt x="601" y="64"/>
                  </a:lnTo>
                  <a:lnTo>
                    <a:pt x="601" y="62"/>
                  </a:lnTo>
                  <a:lnTo>
                    <a:pt x="601" y="60"/>
                  </a:lnTo>
                  <a:lnTo>
                    <a:pt x="601" y="60"/>
                  </a:lnTo>
                  <a:lnTo>
                    <a:pt x="599" y="60"/>
                  </a:lnTo>
                  <a:lnTo>
                    <a:pt x="599" y="58"/>
                  </a:lnTo>
                  <a:lnTo>
                    <a:pt x="599" y="56"/>
                  </a:lnTo>
                  <a:lnTo>
                    <a:pt x="601" y="56"/>
                  </a:lnTo>
                  <a:lnTo>
                    <a:pt x="610" y="53"/>
                  </a:lnTo>
                  <a:lnTo>
                    <a:pt x="612" y="55"/>
                  </a:lnTo>
                  <a:lnTo>
                    <a:pt x="614" y="53"/>
                  </a:lnTo>
                  <a:lnTo>
                    <a:pt x="615" y="51"/>
                  </a:lnTo>
                  <a:lnTo>
                    <a:pt x="615" y="47"/>
                  </a:lnTo>
                  <a:lnTo>
                    <a:pt x="614" y="44"/>
                  </a:lnTo>
                  <a:lnTo>
                    <a:pt x="614" y="44"/>
                  </a:lnTo>
                  <a:lnTo>
                    <a:pt x="612" y="42"/>
                  </a:lnTo>
                  <a:lnTo>
                    <a:pt x="610" y="42"/>
                  </a:lnTo>
                  <a:lnTo>
                    <a:pt x="608" y="40"/>
                  </a:lnTo>
                  <a:lnTo>
                    <a:pt x="608" y="40"/>
                  </a:lnTo>
                  <a:lnTo>
                    <a:pt x="608" y="40"/>
                  </a:lnTo>
                  <a:lnTo>
                    <a:pt x="606" y="40"/>
                  </a:lnTo>
                  <a:lnTo>
                    <a:pt x="606" y="40"/>
                  </a:lnTo>
                  <a:lnTo>
                    <a:pt x="606" y="40"/>
                  </a:lnTo>
                  <a:lnTo>
                    <a:pt x="606" y="38"/>
                  </a:lnTo>
                  <a:lnTo>
                    <a:pt x="606" y="38"/>
                  </a:lnTo>
                  <a:lnTo>
                    <a:pt x="604" y="38"/>
                  </a:lnTo>
                  <a:lnTo>
                    <a:pt x="604" y="36"/>
                  </a:lnTo>
                  <a:lnTo>
                    <a:pt x="604" y="36"/>
                  </a:lnTo>
                  <a:lnTo>
                    <a:pt x="603" y="35"/>
                  </a:lnTo>
                  <a:lnTo>
                    <a:pt x="601" y="33"/>
                  </a:lnTo>
                  <a:lnTo>
                    <a:pt x="599" y="33"/>
                  </a:lnTo>
                  <a:lnTo>
                    <a:pt x="599" y="33"/>
                  </a:lnTo>
                  <a:lnTo>
                    <a:pt x="599" y="31"/>
                  </a:lnTo>
                  <a:lnTo>
                    <a:pt x="599" y="31"/>
                  </a:lnTo>
                  <a:lnTo>
                    <a:pt x="599" y="29"/>
                  </a:lnTo>
                  <a:lnTo>
                    <a:pt x="597" y="27"/>
                  </a:lnTo>
                  <a:lnTo>
                    <a:pt x="597" y="26"/>
                  </a:lnTo>
                  <a:lnTo>
                    <a:pt x="597" y="24"/>
                  </a:lnTo>
                  <a:lnTo>
                    <a:pt x="597" y="22"/>
                  </a:lnTo>
                  <a:lnTo>
                    <a:pt x="597" y="22"/>
                  </a:lnTo>
                  <a:lnTo>
                    <a:pt x="597" y="20"/>
                  </a:lnTo>
                  <a:lnTo>
                    <a:pt x="597" y="18"/>
                  </a:lnTo>
                  <a:lnTo>
                    <a:pt x="597" y="18"/>
                  </a:lnTo>
                  <a:lnTo>
                    <a:pt x="597" y="17"/>
                  </a:lnTo>
                  <a:lnTo>
                    <a:pt x="597" y="17"/>
                  </a:lnTo>
                  <a:lnTo>
                    <a:pt x="595" y="15"/>
                  </a:lnTo>
                  <a:lnTo>
                    <a:pt x="595" y="13"/>
                  </a:lnTo>
                  <a:lnTo>
                    <a:pt x="592" y="11"/>
                  </a:lnTo>
                  <a:lnTo>
                    <a:pt x="592" y="11"/>
                  </a:lnTo>
                  <a:lnTo>
                    <a:pt x="590" y="8"/>
                  </a:lnTo>
                  <a:lnTo>
                    <a:pt x="590" y="6"/>
                  </a:lnTo>
                  <a:lnTo>
                    <a:pt x="586" y="6"/>
                  </a:lnTo>
                  <a:lnTo>
                    <a:pt x="586" y="4"/>
                  </a:lnTo>
                  <a:lnTo>
                    <a:pt x="585" y="2"/>
                  </a:lnTo>
                  <a:lnTo>
                    <a:pt x="585" y="2"/>
                  </a:lnTo>
                  <a:lnTo>
                    <a:pt x="585" y="0"/>
                  </a:lnTo>
                  <a:lnTo>
                    <a:pt x="583" y="0"/>
                  </a:lnTo>
                  <a:lnTo>
                    <a:pt x="581" y="0"/>
                  </a:lnTo>
                  <a:lnTo>
                    <a:pt x="579" y="0"/>
                  </a:lnTo>
                  <a:lnTo>
                    <a:pt x="574" y="2"/>
                  </a:lnTo>
                  <a:lnTo>
                    <a:pt x="570" y="6"/>
                  </a:lnTo>
                  <a:lnTo>
                    <a:pt x="570" y="6"/>
                  </a:lnTo>
                  <a:lnTo>
                    <a:pt x="568" y="6"/>
                  </a:lnTo>
                  <a:lnTo>
                    <a:pt x="568" y="2"/>
                  </a:lnTo>
                  <a:lnTo>
                    <a:pt x="568" y="0"/>
                  </a:lnTo>
                  <a:lnTo>
                    <a:pt x="568" y="0"/>
                  </a:lnTo>
                  <a:lnTo>
                    <a:pt x="567" y="2"/>
                  </a:lnTo>
                  <a:lnTo>
                    <a:pt x="567" y="2"/>
                  </a:lnTo>
                  <a:lnTo>
                    <a:pt x="565" y="2"/>
                  </a:lnTo>
                  <a:lnTo>
                    <a:pt x="565" y="2"/>
                  </a:lnTo>
                  <a:lnTo>
                    <a:pt x="565" y="2"/>
                  </a:lnTo>
                  <a:lnTo>
                    <a:pt x="563" y="0"/>
                  </a:lnTo>
                  <a:lnTo>
                    <a:pt x="563" y="0"/>
                  </a:lnTo>
                  <a:lnTo>
                    <a:pt x="559" y="0"/>
                  </a:lnTo>
                  <a:lnTo>
                    <a:pt x="554" y="0"/>
                  </a:lnTo>
                  <a:lnTo>
                    <a:pt x="554" y="0"/>
                  </a:lnTo>
                  <a:lnTo>
                    <a:pt x="552" y="0"/>
                  </a:lnTo>
                  <a:lnTo>
                    <a:pt x="552" y="2"/>
                  </a:lnTo>
                  <a:lnTo>
                    <a:pt x="550" y="2"/>
                  </a:lnTo>
                  <a:lnTo>
                    <a:pt x="550" y="4"/>
                  </a:lnTo>
                  <a:lnTo>
                    <a:pt x="548" y="4"/>
                  </a:lnTo>
                  <a:lnTo>
                    <a:pt x="548" y="4"/>
                  </a:lnTo>
                  <a:lnTo>
                    <a:pt x="548" y="6"/>
                  </a:lnTo>
                  <a:lnTo>
                    <a:pt x="548" y="6"/>
                  </a:lnTo>
                  <a:lnTo>
                    <a:pt x="547" y="4"/>
                  </a:lnTo>
                  <a:lnTo>
                    <a:pt x="547" y="4"/>
                  </a:lnTo>
                  <a:lnTo>
                    <a:pt x="545" y="6"/>
                  </a:lnTo>
                  <a:lnTo>
                    <a:pt x="541" y="9"/>
                  </a:lnTo>
                  <a:lnTo>
                    <a:pt x="539" y="9"/>
                  </a:lnTo>
                  <a:lnTo>
                    <a:pt x="539" y="9"/>
                  </a:lnTo>
                  <a:lnTo>
                    <a:pt x="538" y="9"/>
                  </a:lnTo>
                  <a:lnTo>
                    <a:pt x="536" y="9"/>
                  </a:lnTo>
                  <a:lnTo>
                    <a:pt x="534" y="9"/>
                  </a:lnTo>
                  <a:lnTo>
                    <a:pt x="532" y="9"/>
                  </a:lnTo>
                  <a:lnTo>
                    <a:pt x="530" y="9"/>
                  </a:lnTo>
                  <a:lnTo>
                    <a:pt x="521" y="4"/>
                  </a:lnTo>
                  <a:lnTo>
                    <a:pt x="518" y="4"/>
                  </a:lnTo>
                  <a:lnTo>
                    <a:pt x="514" y="4"/>
                  </a:lnTo>
                  <a:lnTo>
                    <a:pt x="512" y="4"/>
                  </a:lnTo>
                  <a:lnTo>
                    <a:pt x="511" y="6"/>
                  </a:lnTo>
                  <a:lnTo>
                    <a:pt x="511" y="8"/>
                  </a:lnTo>
                  <a:lnTo>
                    <a:pt x="512" y="9"/>
                  </a:lnTo>
                  <a:lnTo>
                    <a:pt x="512" y="9"/>
                  </a:lnTo>
                  <a:lnTo>
                    <a:pt x="512" y="11"/>
                  </a:lnTo>
                  <a:lnTo>
                    <a:pt x="512" y="11"/>
                  </a:lnTo>
                  <a:lnTo>
                    <a:pt x="511" y="11"/>
                  </a:lnTo>
                  <a:lnTo>
                    <a:pt x="511" y="11"/>
                  </a:lnTo>
                  <a:lnTo>
                    <a:pt x="511" y="13"/>
                  </a:lnTo>
                  <a:lnTo>
                    <a:pt x="509" y="18"/>
                  </a:lnTo>
                  <a:lnTo>
                    <a:pt x="509" y="22"/>
                  </a:lnTo>
                  <a:lnTo>
                    <a:pt x="505" y="24"/>
                  </a:lnTo>
                  <a:lnTo>
                    <a:pt x="500" y="26"/>
                  </a:lnTo>
                  <a:lnTo>
                    <a:pt x="498" y="27"/>
                  </a:lnTo>
                  <a:lnTo>
                    <a:pt x="494" y="26"/>
                  </a:lnTo>
                  <a:lnTo>
                    <a:pt x="493" y="26"/>
                  </a:lnTo>
                  <a:lnTo>
                    <a:pt x="491" y="27"/>
                  </a:lnTo>
                  <a:lnTo>
                    <a:pt x="489" y="27"/>
                  </a:lnTo>
                  <a:lnTo>
                    <a:pt x="489" y="27"/>
                  </a:lnTo>
                  <a:lnTo>
                    <a:pt x="489" y="26"/>
                  </a:lnTo>
                  <a:lnTo>
                    <a:pt x="489" y="24"/>
                  </a:lnTo>
                  <a:lnTo>
                    <a:pt x="489" y="22"/>
                  </a:lnTo>
                  <a:lnTo>
                    <a:pt x="487" y="22"/>
                  </a:lnTo>
                  <a:lnTo>
                    <a:pt x="485" y="22"/>
                  </a:lnTo>
                  <a:lnTo>
                    <a:pt x="482" y="22"/>
                  </a:lnTo>
                  <a:lnTo>
                    <a:pt x="476" y="22"/>
                  </a:lnTo>
                  <a:lnTo>
                    <a:pt x="467" y="20"/>
                  </a:lnTo>
                  <a:lnTo>
                    <a:pt x="464" y="20"/>
                  </a:lnTo>
                  <a:lnTo>
                    <a:pt x="460" y="22"/>
                  </a:lnTo>
                  <a:lnTo>
                    <a:pt x="458" y="24"/>
                  </a:lnTo>
                  <a:lnTo>
                    <a:pt x="458" y="26"/>
                  </a:lnTo>
                  <a:lnTo>
                    <a:pt x="456" y="26"/>
                  </a:lnTo>
                  <a:lnTo>
                    <a:pt x="456" y="27"/>
                  </a:lnTo>
                  <a:lnTo>
                    <a:pt x="455" y="26"/>
                  </a:lnTo>
                  <a:lnTo>
                    <a:pt x="453" y="24"/>
                  </a:lnTo>
                  <a:lnTo>
                    <a:pt x="451" y="24"/>
                  </a:lnTo>
                  <a:lnTo>
                    <a:pt x="449" y="24"/>
                  </a:lnTo>
                  <a:lnTo>
                    <a:pt x="442" y="24"/>
                  </a:lnTo>
                  <a:lnTo>
                    <a:pt x="440" y="24"/>
                  </a:lnTo>
                  <a:lnTo>
                    <a:pt x="440" y="26"/>
                  </a:lnTo>
                  <a:lnTo>
                    <a:pt x="440" y="26"/>
                  </a:lnTo>
                  <a:lnTo>
                    <a:pt x="440" y="27"/>
                  </a:lnTo>
                  <a:lnTo>
                    <a:pt x="440" y="27"/>
                  </a:lnTo>
                  <a:lnTo>
                    <a:pt x="440" y="27"/>
                  </a:lnTo>
                  <a:lnTo>
                    <a:pt x="440" y="27"/>
                  </a:lnTo>
                  <a:lnTo>
                    <a:pt x="442" y="27"/>
                  </a:lnTo>
                  <a:lnTo>
                    <a:pt x="442" y="29"/>
                  </a:lnTo>
                  <a:lnTo>
                    <a:pt x="442" y="31"/>
                  </a:lnTo>
                  <a:lnTo>
                    <a:pt x="440" y="31"/>
                  </a:lnTo>
                  <a:lnTo>
                    <a:pt x="440" y="29"/>
                  </a:lnTo>
                  <a:lnTo>
                    <a:pt x="438" y="29"/>
                  </a:lnTo>
                  <a:lnTo>
                    <a:pt x="438" y="29"/>
                  </a:lnTo>
                  <a:lnTo>
                    <a:pt x="438" y="31"/>
                  </a:lnTo>
                  <a:lnTo>
                    <a:pt x="438" y="31"/>
                  </a:lnTo>
                  <a:lnTo>
                    <a:pt x="438" y="31"/>
                  </a:lnTo>
                  <a:lnTo>
                    <a:pt x="438" y="31"/>
                  </a:lnTo>
                  <a:lnTo>
                    <a:pt x="438" y="33"/>
                  </a:lnTo>
                  <a:lnTo>
                    <a:pt x="438" y="33"/>
                  </a:lnTo>
                  <a:lnTo>
                    <a:pt x="437" y="33"/>
                  </a:lnTo>
                  <a:lnTo>
                    <a:pt x="437" y="35"/>
                  </a:lnTo>
                  <a:lnTo>
                    <a:pt x="435" y="35"/>
                  </a:lnTo>
                  <a:lnTo>
                    <a:pt x="435" y="35"/>
                  </a:lnTo>
                  <a:lnTo>
                    <a:pt x="435" y="35"/>
                  </a:lnTo>
                  <a:lnTo>
                    <a:pt x="435" y="35"/>
                  </a:lnTo>
                  <a:lnTo>
                    <a:pt x="435" y="36"/>
                  </a:lnTo>
                  <a:lnTo>
                    <a:pt x="435" y="36"/>
                  </a:lnTo>
                  <a:lnTo>
                    <a:pt x="435" y="38"/>
                  </a:lnTo>
                  <a:lnTo>
                    <a:pt x="433" y="38"/>
                  </a:lnTo>
                  <a:lnTo>
                    <a:pt x="433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40"/>
                  </a:lnTo>
                  <a:lnTo>
                    <a:pt x="431" y="40"/>
                  </a:lnTo>
                  <a:lnTo>
                    <a:pt x="429" y="40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8" y="44"/>
                  </a:lnTo>
                  <a:lnTo>
                    <a:pt x="428" y="44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5"/>
                  </a:lnTo>
                  <a:lnTo>
                    <a:pt x="428" y="47"/>
                  </a:lnTo>
                  <a:lnTo>
                    <a:pt x="428" y="47"/>
                  </a:lnTo>
                  <a:lnTo>
                    <a:pt x="426" y="49"/>
                  </a:lnTo>
                  <a:lnTo>
                    <a:pt x="426" y="49"/>
                  </a:lnTo>
                  <a:lnTo>
                    <a:pt x="426" y="49"/>
                  </a:lnTo>
                  <a:lnTo>
                    <a:pt x="426" y="49"/>
                  </a:lnTo>
                  <a:lnTo>
                    <a:pt x="426" y="51"/>
                  </a:lnTo>
                  <a:lnTo>
                    <a:pt x="426" y="51"/>
                  </a:lnTo>
                  <a:lnTo>
                    <a:pt x="426" y="53"/>
                  </a:lnTo>
                  <a:lnTo>
                    <a:pt x="426" y="53"/>
                  </a:lnTo>
                  <a:lnTo>
                    <a:pt x="426" y="53"/>
                  </a:lnTo>
                  <a:lnTo>
                    <a:pt x="424" y="55"/>
                  </a:lnTo>
                  <a:lnTo>
                    <a:pt x="424" y="55"/>
                  </a:lnTo>
                  <a:lnTo>
                    <a:pt x="422" y="55"/>
                  </a:lnTo>
                  <a:lnTo>
                    <a:pt x="422" y="55"/>
                  </a:lnTo>
                  <a:lnTo>
                    <a:pt x="422" y="56"/>
                  </a:lnTo>
                  <a:lnTo>
                    <a:pt x="422" y="58"/>
                  </a:lnTo>
                  <a:lnTo>
                    <a:pt x="422" y="58"/>
                  </a:lnTo>
                  <a:lnTo>
                    <a:pt x="422" y="58"/>
                  </a:lnTo>
                  <a:lnTo>
                    <a:pt x="422" y="60"/>
                  </a:lnTo>
                  <a:lnTo>
                    <a:pt x="422" y="60"/>
                  </a:lnTo>
                  <a:lnTo>
                    <a:pt x="422" y="60"/>
                  </a:lnTo>
                  <a:lnTo>
                    <a:pt x="422" y="60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2" y="64"/>
                  </a:lnTo>
                  <a:lnTo>
                    <a:pt x="422" y="64"/>
                  </a:lnTo>
                  <a:lnTo>
                    <a:pt x="420" y="64"/>
                  </a:lnTo>
                  <a:lnTo>
                    <a:pt x="420" y="64"/>
                  </a:lnTo>
                  <a:lnTo>
                    <a:pt x="420" y="64"/>
                  </a:lnTo>
                  <a:lnTo>
                    <a:pt x="420" y="65"/>
                  </a:lnTo>
                  <a:lnTo>
                    <a:pt x="420" y="65"/>
                  </a:lnTo>
                  <a:lnTo>
                    <a:pt x="420" y="65"/>
                  </a:lnTo>
                  <a:lnTo>
                    <a:pt x="422" y="67"/>
                  </a:lnTo>
                  <a:lnTo>
                    <a:pt x="424" y="67"/>
                  </a:lnTo>
                  <a:lnTo>
                    <a:pt x="422" y="67"/>
                  </a:lnTo>
                  <a:lnTo>
                    <a:pt x="422" y="67"/>
                  </a:lnTo>
                  <a:lnTo>
                    <a:pt x="422" y="69"/>
                  </a:lnTo>
                  <a:lnTo>
                    <a:pt x="422" y="69"/>
                  </a:lnTo>
                  <a:lnTo>
                    <a:pt x="424" y="69"/>
                  </a:lnTo>
                  <a:lnTo>
                    <a:pt x="424" y="71"/>
                  </a:lnTo>
                  <a:lnTo>
                    <a:pt x="424" y="71"/>
                  </a:lnTo>
                  <a:lnTo>
                    <a:pt x="424" y="71"/>
                  </a:lnTo>
                  <a:lnTo>
                    <a:pt x="424" y="73"/>
                  </a:lnTo>
                  <a:lnTo>
                    <a:pt x="424" y="73"/>
                  </a:lnTo>
                  <a:lnTo>
                    <a:pt x="426" y="73"/>
                  </a:lnTo>
                  <a:lnTo>
                    <a:pt x="426" y="73"/>
                  </a:lnTo>
                  <a:lnTo>
                    <a:pt x="424" y="73"/>
                  </a:lnTo>
                  <a:lnTo>
                    <a:pt x="424" y="73"/>
                  </a:lnTo>
                  <a:lnTo>
                    <a:pt x="424" y="74"/>
                  </a:lnTo>
                  <a:lnTo>
                    <a:pt x="424" y="74"/>
                  </a:lnTo>
                  <a:lnTo>
                    <a:pt x="424" y="76"/>
                  </a:lnTo>
                  <a:lnTo>
                    <a:pt x="424" y="76"/>
                  </a:lnTo>
                  <a:lnTo>
                    <a:pt x="424" y="76"/>
                  </a:lnTo>
                  <a:lnTo>
                    <a:pt x="426" y="76"/>
                  </a:lnTo>
                  <a:lnTo>
                    <a:pt x="426" y="78"/>
                  </a:lnTo>
                  <a:lnTo>
                    <a:pt x="426" y="80"/>
                  </a:lnTo>
                  <a:lnTo>
                    <a:pt x="426" y="80"/>
                  </a:lnTo>
                  <a:lnTo>
                    <a:pt x="426" y="80"/>
                  </a:lnTo>
                  <a:lnTo>
                    <a:pt x="426" y="82"/>
                  </a:lnTo>
                  <a:lnTo>
                    <a:pt x="426" y="82"/>
                  </a:lnTo>
                  <a:lnTo>
                    <a:pt x="426" y="83"/>
                  </a:lnTo>
                  <a:lnTo>
                    <a:pt x="424" y="85"/>
                  </a:lnTo>
                  <a:lnTo>
                    <a:pt x="424" y="85"/>
                  </a:lnTo>
                  <a:lnTo>
                    <a:pt x="422" y="87"/>
                  </a:lnTo>
                  <a:lnTo>
                    <a:pt x="422" y="89"/>
                  </a:lnTo>
                  <a:lnTo>
                    <a:pt x="422" y="89"/>
                  </a:lnTo>
                  <a:lnTo>
                    <a:pt x="422" y="91"/>
                  </a:lnTo>
                  <a:lnTo>
                    <a:pt x="422" y="91"/>
                  </a:lnTo>
                  <a:lnTo>
                    <a:pt x="422" y="91"/>
                  </a:lnTo>
                  <a:lnTo>
                    <a:pt x="420" y="91"/>
                  </a:lnTo>
                  <a:lnTo>
                    <a:pt x="420" y="91"/>
                  </a:lnTo>
                  <a:lnTo>
                    <a:pt x="420" y="91"/>
                  </a:lnTo>
                  <a:lnTo>
                    <a:pt x="420" y="89"/>
                  </a:lnTo>
                  <a:lnTo>
                    <a:pt x="418" y="89"/>
                  </a:lnTo>
                  <a:lnTo>
                    <a:pt x="418" y="89"/>
                  </a:lnTo>
                  <a:lnTo>
                    <a:pt x="417" y="89"/>
                  </a:lnTo>
                  <a:lnTo>
                    <a:pt x="417" y="87"/>
                  </a:lnTo>
                  <a:lnTo>
                    <a:pt x="415" y="87"/>
                  </a:lnTo>
                  <a:lnTo>
                    <a:pt x="415" y="87"/>
                  </a:lnTo>
                  <a:lnTo>
                    <a:pt x="413" y="87"/>
                  </a:lnTo>
                  <a:lnTo>
                    <a:pt x="413" y="87"/>
                  </a:lnTo>
                  <a:lnTo>
                    <a:pt x="411" y="85"/>
                  </a:lnTo>
                  <a:lnTo>
                    <a:pt x="409" y="83"/>
                  </a:lnTo>
                  <a:lnTo>
                    <a:pt x="409" y="83"/>
                  </a:lnTo>
                  <a:lnTo>
                    <a:pt x="409" y="83"/>
                  </a:lnTo>
                  <a:lnTo>
                    <a:pt x="411" y="82"/>
                  </a:lnTo>
                  <a:lnTo>
                    <a:pt x="411" y="80"/>
                  </a:lnTo>
                  <a:lnTo>
                    <a:pt x="411" y="80"/>
                  </a:lnTo>
                  <a:lnTo>
                    <a:pt x="411" y="80"/>
                  </a:lnTo>
                  <a:lnTo>
                    <a:pt x="409" y="78"/>
                  </a:lnTo>
                  <a:lnTo>
                    <a:pt x="409" y="78"/>
                  </a:lnTo>
                  <a:lnTo>
                    <a:pt x="409" y="78"/>
                  </a:lnTo>
                  <a:lnTo>
                    <a:pt x="408" y="76"/>
                  </a:lnTo>
                  <a:lnTo>
                    <a:pt x="406" y="76"/>
                  </a:lnTo>
                  <a:lnTo>
                    <a:pt x="404" y="73"/>
                  </a:lnTo>
                  <a:lnTo>
                    <a:pt x="402" y="73"/>
                  </a:lnTo>
                  <a:lnTo>
                    <a:pt x="402" y="71"/>
                  </a:lnTo>
                  <a:lnTo>
                    <a:pt x="395" y="71"/>
                  </a:lnTo>
                  <a:lnTo>
                    <a:pt x="393" y="73"/>
                  </a:lnTo>
                  <a:lnTo>
                    <a:pt x="390" y="74"/>
                  </a:lnTo>
                  <a:lnTo>
                    <a:pt x="390" y="74"/>
                  </a:lnTo>
                  <a:lnTo>
                    <a:pt x="390" y="73"/>
                  </a:lnTo>
                  <a:lnTo>
                    <a:pt x="388" y="73"/>
                  </a:lnTo>
                  <a:lnTo>
                    <a:pt x="388" y="73"/>
                  </a:lnTo>
                  <a:lnTo>
                    <a:pt x="386" y="74"/>
                  </a:lnTo>
                  <a:lnTo>
                    <a:pt x="386" y="76"/>
                  </a:lnTo>
                  <a:lnTo>
                    <a:pt x="386" y="76"/>
                  </a:lnTo>
                  <a:lnTo>
                    <a:pt x="381" y="74"/>
                  </a:lnTo>
                  <a:lnTo>
                    <a:pt x="381" y="74"/>
                  </a:lnTo>
                  <a:lnTo>
                    <a:pt x="381" y="73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77" y="71"/>
                  </a:lnTo>
                  <a:lnTo>
                    <a:pt x="375" y="71"/>
                  </a:lnTo>
                  <a:lnTo>
                    <a:pt x="375" y="71"/>
                  </a:lnTo>
                  <a:lnTo>
                    <a:pt x="373" y="73"/>
                  </a:lnTo>
                  <a:lnTo>
                    <a:pt x="373" y="73"/>
                  </a:lnTo>
                  <a:lnTo>
                    <a:pt x="372" y="74"/>
                  </a:lnTo>
                  <a:lnTo>
                    <a:pt x="372" y="74"/>
                  </a:lnTo>
                  <a:lnTo>
                    <a:pt x="370" y="74"/>
                  </a:lnTo>
                  <a:lnTo>
                    <a:pt x="370" y="74"/>
                  </a:lnTo>
                  <a:lnTo>
                    <a:pt x="368" y="76"/>
                  </a:lnTo>
                  <a:lnTo>
                    <a:pt x="368" y="78"/>
                  </a:lnTo>
                  <a:lnTo>
                    <a:pt x="368" y="80"/>
                  </a:lnTo>
                  <a:lnTo>
                    <a:pt x="366" y="80"/>
                  </a:lnTo>
                  <a:lnTo>
                    <a:pt x="364" y="78"/>
                  </a:lnTo>
                  <a:lnTo>
                    <a:pt x="362" y="78"/>
                  </a:lnTo>
                  <a:lnTo>
                    <a:pt x="362" y="80"/>
                  </a:lnTo>
                  <a:lnTo>
                    <a:pt x="361" y="80"/>
                  </a:lnTo>
                  <a:lnTo>
                    <a:pt x="361" y="82"/>
                  </a:lnTo>
                  <a:lnTo>
                    <a:pt x="359" y="80"/>
                  </a:lnTo>
                  <a:lnTo>
                    <a:pt x="359" y="78"/>
                  </a:lnTo>
                  <a:lnTo>
                    <a:pt x="357" y="76"/>
                  </a:lnTo>
                  <a:lnTo>
                    <a:pt x="357" y="76"/>
                  </a:lnTo>
                  <a:lnTo>
                    <a:pt x="357" y="74"/>
                  </a:lnTo>
                  <a:lnTo>
                    <a:pt x="355" y="74"/>
                  </a:lnTo>
                  <a:lnTo>
                    <a:pt x="355" y="73"/>
                  </a:lnTo>
                  <a:lnTo>
                    <a:pt x="355" y="71"/>
                  </a:lnTo>
                  <a:lnTo>
                    <a:pt x="355" y="69"/>
                  </a:lnTo>
                  <a:lnTo>
                    <a:pt x="355" y="67"/>
                  </a:lnTo>
                  <a:lnTo>
                    <a:pt x="353" y="65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0" y="60"/>
                  </a:lnTo>
                  <a:lnTo>
                    <a:pt x="348" y="60"/>
                  </a:lnTo>
                  <a:lnTo>
                    <a:pt x="346" y="60"/>
                  </a:lnTo>
                  <a:lnTo>
                    <a:pt x="346" y="60"/>
                  </a:lnTo>
                  <a:lnTo>
                    <a:pt x="344" y="62"/>
                  </a:lnTo>
                  <a:lnTo>
                    <a:pt x="344" y="64"/>
                  </a:lnTo>
                  <a:lnTo>
                    <a:pt x="343" y="65"/>
                  </a:lnTo>
                  <a:lnTo>
                    <a:pt x="341" y="65"/>
                  </a:lnTo>
                  <a:lnTo>
                    <a:pt x="339" y="65"/>
                  </a:lnTo>
                  <a:lnTo>
                    <a:pt x="337" y="65"/>
                  </a:lnTo>
                  <a:lnTo>
                    <a:pt x="335" y="67"/>
                  </a:lnTo>
                  <a:lnTo>
                    <a:pt x="334" y="67"/>
                  </a:lnTo>
                  <a:lnTo>
                    <a:pt x="332" y="69"/>
                  </a:lnTo>
                  <a:lnTo>
                    <a:pt x="332" y="71"/>
                  </a:lnTo>
                  <a:lnTo>
                    <a:pt x="332" y="73"/>
                  </a:lnTo>
                  <a:lnTo>
                    <a:pt x="332" y="76"/>
                  </a:lnTo>
                  <a:lnTo>
                    <a:pt x="332" y="76"/>
                  </a:lnTo>
                  <a:lnTo>
                    <a:pt x="330" y="78"/>
                  </a:lnTo>
                  <a:lnTo>
                    <a:pt x="330" y="78"/>
                  </a:lnTo>
                  <a:lnTo>
                    <a:pt x="330" y="76"/>
                  </a:lnTo>
                  <a:lnTo>
                    <a:pt x="330" y="74"/>
                  </a:lnTo>
                  <a:lnTo>
                    <a:pt x="328" y="74"/>
                  </a:lnTo>
                  <a:lnTo>
                    <a:pt x="328" y="74"/>
                  </a:lnTo>
                  <a:lnTo>
                    <a:pt x="326" y="76"/>
                  </a:lnTo>
                  <a:lnTo>
                    <a:pt x="326" y="74"/>
                  </a:lnTo>
                  <a:lnTo>
                    <a:pt x="326" y="74"/>
                  </a:lnTo>
                  <a:lnTo>
                    <a:pt x="325" y="73"/>
                  </a:lnTo>
                  <a:lnTo>
                    <a:pt x="325" y="69"/>
                  </a:lnTo>
                  <a:lnTo>
                    <a:pt x="325" y="67"/>
                  </a:lnTo>
                  <a:lnTo>
                    <a:pt x="325" y="65"/>
                  </a:lnTo>
                  <a:lnTo>
                    <a:pt x="323" y="65"/>
                  </a:lnTo>
                  <a:lnTo>
                    <a:pt x="319" y="64"/>
                  </a:lnTo>
                  <a:lnTo>
                    <a:pt x="317" y="64"/>
                  </a:lnTo>
                  <a:lnTo>
                    <a:pt x="316" y="65"/>
                  </a:lnTo>
                  <a:lnTo>
                    <a:pt x="314" y="67"/>
                  </a:lnTo>
                  <a:lnTo>
                    <a:pt x="312" y="67"/>
                  </a:lnTo>
                  <a:lnTo>
                    <a:pt x="312" y="69"/>
                  </a:lnTo>
                  <a:lnTo>
                    <a:pt x="310" y="67"/>
                  </a:lnTo>
                  <a:lnTo>
                    <a:pt x="310" y="67"/>
                  </a:lnTo>
                  <a:lnTo>
                    <a:pt x="310" y="65"/>
                  </a:lnTo>
                  <a:lnTo>
                    <a:pt x="310" y="64"/>
                  </a:lnTo>
                  <a:lnTo>
                    <a:pt x="308" y="64"/>
                  </a:lnTo>
                  <a:lnTo>
                    <a:pt x="307" y="62"/>
                  </a:lnTo>
                  <a:lnTo>
                    <a:pt x="307" y="62"/>
                  </a:lnTo>
                  <a:lnTo>
                    <a:pt x="307" y="62"/>
                  </a:lnTo>
                  <a:lnTo>
                    <a:pt x="307" y="60"/>
                  </a:lnTo>
                  <a:lnTo>
                    <a:pt x="307" y="60"/>
                  </a:lnTo>
                  <a:lnTo>
                    <a:pt x="307" y="58"/>
                  </a:lnTo>
                  <a:lnTo>
                    <a:pt x="305" y="58"/>
                  </a:lnTo>
                  <a:lnTo>
                    <a:pt x="305" y="58"/>
                  </a:lnTo>
                  <a:lnTo>
                    <a:pt x="303" y="58"/>
                  </a:lnTo>
                  <a:lnTo>
                    <a:pt x="303" y="60"/>
                  </a:lnTo>
                  <a:lnTo>
                    <a:pt x="301" y="62"/>
                  </a:lnTo>
                  <a:lnTo>
                    <a:pt x="299" y="64"/>
                  </a:lnTo>
                  <a:lnTo>
                    <a:pt x="299" y="65"/>
                  </a:lnTo>
                  <a:lnTo>
                    <a:pt x="297" y="65"/>
                  </a:lnTo>
                  <a:lnTo>
                    <a:pt x="292" y="65"/>
                  </a:lnTo>
                  <a:lnTo>
                    <a:pt x="292" y="65"/>
                  </a:lnTo>
                  <a:lnTo>
                    <a:pt x="290" y="65"/>
                  </a:lnTo>
                  <a:lnTo>
                    <a:pt x="288" y="62"/>
                  </a:lnTo>
                  <a:lnTo>
                    <a:pt x="287" y="62"/>
                  </a:lnTo>
                  <a:lnTo>
                    <a:pt x="285" y="62"/>
                  </a:lnTo>
                  <a:lnTo>
                    <a:pt x="285" y="62"/>
                  </a:lnTo>
                  <a:lnTo>
                    <a:pt x="283" y="64"/>
                  </a:lnTo>
                  <a:lnTo>
                    <a:pt x="283" y="65"/>
                  </a:lnTo>
                  <a:lnTo>
                    <a:pt x="283" y="65"/>
                  </a:lnTo>
                  <a:lnTo>
                    <a:pt x="283" y="67"/>
                  </a:lnTo>
                  <a:lnTo>
                    <a:pt x="283" y="67"/>
                  </a:lnTo>
                  <a:lnTo>
                    <a:pt x="283" y="69"/>
                  </a:lnTo>
                  <a:lnTo>
                    <a:pt x="283" y="69"/>
                  </a:lnTo>
                  <a:lnTo>
                    <a:pt x="281" y="73"/>
                  </a:lnTo>
                  <a:lnTo>
                    <a:pt x="281" y="73"/>
                  </a:lnTo>
                  <a:lnTo>
                    <a:pt x="279" y="73"/>
                  </a:lnTo>
                  <a:lnTo>
                    <a:pt x="279" y="73"/>
                  </a:lnTo>
                  <a:lnTo>
                    <a:pt x="278" y="73"/>
                  </a:lnTo>
                  <a:lnTo>
                    <a:pt x="278" y="71"/>
                  </a:lnTo>
                  <a:lnTo>
                    <a:pt x="278" y="71"/>
                  </a:lnTo>
                  <a:lnTo>
                    <a:pt x="278" y="71"/>
                  </a:lnTo>
                  <a:lnTo>
                    <a:pt x="279" y="67"/>
                  </a:lnTo>
                  <a:lnTo>
                    <a:pt x="279" y="65"/>
                  </a:lnTo>
                  <a:lnTo>
                    <a:pt x="278" y="64"/>
                  </a:lnTo>
                  <a:lnTo>
                    <a:pt x="278" y="62"/>
                  </a:lnTo>
                  <a:lnTo>
                    <a:pt x="274" y="62"/>
                  </a:lnTo>
                  <a:lnTo>
                    <a:pt x="269" y="60"/>
                  </a:lnTo>
                  <a:lnTo>
                    <a:pt x="269" y="60"/>
                  </a:lnTo>
                  <a:lnTo>
                    <a:pt x="269" y="60"/>
                  </a:lnTo>
                  <a:lnTo>
                    <a:pt x="267" y="60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3" y="64"/>
                  </a:lnTo>
                  <a:lnTo>
                    <a:pt x="260" y="62"/>
                  </a:lnTo>
                  <a:lnTo>
                    <a:pt x="258" y="64"/>
                  </a:lnTo>
                  <a:lnTo>
                    <a:pt x="258" y="64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8" y="60"/>
                  </a:lnTo>
                  <a:lnTo>
                    <a:pt x="258" y="58"/>
                  </a:lnTo>
                  <a:lnTo>
                    <a:pt x="256" y="58"/>
                  </a:lnTo>
                  <a:lnTo>
                    <a:pt x="254" y="58"/>
                  </a:lnTo>
                  <a:lnTo>
                    <a:pt x="254" y="58"/>
                  </a:lnTo>
                  <a:lnTo>
                    <a:pt x="254" y="56"/>
                  </a:lnTo>
                  <a:lnTo>
                    <a:pt x="252" y="55"/>
                  </a:lnTo>
                  <a:lnTo>
                    <a:pt x="252" y="53"/>
                  </a:lnTo>
                  <a:lnTo>
                    <a:pt x="252" y="51"/>
                  </a:lnTo>
                  <a:lnTo>
                    <a:pt x="252" y="51"/>
                  </a:lnTo>
                  <a:lnTo>
                    <a:pt x="251" y="49"/>
                  </a:lnTo>
                  <a:lnTo>
                    <a:pt x="249" y="49"/>
                  </a:lnTo>
                  <a:lnTo>
                    <a:pt x="245" y="49"/>
                  </a:lnTo>
                  <a:lnTo>
                    <a:pt x="240" y="51"/>
                  </a:lnTo>
                  <a:lnTo>
                    <a:pt x="236" y="51"/>
                  </a:lnTo>
                  <a:lnTo>
                    <a:pt x="227" y="45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4" y="44"/>
                  </a:lnTo>
                  <a:lnTo>
                    <a:pt x="214" y="44"/>
                  </a:lnTo>
                  <a:lnTo>
                    <a:pt x="214" y="44"/>
                  </a:lnTo>
                  <a:lnTo>
                    <a:pt x="214" y="42"/>
                  </a:lnTo>
                  <a:lnTo>
                    <a:pt x="214" y="42"/>
                  </a:lnTo>
                  <a:lnTo>
                    <a:pt x="202" y="42"/>
                  </a:lnTo>
                  <a:lnTo>
                    <a:pt x="202" y="40"/>
                  </a:lnTo>
                  <a:lnTo>
                    <a:pt x="198" y="38"/>
                  </a:lnTo>
                  <a:lnTo>
                    <a:pt x="196" y="38"/>
                  </a:lnTo>
                  <a:lnTo>
                    <a:pt x="193" y="38"/>
                  </a:lnTo>
                  <a:lnTo>
                    <a:pt x="182" y="36"/>
                  </a:lnTo>
                  <a:lnTo>
                    <a:pt x="178" y="36"/>
                  </a:lnTo>
                  <a:lnTo>
                    <a:pt x="171" y="36"/>
                  </a:lnTo>
                  <a:lnTo>
                    <a:pt x="162" y="36"/>
                  </a:lnTo>
                  <a:lnTo>
                    <a:pt x="153" y="35"/>
                  </a:lnTo>
                  <a:lnTo>
                    <a:pt x="151" y="35"/>
                  </a:lnTo>
                  <a:lnTo>
                    <a:pt x="148" y="35"/>
                  </a:lnTo>
                  <a:lnTo>
                    <a:pt x="144" y="36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26" y="38"/>
                  </a:lnTo>
                  <a:lnTo>
                    <a:pt x="113" y="40"/>
                  </a:lnTo>
                  <a:lnTo>
                    <a:pt x="111" y="40"/>
                  </a:lnTo>
                  <a:lnTo>
                    <a:pt x="111" y="42"/>
                  </a:lnTo>
                  <a:lnTo>
                    <a:pt x="110" y="44"/>
                  </a:lnTo>
                  <a:lnTo>
                    <a:pt x="108" y="45"/>
                  </a:lnTo>
                  <a:lnTo>
                    <a:pt x="108" y="51"/>
                  </a:lnTo>
                  <a:lnTo>
                    <a:pt x="106" y="53"/>
                  </a:lnTo>
                  <a:lnTo>
                    <a:pt x="101" y="56"/>
                  </a:lnTo>
                  <a:lnTo>
                    <a:pt x="93" y="64"/>
                  </a:lnTo>
                  <a:lnTo>
                    <a:pt x="92" y="64"/>
                  </a:lnTo>
                  <a:lnTo>
                    <a:pt x="90" y="62"/>
                  </a:lnTo>
                  <a:lnTo>
                    <a:pt x="88" y="60"/>
                  </a:lnTo>
                  <a:lnTo>
                    <a:pt x="86" y="60"/>
                  </a:lnTo>
                  <a:lnTo>
                    <a:pt x="84" y="60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75" y="60"/>
                  </a:lnTo>
                  <a:lnTo>
                    <a:pt x="75" y="60"/>
                  </a:lnTo>
                  <a:lnTo>
                    <a:pt x="74" y="60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4" y="64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71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7" y="73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9" y="76"/>
                  </a:lnTo>
                  <a:lnTo>
                    <a:pt x="79" y="78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7" y="80"/>
                  </a:lnTo>
                  <a:lnTo>
                    <a:pt x="77" y="80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5" y="85"/>
                  </a:lnTo>
                  <a:lnTo>
                    <a:pt x="75" y="87"/>
                  </a:lnTo>
                  <a:lnTo>
                    <a:pt x="77" y="87"/>
                  </a:lnTo>
                  <a:lnTo>
                    <a:pt x="77" y="87"/>
                  </a:lnTo>
                  <a:lnTo>
                    <a:pt x="81" y="92"/>
                  </a:lnTo>
                  <a:lnTo>
                    <a:pt x="83" y="94"/>
                  </a:lnTo>
                  <a:lnTo>
                    <a:pt x="84" y="96"/>
                  </a:lnTo>
                  <a:lnTo>
                    <a:pt x="86" y="98"/>
                  </a:lnTo>
                  <a:lnTo>
                    <a:pt x="88" y="100"/>
                  </a:lnTo>
                  <a:lnTo>
                    <a:pt x="86" y="100"/>
                  </a:lnTo>
                  <a:lnTo>
                    <a:pt x="86" y="100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4"/>
                  </a:lnTo>
                  <a:lnTo>
                    <a:pt x="93" y="114"/>
                  </a:lnTo>
                  <a:lnTo>
                    <a:pt x="95" y="118"/>
                  </a:lnTo>
                  <a:lnTo>
                    <a:pt x="101" y="120"/>
                  </a:lnTo>
                  <a:lnTo>
                    <a:pt x="101" y="121"/>
                  </a:lnTo>
                  <a:lnTo>
                    <a:pt x="101" y="123"/>
                  </a:lnTo>
                  <a:lnTo>
                    <a:pt x="99" y="123"/>
                  </a:lnTo>
                  <a:lnTo>
                    <a:pt x="97" y="123"/>
                  </a:lnTo>
                  <a:lnTo>
                    <a:pt x="95" y="123"/>
                  </a:lnTo>
                  <a:lnTo>
                    <a:pt x="95" y="123"/>
                  </a:lnTo>
                  <a:lnTo>
                    <a:pt x="93" y="123"/>
                  </a:lnTo>
                  <a:lnTo>
                    <a:pt x="92" y="123"/>
                  </a:lnTo>
                  <a:lnTo>
                    <a:pt x="92" y="125"/>
                  </a:lnTo>
                  <a:lnTo>
                    <a:pt x="92" y="127"/>
                  </a:lnTo>
                  <a:lnTo>
                    <a:pt x="92" y="129"/>
                  </a:lnTo>
                  <a:lnTo>
                    <a:pt x="93" y="129"/>
                  </a:lnTo>
                  <a:lnTo>
                    <a:pt x="95" y="129"/>
                  </a:lnTo>
                  <a:lnTo>
                    <a:pt x="95" y="129"/>
                  </a:lnTo>
                  <a:lnTo>
                    <a:pt x="93" y="130"/>
                  </a:lnTo>
                  <a:lnTo>
                    <a:pt x="95" y="132"/>
                  </a:lnTo>
                  <a:lnTo>
                    <a:pt x="97" y="132"/>
                  </a:lnTo>
                  <a:lnTo>
                    <a:pt x="97" y="132"/>
                  </a:lnTo>
                  <a:lnTo>
                    <a:pt x="97" y="134"/>
                  </a:lnTo>
                  <a:lnTo>
                    <a:pt x="97" y="136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7" y="141"/>
                  </a:lnTo>
                  <a:lnTo>
                    <a:pt x="99" y="145"/>
                  </a:lnTo>
                  <a:lnTo>
                    <a:pt x="99" y="147"/>
                  </a:lnTo>
                  <a:lnTo>
                    <a:pt x="99" y="147"/>
                  </a:lnTo>
                  <a:lnTo>
                    <a:pt x="99" y="147"/>
                  </a:lnTo>
                  <a:lnTo>
                    <a:pt x="99" y="147"/>
                  </a:lnTo>
                  <a:lnTo>
                    <a:pt x="97" y="148"/>
                  </a:lnTo>
                  <a:lnTo>
                    <a:pt x="93" y="150"/>
                  </a:lnTo>
                  <a:lnTo>
                    <a:pt x="93" y="150"/>
                  </a:lnTo>
                  <a:lnTo>
                    <a:pt x="93" y="152"/>
                  </a:lnTo>
                  <a:lnTo>
                    <a:pt x="93" y="154"/>
                  </a:lnTo>
                  <a:lnTo>
                    <a:pt x="93" y="154"/>
                  </a:lnTo>
                  <a:lnTo>
                    <a:pt x="93" y="157"/>
                  </a:lnTo>
                  <a:lnTo>
                    <a:pt x="90" y="157"/>
                  </a:lnTo>
                  <a:lnTo>
                    <a:pt x="81" y="157"/>
                  </a:lnTo>
                  <a:lnTo>
                    <a:pt x="79" y="159"/>
                  </a:lnTo>
                  <a:lnTo>
                    <a:pt x="79" y="159"/>
                  </a:lnTo>
                  <a:lnTo>
                    <a:pt x="77" y="159"/>
                  </a:lnTo>
                  <a:lnTo>
                    <a:pt x="77" y="161"/>
                  </a:lnTo>
                  <a:lnTo>
                    <a:pt x="77" y="163"/>
                  </a:lnTo>
                  <a:lnTo>
                    <a:pt x="77" y="163"/>
                  </a:lnTo>
                  <a:lnTo>
                    <a:pt x="75" y="165"/>
                  </a:lnTo>
                  <a:lnTo>
                    <a:pt x="72" y="168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68" y="172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52" y="188"/>
                  </a:lnTo>
                  <a:lnTo>
                    <a:pt x="50" y="190"/>
                  </a:lnTo>
                  <a:lnTo>
                    <a:pt x="48" y="192"/>
                  </a:lnTo>
                  <a:lnTo>
                    <a:pt x="43" y="199"/>
                  </a:lnTo>
                  <a:lnTo>
                    <a:pt x="41" y="203"/>
                  </a:lnTo>
                  <a:lnTo>
                    <a:pt x="41" y="203"/>
                  </a:lnTo>
                  <a:lnTo>
                    <a:pt x="41" y="204"/>
                  </a:lnTo>
                  <a:lnTo>
                    <a:pt x="41" y="204"/>
                  </a:lnTo>
                  <a:lnTo>
                    <a:pt x="39" y="204"/>
                  </a:lnTo>
                  <a:lnTo>
                    <a:pt x="39" y="206"/>
                  </a:lnTo>
                  <a:lnTo>
                    <a:pt x="39" y="206"/>
                  </a:lnTo>
                  <a:lnTo>
                    <a:pt x="37" y="206"/>
                  </a:lnTo>
                  <a:lnTo>
                    <a:pt x="36" y="212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3"/>
                  </a:lnTo>
                  <a:lnTo>
                    <a:pt x="32" y="213"/>
                  </a:lnTo>
                  <a:lnTo>
                    <a:pt x="32" y="215"/>
                  </a:lnTo>
                  <a:lnTo>
                    <a:pt x="30" y="217"/>
                  </a:lnTo>
                  <a:lnTo>
                    <a:pt x="27" y="222"/>
                  </a:lnTo>
                  <a:lnTo>
                    <a:pt x="25" y="224"/>
                  </a:lnTo>
                  <a:lnTo>
                    <a:pt x="27" y="228"/>
                  </a:lnTo>
                  <a:lnTo>
                    <a:pt x="27" y="230"/>
                  </a:lnTo>
                  <a:lnTo>
                    <a:pt x="27" y="232"/>
                  </a:lnTo>
                  <a:lnTo>
                    <a:pt x="27" y="233"/>
                  </a:lnTo>
                  <a:lnTo>
                    <a:pt x="28" y="233"/>
                  </a:lnTo>
                  <a:lnTo>
                    <a:pt x="28" y="235"/>
                  </a:lnTo>
                  <a:lnTo>
                    <a:pt x="28" y="235"/>
                  </a:lnTo>
                  <a:lnTo>
                    <a:pt x="30" y="237"/>
                  </a:lnTo>
                  <a:lnTo>
                    <a:pt x="30" y="237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0" y="248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3"/>
                  </a:lnTo>
                  <a:lnTo>
                    <a:pt x="28" y="253"/>
                  </a:lnTo>
                  <a:lnTo>
                    <a:pt x="28" y="253"/>
                  </a:lnTo>
                  <a:lnTo>
                    <a:pt x="28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5"/>
                  </a:lnTo>
                  <a:lnTo>
                    <a:pt x="32" y="257"/>
                  </a:lnTo>
                  <a:lnTo>
                    <a:pt x="34" y="257"/>
                  </a:lnTo>
                  <a:lnTo>
                    <a:pt x="36" y="259"/>
                  </a:lnTo>
                  <a:lnTo>
                    <a:pt x="36" y="259"/>
                  </a:lnTo>
                  <a:lnTo>
                    <a:pt x="36" y="260"/>
                  </a:lnTo>
                  <a:lnTo>
                    <a:pt x="36" y="260"/>
                  </a:lnTo>
                  <a:lnTo>
                    <a:pt x="36" y="262"/>
                  </a:lnTo>
                  <a:lnTo>
                    <a:pt x="36" y="262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4" y="264"/>
                  </a:lnTo>
                  <a:lnTo>
                    <a:pt x="34" y="264"/>
                  </a:lnTo>
                  <a:lnTo>
                    <a:pt x="32" y="264"/>
                  </a:lnTo>
                  <a:lnTo>
                    <a:pt x="32" y="262"/>
                  </a:lnTo>
                  <a:lnTo>
                    <a:pt x="32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28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5" y="260"/>
                  </a:lnTo>
                  <a:lnTo>
                    <a:pt x="23" y="259"/>
                  </a:lnTo>
                  <a:lnTo>
                    <a:pt x="21" y="259"/>
                  </a:lnTo>
                  <a:lnTo>
                    <a:pt x="21" y="260"/>
                  </a:lnTo>
                  <a:lnTo>
                    <a:pt x="19" y="260"/>
                  </a:lnTo>
                  <a:lnTo>
                    <a:pt x="19" y="262"/>
                  </a:lnTo>
                  <a:lnTo>
                    <a:pt x="19" y="264"/>
                  </a:lnTo>
                  <a:lnTo>
                    <a:pt x="19" y="266"/>
                  </a:lnTo>
                  <a:lnTo>
                    <a:pt x="19" y="266"/>
                  </a:lnTo>
                  <a:lnTo>
                    <a:pt x="18" y="268"/>
                  </a:lnTo>
                  <a:lnTo>
                    <a:pt x="16" y="268"/>
                  </a:lnTo>
                  <a:lnTo>
                    <a:pt x="16" y="271"/>
                  </a:lnTo>
                  <a:lnTo>
                    <a:pt x="14" y="271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5"/>
                  </a:lnTo>
                  <a:lnTo>
                    <a:pt x="12" y="275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2" y="278"/>
                  </a:lnTo>
                  <a:lnTo>
                    <a:pt x="12" y="278"/>
                  </a:lnTo>
                  <a:lnTo>
                    <a:pt x="12" y="280"/>
                  </a:lnTo>
                  <a:lnTo>
                    <a:pt x="12" y="282"/>
                  </a:lnTo>
                  <a:lnTo>
                    <a:pt x="12" y="282"/>
                  </a:lnTo>
                  <a:lnTo>
                    <a:pt x="10" y="284"/>
                  </a:lnTo>
                  <a:lnTo>
                    <a:pt x="10" y="284"/>
                  </a:lnTo>
                  <a:lnTo>
                    <a:pt x="10" y="284"/>
                  </a:lnTo>
                  <a:lnTo>
                    <a:pt x="10" y="286"/>
                  </a:lnTo>
                  <a:lnTo>
                    <a:pt x="10" y="286"/>
                  </a:lnTo>
                  <a:lnTo>
                    <a:pt x="10" y="288"/>
                  </a:lnTo>
                  <a:lnTo>
                    <a:pt x="9" y="289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7" y="291"/>
                  </a:lnTo>
                  <a:lnTo>
                    <a:pt x="5" y="291"/>
                  </a:lnTo>
                  <a:lnTo>
                    <a:pt x="5" y="293"/>
                  </a:lnTo>
                  <a:lnTo>
                    <a:pt x="5" y="293"/>
                  </a:lnTo>
                  <a:lnTo>
                    <a:pt x="5" y="295"/>
                  </a:lnTo>
                  <a:lnTo>
                    <a:pt x="1" y="297"/>
                  </a:lnTo>
                  <a:lnTo>
                    <a:pt x="1" y="298"/>
                  </a:lnTo>
                  <a:lnTo>
                    <a:pt x="0" y="300"/>
                  </a:lnTo>
                  <a:lnTo>
                    <a:pt x="1" y="302"/>
                  </a:lnTo>
                  <a:lnTo>
                    <a:pt x="1" y="304"/>
                  </a:lnTo>
                  <a:lnTo>
                    <a:pt x="0" y="306"/>
                  </a:lnTo>
                  <a:lnTo>
                    <a:pt x="0" y="311"/>
                  </a:lnTo>
                  <a:lnTo>
                    <a:pt x="1" y="311"/>
                  </a:lnTo>
                  <a:lnTo>
                    <a:pt x="1" y="311"/>
                  </a:lnTo>
                  <a:lnTo>
                    <a:pt x="1" y="311"/>
                  </a:lnTo>
                  <a:lnTo>
                    <a:pt x="1" y="311"/>
                  </a:lnTo>
                  <a:lnTo>
                    <a:pt x="1" y="309"/>
                  </a:lnTo>
                  <a:lnTo>
                    <a:pt x="3" y="309"/>
                  </a:lnTo>
                  <a:lnTo>
                    <a:pt x="5" y="309"/>
                  </a:lnTo>
                  <a:lnTo>
                    <a:pt x="7" y="311"/>
                  </a:lnTo>
                  <a:lnTo>
                    <a:pt x="7" y="313"/>
                  </a:lnTo>
                  <a:lnTo>
                    <a:pt x="7" y="315"/>
                  </a:lnTo>
                  <a:lnTo>
                    <a:pt x="9" y="315"/>
                  </a:lnTo>
                  <a:lnTo>
                    <a:pt x="9" y="315"/>
                  </a:lnTo>
                  <a:lnTo>
                    <a:pt x="9" y="315"/>
                  </a:lnTo>
                  <a:lnTo>
                    <a:pt x="9" y="315"/>
                  </a:lnTo>
                  <a:lnTo>
                    <a:pt x="9" y="316"/>
                  </a:lnTo>
                  <a:lnTo>
                    <a:pt x="9" y="316"/>
                  </a:lnTo>
                  <a:lnTo>
                    <a:pt x="9" y="318"/>
                  </a:lnTo>
                  <a:lnTo>
                    <a:pt x="12" y="322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2" y="322"/>
                  </a:lnTo>
                  <a:lnTo>
                    <a:pt x="14" y="322"/>
                  </a:lnTo>
                  <a:lnTo>
                    <a:pt x="14" y="322"/>
                  </a:lnTo>
                  <a:lnTo>
                    <a:pt x="14" y="322"/>
                  </a:lnTo>
                  <a:lnTo>
                    <a:pt x="14" y="324"/>
                  </a:lnTo>
                  <a:lnTo>
                    <a:pt x="16" y="324"/>
                  </a:lnTo>
                  <a:lnTo>
                    <a:pt x="16" y="324"/>
                  </a:lnTo>
                  <a:lnTo>
                    <a:pt x="18" y="322"/>
                  </a:lnTo>
                  <a:lnTo>
                    <a:pt x="18" y="322"/>
                  </a:lnTo>
                  <a:lnTo>
                    <a:pt x="18" y="322"/>
                  </a:lnTo>
                  <a:lnTo>
                    <a:pt x="18" y="322"/>
                  </a:lnTo>
                  <a:lnTo>
                    <a:pt x="21" y="327"/>
                  </a:lnTo>
                  <a:lnTo>
                    <a:pt x="21" y="329"/>
                  </a:lnTo>
                  <a:lnTo>
                    <a:pt x="23" y="331"/>
                  </a:lnTo>
                  <a:lnTo>
                    <a:pt x="23" y="333"/>
                  </a:lnTo>
                  <a:lnTo>
                    <a:pt x="23" y="333"/>
                  </a:lnTo>
                  <a:lnTo>
                    <a:pt x="25" y="333"/>
                  </a:lnTo>
                  <a:lnTo>
                    <a:pt x="25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30" y="333"/>
                  </a:lnTo>
                  <a:lnTo>
                    <a:pt x="30" y="333"/>
                  </a:lnTo>
                  <a:lnTo>
                    <a:pt x="32" y="333"/>
                  </a:lnTo>
                  <a:lnTo>
                    <a:pt x="32" y="333"/>
                  </a:lnTo>
                  <a:lnTo>
                    <a:pt x="34" y="334"/>
                  </a:lnTo>
                  <a:lnTo>
                    <a:pt x="36" y="334"/>
                  </a:lnTo>
                  <a:lnTo>
                    <a:pt x="36" y="336"/>
                  </a:lnTo>
                  <a:lnTo>
                    <a:pt x="36" y="338"/>
                  </a:lnTo>
                  <a:lnTo>
                    <a:pt x="37" y="338"/>
                  </a:lnTo>
                  <a:lnTo>
                    <a:pt x="36" y="340"/>
                  </a:lnTo>
                  <a:lnTo>
                    <a:pt x="36" y="340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4"/>
                  </a:lnTo>
                  <a:lnTo>
                    <a:pt x="37" y="345"/>
                  </a:lnTo>
                  <a:lnTo>
                    <a:pt x="39" y="344"/>
                  </a:lnTo>
                  <a:lnTo>
                    <a:pt x="39" y="344"/>
                  </a:lnTo>
                  <a:lnTo>
                    <a:pt x="39" y="344"/>
                  </a:lnTo>
                  <a:lnTo>
                    <a:pt x="39" y="342"/>
                  </a:lnTo>
                  <a:lnTo>
                    <a:pt x="39" y="340"/>
                  </a:lnTo>
                  <a:lnTo>
                    <a:pt x="41" y="340"/>
                  </a:lnTo>
                  <a:lnTo>
                    <a:pt x="41" y="340"/>
                  </a:lnTo>
                  <a:lnTo>
                    <a:pt x="43" y="342"/>
                  </a:lnTo>
                  <a:lnTo>
                    <a:pt x="43" y="342"/>
                  </a:lnTo>
                  <a:lnTo>
                    <a:pt x="45" y="342"/>
                  </a:lnTo>
                  <a:lnTo>
                    <a:pt x="45" y="342"/>
                  </a:lnTo>
                  <a:lnTo>
                    <a:pt x="46" y="340"/>
                  </a:lnTo>
                  <a:lnTo>
                    <a:pt x="48" y="338"/>
                  </a:lnTo>
                  <a:lnTo>
                    <a:pt x="48" y="336"/>
                  </a:lnTo>
                  <a:lnTo>
                    <a:pt x="50" y="334"/>
                  </a:lnTo>
                  <a:lnTo>
                    <a:pt x="50" y="333"/>
                  </a:lnTo>
                  <a:lnTo>
                    <a:pt x="52" y="334"/>
                  </a:lnTo>
                  <a:lnTo>
                    <a:pt x="55" y="334"/>
                  </a:lnTo>
                  <a:lnTo>
                    <a:pt x="55" y="336"/>
                  </a:lnTo>
                  <a:lnTo>
                    <a:pt x="57" y="338"/>
                  </a:lnTo>
                  <a:lnTo>
                    <a:pt x="61" y="340"/>
                  </a:lnTo>
                  <a:lnTo>
                    <a:pt x="61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6" y="344"/>
                  </a:lnTo>
                  <a:lnTo>
                    <a:pt x="68" y="344"/>
                  </a:lnTo>
                  <a:lnTo>
                    <a:pt x="68" y="344"/>
                  </a:lnTo>
                  <a:lnTo>
                    <a:pt x="68" y="342"/>
                  </a:lnTo>
                  <a:lnTo>
                    <a:pt x="68" y="342"/>
                  </a:lnTo>
                  <a:lnTo>
                    <a:pt x="68" y="342"/>
                  </a:lnTo>
                  <a:lnTo>
                    <a:pt x="68" y="342"/>
                  </a:lnTo>
                  <a:lnTo>
                    <a:pt x="70" y="342"/>
                  </a:lnTo>
                  <a:lnTo>
                    <a:pt x="70" y="340"/>
                  </a:lnTo>
                  <a:lnTo>
                    <a:pt x="72" y="340"/>
                  </a:lnTo>
                  <a:lnTo>
                    <a:pt x="74" y="340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9" y="342"/>
                  </a:lnTo>
                  <a:lnTo>
                    <a:pt x="83" y="342"/>
                  </a:lnTo>
                  <a:lnTo>
                    <a:pt x="83" y="342"/>
                  </a:lnTo>
                  <a:lnTo>
                    <a:pt x="86" y="345"/>
                  </a:lnTo>
                  <a:lnTo>
                    <a:pt x="86" y="345"/>
                  </a:lnTo>
                  <a:lnTo>
                    <a:pt x="88" y="345"/>
                  </a:lnTo>
                  <a:lnTo>
                    <a:pt x="93" y="344"/>
                  </a:lnTo>
                  <a:lnTo>
                    <a:pt x="93" y="344"/>
                  </a:lnTo>
                  <a:lnTo>
                    <a:pt x="95" y="344"/>
                  </a:lnTo>
                  <a:lnTo>
                    <a:pt x="97" y="345"/>
                  </a:lnTo>
                  <a:lnTo>
                    <a:pt x="99" y="345"/>
                  </a:lnTo>
                  <a:lnTo>
                    <a:pt x="101" y="347"/>
                  </a:lnTo>
                  <a:lnTo>
                    <a:pt x="101" y="347"/>
                  </a:lnTo>
                  <a:lnTo>
                    <a:pt x="101" y="347"/>
                  </a:lnTo>
                  <a:lnTo>
                    <a:pt x="104" y="349"/>
                  </a:lnTo>
                  <a:lnTo>
                    <a:pt x="106" y="349"/>
                  </a:lnTo>
                  <a:lnTo>
                    <a:pt x="108" y="347"/>
                  </a:lnTo>
                  <a:lnTo>
                    <a:pt x="111" y="347"/>
                  </a:lnTo>
                  <a:lnTo>
                    <a:pt x="113" y="345"/>
                  </a:lnTo>
                  <a:lnTo>
                    <a:pt x="113" y="344"/>
                  </a:lnTo>
                  <a:lnTo>
                    <a:pt x="115" y="344"/>
                  </a:lnTo>
                  <a:lnTo>
                    <a:pt x="119" y="345"/>
                  </a:lnTo>
                  <a:lnTo>
                    <a:pt x="121" y="345"/>
                  </a:lnTo>
                  <a:lnTo>
                    <a:pt x="122" y="345"/>
                  </a:lnTo>
                  <a:lnTo>
                    <a:pt x="122" y="345"/>
                  </a:lnTo>
                  <a:lnTo>
                    <a:pt x="124" y="347"/>
                  </a:lnTo>
                  <a:lnTo>
                    <a:pt x="126" y="347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51"/>
                  </a:lnTo>
                  <a:lnTo>
                    <a:pt x="126" y="351"/>
                  </a:lnTo>
                  <a:lnTo>
                    <a:pt x="128" y="353"/>
                  </a:lnTo>
                  <a:lnTo>
                    <a:pt x="130" y="354"/>
                  </a:lnTo>
                  <a:lnTo>
                    <a:pt x="133" y="356"/>
                  </a:lnTo>
                  <a:lnTo>
                    <a:pt x="135" y="356"/>
                  </a:lnTo>
                  <a:lnTo>
                    <a:pt x="135" y="356"/>
                  </a:lnTo>
                  <a:lnTo>
                    <a:pt x="137" y="360"/>
                  </a:lnTo>
                  <a:lnTo>
                    <a:pt x="137" y="362"/>
                  </a:lnTo>
                  <a:lnTo>
                    <a:pt x="139" y="362"/>
                  </a:lnTo>
                  <a:lnTo>
                    <a:pt x="140" y="362"/>
                  </a:lnTo>
                  <a:lnTo>
                    <a:pt x="140" y="362"/>
                  </a:lnTo>
                  <a:lnTo>
                    <a:pt x="144" y="362"/>
                  </a:lnTo>
                  <a:lnTo>
                    <a:pt x="148" y="360"/>
                  </a:lnTo>
                  <a:lnTo>
                    <a:pt x="148" y="360"/>
                  </a:lnTo>
                  <a:lnTo>
                    <a:pt x="148" y="360"/>
                  </a:lnTo>
                  <a:lnTo>
                    <a:pt x="149" y="358"/>
                  </a:lnTo>
                  <a:lnTo>
                    <a:pt x="155" y="349"/>
                  </a:lnTo>
                  <a:lnTo>
                    <a:pt x="157" y="349"/>
                  </a:lnTo>
                  <a:lnTo>
                    <a:pt x="182" y="345"/>
                  </a:lnTo>
                  <a:lnTo>
                    <a:pt x="186" y="344"/>
                  </a:lnTo>
                  <a:lnTo>
                    <a:pt x="187" y="344"/>
                  </a:lnTo>
                  <a:lnTo>
                    <a:pt x="189" y="344"/>
                  </a:lnTo>
                  <a:lnTo>
                    <a:pt x="189" y="344"/>
                  </a:lnTo>
                  <a:lnTo>
                    <a:pt x="193" y="344"/>
                  </a:lnTo>
                  <a:lnTo>
                    <a:pt x="195" y="342"/>
                  </a:lnTo>
                  <a:lnTo>
                    <a:pt x="198" y="342"/>
                  </a:lnTo>
                  <a:lnTo>
                    <a:pt x="200" y="342"/>
                  </a:lnTo>
                  <a:lnTo>
                    <a:pt x="202" y="342"/>
                  </a:lnTo>
                  <a:lnTo>
                    <a:pt x="204" y="340"/>
                  </a:lnTo>
                  <a:lnTo>
                    <a:pt x="204" y="338"/>
                  </a:lnTo>
                  <a:lnTo>
                    <a:pt x="205" y="336"/>
                  </a:lnTo>
                  <a:lnTo>
                    <a:pt x="205" y="336"/>
                  </a:lnTo>
                  <a:lnTo>
                    <a:pt x="207" y="334"/>
                  </a:lnTo>
                  <a:lnTo>
                    <a:pt x="207" y="334"/>
                  </a:lnTo>
                  <a:lnTo>
                    <a:pt x="209" y="331"/>
                  </a:lnTo>
                  <a:lnTo>
                    <a:pt x="209" y="329"/>
                  </a:lnTo>
                  <a:lnTo>
                    <a:pt x="209" y="327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11" y="325"/>
                  </a:lnTo>
                  <a:lnTo>
                    <a:pt x="211" y="325"/>
                  </a:lnTo>
                  <a:lnTo>
                    <a:pt x="213" y="324"/>
                  </a:lnTo>
                  <a:lnTo>
                    <a:pt x="214" y="324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23" y="322"/>
                  </a:lnTo>
                  <a:lnTo>
                    <a:pt x="225" y="322"/>
                  </a:lnTo>
                  <a:lnTo>
                    <a:pt x="225" y="320"/>
                  </a:lnTo>
                  <a:lnTo>
                    <a:pt x="225" y="320"/>
                  </a:lnTo>
                  <a:lnTo>
                    <a:pt x="225" y="318"/>
                  </a:lnTo>
                  <a:lnTo>
                    <a:pt x="227" y="318"/>
                  </a:lnTo>
                  <a:lnTo>
                    <a:pt x="227" y="316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9" y="316"/>
                  </a:lnTo>
                  <a:lnTo>
                    <a:pt x="231" y="318"/>
                  </a:lnTo>
                  <a:lnTo>
                    <a:pt x="231" y="318"/>
                  </a:lnTo>
                  <a:lnTo>
                    <a:pt x="231" y="320"/>
                  </a:lnTo>
                  <a:lnTo>
                    <a:pt x="232" y="320"/>
                  </a:lnTo>
                  <a:lnTo>
                    <a:pt x="232" y="318"/>
                  </a:lnTo>
                  <a:lnTo>
                    <a:pt x="232" y="318"/>
                  </a:lnTo>
                  <a:lnTo>
                    <a:pt x="232" y="316"/>
                  </a:lnTo>
                  <a:lnTo>
                    <a:pt x="232" y="315"/>
                  </a:lnTo>
                  <a:lnTo>
                    <a:pt x="232" y="315"/>
                  </a:lnTo>
                  <a:lnTo>
                    <a:pt x="232" y="313"/>
                  </a:lnTo>
                  <a:lnTo>
                    <a:pt x="232" y="313"/>
                  </a:lnTo>
                  <a:lnTo>
                    <a:pt x="234" y="313"/>
                  </a:lnTo>
                  <a:lnTo>
                    <a:pt x="234" y="313"/>
                  </a:lnTo>
                  <a:lnTo>
                    <a:pt x="234" y="313"/>
                  </a:lnTo>
                  <a:lnTo>
                    <a:pt x="234" y="313"/>
                  </a:lnTo>
                  <a:lnTo>
                    <a:pt x="236" y="313"/>
                  </a:lnTo>
                  <a:lnTo>
                    <a:pt x="236" y="311"/>
                  </a:lnTo>
                  <a:lnTo>
                    <a:pt x="236" y="311"/>
                  </a:lnTo>
                  <a:lnTo>
                    <a:pt x="238" y="313"/>
                  </a:lnTo>
                  <a:lnTo>
                    <a:pt x="240" y="313"/>
                  </a:lnTo>
                  <a:lnTo>
                    <a:pt x="242" y="315"/>
                  </a:lnTo>
                  <a:lnTo>
                    <a:pt x="243" y="315"/>
                  </a:lnTo>
                  <a:lnTo>
                    <a:pt x="243" y="313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5" y="315"/>
                  </a:lnTo>
                  <a:lnTo>
                    <a:pt x="245" y="315"/>
                  </a:lnTo>
                  <a:lnTo>
                    <a:pt x="245" y="315"/>
                  </a:lnTo>
                  <a:lnTo>
                    <a:pt x="245" y="313"/>
                  </a:lnTo>
                  <a:lnTo>
                    <a:pt x="245" y="313"/>
                  </a:lnTo>
                  <a:lnTo>
                    <a:pt x="245" y="313"/>
                  </a:lnTo>
                  <a:lnTo>
                    <a:pt x="245" y="313"/>
                  </a:lnTo>
                  <a:lnTo>
                    <a:pt x="245" y="311"/>
                  </a:lnTo>
                  <a:lnTo>
                    <a:pt x="245" y="311"/>
                  </a:lnTo>
                  <a:lnTo>
                    <a:pt x="245" y="311"/>
                  </a:lnTo>
                  <a:lnTo>
                    <a:pt x="247" y="311"/>
                  </a:lnTo>
                  <a:lnTo>
                    <a:pt x="247" y="311"/>
                  </a:lnTo>
                  <a:lnTo>
                    <a:pt x="252" y="313"/>
                  </a:lnTo>
                  <a:lnTo>
                    <a:pt x="254" y="315"/>
                  </a:lnTo>
                  <a:lnTo>
                    <a:pt x="256" y="313"/>
                  </a:lnTo>
                  <a:lnTo>
                    <a:pt x="256" y="313"/>
                  </a:lnTo>
                  <a:lnTo>
                    <a:pt x="260" y="309"/>
                  </a:lnTo>
                  <a:lnTo>
                    <a:pt x="261" y="307"/>
                  </a:lnTo>
                  <a:lnTo>
                    <a:pt x="261" y="309"/>
                  </a:lnTo>
                  <a:lnTo>
                    <a:pt x="263" y="309"/>
                  </a:lnTo>
                  <a:lnTo>
                    <a:pt x="263" y="309"/>
                  </a:lnTo>
                  <a:lnTo>
                    <a:pt x="265" y="309"/>
                  </a:lnTo>
                  <a:lnTo>
                    <a:pt x="269" y="307"/>
                  </a:lnTo>
                  <a:lnTo>
                    <a:pt x="269" y="306"/>
                  </a:lnTo>
                  <a:lnTo>
                    <a:pt x="270" y="306"/>
                  </a:lnTo>
                  <a:lnTo>
                    <a:pt x="272" y="306"/>
                  </a:lnTo>
                  <a:lnTo>
                    <a:pt x="272" y="304"/>
                  </a:lnTo>
                  <a:lnTo>
                    <a:pt x="274" y="304"/>
                  </a:lnTo>
                  <a:lnTo>
                    <a:pt x="274" y="306"/>
                  </a:lnTo>
                  <a:lnTo>
                    <a:pt x="276" y="307"/>
                  </a:lnTo>
                  <a:lnTo>
                    <a:pt x="281" y="307"/>
                  </a:lnTo>
                  <a:lnTo>
                    <a:pt x="283" y="307"/>
                  </a:lnTo>
                  <a:lnTo>
                    <a:pt x="287" y="309"/>
                  </a:lnTo>
                  <a:lnTo>
                    <a:pt x="287" y="311"/>
                  </a:lnTo>
                  <a:lnTo>
                    <a:pt x="288" y="313"/>
                  </a:lnTo>
                  <a:lnTo>
                    <a:pt x="288" y="313"/>
                  </a:lnTo>
                  <a:lnTo>
                    <a:pt x="288" y="313"/>
                  </a:lnTo>
                  <a:lnTo>
                    <a:pt x="290" y="315"/>
                  </a:lnTo>
                  <a:lnTo>
                    <a:pt x="292" y="316"/>
                  </a:lnTo>
                  <a:lnTo>
                    <a:pt x="294" y="316"/>
                  </a:lnTo>
                  <a:lnTo>
                    <a:pt x="297" y="316"/>
                  </a:lnTo>
                  <a:lnTo>
                    <a:pt x="297" y="316"/>
                  </a:lnTo>
                  <a:lnTo>
                    <a:pt x="299" y="318"/>
                  </a:lnTo>
                  <a:lnTo>
                    <a:pt x="299" y="320"/>
                  </a:lnTo>
                  <a:lnTo>
                    <a:pt x="297" y="322"/>
                  </a:lnTo>
                  <a:lnTo>
                    <a:pt x="299" y="324"/>
                  </a:lnTo>
                  <a:lnTo>
                    <a:pt x="299" y="324"/>
                  </a:lnTo>
                  <a:lnTo>
                    <a:pt x="301" y="324"/>
                  </a:lnTo>
                  <a:lnTo>
                    <a:pt x="303" y="322"/>
                  </a:lnTo>
                  <a:lnTo>
                    <a:pt x="303" y="322"/>
                  </a:lnTo>
                  <a:lnTo>
                    <a:pt x="303" y="322"/>
                  </a:lnTo>
                  <a:lnTo>
                    <a:pt x="303" y="324"/>
                  </a:lnTo>
                  <a:lnTo>
                    <a:pt x="305" y="325"/>
                  </a:lnTo>
                  <a:lnTo>
                    <a:pt x="305" y="325"/>
                  </a:lnTo>
                  <a:lnTo>
                    <a:pt x="307" y="325"/>
                  </a:lnTo>
                  <a:lnTo>
                    <a:pt x="307" y="324"/>
                  </a:lnTo>
                  <a:lnTo>
                    <a:pt x="308" y="324"/>
                  </a:lnTo>
                  <a:lnTo>
                    <a:pt x="308" y="324"/>
                  </a:lnTo>
                  <a:lnTo>
                    <a:pt x="310" y="324"/>
                  </a:lnTo>
                  <a:lnTo>
                    <a:pt x="312" y="324"/>
                  </a:lnTo>
                  <a:lnTo>
                    <a:pt x="312" y="324"/>
                  </a:lnTo>
                  <a:lnTo>
                    <a:pt x="312" y="325"/>
                  </a:lnTo>
                  <a:lnTo>
                    <a:pt x="312" y="327"/>
                  </a:lnTo>
                  <a:lnTo>
                    <a:pt x="312" y="327"/>
                  </a:lnTo>
                  <a:lnTo>
                    <a:pt x="310" y="327"/>
                  </a:lnTo>
                  <a:lnTo>
                    <a:pt x="310" y="329"/>
                  </a:lnTo>
                  <a:lnTo>
                    <a:pt x="310" y="329"/>
                  </a:lnTo>
                  <a:lnTo>
                    <a:pt x="310" y="331"/>
                  </a:lnTo>
                  <a:lnTo>
                    <a:pt x="310" y="331"/>
                  </a:lnTo>
                  <a:lnTo>
                    <a:pt x="312" y="331"/>
                  </a:lnTo>
                  <a:lnTo>
                    <a:pt x="312" y="331"/>
                  </a:lnTo>
                  <a:lnTo>
                    <a:pt x="312" y="329"/>
                  </a:lnTo>
                  <a:lnTo>
                    <a:pt x="314" y="327"/>
                  </a:lnTo>
                  <a:lnTo>
                    <a:pt x="314" y="327"/>
                  </a:lnTo>
                  <a:lnTo>
                    <a:pt x="316" y="329"/>
                  </a:lnTo>
                  <a:lnTo>
                    <a:pt x="316" y="329"/>
                  </a:lnTo>
                  <a:lnTo>
                    <a:pt x="316" y="331"/>
                  </a:lnTo>
                  <a:lnTo>
                    <a:pt x="316" y="331"/>
                  </a:lnTo>
                  <a:lnTo>
                    <a:pt x="316" y="334"/>
                  </a:lnTo>
                  <a:lnTo>
                    <a:pt x="317" y="334"/>
                  </a:lnTo>
                  <a:lnTo>
                    <a:pt x="317" y="336"/>
                  </a:lnTo>
                  <a:lnTo>
                    <a:pt x="319" y="336"/>
                  </a:lnTo>
                  <a:lnTo>
                    <a:pt x="319" y="334"/>
                  </a:lnTo>
                  <a:lnTo>
                    <a:pt x="319" y="334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29"/>
                  </a:lnTo>
                  <a:lnTo>
                    <a:pt x="321" y="329"/>
                  </a:lnTo>
                  <a:lnTo>
                    <a:pt x="323" y="329"/>
                  </a:lnTo>
                  <a:lnTo>
                    <a:pt x="326" y="331"/>
                  </a:lnTo>
                  <a:lnTo>
                    <a:pt x="330" y="331"/>
                  </a:lnTo>
                  <a:lnTo>
                    <a:pt x="332" y="331"/>
                  </a:lnTo>
                  <a:lnTo>
                    <a:pt x="334" y="333"/>
                  </a:lnTo>
                  <a:lnTo>
                    <a:pt x="334" y="333"/>
                  </a:lnTo>
                  <a:lnTo>
                    <a:pt x="334" y="333"/>
                  </a:lnTo>
                  <a:lnTo>
                    <a:pt x="334" y="334"/>
                  </a:lnTo>
                  <a:lnTo>
                    <a:pt x="335" y="334"/>
                  </a:lnTo>
                  <a:lnTo>
                    <a:pt x="335" y="336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40"/>
                  </a:lnTo>
                  <a:lnTo>
                    <a:pt x="337" y="340"/>
                  </a:lnTo>
                  <a:lnTo>
                    <a:pt x="337" y="340"/>
                  </a:lnTo>
                  <a:lnTo>
                    <a:pt x="337" y="342"/>
                  </a:lnTo>
                  <a:lnTo>
                    <a:pt x="339" y="344"/>
                  </a:lnTo>
                  <a:lnTo>
                    <a:pt x="341" y="345"/>
                  </a:lnTo>
                  <a:lnTo>
                    <a:pt x="341" y="345"/>
                  </a:lnTo>
                  <a:lnTo>
                    <a:pt x="343" y="347"/>
                  </a:lnTo>
                  <a:lnTo>
                    <a:pt x="344" y="345"/>
                  </a:lnTo>
                  <a:lnTo>
                    <a:pt x="346" y="344"/>
                  </a:lnTo>
                  <a:lnTo>
                    <a:pt x="348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2" y="344"/>
                  </a:lnTo>
                  <a:lnTo>
                    <a:pt x="352" y="344"/>
                  </a:lnTo>
                  <a:lnTo>
                    <a:pt x="352" y="345"/>
                  </a:lnTo>
                  <a:lnTo>
                    <a:pt x="352" y="347"/>
                  </a:lnTo>
                  <a:lnTo>
                    <a:pt x="353" y="349"/>
                  </a:lnTo>
                  <a:lnTo>
                    <a:pt x="353" y="349"/>
                  </a:lnTo>
                  <a:lnTo>
                    <a:pt x="355" y="351"/>
                  </a:lnTo>
                  <a:lnTo>
                    <a:pt x="355" y="351"/>
                  </a:lnTo>
                  <a:lnTo>
                    <a:pt x="355" y="351"/>
                  </a:lnTo>
                  <a:lnTo>
                    <a:pt x="355" y="353"/>
                  </a:lnTo>
                  <a:lnTo>
                    <a:pt x="353" y="353"/>
                  </a:lnTo>
                  <a:lnTo>
                    <a:pt x="353" y="354"/>
                  </a:lnTo>
                  <a:lnTo>
                    <a:pt x="353" y="356"/>
                  </a:lnTo>
                  <a:lnTo>
                    <a:pt x="353" y="356"/>
                  </a:lnTo>
                  <a:lnTo>
                    <a:pt x="353" y="356"/>
                  </a:lnTo>
                  <a:lnTo>
                    <a:pt x="355" y="358"/>
                  </a:lnTo>
                  <a:lnTo>
                    <a:pt x="355" y="358"/>
                  </a:lnTo>
                  <a:lnTo>
                    <a:pt x="355" y="360"/>
                  </a:lnTo>
                  <a:lnTo>
                    <a:pt x="355" y="360"/>
                  </a:lnTo>
                  <a:lnTo>
                    <a:pt x="353" y="362"/>
                  </a:lnTo>
                  <a:lnTo>
                    <a:pt x="353" y="363"/>
                  </a:lnTo>
                  <a:lnTo>
                    <a:pt x="353" y="367"/>
                  </a:lnTo>
                  <a:lnTo>
                    <a:pt x="353" y="369"/>
                  </a:lnTo>
                  <a:lnTo>
                    <a:pt x="352" y="372"/>
                  </a:lnTo>
                  <a:lnTo>
                    <a:pt x="350" y="374"/>
                  </a:lnTo>
                  <a:lnTo>
                    <a:pt x="350" y="376"/>
                  </a:lnTo>
                  <a:lnTo>
                    <a:pt x="350" y="378"/>
                  </a:lnTo>
                  <a:lnTo>
                    <a:pt x="350" y="378"/>
                  </a:lnTo>
                  <a:lnTo>
                    <a:pt x="350" y="378"/>
                  </a:lnTo>
                  <a:lnTo>
                    <a:pt x="350" y="378"/>
                  </a:lnTo>
                  <a:lnTo>
                    <a:pt x="352" y="380"/>
                  </a:lnTo>
                  <a:lnTo>
                    <a:pt x="352" y="380"/>
                  </a:lnTo>
                  <a:lnTo>
                    <a:pt x="352" y="381"/>
                  </a:lnTo>
                  <a:lnTo>
                    <a:pt x="352" y="381"/>
                  </a:lnTo>
                  <a:lnTo>
                    <a:pt x="353" y="383"/>
                  </a:lnTo>
                  <a:lnTo>
                    <a:pt x="353" y="383"/>
                  </a:lnTo>
                  <a:lnTo>
                    <a:pt x="353" y="381"/>
                  </a:lnTo>
                  <a:lnTo>
                    <a:pt x="355" y="381"/>
                  </a:lnTo>
                  <a:lnTo>
                    <a:pt x="355" y="381"/>
                  </a:lnTo>
                  <a:lnTo>
                    <a:pt x="357" y="383"/>
                  </a:lnTo>
                  <a:lnTo>
                    <a:pt x="359" y="385"/>
                  </a:lnTo>
                  <a:lnTo>
                    <a:pt x="359" y="385"/>
                  </a:lnTo>
                  <a:lnTo>
                    <a:pt x="359" y="387"/>
                  </a:lnTo>
                  <a:lnTo>
                    <a:pt x="359" y="387"/>
                  </a:lnTo>
                  <a:lnTo>
                    <a:pt x="359" y="387"/>
                  </a:lnTo>
                  <a:lnTo>
                    <a:pt x="361" y="387"/>
                  </a:lnTo>
                  <a:lnTo>
                    <a:pt x="361" y="387"/>
                  </a:lnTo>
                  <a:lnTo>
                    <a:pt x="362" y="389"/>
                  </a:lnTo>
                  <a:lnTo>
                    <a:pt x="362" y="390"/>
                  </a:lnTo>
                  <a:lnTo>
                    <a:pt x="362" y="390"/>
                  </a:lnTo>
                  <a:lnTo>
                    <a:pt x="362" y="392"/>
                  </a:lnTo>
                  <a:lnTo>
                    <a:pt x="362" y="392"/>
                  </a:lnTo>
                  <a:lnTo>
                    <a:pt x="362" y="392"/>
                  </a:lnTo>
                  <a:lnTo>
                    <a:pt x="364" y="394"/>
                  </a:lnTo>
                  <a:lnTo>
                    <a:pt x="364" y="394"/>
                  </a:lnTo>
                  <a:lnTo>
                    <a:pt x="366" y="394"/>
                  </a:lnTo>
                  <a:lnTo>
                    <a:pt x="366" y="394"/>
                  </a:lnTo>
                  <a:lnTo>
                    <a:pt x="366" y="392"/>
                  </a:lnTo>
                  <a:lnTo>
                    <a:pt x="368" y="392"/>
                  </a:lnTo>
                  <a:lnTo>
                    <a:pt x="368" y="390"/>
                  </a:lnTo>
                  <a:lnTo>
                    <a:pt x="368" y="390"/>
                  </a:lnTo>
                  <a:lnTo>
                    <a:pt x="370" y="390"/>
                  </a:lnTo>
                  <a:lnTo>
                    <a:pt x="370" y="390"/>
                  </a:lnTo>
                  <a:lnTo>
                    <a:pt x="372" y="390"/>
                  </a:lnTo>
                  <a:lnTo>
                    <a:pt x="372" y="390"/>
                  </a:lnTo>
                  <a:lnTo>
                    <a:pt x="373" y="392"/>
                  </a:lnTo>
                  <a:lnTo>
                    <a:pt x="373" y="394"/>
                  </a:lnTo>
                  <a:lnTo>
                    <a:pt x="373" y="396"/>
                  </a:lnTo>
                  <a:lnTo>
                    <a:pt x="372" y="396"/>
                  </a:lnTo>
                  <a:lnTo>
                    <a:pt x="372" y="398"/>
                  </a:lnTo>
                  <a:lnTo>
                    <a:pt x="372" y="400"/>
                  </a:lnTo>
                  <a:lnTo>
                    <a:pt x="372" y="403"/>
                  </a:lnTo>
                  <a:lnTo>
                    <a:pt x="372" y="405"/>
                  </a:lnTo>
                  <a:lnTo>
                    <a:pt x="370" y="405"/>
                  </a:lnTo>
                  <a:lnTo>
                    <a:pt x="370" y="407"/>
                  </a:lnTo>
                  <a:lnTo>
                    <a:pt x="368" y="407"/>
                  </a:lnTo>
                  <a:lnTo>
                    <a:pt x="368" y="407"/>
                  </a:lnTo>
                  <a:lnTo>
                    <a:pt x="368" y="407"/>
                  </a:lnTo>
                  <a:lnTo>
                    <a:pt x="368" y="407"/>
                  </a:lnTo>
                  <a:lnTo>
                    <a:pt x="368" y="407"/>
                  </a:lnTo>
                  <a:lnTo>
                    <a:pt x="370" y="410"/>
                  </a:lnTo>
                  <a:lnTo>
                    <a:pt x="370" y="410"/>
                  </a:lnTo>
                  <a:lnTo>
                    <a:pt x="370" y="410"/>
                  </a:lnTo>
                  <a:lnTo>
                    <a:pt x="372" y="409"/>
                  </a:lnTo>
                  <a:lnTo>
                    <a:pt x="372" y="409"/>
                  </a:lnTo>
                  <a:lnTo>
                    <a:pt x="373" y="409"/>
                  </a:lnTo>
                  <a:lnTo>
                    <a:pt x="373" y="409"/>
                  </a:lnTo>
                  <a:lnTo>
                    <a:pt x="373" y="409"/>
                  </a:lnTo>
                  <a:lnTo>
                    <a:pt x="373" y="410"/>
                  </a:lnTo>
                  <a:lnTo>
                    <a:pt x="373" y="412"/>
                  </a:lnTo>
                  <a:lnTo>
                    <a:pt x="373" y="412"/>
                  </a:lnTo>
                  <a:lnTo>
                    <a:pt x="373" y="412"/>
                  </a:lnTo>
                  <a:lnTo>
                    <a:pt x="373" y="414"/>
                  </a:lnTo>
                  <a:lnTo>
                    <a:pt x="372" y="416"/>
                  </a:lnTo>
                  <a:lnTo>
                    <a:pt x="372" y="418"/>
                  </a:lnTo>
                  <a:lnTo>
                    <a:pt x="372" y="418"/>
                  </a:lnTo>
                  <a:lnTo>
                    <a:pt x="372" y="419"/>
                  </a:lnTo>
                  <a:lnTo>
                    <a:pt x="372" y="419"/>
                  </a:lnTo>
                  <a:lnTo>
                    <a:pt x="373" y="419"/>
                  </a:lnTo>
                  <a:lnTo>
                    <a:pt x="373" y="419"/>
                  </a:lnTo>
                  <a:lnTo>
                    <a:pt x="375" y="419"/>
                  </a:lnTo>
                  <a:lnTo>
                    <a:pt x="375" y="421"/>
                  </a:lnTo>
                  <a:lnTo>
                    <a:pt x="375" y="421"/>
                  </a:lnTo>
                  <a:lnTo>
                    <a:pt x="377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3"/>
                  </a:lnTo>
                  <a:lnTo>
                    <a:pt x="381" y="425"/>
                  </a:lnTo>
                  <a:lnTo>
                    <a:pt x="382" y="425"/>
                  </a:lnTo>
                  <a:lnTo>
                    <a:pt x="384" y="425"/>
                  </a:lnTo>
                  <a:lnTo>
                    <a:pt x="384" y="425"/>
                  </a:lnTo>
                  <a:lnTo>
                    <a:pt x="386" y="425"/>
                  </a:lnTo>
                  <a:lnTo>
                    <a:pt x="388" y="427"/>
                  </a:lnTo>
                  <a:lnTo>
                    <a:pt x="388" y="427"/>
                  </a:lnTo>
                  <a:lnTo>
                    <a:pt x="388" y="428"/>
                  </a:lnTo>
                  <a:lnTo>
                    <a:pt x="388" y="428"/>
                  </a:lnTo>
                  <a:lnTo>
                    <a:pt x="390" y="428"/>
                  </a:lnTo>
                  <a:lnTo>
                    <a:pt x="390" y="428"/>
                  </a:lnTo>
                  <a:lnTo>
                    <a:pt x="390" y="428"/>
                  </a:lnTo>
                  <a:lnTo>
                    <a:pt x="390" y="428"/>
                  </a:lnTo>
                  <a:lnTo>
                    <a:pt x="391" y="428"/>
                  </a:lnTo>
                  <a:lnTo>
                    <a:pt x="391" y="430"/>
                  </a:lnTo>
                  <a:lnTo>
                    <a:pt x="391" y="432"/>
                  </a:lnTo>
                  <a:lnTo>
                    <a:pt x="391" y="432"/>
                  </a:lnTo>
                  <a:lnTo>
                    <a:pt x="391" y="432"/>
                  </a:lnTo>
                  <a:lnTo>
                    <a:pt x="391" y="434"/>
                  </a:lnTo>
                  <a:lnTo>
                    <a:pt x="391" y="434"/>
                  </a:lnTo>
                  <a:lnTo>
                    <a:pt x="391" y="439"/>
                  </a:lnTo>
                  <a:lnTo>
                    <a:pt x="391" y="439"/>
                  </a:lnTo>
                  <a:lnTo>
                    <a:pt x="391" y="441"/>
                  </a:lnTo>
                  <a:lnTo>
                    <a:pt x="391" y="441"/>
                  </a:lnTo>
                  <a:lnTo>
                    <a:pt x="391" y="443"/>
                  </a:lnTo>
                  <a:lnTo>
                    <a:pt x="391" y="443"/>
                  </a:lnTo>
                  <a:lnTo>
                    <a:pt x="391" y="445"/>
                  </a:lnTo>
                  <a:lnTo>
                    <a:pt x="391" y="445"/>
                  </a:lnTo>
                  <a:lnTo>
                    <a:pt x="391" y="446"/>
                  </a:lnTo>
                  <a:lnTo>
                    <a:pt x="390" y="446"/>
                  </a:lnTo>
                  <a:lnTo>
                    <a:pt x="390" y="446"/>
                  </a:lnTo>
                  <a:lnTo>
                    <a:pt x="390" y="448"/>
                  </a:lnTo>
                  <a:lnTo>
                    <a:pt x="390" y="450"/>
                  </a:lnTo>
                  <a:lnTo>
                    <a:pt x="391" y="450"/>
                  </a:lnTo>
                  <a:lnTo>
                    <a:pt x="391" y="450"/>
                  </a:lnTo>
                  <a:lnTo>
                    <a:pt x="393" y="452"/>
                  </a:lnTo>
                  <a:lnTo>
                    <a:pt x="393" y="452"/>
                  </a:lnTo>
                  <a:lnTo>
                    <a:pt x="393" y="452"/>
                  </a:lnTo>
                  <a:lnTo>
                    <a:pt x="393" y="452"/>
                  </a:lnTo>
                  <a:lnTo>
                    <a:pt x="393" y="452"/>
                  </a:lnTo>
                  <a:lnTo>
                    <a:pt x="395" y="452"/>
                  </a:lnTo>
                  <a:lnTo>
                    <a:pt x="395" y="452"/>
                  </a:lnTo>
                  <a:lnTo>
                    <a:pt x="395" y="454"/>
                  </a:lnTo>
                  <a:lnTo>
                    <a:pt x="395" y="454"/>
                  </a:lnTo>
                  <a:lnTo>
                    <a:pt x="397" y="456"/>
                  </a:lnTo>
                  <a:lnTo>
                    <a:pt x="399" y="457"/>
                  </a:lnTo>
                  <a:lnTo>
                    <a:pt x="399" y="456"/>
                  </a:lnTo>
                  <a:lnTo>
                    <a:pt x="399" y="456"/>
                  </a:lnTo>
                  <a:lnTo>
                    <a:pt x="400" y="456"/>
                  </a:lnTo>
                  <a:lnTo>
                    <a:pt x="400" y="457"/>
                  </a:lnTo>
                  <a:lnTo>
                    <a:pt x="399" y="459"/>
                  </a:lnTo>
                  <a:lnTo>
                    <a:pt x="399" y="461"/>
                  </a:lnTo>
                  <a:lnTo>
                    <a:pt x="395" y="461"/>
                  </a:lnTo>
                  <a:lnTo>
                    <a:pt x="390" y="461"/>
                  </a:lnTo>
                  <a:lnTo>
                    <a:pt x="390" y="461"/>
                  </a:lnTo>
                  <a:lnTo>
                    <a:pt x="388" y="461"/>
                  </a:lnTo>
                  <a:lnTo>
                    <a:pt x="386" y="463"/>
                  </a:lnTo>
                  <a:lnTo>
                    <a:pt x="386" y="463"/>
                  </a:lnTo>
                  <a:lnTo>
                    <a:pt x="384" y="461"/>
                  </a:lnTo>
                  <a:lnTo>
                    <a:pt x="384" y="461"/>
                  </a:lnTo>
                  <a:lnTo>
                    <a:pt x="384" y="459"/>
                  </a:lnTo>
                  <a:lnTo>
                    <a:pt x="384" y="459"/>
                  </a:lnTo>
                  <a:lnTo>
                    <a:pt x="384" y="459"/>
                  </a:lnTo>
                  <a:lnTo>
                    <a:pt x="382" y="457"/>
                  </a:lnTo>
                  <a:lnTo>
                    <a:pt x="381" y="454"/>
                  </a:lnTo>
                  <a:lnTo>
                    <a:pt x="381" y="454"/>
                  </a:lnTo>
                  <a:lnTo>
                    <a:pt x="381" y="456"/>
                  </a:lnTo>
                  <a:lnTo>
                    <a:pt x="379" y="456"/>
                  </a:lnTo>
                  <a:lnTo>
                    <a:pt x="379" y="457"/>
                  </a:lnTo>
                  <a:lnTo>
                    <a:pt x="377" y="457"/>
                  </a:lnTo>
                  <a:lnTo>
                    <a:pt x="377" y="457"/>
                  </a:lnTo>
                  <a:lnTo>
                    <a:pt x="377" y="459"/>
                  </a:lnTo>
                  <a:lnTo>
                    <a:pt x="377" y="461"/>
                  </a:lnTo>
                  <a:lnTo>
                    <a:pt x="375" y="461"/>
                  </a:lnTo>
                  <a:lnTo>
                    <a:pt x="375" y="461"/>
                  </a:lnTo>
                  <a:lnTo>
                    <a:pt x="373" y="461"/>
                  </a:lnTo>
                  <a:lnTo>
                    <a:pt x="373" y="461"/>
                  </a:lnTo>
                  <a:lnTo>
                    <a:pt x="373" y="459"/>
                  </a:lnTo>
                  <a:lnTo>
                    <a:pt x="372" y="457"/>
                  </a:lnTo>
                  <a:lnTo>
                    <a:pt x="372" y="457"/>
                  </a:lnTo>
                  <a:lnTo>
                    <a:pt x="370" y="457"/>
                  </a:lnTo>
                  <a:lnTo>
                    <a:pt x="368" y="457"/>
                  </a:lnTo>
                  <a:lnTo>
                    <a:pt x="368" y="457"/>
                  </a:lnTo>
                  <a:lnTo>
                    <a:pt x="368" y="456"/>
                  </a:lnTo>
                  <a:lnTo>
                    <a:pt x="368" y="456"/>
                  </a:lnTo>
                  <a:lnTo>
                    <a:pt x="368" y="456"/>
                  </a:lnTo>
                  <a:lnTo>
                    <a:pt x="368" y="454"/>
                  </a:lnTo>
                  <a:lnTo>
                    <a:pt x="368" y="454"/>
                  </a:lnTo>
                  <a:lnTo>
                    <a:pt x="368" y="454"/>
                  </a:lnTo>
                  <a:lnTo>
                    <a:pt x="368" y="454"/>
                  </a:lnTo>
                  <a:lnTo>
                    <a:pt x="368" y="452"/>
                  </a:lnTo>
                  <a:lnTo>
                    <a:pt x="366" y="452"/>
                  </a:lnTo>
                  <a:lnTo>
                    <a:pt x="366" y="452"/>
                  </a:lnTo>
                  <a:lnTo>
                    <a:pt x="366" y="452"/>
                  </a:lnTo>
                  <a:lnTo>
                    <a:pt x="364" y="454"/>
                  </a:lnTo>
                  <a:lnTo>
                    <a:pt x="362" y="457"/>
                  </a:lnTo>
                  <a:lnTo>
                    <a:pt x="362" y="457"/>
                  </a:lnTo>
                  <a:lnTo>
                    <a:pt x="361" y="456"/>
                  </a:lnTo>
                  <a:lnTo>
                    <a:pt x="361" y="454"/>
                  </a:lnTo>
                  <a:lnTo>
                    <a:pt x="359" y="454"/>
                  </a:lnTo>
                  <a:lnTo>
                    <a:pt x="359" y="454"/>
                  </a:lnTo>
                  <a:lnTo>
                    <a:pt x="359" y="456"/>
                  </a:lnTo>
                  <a:lnTo>
                    <a:pt x="359" y="457"/>
                  </a:lnTo>
                  <a:lnTo>
                    <a:pt x="359" y="457"/>
                  </a:lnTo>
                  <a:lnTo>
                    <a:pt x="359" y="459"/>
                  </a:lnTo>
                  <a:lnTo>
                    <a:pt x="357" y="459"/>
                  </a:lnTo>
                  <a:lnTo>
                    <a:pt x="357" y="459"/>
                  </a:lnTo>
                  <a:lnTo>
                    <a:pt x="357" y="459"/>
                  </a:lnTo>
                  <a:lnTo>
                    <a:pt x="355" y="461"/>
                  </a:lnTo>
                  <a:lnTo>
                    <a:pt x="353" y="461"/>
                  </a:lnTo>
                  <a:lnTo>
                    <a:pt x="353" y="461"/>
                  </a:lnTo>
                  <a:lnTo>
                    <a:pt x="353" y="459"/>
                  </a:lnTo>
                  <a:lnTo>
                    <a:pt x="353" y="459"/>
                  </a:lnTo>
                  <a:lnTo>
                    <a:pt x="353" y="459"/>
                  </a:lnTo>
                  <a:lnTo>
                    <a:pt x="353" y="457"/>
                  </a:lnTo>
                  <a:lnTo>
                    <a:pt x="353" y="457"/>
                  </a:lnTo>
                  <a:lnTo>
                    <a:pt x="353" y="450"/>
                  </a:lnTo>
                  <a:lnTo>
                    <a:pt x="353" y="450"/>
                  </a:lnTo>
                  <a:lnTo>
                    <a:pt x="353" y="448"/>
                  </a:lnTo>
                  <a:lnTo>
                    <a:pt x="353" y="448"/>
                  </a:lnTo>
                  <a:lnTo>
                    <a:pt x="352" y="448"/>
                  </a:lnTo>
                  <a:lnTo>
                    <a:pt x="348" y="450"/>
                  </a:lnTo>
                  <a:lnTo>
                    <a:pt x="346" y="452"/>
                  </a:lnTo>
                  <a:lnTo>
                    <a:pt x="344" y="452"/>
                  </a:lnTo>
                  <a:lnTo>
                    <a:pt x="341" y="454"/>
                  </a:lnTo>
                  <a:lnTo>
                    <a:pt x="341" y="456"/>
                  </a:lnTo>
                  <a:lnTo>
                    <a:pt x="339" y="457"/>
                  </a:lnTo>
                  <a:lnTo>
                    <a:pt x="341" y="461"/>
                  </a:lnTo>
                  <a:lnTo>
                    <a:pt x="341" y="465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1" y="468"/>
                  </a:lnTo>
                  <a:lnTo>
                    <a:pt x="341" y="470"/>
                  </a:lnTo>
                  <a:lnTo>
                    <a:pt x="341" y="470"/>
                  </a:lnTo>
                  <a:lnTo>
                    <a:pt x="343" y="472"/>
                  </a:lnTo>
                  <a:lnTo>
                    <a:pt x="344" y="472"/>
                  </a:lnTo>
                  <a:lnTo>
                    <a:pt x="344" y="474"/>
                  </a:lnTo>
                  <a:lnTo>
                    <a:pt x="344" y="475"/>
                  </a:lnTo>
                  <a:lnTo>
                    <a:pt x="343" y="477"/>
                  </a:lnTo>
                  <a:lnTo>
                    <a:pt x="341" y="479"/>
                  </a:lnTo>
                  <a:lnTo>
                    <a:pt x="341" y="481"/>
                  </a:lnTo>
                  <a:lnTo>
                    <a:pt x="341" y="483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1" y="488"/>
                  </a:lnTo>
                  <a:lnTo>
                    <a:pt x="332" y="490"/>
                  </a:lnTo>
                  <a:lnTo>
                    <a:pt x="332" y="490"/>
                  </a:lnTo>
                  <a:lnTo>
                    <a:pt x="330" y="492"/>
                  </a:lnTo>
                  <a:lnTo>
                    <a:pt x="330" y="493"/>
                  </a:lnTo>
                  <a:lnTo>
                    <a:pt x="332" y="495"/>
                  </a:lnTo>
                  <a:lnTo>
                    <a:pt x="332" y="497"/>
                  </a:lnTo>
                  <a:lnTo>
                    <a:pt x="332" y="497"/>
                  </a:lnTo>
                  <a:lnTo>
                    <a:pt x="330" y="499"/>
                  </a:lnTo>
                  <a:lnTo>
                    <a:pt x="330" y="499"/>
                  </a:lnTo>
                  <a:lnTo>
                    <a:pt x="330" y="501"/>
                  </a:lnTo>
                  <a:lnTo>
                    <a:pt x="328" y="501"/>
                  </a:lnTo>
                  <a:lnTo>
                    <a:pt x="328" y="501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2"/>
                  </a:lnTo>
                  <a:lnTo>
                    <a:pt x="328" y="502"/>
                  </a:lnTo>
                  <a:lnTo>
                    <a:pt x="326" y="504"/>
                  </a:lnTo>
                  <a:lnTo>
                    <a:pt x="323" y="504"/>
                  </a:lnTo>
                  <a:lnTo>
                    <a:pt x="323" y="506"/>
                  </a:lnTo>
                  <a:lnTo>
                    <a:pt x="323" y="506"/>
                  </a:lnTo>
                  <a:lnTo>
                    <a:pt x="323" y="506"/>
                  </a:lnTo>
                  <a:lnTo>
                    <a:pt x="323" y="508"/>
                  </a:lnTo>
                  <a:lnTo>
                    <a:pt x="321" y="508"/>
                  </a:lnTo>
                  <a:lnTo>
                    <a:pt x="319" y="508"/>
                  </a:lnTo>
                  <a:lnTo>
                    <a:pt x="319" y="510"/>
                  </a:lnTo>
                  <a:lnTo>
                    <a:pt x="317" y="511"/>
                  </a:lnTo>
                  <a:lnTo>
                    <a:pt x="317" y="511"/>
                  </a:lnTo>
                  <a:lnTo>
                    <a:pt x="317" y="511"/>
                  </a:lnTo>
                  <a:lnTo>
                    <a:pt x="319" y="513"/>
                  </a:lnTo>
                  <a:lnTo>
                    <a:pt x="319" y="513"/>
                  </a:lnTo>
                  <a:lnTo>
                    <a:pt x="319" y="515"/>
                  </a:lnTo>
                  <a:lnTo>
                    <a:pt x="319" y="515"/>
                  </a:lnTo>
                  <a:lnTo>
                    <a:pt x="321" y="517"/>
                  </a:lnTo>
                  <a:lnTo>
                    <a:pt x="321" y="517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22"/>
                  </a:lnTo>
                  <a:lnTo>
                    <a:pt x="319" y="522"/>
                  </a:lnTo>
                  <a:lnTo>
                    <a:pt x="317" y="522"/>
                  </a:lnTo>
                  <a:lnTo>
                    <a:pt x="316" y="522"/>
                  </a:lnTo>
                  <a:lnTo>
                    <a:pt x="310" y="522"/>
                  </a:lnTo>
                  <a:lnTo>
                    <a:pt x="308" y="521"/>
                  </a:lnTo>
                  <a:lnTo>
                    <a:pt x="308" y="521"/>
                  </a:lnTo>
                  <a:lnTo>
                    <a:pt x="305" y="524"/>
                  </a:lnTo>
                  <a:lnTo>
                    <a:pt x="305" y="524"/>
                  </a:lnTo>
                  <a:lnTo>
                    <a:pt x="305" y="524"/>
                  </a:lnTo>
                  <a:lnTo>
                    <a:pt x="305" y="524"/>
                  </a:lnTo>
                  <a:lnTo>
                    <a:pt x="305" y="526"/>
                  </a:lnTo>
                  <a:lnTo>
                    <a:pt x="305" y="526"/>
                  </a:lnTo>
                  <a:lnTo>
                    <a:pt x="305" y="526"/>
                  </a:lnTo>
                  <a:lnTo>
                    <a:pt x="305" y="526"/>
                  </a:lnTo>
                  <a:lnTo>
                    <a:pt x="307" y="526"/>
                  </a:lnTo>
                  <a:lnTo>
                    <a:pt x="307" y="528"/>
                  </a:lnTo>
                  <a:lnTo>
                    <a:pt x="308" y="528"/>
                  </a:lnTo>
                  <a:lnTo>
                    <a:pt x="308" y="530"/>
                  </a:lnTo>
                  <a:lnTo>
                    <a:pt x="310" y="533"/>
                  </a:lnTo>
                  <a:lnTo>
                    <a:pt x="310" y="535"/>
                  </a:lnTo>
                  <a:lnTo>
                    <a:pt x="312" y="537"/>
                  </a:lnTo>
                  <a:lnTo>
                    <a:pt x="312" y="537"/>
                  </a:lnTo>
                  <a:lnTo>
                    <a:pt x="314" y="537"/>
                  </a:lnTo>
                  <a:lnTo>
                    <a:pt x="319" y="539"/>
                  </a:lnTo>
                  <a:lnTo>
                    <a:pt x="323" y="540"/>
                  </a:lnTo>
                  <a:lnTo>
                    <a:pt x="330" y="542"/>
                  </a:lnTo>
                  <a:lnTo>
                    <a:pt x="332" y="542"/>
                  </a:lnTo>
                  <a:lnTo>
                    <a:pt x="334" y="542"/>
                  </a:lnTo>
                  <a:lnTo>
                    <a:pt x="334" y="542"/>
                  </a:lnTo>
                  <a:lnTo>
                    <a:pt x="334" y="540"/>
                  </a:lnTo>
                  <a:lnTo>
                    <a:pt x="332" y="540"/>
                  </a:lnTo>
                  <a:lnTo>
                    <a:pt x="332" y="540"/>
                  </a:lnTo>
                  <a:lnTo>
                    <a:pt x="332" y="540"/>
                  </a:lnTo>
                  <a:lnTo>
                    <a:pt x="332" y="539"/>
                  </a:lnTo>
                  <a:lnTo>
                    <a:pt x="332" y="539"/>
                  </a:lnTo>
                  <a:lnTo>
                    <a:pt x="334" y="537"/>
                  </a:lnTo>
                  <a:lnTo>
                    <a:pt x="334" y="537"/>
                  </a:lnTo>
                  <a:lnTo>
                    <a:pt x="334" y="535"/>
                  </a:lnTo>
                  <a:lnTo>
                    <a:pt x="335" y="535"/>
                  </a:lnTo>
                  <a:lnTo>
                    <a:pt x="335" y="535"/>
                  </a:lnTo>
                  <a:lnTo>
                    <a:pt x="337" y="537"/>
                  </a:lnTo>
                  <a:lnTo>
                    <a:pt x="337" y="537"/>
                  </a:lnTo>
                  <a:lnTo>
                    <a:pt x="339" y="537"/>
                  </a:lnTo>
                  <a:lnTo>
                    <a:pt x="339" y="539"/>
                  </a:lnTo>
                  <a:lnTo>
                    <a:pt x="341" y="539"/>
                  </a:lnTo>
                  <a:lnTo>
                    <a:pt x="341" y="539"/>
                  </a:lnTo>
                  <a:lnTo>
                    <a:pt x="343" y="537"/>
                  </a:lnTo>
                  <a:lnTo>
                    <a:pt x="343" y="537"/>
                  </a:lnTo>
                  <a:lnTo>
                    <a:pt x="343" y="535"/>
                  </a:lnTo>
                  <a:lnTo>
                    <a:pt x="343" y="535"/>
                  </a:lnTo>
                  <a:lnTo>
                    <a:pt x="343" y="535"/>
                  </a:lnTo>
                  <a:lnTo>
                    <a:pt x="344" y="535"/>
                  </a:lnTo>
                  <a:lnTo>
                    <a:pt x="344" y="535"/>
                  </a:lnTo>
                  <a:lnTo>
                    <a:pt x="348" y="533"/>
                  </a:lnTo>
                  <a:lnTo>
                    <a:pt x="350" y="531"/>
                  </a:lnTo>
                  <a:lnTo>
                    <a:pt x="350" y="531"/>
                  </a:lnTo>
                  <a:lnTo>
                    <a:pt x="352" y="531"/>
                  </a:lnTo>
                  <a:lnTo>
                    <a:pt x="352" y="531"/>
                  </a:lnTo>
                  <a:lnTo>
                    <a:pt x="353" y="531"/>
                  </a:lnTo>
                  <a:lnTo>
                    <a:pt x="353" y="531"/>
                  </a:lnTo>
                  <a:lnTo>
                    <a:pt x="353" y="530"/>
                  </a:lnTo>
                  <a:lnTo>
                    <a:pt x="353" y="530"/>
                  </a:lnTo>
                  <a:lnTo>
                    <a:pt x="353" y="530"/>
                  </a:lnTo>
                  <a:lnTo>
                    <a:pt x="355" y="528"/>
                  </a:lnTo>
                  <a:lnTo>
                    <a:pt x="357" y="528"/>
                  </a:lnTo>
                  <a:lnTo>
                    <a:pt x="357" y="528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61" y="528"/>
                  </a:lnTo>
                  <a:lnTo>
                    <a:pt x="361" y="528"/>
                  </a:lnTo>
                  <a:lnTo>
                    <a:pt x="361" y="528"/>
                  </a:lnTo>
                  <a:lnTo>
                    <a:pt x="362" y="528"/>
                  </a:lnTo>
                  <a:lnTo>
                    <a:pt x="366" y="528"/>
                  </a:lnTo>
                  <a:lnTo>
                    <a:pt x="373" y="530"/>
                  </a:lnTo>
                  <a:lnTo>
                    <a:pt x="375" y="533"/>
                  </a:lnTo>
                  <a:lnTo>
                    <a:pt x="375" y="533"/>
                  </a:lnTo>
                  <a:lnTo>
                    <a:pt x="377" y="533"/>
                  </a:lnTo>
                  <a:lnTo>
                    <a:pt x="377" y="537"/>
                  </a:lnTo>
                  <a:lnTo>
                    <a:pt x="377" y="539"/>
                  </a:lnTo>
                  <a:lnTo>
                    <a:pt x="377" y="540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7" y="544"/>
                  </a:lnTo>
                  <a:lnTo>
                    <a:pt x="379" y="542"/>
                  </a:lnTo>
                  <a:lnTo>
                    <a:pt x="379" y="542"/>
                  </a:lnTo>
                  <a:lnTo>
                    <a:pt x="381" y="542"/>
                  </a:lnTo>
                  <a:lnTo>
                    <a:pt x="381" y="542"/>
                  </a:lnTo>
                  <a:lnTo>
                    <a:pt x="381" y="542"/>
                  </a:lnTo>
                  <a:lnTo>
                    <a:pt x="381" y="540"/>
                  </a:lnTo>
                  <a:lnTo>
                    <a:pt x="381" y="540"/>
                  </a:lnTo>
                  <a:lnTo>
                    <a:pt x="381" y="539"/>
                  </a:lnTo>
                  <a:lnTo>
                    <a:pt x="381" y="539"/>
                  </a:lnTo>
                  <a:lnTo>
                    <a:pt x="382" y="537"/>
                  </a:lnTo>
                  <a:lnTo>
                    <a:pt x="382" y="537"/>
                  </a:lnTo>
                  <a:lnTo>
                    <a:pt x="382" y="535"/>
                  </a:lnTo>
                  <a:lnTo>
                    <a:pt x="382" y="533"/>
                  </a:lnTo>
                  <a:lnTo>
                    <a:pt x="382" y="531"/>
                  </a:lnTo>
                  <a:lnTo>
                    <a:pt x="381" y="530"/>
                  </a:lnTo>
                  <a:lnTo>
                    <a:pt x="381" y="530"/>
                  </a:lnTo>
                  <a:lnTo>
                    <a:pt x="381" y="530"/>
                  </a:lnTo>
                  <a:lnTo>
                    <a:pt x="382" y="528"/>
                  </a:lnTo>
                  <a:lnTo>
                    <a:pt x="382" y="526"/>
                  </a:lnTo>
                  <a:lnTo>
                    <a:pt x="381" y="526"/>
                  </a:lnTo>
                  <a:lnTo>
                    <a:pt x="381" y="524"/>
                  </a:lnTo>
                  <a:lnTo>
                    <a:pt x="381" y="526"/>
                  </a:lnTo>
                  <a:lnTo>
                    <a:pt x="381" y="526"/>
                  </a:lnTo>
                  <a:lnTo>
                    <a:pt x="379" y="528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7" y="526"/>
                  </a:lnTo>
                  <a:lnTo>
                    <a:pt x="377" y="526"/>
                  </a:lnTo>
                  <a:lnTo>
                    <a:pt x="377" y="524"/>
                  </a:lnTo>
                  <a:lnTo>
                    <a:pt x="377" y="524"/>
                  </a:lnTo>
                  <a:lnTo>
                    <a:pt x="377" y="526"/>
                  </a:lnTo>
                  <a:lnTo>
                    <a:pt x="377" y="526"/>
                  </a:lnTo>
                  <a:lnTo>
                    <a:pt x="377" y="528"/>
                  </a:lnTo>
                  <a:lnTo>
                    <a:pt x="375" y="528"/>
                  </a:lnTo>
                  <a:lnTo>
                    <a:pt x="375" y="526"/>
                  </a:lnTo>
                  <a:lnTo>
                    <a:pt x="375" y="526"/>
                  </a:lnTo>
                  <a:lnTo>
                    <a:pt x="375" y="524"/>
                  </a:lnTo>
                  <a:lnTo>
                    <a:pt x="375" y="524"/>
                  </a:lnTo>
                  <a:lnTo>
                    <a:pt x="375" y="524"/>
                  </a:lnTo>
                  <a:lnTo>
                    <a:pt x="375" y="524"/>
                  </a:lnTo>
                  <a:lnTo>
                    <a:pt x="375" y="522"/>
                  </a:lnTo>
                  <a:lnTo>
                    <a:pt x="375" y="522"/>
                  </a:lnTo>
                  <a:lnTo>
                    <a:pt x="377" y="522"/>
                  </a:lnTo>
                  <a:lnTo>
                    <a:pt x="377" y="521"/>
                  </a:lnTo>
                  <a:lnTo>
                    <a:pt x="379" y="519"/>
                  </a:lnTo>
                  <a:lnTo>
                    <a:pt x="379" y="517"/>
                  </a:lnTo>
                  <a:lnTo>
                    <a:pt x="379" y="519"/>
                  </a:lnTo>
                  <a:lnTo>
                    <a:pt x="377" y="519"/>
                  </a:lnTo>
                  <a:lnTo>
                    <a:pt x="377" y="521"/>
                  </a:lnTo>
                  <a:lnTo>
                    <a:pt x="375" y="519"/>
                  </a:lnTo>
                  <a:lnTo>
                    <a:pt x="375" y="519"/>
                  </a:lnTo>
                  <a:lnTo>
                    <a:pt x="373" y="519"/>
                  </a:lnTo>
                  <a:lnTo>
                    <a:pt x="373" y="515"/>
                  </a:lnTo>
                  <a:lnTo>
                    <a:pt x="373" y="511"/>
                  </a:lnTo>
                  <a:lnTo>
                    <a:pt x="373" y="510"/>
                  </a:lnTo>
                  <a:lnTo>
                    <a:pt x="375" y="508"/>
                  </a:lnTo>
                  <a:lnTo>
                    <a:pt x="375" y="508"/>
                  </a:lnTo>
                  <a:lnTo>
                    <a:pt x="375" y="506"/>
                  </a:lnTo>
                  <a:lnTo>
                    <a:pt x="375" y="506"/>
                  </a:lnTo>
                  <a:lnTo>
                    <a:pt x="375" y="504"/>
                  </a:lnTo>
                  <a:lnTo>
                    <a:pt x="375" y="504"/>
                  </a:lnTo>
                  <a:lnTo>
                    <a:pt x="377" y="502"/>
                  </a:lnTo>
                  <a:lnTo>
                    <a:pt x="377" y="502"/>
                  </a:lnTo>
                  <a:lnTo>
                    <a:pt x="377" y="502"/>
                  </a:lnTo>
                  <a:lnTo>
                    <a:pt x="375" y="501"/>
                  </a:lnTo>
                  <a:lnTo>
                    <a:pt x="375" y="501"/>
                  </a:lnTo>
                  <a:lnTo>
                    <a:pt x="375" y="501"/>
                  </a:lnTo>
                  <a:lnTo>
                    <a:pt x="375" y="499"/>
                  </a:lnTo>
                  <a:lnTo>
                    <a:pt x="377" y="499"/>
                  </a:lnTo>
                  <a:lnTo>
                    <a:pt x="377" y="501"/>
                  </a:lnTo>
                  <a:lnTo>
                    <a:pt x="377" y="501"/>
                  </a:lnTo>
                  <a:lnTo>
                    <a:pt x="377" y="501"/>
                  </a:lnTo>
                  <a:lnTo>
                    <a:pt x="379" y="501"/>
                  </a:lnTo>
                  <a:lnTo>
                    <a:pt x="379" y="502"/>
                  </a:lnTo>
                  <a:lnTo>
                    <a:pt x="379" y="502"/>
                  </a:lnTo>
                  <a:lnTo>
                    <a:pt x="379" y="502"/>
                  </a:lnTo>
                  <a:lnTo>
                    <a:pt x="379" y="502"/>
                  </a:lnTo>
                  <a:lnTo>
                    <a:pt x="379" y="504"/>
                  </a:lnTo>
                  <a:lnTo>
                    <a:pt x="379" y="504"/>
                  </a:lnTo>
                  <a:lnTo>
                    <a:pt x="379" y="508"/>
                  </a:lnTo>
                  <a:lnTo>
                    <a:pt x="379" y="510"/>
                  </a:lnTo>
                  <a:lnTo>
                    <a:pt x="379" y="510"/>
                  </a:lnTo>
                  <a:lnTo>
                    <a:pt x="381" y="511"/>
                  </a:lnTo>
                  <a:lnTo>
                    <a:pt x="381" y="513"/>
                  </a:lnTo>
                  <a:lnTo>
                    <a:pt x="381" y="515"/>
                  </a:lnTo>
                  <a:lnTo>
                    <a:pt x="381" y="513"/>
                  </a:lnTo>
                  <a:lnTo>
                    <a:pt x="382" y="513"/>
                  </a:lnTo>
                  <a:lnTo>
                    <a:pt x="384" y="513"/>
                  </a:lnTo>
                  <a:lnTo>
                    <a:pt x="382" y="513"/>
                  </a:lnTo>
                  <a:lnTo>
                    <a:pt x="382" y="513"/>
                  </a:lnTo>
                  <a:lnTo>
                    <a:pt x="384" y="511"/>
                  </a:lnTo>
                  <a:lnTo>
                    <a:pt x="384" y="511"/>
                  </a:lnTo>
                  <a:lnTo>
                    <a:pt x="384" y="511"/>
                  </a:lnTo>
                  <a:lnTo>
                    <a:pt x="386" y="511"/>
                  </a:lnTo>
                  <a:lnTo>
                    <a:pt x="386" y="511"/>
                  </a:lnTo>
                  <a:lnTo>
                    <a:pt x="388" y="511"/>
                  </a:lnTo>
                  <a:lnTo>
                    <a:pt x="388" y="511"/>
                  </a:lnTo>
                  <a:lnTo>
                    <a:pt x="388" y="510"/>
                  </a:lnTo>
                  <a:lnTo>
                    <a:pt x="386" y="510"/>
                  </a:lnTo>
                  <a:lnTo>
                    <a:pt x="384" y="510"/>
                  </a:lnTo>
                  <a:lnTo>
                    <a:pt x="384" y="508"/>
                  </a:lnTo>
                  <a:lnTo>
                    <a:pt x="384" y="508"/>
                  </a:lnTo>
                  <a:lnTo>
                    <a:pt x="384" y="506"/>
                  </a:lnTo>
                  <a:lnTo>
                    <a:pt x="386" y="506"/>
                  </a:lnTo>
                  <a:lnTo>
                    <a:pt x="386" y="504"/>
                  </a:lnTo>
                  <a:lnTo>
                    <a:pt x="388" y="504"/>
                  </a:lnTo>
                  <a:lnTo>
                    <a:pt x="388" y="504"/>
                  </a:lnTo>
                  <a:lnTo>
                    <a:pt x="388" y="504"/>
                  </a:lnTo>
                  <a:lnTo>
                    <a:pt x="388" y="504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0" y="504"/>
                  </a:lnTo>
                  <a:lnTo>
                    <a:pt x="390" y="504"/>
                  </a:lnTo>
                  <a:lnTo>
                    <a:pt x="390" y="504"/>
                  </a:lnTo>
                  <a:lnTo>
                    <a:pt x="390" y="506"/>
                  </a:lnTo>
                  <a:lnTo>
                    <a:pt x="390" y="506"/>
                  </a:lnTo>
                  <a:lnTo>
                    <a:pt x="391" y="506"/>
                  </a:lnTo>
                  <a:lnTo>
                    <a:pt x="391" y="504"/>
                  </a:lnTo>
                  <a:lnTo>
                    <a:pt x="391" y="504"/>
                  </a:lnTo>
                  <a:lnTo>
                    <a:pt x="390" y="504"/>
                  </a:lnTo>
                  <a:lnTo>
                    <a:pt x="390" y="502"/>
                  </a:lnTo>
                  <a:lnTo>
                    <a:pt x="390" y="501"/>
                  </a:lnTo>
                  <a:lnTo>
                    <a:pt x="390" y="501"/>
                  </a:lnTo>
                  <a:lnTo>
                    <a:pt x="391" y="501"/>
                  </a:lnTo>
                  <a:lnTo>
                    <a:pt x="391" y="501"/>
                  </a:lnTo>
                  <a:lnTo>
                    <a:pt x="391" y="501"/>
                  </a:lnTo>
                  <a:lnTo>
                    <a:pt x="391" y="502"/>
                  </a:lnTo>
                  <a:lnTo>
                    <a:pt x="391" y="502"/>
                  </a:lnTo>
                  <a:lnTo>
                    <a:pt x="391" y="504"/>
                  </a:lnTo>
                  <a:lnTo>
                    <a:pt x="391" y="502"/>
                  </a:lnTo>
                  <a:lnTo>
                    <a:pt x="391" y="501"/>
                  </a:lnTo>
                  <a:lnTo>
                    <a:pt x="393" y="499"/>
                  </a:lnTo>
                  <a:lnTo>
                    <a:pt x="393" y="499"/>
                  </a:lnTo>
                  <a:lnTo>
                    <a:pt x="395" y="499"/>
                  </a:lnTo>
                  <a:lnTo>
                    <a:pt x="397" y="501"/>
                  </a:lnTo>
                  <a:lnTo>
                    <a:pt x="397" y="501"/>
                  </a:lnTo>
                  <a:lnTo>
                    <a:pt x="397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499"/>
                  </a:lnTo>
                  <a:lnTo>
                    <a:pt x="399" y="499"/>
                  </a:lnTo>
                  <a:lnTo>
                    <a:pt x="399" y="497"/>
                  </a:lnTo>
                  <a:lnTo>
                    <a:pt x="400" y="495"/>
                  </a:lnTo>
                  <a:lnTo>
                    <a:pt x="400" y="495"/>
                  </a:lnTo>
                  <a:lnTo>
                    <a:pt x="400" y="495"/>
                  </a:lnTo>
                  <a:lnTo>
                    <a:pt x="400" y="495"/>
                  </a:lnTo>
                  <a:lnTo>
                    <a:pt x="400" y="499"/>
                  </a:lnTo>
                  <a:lnTo>
                    <a:pt x="400" y="501"/>
                  </a:lnTo>
                  <a:lnTo>
                    <a:pt x="404" y="497"/>
                  </a:lnTo>
                  <a:lnTo>
                    <a:pt x="408" y="495"/>
                  </a:lnTo>
                  <a:lnTo>
                    <a:pt x="413" y="488"/>
                  </a:lnTo>
                  <a:lnTo>
                    <a:pt x="418" y="481"/>
                  </a:lnTo>
                  <a:lnTo>
                    <a:pt x="418" y="481"/>
                  </a:lnTo>
                  <a:lnTo>
                    <a:pt x="420" y="477"/>
                  </a:lnTo>
                  <a:lnTo>
                    <a:pt x="420" y="477"/>
                  </a:lnTo>
                  <a:lnTo>
                    <a:pt x="422" y="477"/>
                  </a:lnTo>
                  <a:lnTo>
                    <a:pt x="422" y="475"/>
                  </a:lnTo>
                  <a:lnTo>
                    <a:pt x="424" y="474"/>
                  </a:lnTo>
                  <a:lnTo>
                    <a:pt x="428" y="468"/>
                  </a:lnTo>
                  <a:lnTo>
                    <a:pt x="428" y="466"/>
                  </a:lnTo>
                  <a:lnTo>
                    <a:pt x="428" y="465"/>
                  </a:lnTo>
                  <a:lnTo>
                    <a:pt x="428" y="465"/>
                  </a:lnTo>
                  <a:lnTo>
                    <a:pt x="428" y="463"/>
                  </a:lnTo>
                  <a:lnTo>
                    <a:pt x="428" y="463"/>
                  </a:lnTo>
                  <a:lnTo>
                    <a:pt x="428" y="463"/>
                  </a:lnTo>
                  <a:lnTo>
                    <a:pt x="428" y="463"/>
                  </a:lnTo>
                  <a:lnTo>
                    <a:pt x="429" y="463"/>
                  </a:lnTo>
                  <a:lnTo>
                    <a:pt x="431" y="461"/>
                  </a:lnTo>
                  <a:lnTo>
                    <a:pt x="433" y="459"/>
                  </a:lnTo>
                  <a:lnTo>
                    <a:pt x="433" y="459"/>
                  </a:lnTo>
                  <a:lnTo>
                    <a:pt x="433" y="456"/>
                  </a:lnTo>
                  <a:lnTo>
                    <a:pt x="433" y="456"/>
                  </a:lnTo>
                  <a:lnTo>
                    <a:pt x="433" y="456"/>
                  </a:lnTo>
                  <a:lnTo>
                    <a:pt x="433" y="456"/>
                  </a:lnTo>
                  <a:lnTo>
                    <a:pt x="435" y="456"/>
                  </a:lnTo>
                  <a:lnTo>
                    <a:pt x="433" y="454"/>
                  </a:lnTo>
                  <a:lnTo>
                    <a:pt x="433" y="454"/>
                  </a:lnTo>
                  <a:lnTo>
                    <a:pt x="433" y="454"/>
                  </a:lnTo>
                  <a:lnTo>
                    <a:pt x="433" y="452"/>
                  </a:lnTo>
                  <a:lnTo>
                    <a:pt x="431" y="450"/>
                  </a:lnTo>
                  <a:lnTo>
                    <a:pt x="431" y="450"/>
                  </a:lnTo>
                  <a:lnTo>
                    <a:pt x="433" y="450"/>
                  </a:lnTo>
                  <a:lnTo>
                    <a:pt x="433" y="446"/>
                  </a:lnTo>
                  <a:lnTo>
                    <a:pt x="435" y="446"/>
                  </a:lnTo>
                  <a:lnTo>
                    <a:pt x="435" y="446"/>
                  </a:lnTo>
                  <a:lnTo>
                    <a:pt x="437" y="446"/>
                  </a:lnTo>
                  <a:lnTo>
                    <a:pt x="437" y="446"/>
                  </a:lnTo>
                  <a:lnTo>
                    <a:pt x="440" y="445"/>
                  </a:lnTo>
                  <a:lnTo>
                    <a:pt x="440" y="445"/>
                  </a:lnTo>
                  <a:lnTo>
                    <a:pt x="442" y="445"/>
                  </a:lnTo>
                  <a:lnTo>
                    <a:pt x="442" y="445"/>
                  </a:lnTo>
                  <a:lnTo>
                    <a:pt x="444" y="445"/>
                  </a:lnTo>
                  <a:lnTo>
                    <a:pt x="444" y="443"/>
                  </a:lnTo>
                  <a:lnTo>
                    <a:pt x="446" y="443"/>
                  </a:lnTo>
                  <a:lnTo>
                    <a:pt x="447" y="443"/>
                  </a:lnTo>
                  <a:lnTo>
                    <a:pt x="449" y="443"/>
                  </a:lnTo>
                  <a:lnTo>
                    <a:pt x="453" y="441"/>
                  </a:lnTo>
                  <a:lnTo>
                    <a:pt x="453" y="441"/>
                  </a:lnTo>
                  <a:lnTo>
                    <a:pt x="456" y="443"/>
                  </a:lnTo>
                  <a:lnTo>
                    <a:pt x="458" y="443"/>
                  </a:lnTo>
                  <a:lnTo>
                    <a:pt x="458" y="443"/>
                  </a:lnTo>
                  <a:lnTo>
                    <a:pt x="458" y="443"/>
                  </a:lnTo>
                  <a:lnTo>
                    <a:pt x="460" y="443"/>
                  </a:lnTo>
                  <a:lnTo>
                    <a:pt x="462" y="443"/>
                  </a:lnTo>
                  <a:lnTo>
                    <a:pt x="462" y="443"/>
                  </a:lnTo>
                  <a:lnTo>
                    <a:pt x="464" y="441"/>
                  </a:lnTo>
                  <a:lnTo>
                    <a:pt x="465" y="441"/>
                  </a:lnTo>
                  <a:lnTo>
                    <a:pt x="465" y="441"/>
                  </a:lnTo>
                  <a:lnTo>
                    <a:pt x="467" y="437"/>
                  </a:lnTo>
                  <a:lnTo>
                    <a:pt x="467" y="437"/>
                  </a:lnTo>
                  <a:lnTo>
                    <a:pt x="467" y="437"/>
                  </a:lnTo>
                  <a:lnTo>
                    <a:pt x="469" y="436"/>
                  </a:lnTo>
                  <a:lnTo>
                    <a:pt x="469" y="436"/>
                  </a:lnTo>
                  <a:lnTo>
                    <a:pt x="469" y="434"/>
                  </a:lnTo>
                  <a:lnTo>
                    <a:pt x="467" y="434"/>
                  </a:lnTo>
                  <a:lnTo>
                    <a:pt x="467" y="434"/>
                  </a:lnTo>
                  <a:lnTo>
                    <a:pt x="467" y="432"/>
                  </a:lnTo>
                  <a:lnTo>
                    <a:pt x="467" y="432"/>
                  </a:lnTo>
                  <a:lnTo>
                    <a:pt x="467" y="430"/>
                  </a:lnTo>
                  <a:lnTo>
                    <a:pt x="465" y="428"/>
                  </a:lnTo>
                  <a:lnTo>
                    <a:pt x="467" y="430"/>
                  </a:lnTo>
                  <a:lnTo>
                    <a:pt x="467" y="430"/>
                  </a:lnTo>
                  <a:lnTo>
                    <a:pt x="469" y="432"/>
                  </a:lnTo>
                  <a:lnTo>
                    <a:pt x="469" y="432"/>
                  </a:lnTo>
                  <a:lnTo>
                    <a:pt x="469" y="434"/>
                  </a:lnTo>
                  <a:lnTo>
                    <a:pt x="471" y="434"/>
                  </a:lnTo>
                  <a:lnTo>
                    <a:pt x="471" y="432"/>
                  </a:lnTo>
                  <a:lnTo>
                    <a:pt x="471" y="432"/>
                  </a:lnTo>
                  <a:lnTo>
                    <a:pt x="471" y="430"/>
                  </a:lnTo>
                  <a:lnTo>
                    <a:pt x="471" y="430"/>
                  </a:lnTo>
                  <a:lnTo>
                    <a:pt x="473" y="430"/>
                  </a:lnTo>
                  <a:lnTo>
                    <a:pt x="473" y="430"/>
                  </a:lnTo>
                  <a:lnTo>
                    <a:pt x="473" y="430"/>
                  </a:lnTo>
                  <a:lnTo>
                    <a:pt x="474" y="428"/>
                  </a:lnTo>
                  <a:lnTo>
                    <a:pt x="474" y="428"/>
                  </a:lnTo>
                  <a:lnTo>
                    <a:pt x="474" y="427"/>
                  </a:lnTo>
                  <a:lnTo>
                    <a:pt x="474" y="428"/>
                  </a:lnTo>
                  <a:lnTo>
                    <a:pt x="473" y="432"/>
                  </a:lnTo>
                  <a:lnTo>
                    <a:pt x="473" y="432"/>
                  </a:lnTo>
                  <a:lnTo>
                    <a:pt x="473" y="434"/>
                  </a:lnTo>
                  <a:lnTo>
                    <a:pt x="471" y="434"/>
                  </a:lnTo>
                  <a:lnTo>
                    <a:pt x="469" y="439"/>
                  </a:lnTo>
                  <a:lnTo>
                    <a:pt x="467" y="441"/>
                  </a:lnTo>
                  <a:lnTo>
                    <a:pt x="469" y="441"/>
                  </a:lnTo>
                  <a:lnTo>
                    <a:pt x="469" y="441"/>
                  </a:lnTo>
                  <a:lnTo>
                    <a:pt x="469" y="441"/>
                  </a:lnTo>
                  <a:lnTo>
                    <a:pt x="471" y="441"/>
                  </a:lnTo>
                  <a:lnTo>
                    <a:pt x="471" y="441"/>
                  </a:lnTo>
                  <a:lnTo>
                    <a:pt x="471" y="443"/>
                  </a:lnTo>
                  <a:lnTo>
                    <a:pt x="473" y="443"/>
                  </a:lnTo>
                  <a:lnTo>
                    <a:pt x="473" y="443"/>
                  </a:lnTo>
                  <a:lnTo>
                    <a:pt x="473" y="441"/>
                  </a:lnTo>
                  <a:lnTo>
                    <a:pt x="474" y="441"/>
                  </a:lnTo>
                  <a:lnTo>
                    <a:pt x="474" y="441"/>
                  </a:lnTo>
                  <a:lnTo>
                    <a:pt x="478" y="439"/>
                  </a:lnTo>
                  <a:lnTo>
                    <a:pt x="483" y="441"/>
                  </a:lnTo>
                  <a:lnTo>
                    <a:pt x="485" y="443"/>
                  </a:lnTo>
                  <a:lnTo>
                    <a:pt x="487" y="441"/>
                  </a:lnTo>
                  <a:lnTo>
                    <a:pt x="487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39"/>
                  </a:lnTo>
                  <a:lnTo>
                    <a:pt x="489" y="439"/>
                  </a:lnTo>
                  <a:lnTo>
                    <a:pt x="489" y="437"/>
                  </a:lnTo>
                  <a:lnTo>
                    <a:pt x="489" y="437"/>
                  </a:lnTo>
                  <a:lnTo>
                    <a:pt x="489" y="434"/>
                  </a:lnTo>
                  <a:lnTo>
                    <a:pt x="489" y="434"/>
                  </a:lnTo>
                  <a:lnTo>
                    <a:pt x="487" y="430"/>
                  </a:lnTo>
                  <a:lnTo>
                    <a:pt x="487" y="428"/>
                  </a:lnTo>
                  <a:lnTo>
                    <a:pt x="487" y="427"/>
                  </a:lnTo>
                  <a:lnTo>
                    <a:pt x="489" y="427"/>
                  </a:lnTo>
                  <a:lnTo>
                    <a:pt x="491" y="427"/>
                  </a:lnTo>
                  <a:lnTo>
                    <a:pt x="491" y="425"/>
                  </a:lnTo>
                  <a:lnTo>
                    <a:pt x="493" y="423"/>
                  </a:lnTo>
                  <a:lnTo>
                    <a:pt x="493" y="421"/>
                  </a:lnTo>
                  <a:lnTo>
                    <a:pt x="493" y="419"/>
                  </a:lnTo>
                  <a:lnTo>
                    <a:pt x="491" y="419"/>
                  </a:lnTo>
                  <a:lnTo>
                    <a:pt x="491" y="419"/>
                  </a:lnTo>
                  <a:lnTo>
                    <a:pt x="489" y="419"/>
                  </a:lnTo>
                  <a:lnTo>
                    <a:pt x="489" y="419"/>
                  </a:lnTo>
                  <a:lnTo>
                    <a:pt x="489" y="418"/>
                  </a:lnTo>
                  <a:lnTo>
                    <a:pt x="491" y="416"/>
                  </a:lnTo>
                  <a:lnTo>
                    <a:pt x="491" y="414"/>
                  </a:lnTo>
                  <a:lnTo>
                    <a:pt x="491" y="414"/>
                  </a:lnTo>
                  <a:lnTo>
                    <a:pt x="487" y="414"/>
                  </a:lnTo>
                  <a:lnTo>
                    <a:pt x="485" y="414"/>
                  </a:lnTo>
                  <a:lnTo>
                    <a:pt x="487" y="410"/>
                  </a:lnTo>
                  <a:lnTo>
                    <a:pt x="487" y="410"/>
                  </a:lnTo>
                  <a:lnTo>
                    <a:pt x="487" y="409"/>
                  </a:lnTo>
                  <a:lnTo>
                    <a:pt x="487" y="409"/>
                  </a:lnTo>
                  <a:lnTo>
                    <a:pt x="487" y="407"/>
                  </a:lnTo>
                  <a:lnTo>
                    <a:pt x="487" y="407"/>
                  </a:lnTo>
                  <a:lnTo>
                    <a:pt x="487" y="407"/>
                  </a:lnTo>
                  <a:lnTo>
                    <a:pt x="487" y="407"/>
                  </a:lnTo>
                  <a:lnTo>
                    <a:pt x="485" y="407"/>
                  </a:lnTo>
                  <a:lnTo>
                    <a:pt x="485" y="405"/>
                  </a:lnTo>
                  <a:lnTo>
                    <a:pt x="485" y="401"/>
                  </a:lnTo>
                  <a:lnTo>
                    <a:pt x="485" y="401"/>
                  </a:lnTo>
                  <a:lnTo>
                    <a:pt x="482" y="400"/>
                  </a:lnTo>
                  <a:lnTo>
                    <a:pt x="482" y="400"/>
                  </a:lnTo>
                  <a:lnTo>
                    <a:pt x="480" y="398"/>
                  </a:lnTo>
                  <a:lnTo>
                    <a:pt x="480" y="398"/>
                  </a:lnTo>
                  <a:lnTo>
                    <a:pt x="480" y="398"/>
                  </a:lnTo>
                  <a:lnTo>
                    <a:pt x="482" y="396"/>
                  </a:lnTo>
                  <a:lnTo>
                    <a:pt x="482" y="396"/>
                  </a:lnTo>
                  <a:lnTo>
                    <a:pt x="482" y="396"/>
                  </a:lnTo>
                  <a:lnTo>
                    <a:pt x="482" y="396"/>
                  </a:lnTo>
                  <a:lnTo>
                    <a:pt x="482" y="398"/>
                  </a:lnTo>
                  <a:lnTo>
                    <a:pt x="482" y="400"/>
                  </a:lnTo>
                  <a:lnTo>
                    <a:pt x="485" y="400"/>
                  </a:lnTo>
                  <a:lnTo>
                    <a:pt x="485" y="401"/>
                  </a:lnTo>
                  <a:lnTo>
                    <a:pt x="485" y="401"/>
                  </a:lnTo>
                  <a:lnTo>
                    <a:pt x="485" y="403"/>
                  </a:lnTo>
                  <a:lnTo>
                    <a:pt x="485" y="403"/>
                  </a:lnTo>
                  <a:lnTo>
                    <a:pt x="487" y="405"/>
                  </a:lnTo>
                  <a:lnTo>
                    <a:pt x="487" y="405"/>
                  </a:lnTo>
                  <a:lnTo>
                    <a:pt x="487" y="405"/>
                  </a:lnTo>
                  <a:lnTo>
                    <a:pt x="489" y="407"/>
                  </a:lnTo>
                  <a:lnTo>
                    <a:pt x="489" y="409"/>
                  </a:lnTo>
                  <a:lnTo>
                    <a:pt x="489" y="410"/>
                  </a:lnTo>
                  <a:lnTo>
                    <a:pt x="487" y="412"/>
                  </a:lnTo>
                  <a:lnTo>
                    <a:pt x="489" y="414"/>
                  </a:lnTo>
                  <a:lnTo>
                    <a:pt x="489" y="414"/>
                  </a:lnTo>
                  <a:lnTo>
                    <a:pt x="491" y="414"/>
                  </a:lnTo>
                  <a:lnTo>
                    <a:pt x="493" y="414"/>
                  </a:lnTo>
                  <a:lnTo>
                    <a:pt x="493" y="414"/>
                  </a:lnTo>
                  <a:lnTo>
                    <a:pt x="493" y="414"/>
                  </a:lnTo>
                  <a:lnTo>
                    <a:pt x="491" y="418"/>
                  </a:lnTo>
                  <a:lnTo>
                    <a:pt x="491" y="418"/>
                  </a:lnTo>
                  <a:lnTo>
                    <a:pt x="491" y="419"/>
                  </a:lnTo>
                  <a:lnTo>
                    <a:pt x="494" y="419"/>
                  </a:lnTo>
                  <a:lnTo>
                    <a:pt x="494" y="419"/>
                  </a:lnTo>
                  <a:lnTo>
                    <a:pt x="494" y="421"/>
                  </a:lnTo>
                  <a:lnTo>
                    <a:pt x="494" y="423"/>
                  </a:lnTo>
                  <a:lnTo>
                    <a:pt x="493" y="425"/>
                  </a:lnTo>
                  <a:lnTo>
                    <a:pt x="493" y="427"/>
                  </a:lnTo>
                  <a:lnTo>
                    <a:pt x="491" y="428"/>
                  </a:lnTo>
                  <a:lnTo>
                    <a:pt x="491" y="432"/>
                  </a:lnTo>
                  <a:lnTo>
                    <a:pt x="493" y="434"/>
                  </a:lnTo>
                  <a:lnTo>
                    <a:pt x="493" y="434"/>
                  </a:lnTo>
                  <a:lnTo>
                    <a:pt x="493" y="436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4" y="439"/>
                  </a:lnTo>
                  <a:lnTo>
                    <a:pt x="494" y="441"/>
                  </a:lnTo>
                  <a:lnTo>
                    <a:pt x="496" y="441"/>
                  </a:lnTo>
                  <a:lnTo>
                    <a:pt x="496" y="443"/>
                  </a:lnTo>
                  <a:lnTo>
                    <a:pt x="500" y="443"/>
                  </a:lnTo>
                  <a:lnTo>
                    <a:pt x="500" y="443"/>
                  </a:lnTo>
                  <a:lnTo>
                    <a:pt x="502" y="446"/>
                  </a:lnTo>
                  <a:lnTo>
                    <a:pt x="502" y="446"/>
                  </a:lnTo>
                  <a:lnTo>
                    <a:pt x="503" y="445"/>
                  </a:lnTo>
                  <a:lnTo>
                    <a:pt x="503" y="445"/>
                  </a:lnTo>
                  <a:lnTo>
                    <a:pt x="503" y="445"/>
                  </a:lnTo>
                  <a:lnTo>
                    <a:pt x="505" y="445"/>
                  </a:lnTo>
                  <a:lnTo>
                    <a:pt x="505" y="445"/>
                  </a:lnTo>
                  <a:lnTo>
                    <a:pt x="505" y="443"/>
                  </a:lnTo>
                  <a:lnTo>
                    <a:pt x="507" y="443"/>
                  </a:lnTo>
                  <a:lnTo>
                    <a:pt x="507" y="443"/>
                  </a:lnTo>
                  <a:lnTo>
                    <a:pt x="507" y="445"/>
                  </a:lnTo>
                  <a:lnTo>
                    <a:pt x="511" y="446"/>
                  </a:lnTo>
                  <a:lnTo>
                    <a:pt x="514" y="446"/>
                  </a:lnTo>
                  <a:lnTo>
                    <a:pt x="521" y="443"/>
                  </a:lnTo>
                  <a:lnTo>
                    <a:pt x="523" y="443"/>
                  </a:lnTo>
                  <a:lnTo>
                    <a:pt x="523" y="441"/>
                  </a:lnTo>
                  <a:lnTo>
                    <a:pt x="525" y="441"/>
                  </a:lnTo>
                  <a:lnTo>
                    <a:pt x="527" y="441"/>
                  </a:lnTo>
                  <a:lnTo>
                    <a:pt x="525" y="441"/>
                  </a:lnTo>
                  <a:lnTo>
                    <a:pt x="525" y="443"/>
                  </a:lnTo>
                  <a:lnTo>
                    <a:pt x="525" y="443"/>
                  </a:lnTo>
                  <a:lnTo>
                    <a:pt x="523" y="443"/>
                  </a:lnTo>
                  <a:lnTo>
                    <a:pt x="523" y="445"/>
                  </a:lnTo>
                  <a:lnTo>
                    <a:pt x="520" y="445"/>
                  </a:lnTo>
                  <a:lnTo>
                    <a:pt x="520" y="445"/>
                  </a:lnTo>
                  <a:lnTo>
                    <a:pt x="516" y="448"/>
                  </a:lnTo>
                  <a:lnTo>
                    <a:pt x="514" y="450"/>
                  </a:lnTo>
                  <a:lnTo>
                    <a:pt x="516" y="452"/>
                  </a:lnTo>
                  <a:lnTo>
                    <a:pt x="514" y="452"/>
                  </a:lnTo>
                  <a:lnTo>
                    <a:pt x="512" y="454"/>
                  </a:lnTo>
                  <a:lnTo>
                    <a:pt x="511" y="454"/>
                  </a:lnTo>
                  <a:lnTo>
                    <a:pt x="509" y="454"/>
                  </a:lnTo>
                  <a:lnTo>
                    <a:pt x="505" y="452"/>
                  </a:lnTo>
                  <a:lnTo>
                    <a:pt x="500" y="450"/>
                  </a:lnTo>
                  <a:lnTo>
                    <a:pt x="498" y="450"/>
                  </a:lnTo>
                  <a:lnTo>
                    <a:pt x="496" y="450"/>
                  </a:lnTo>
                  <a:lnTo>
                    <a:pt x="491" y="450"/>
                  </a:lnTo>
                  <a:lnTo>
                    <a:pt x="487" y="450"/>
                  </a:lnTo>
                  <a:lnTo>
                    <a:pt x="487" y="450"/>
                  </a:lnTo>
                  <a:lnTo>
                    <a:pt x="487" y="450"/>
                  </a:lnTo>
                  <a:lnTo>
                    <a:pt x="483" y="448"/>
                  </a:lnTo>
                  <a:lnTo>
                    <a:pt x="482" y="446"/>
                  </a:lnTo>
                  <a:lnTo>
                    <a:pt x="473" y="448"/>
                  </a:lnTo>
                  <a:lnTo>
                    <a:pt x="473" y="448"/>
                  </a:lnTo>
                  <a:lnTo>
                    <a:pt x="471" y="446"/>
                  </a:lnTo>
                  <a:lnTo>
                    <a:pt x="469" y="445"/>
                  </a:lnTo>
                  <a:lnTo>
                    <a:pt x="471" y="446"/>
                  </a:lnTo>
                  <a:lnTo>
                    <a:pt x="476" y="452"/>
                  </a:lnTo>
                  <a:lnTo>
                    <a:pt x="476" y="452"/>
                  </a:lnTo>
                  <a:lnTo>
                    <a:pt x="478" y="454"/>
                  </a:lnTo>
                  <a:lnTo>
                    <a:pt x="478" y="456"/>
                  </a:lnTo>
                  <a:lnTo>
                    <a:pt x="478" y="454"/>
                  </a:lnTo>
                  <a:lnTo>
                    <a:pt x="478" y="454"/>
                  </a:lnTo>
                  <a:lnTo>
                    <a:pt x="478" y="452"/>
                  </a:lnTo>
                  <a:lnTo>
                    <a:pt x="478" y="452"/>
                  </a:lnTo>
                  <a:lnTo>
                    <a:pt x="480" y="452"/>
                  </a:lnTo>
                  <a:lnTo>
                    <a:pt x="480" y="452"/>
                  </a:lnTo>
                  <a:lnTo>
                    <a:pt x="482" y="452"/>
                  </a:lnTo>
                  <a:lnTo>
                    <a:pt x="483" y="452"/>
                  </a:lnTo>
                  <a:lnTo>
                    <a:pt x="489" y="454"/>
                  </a:lnTo>
                  <a:lnTo>
                    <a:pt x="493" y="456"/>
                  </a:lnTo>
                  <a:lnTo>
                    <a:pt x="494" y="454"/>
                  </a:lnTo>
                  <a:lnTo>
                    <a:pt x="494" y="456"/>
                  </a:lnTo>
                  <a:lnTo>
                    <a:pt x="496" y="457"/>
                  </a:lnTo>
                  <a:lnTo>
                    <a:pt x="498" y="459"/>
                  </a:lnTo>
                  <a:lnTo>
                    <a:pt x="496" y="459"/>
                  </a:lnTo>
                  <a:lnTo>
                    <a:pt x="496" y="459"/>
                  </a:lnTo>
                  <a:lnTo>
                    <a:pt x="496" y="459"/>
                  </a:lnTo>
                  <a:lnTo>
                    <a:pt x="493" y="461"/>
                  </a:lnTo>
                  <a:lnTo>
                    <a:pt x="493" y="463"/>
                  </a:lnTo>
                  <a:lnTo>
                    <a:pt x="489" y="463"/>
                  </a:lnTo>
                  <a:lnTo>
                    <a:pt x="485" y="463"/>
                  </a:lnTo>
                  <a:lnTo>
                    <a:pt x="485" y="463"/>
                  </a:lnTo>
                  <a:lnTo>
                    <a:pt x="483" y="463"/>
                  </a:lnTo>
                  <a:lnTo>
                    <a:pt x="483" y="463"/>
                  </a:lnTo>
                  <a:lnTo>
                    <a:pt x="482" y="465"/>
                  </a:lnTo>
                  <a:lnTo>
                    <a:pt x="483" y="465"/>
                  </a:lnTo>
                  <a:lnTo>
                    <a:pt x="483" y="466"/>
                  </a:lnTo>
                  <a:lnTo>
                    <a:pt x="483" y="466"/>
                  </a:lnTo>
                  <a:lnTo>
                    <a:pt x="485" y="466"/>
                  </a:lnTo>
                  <a:lnTo>
                    <a:pt x="489" y="466"/>
                  </a:lnTo>
                  <a:lnTo>
                    <a:pt x="489" y="466"/>
                  </a:lnTo>
                  <a:lnTo>
                    <a:pt x="489" y="466"/>
                  </a:lnTo>
                  <a:lnTo>
                    <a:pt x="489" y="465"/>
                  </a:lnTo>
                  <a:lnTo>
                    <a:pt x="489" y="465"/>
                  </a:lnTo>
                  <a:lnTo>
                    <a:pt x="493" y="468"/>
                  </a:lnTo>
                  <a:lnTo>
                    <a:pt x="494" y="468"/>
                  </a:lnTo>
                  <a:lnTo>
                    <a:pt x="496" y="468"/>
                  </a:lnTo>
                  <a:lnTo>
                    <a:pt x="498" y="470"/>
                  </a:lnTo>
                  <a:lnTo>
                    <a:pt x="500" y="472"/>
                  </a:lnTo>
                  <a:lnTo>
                    <a:pt x="500" y="472"/>
                  </a:lnTo>
                  <a:lnTo>
                    <a:pt x="502" y="472"/>
                  </a:lnTo>
                  <a:lnTo>
                    <a:pt x="503" y="474"/>
                  </a:lnTo>
                  <a:lnTo>
                    <a:pt x="505" y="474"/>
                  </a:lnTo>
                  <a:lnTo>
                    <a:pt x="507" y="474"/>
                  </a:lnTo>
                  <a:lnTo>
                    <a:pt x="507" y="472"/>
                  </a:lnTo>
                  <a:lnTo>
                    <a:pt x="507" y="474"/>
                  </a:lnTo>
                  <a:lnTo>
                    <a:pt x="507" y="474"/>
                  </a:lnTo>
                  <a:lnTo>
                    <a:pt x="507" y="474"/>
                  </a:lnTo>
                  <a:lnTo>
                    <a:pt x="507" y="475"/>
                  </a:lnTo>
                  <a:lnTo>
                    <a:pt x="507" y="475"/>
                  </a:lnTo>
                  <a:lnTo>
                    <a:pt x="507" y="477"/>
                  </a:lnTo>
                  <a:lnTo>
                    <a:pt x="507" y="477"/>
                  </a:lnTo>
                  <a:lnTo>
                    <a:pt x="507" y="477"/>
                  </a:lnTo>
                  <a:lnTo>
                    <a:pt x="507" y="477"/>
                  </a:lnTo>
                  <a:lnTo>
                    <a:pt x="507" y="477"/>
                  </a:lnTo>
                  <a:lnTo>
                    <a:pt x="509" y="477"/>
                  </a:lnTo>
                  <a:lnTo>
                    <a:pt x="509" y="479"/>
                  </a:lnTo>
                  <a:lnTo>
                    <a:pt x="520" y="481"/>
                  </a:lnTo>
                  <a:lnTo>
                    <a:pt x="521" y="481"/>
                  </a:lnTo>
                  <a:lnTo>
                    <a:pt x="521" y="481"/>
                  </a:lnTo>
                  <a:lnTo>
                    <a:pt x="523" y="481"/>
                  </a:lnTo>
                  <a:lnTo>
                    <a:pt x="523" y="479"/>
                  </a:lnTo>
                  <a:lnTo>
                    <a:pt x="523" y="479"/>
                  </a:lnTo>
                  <a:lnTo>
                    <a:pt x="530" y="479"/>
                  </a:lnTo>
                  <a:lnTo>
                    <a:pt x="532" y="477"/>
                  </a:lnTo>
                  <a:lnTo>
                    <a:pt x="532" y="477"/>
                  </a:lnTo>
                  <a:lnTo>
                    <a:pt x="534" y="477"/>
                  </a:lnTo>
                  <a:lnTo>
                    <a:pt x="536" y="479"/>
                  </a:lnTo>
                  <a:lnTo>
                    <a:pt x="538" y="479"/>
                  </a:lnTo>
                  <a:lnTo>
                    <a:pt x="538" y="479"/>
                  </a:lnTo>
                  <a:lnTo>
                    <a:pt x="538" y="479"/>
                  </a:lnTo>
                  <a:lnTo>
                    <a:pt x="539" y="479"/>
                  </a:lnTo>
                  <a:lnTo>
                    <a:pt x="539" y="479"/>
                  </a:lnTo>
                  <a:lnTo>
                    <a:pt x="539" y="479"/>
                  </a:lnTo>
                  <a:lnTo>
                    <a:pt x="545" y="477"/>
                  </a:lnTo>
                  <a:lnTo>
                    <a:pt x="547" y="477"/>
                  </a:lnTo>
                  <a:lnTo>
                    <a:pt x="545" y="475"/>
                  </a:lnTo>
                  <a:lnTo>
                    <a:pt x="548" y="477"/>
                  </a:lnTo>
                  <a:lnTo>
                    <a:pt x="548" y="477"/>
                  </a:lnTo>
                  <a:lnTo>
                    <a:pt x="550" y="477"/>
                  </a:lnTo>
                  <a:lnTo>
                    <a:pt x="550" y="477"/>
                  </a:lnTo>
                  <a:lnTo>
                    <a:pt x="550" y="477"/>
                  </a:lnTo>
                  <a:lnTo>
                    <a:pt x="552" y="477"/>
                  </a:lnTo>
                  <a:lnTo>
                    <a:pt x="552" y="475"/>
                  </a:lnTo>
                  <a:lnTo>
                    <a:pt x="554" y="474"/>
                  </a:lnTo>
                  <a:lnTo>
                    <a:pt x="554" y="472"/>
                  </a:lnTo>
                  <a:lnTo>
                    <a:pt x="556" y="472"/>
                  </a:lnTo>
                  <a:lnTo>
                    <a:pt x="556" y="475"/>
                  </a:lnTo>
                  <a:lnTo>
                    <a:pt x="556" y="477"/>
                  </a:lnTo>
                  <a:lnTo>
                    <a:pt x="556" y="477"/>
                  </a:lnTo>
                  <a:lnTo>
                    <a:pt x="559" y="477"/>
                  </a:lnTo>
                  <a:lnTo>
                    <a:pt x="559" y="477"/>
                  </a:lnTo>
                  <a:lnTo>
                    <a:pt x="559" y="479"/>
                  </a:lnTo>
                  <a:lnTo>
                    <a:pt x="559" y="479"/>
                  </a:lnTo>
                  <a:lnTo>
                    <a:pt x="559" y="481"/>
                  </a:lnTo>
                  <a:lnTo>
                    <a:pt x="559" y="481"/>
                  </a:lnTo>
                  <a:lnTo>
                    <a:pt x="559" y="481"/>
                  </a:lnTo>
                  <a:lnTo>
                    <a:pt x="559" y="481"/>
                  </a:lnTo>
                  <a:lnTo>
                    <a:pt x="559" y="481"/>
                  </a:lnTo>
                  <a:lnTo>
                    <a:pt x="561" y="479"/>
                  </a:lnTo>
                  <a:lnTo>
                    <a:pt x="563" y="479"/>
                  </a:lnTo>
                  <a:lnTo>
                    <a:pt x="563" y="481"/>
                  </a:lnTo>
                  <a:lnTo>
                    <a:pt x="565" y="483"/>
                  </a:lnTo>
                  <a:lnTo>
                    <a:pt x="565" y="483"/>
                  </a:lnTo>
                  <a:lnTo>
                    <a:pt x="568" y="483"/>
                  </a:lnTo>
                  <a:lnTo>
                    <a:pt x="570" y="484"/>
                  </a:lnTo>
                  <a:lnTo>
                    <a:pt x="570" y="484"/>
                  </a:lnTo>
                  <a:lnTo>
                    <a:pt x="568" y="483"/>
                  </a:lnTo>
                  <a:lnTo>
                    <a:pt x="570" y="481"/>
                  </a:lnTo>
                  <a:lnTo>
                    <a:pt x="570" y="481"/>
                  </a:lnTo>
                  <a:lnTo>
                    <a:pt x="572" y="481"/>
                  </a:lnTo>
                  <a:lnTo>
                    <a:pt x="572" y="481"/>
                  </a:lnTo>
                  <a:lnTo>
                    <a:pt x="570" y="479"/>
                  </a:lnTo>
                  <a:lnTo>
                    <a:pt x="570" y="479"/>
                  </a:lnTo>
                  <a:lnTo>
                    <a:pt x="572" y="477"/>
                  </a:lnTo>
                  <a:lnTo>
                    <a:pt x="572" y="477"/>
                  </a:lnTo>
                  <a:lnTo>
                    <a:pt x="574" y="475"/>
                  </a:lnTo>
                  <a:lnTo>
                    <a:pt x="576" y="477"/>
                  </a:lnTo>
                  <a:lnTo>
                    <a:pt x="576" y="479"/>
                  </a:lnTo>
                  <a:lnTo>
                    <a:pt x="577" y="481"/>
                  </a:lnTo>
                  <a:lnTo>
                    <a:pt x="576" y="481"/>
                  </a:lnTo>
                  <a:lnTo>
                    <a:pt x="576" y="483"/>
                  </a:lnTo>
                  <a:lnTo>
                    <a:pt x="576" y="483"/>
                  </a:lnTo>
                  <a:lnTo>
                    <a:pt x="576" y="486"/>
                  </a:lnTo>
                  <a:lnTo>
                    <a:pt x="576" y="486"/>
                  </a:lnTo>
                  <a:lnTo>
                    <a:pt x="576" y="486"/>
                  </a:lnTo>
                  <a:lnTo>
                    <a:pt x="576" y="488"/>
                  </a:lnTo>
                  <a:lnTo>
                    <a:pt x="576" y="488"/>
                  </a:lnTo>
                  <a:lnTo>
                    <a:pt x="576" y="488"/>
                  </a:lnTo>
                  <a:lnTo>
                    <a:pt x="577" y="488"/>
                  </a:lnTo>
                  <a:lnTo>
                    <a:pt x="576" y="490"/>
                  </a:lnTo>
                  <a:lnTo>
                    <a:pt x="576" y="490"/>
                  </a:lnTo>
                  <a:lnTo>
                    <a:pt x="576" y="492"/>
                  </a:lnTo>
                  <a:lnTo>
                    <a:pt x="576" y="492"/>
                  </a:lnTo>
                  <a:lnTo>
                    <a:pt x="577" y="490"/>
                  </a:lnTo>
                  <a:lnTo>
                    <a:pt x="577" y="490"/>
                  </a:lnTo>
                  <a:lnTo>
                    <a:pt x="579" y="490"/>
                  </a:lnTo>
                  <a:lnTo>
                    <a:pt x="581" y="492"/>
                  </a:lnTo>
                  <a:lnTo>
                    <a:pt x="583" y="492"/>
                  </a:lnTo>
                  <a:lnTo>
                    <a:pt x="583" y="492"/>
                  </a:lnTo>
                  <a:lnTo>
                    <a:pt x="583" y="493"/>
                  </a:lnTo>
                  <a:lnTo>
                    <a:pt x="581" y="493"/>
                  </a:lnTo>
                  <a:lnTo>
                    <a:pt x="579" y="493"/>
                  </a:lnTo>
                  <a:lnTo>
                    <a:pt x="579" y="493"/>
                  </a:lnTo>
                  <a:lnTo>
                    <a:pt x="579" y="495"/>
                  </a:lnTo>
                  <a:lnTo>
                    <a:pt x="579" y="497"/>
                  </a:lnTo>
                  <a:lnTo>
                    <a:pt x="579" y="497"/>
                  </a:lnTo>
                  <a:lnTo>
                    <a:pt x="577" y="497"/>
                  </a:lnTo>
                  <a:lnTo>
                    <a:pt x="577" y="497"/>
                  </a:lnTo>
                  <a:lnTo>
                    <a:pt x="577" y="497"/>
                  </a:lnTo>
                  <a:lnTo>
                    <a:pt x="577" y="497"/>
                  </a:lnTo>
                  <a:lnTo>
                    <a:pt x="576" y="495"/>
                  </a:lnTo>
                  <a:lnTo>
                    <a:pt x="576" y="495"/>
                  </a:lnTo>
                  <a:lnTo>
                    <a:pt x="576" y="495"/>
                  </a:lnTo>
                  <a:lnTo>
                    <a:pt x="576" y="495"/>
                  </a:lnTo>
                  <a:lnTo>
                    <a:pt x="574" y="495"/>
                  </a:lnTo>
                  <a:lnTo>
                    <a:pt x="574" y="497"/>
                  </a:lnTo>
                  <a:lnTo>
                    <a:pt x="572" y="499"/>
                  </a:lnTo>
                  <a:lnTo>
                    <a:pt x="570" y="499"/>
                  </a:lnTo>
                  <a:lnTo>
                    <a:pt x="570" y="499"/>
                  </a:lnTo>
                  <a:lnTo>
                    <a:pt x="570" y="499"/>
                  </a:lnTo>
                  <a:lnTo>
                    <a:pt x="568" y="497"/>
                  </a:lnTo>
                  <a:lnTo>
                    <a:pt x="568" y="497"/>
                  </a:lnTo>
                  <a:lnTo>
                    <a:pt x="568" y="497"/>
                  </a:lnTo>
                  <a:lnTo>
                    <a:pt x="565" y="499"/>
                  </a:lnTo>
                  <a:lnTo>
                    <a:pt x="565" y="499"/>
                  </a:lnTo>
                  <a:lnTo>
                    <a:pt x="563" y="501"/>
                  </a:lnTo>
                  <a:lnTo>
                    <a:pt x="563" y="502"/>
                  </a:lnTo>
                  <a:lnTo>
                    <a:pt x="561" y="502"/>
                  </a:lnTo>
                  <a:lnTo>
                    <a:pt x="558" y="504"/>
                  </a:lnTo>
                  <a:lnTo>
                    <a:pt x="556" y="504"/>
                  </a:lnTo>
                  <a:lnTo>
                    <a:pt x="554" y="504"/>
                  </a:lnTo>
                  <a:lnTo>
                    <a:pt x="554" y="502"/>
                  </a:lnTo>
                  <a:lnTo>
                    <a:pt x="552" y="502"/>
                  </a:lnTo>
                  <a:lnTo>
                    <a:pt x="552" y="502"/>
                  </a:lnTo>
                  <a:lnTo>
                    <a:pt x="552" y="504"/>
                  </a:lnTo>
                  <a:lnTo>
                    <a:pt x="552" y="504"/>
                  </a:lnTo>
                  <a:lnTo>
                    <a:pt x="552" y="504"/>
                  </a:lnTo>
                  <a:lnTo>
                    <a:pt x="554" y="504"/>
                  </a:lnTo>
                  <a:lnTo>
                    <a:pt x="552" y="506"/>
                  </a:lnTo>
                  <a:lnTo>
                    <a:pt x="552" y="506"/>
                  </a:lnTo>
                  <a:lnTo>
                    <a:pt x="541" y="511"/>
                  </a:lnTo>
                  <a:lnTo>
                    <a:pt x="538" y="513"/>
                  </a:lnTo>
                  <a:lnTo>
                    <a:pt x="536" y="515"/>
                  </a:lnTo>
                  <a:lnTo>
                    <a:pt x="536" y="515"/>
                  </a:lnTo>
                  <a:lnTo>
                    <a:pt x="536" y="517"/>
                  </a:lnTo>
                  <a:lnTo>
                    <a:pt x="536" y="517"/>
                  </a:lnTo>
                  <a:lnTo>
                    <a:pt x="536" y="517"/>
                  </a:lnTo>
                  <a:lnTo>
                    <a:pt x="536" y="519"/>
                  </a:lnTo>
                  <a:lnTo>
                    <a:pt x="536" y="519"/>
                  </a:lnTo>
                  <a:lnTo>
                    <a:pt x="534" y="519"/>
                  </a:lnTo>
                  <a:lnTo>
                    <a:pt x="534" y="519"/>
                  </a:lnTo>
                  <a:lnTo>
                    <a:pt x="534" y="519"/>
                  </a:lnTo>
                  <a:lnTo>
                    <a:pt x="532" y="519"/>
                  </a:lnTo>
                  <a:lnTo>
                    <a:pt x="532" y="519"/>
                  </a:lnTo>
                  <a:lnTo>
                    <a:pt x="532" y="519"/>
                  </a:lnTo>
                  <a:lnTo>
                    <a:pt x="532" y="519"/>
                  </a:lnTo>
                  <a:lnTo>
                    <a:pt x="530" y="521"/>
                  </a:lnTo>
                  <a:lnTo>
                    <a:pt x="530" y="521"/>
                  </a:lnTo>
                  <a:lnTo>
                    <a:pt x="529" y="521"/>
                  </a:lnTo>
                  <a:lnTo>
                    <a:pt x="529" y="521"/>
                  </a:lnTo>
                  <a:lnTo>
                    <a:pt x="527" y="521"/>
                  </a:lnTo>
                  <a:lnTo>
                    <a:pt x="527" y="521"/>
                  </a:lnTo>
                  <a:lnTo>
                    <a:pt x="520" y="526"/>
                  </a:lnTo>
                  <a:lnTo>
                    <a:pt x="520" y="528"/>
                  </a:lnTo>
                  <a:lnTo>
                    <a:pt x="518" y="530"/>
                  </a:lnTo>
                  <a:lnTo>
                    <a:pt x="518" y="530"/>
                  </a:lnTo>
                  <a:lnTo>
                    <a:pt x="520" y="535"/>
                  </a:lnTo>
                  <a:lnTo>
                    <a:pt x="521" y="535"/>
                  </a:lnTo>
                  <a:lnTo>
                    <a:pt x="523" y="535"/>
                  </a:lnTo>
                  <a:lnTo>
                    <a:pt x="523" y="535"/>
                  </a:lnTo>
                  <a:lnTo>
                    <a:pt x="527" y="535"/>
                  </a:lnTo>
                  <a:lnTo>
                    <a:pt x="529" y="535"/>
                  </a:lnTo>
                  <a:lnTo>
                    <a:pt x="530" y="533"/>
                  </a:lnTo>
                  <a:lnTo>
                    <a:pt x="530" y="533"/>
                  </a:lnTo>
                  <a:lnTo>
                    <a:pt x="532" y="533"/>
                  </a:lnTo>
                  <a:lnTo>
                    <a:pt x="539" y="533"/>
                  </a:lnTo>
                  <a:lnTo>
                    <a:pt x="541" y="535"/>
                  </a:lnTo>
                  <a:lnTo>
                    <a:pt x="543" y="535"/>
                  </a:lnTo>
                  <a:lnTo>
                    <a:pt x="547" y="539"/>
                  </a:lnTo>
                  <a:lnTo>
                    <a:pt x="547" y="539"/>
                  </a:lnTo>
                  <a:lnTo>
                    <a:pt x="548" y="539"/>
                  </a:lnTo>
                  <a:lnTo>
                    <a:pt x="548" y="539"/>
                  </a:lnTo>
                  <a:lnTo>
                    <a:pt x="548" y="540"/>
                  </a:lnTo>
                  <a:lnTo>
                    <a:pt x="548" y="540"/>
                  </a:lnTo>
                  <a:lnTo>
                    <a:pt x="550" y="542"/>
                  </a:lnTo>
                  <a:lnTo>
                    <a:pt x="552" y="544"/>
                  </a:lnTo>
                  <a:lnTo>
                    <a:pt x="552" y="544"/>
                  </a:lnTo>
                  <a:lnTo>
                    <a:pt x="556" y="546"/>
                  </a:lnTo>
                  <a:lnTo>
                    <a:pt x="556" y="546"/>
                  </a:lnTo>
                  <a:lnTo>
                    <a:pt x="558" y="546"/>
                  </a:lnTo>
                  <a:lnTo>
                    <a:pt x="558" y="548"/>
                  </a:lnTo>
                  <a:lnTo>
                    <a:pt x="558" y="548"/>
                  </a:lnTo>
                  <a:lnTo>
                    <a:pt x="559" y="546"/>
                  </a:lnTo>
                  <a:lnTo>
                    <a:pt x="561" y="546"/>
                  </a:lnTo>
                  <a:lnTo>
                    <a:pt x="565" y="546"/>
                  </a:lnTo>
                  <a:lnTo>
                    <a:pt x="565" y="546"/>
                  </a:lnTo>
                  <a:lnTo>
                    <a:pt x="568" y="548"/>
                  </a:lnTo>
                  <a:lnTo>
                    <a:pt x="572" y="549"/>
                  </a:lnTo>
                  <a:lnTo>
                    <a:pt x="572" y="551"/>
                  </a:lnTo>
                  <a:lnTo>
                    <a:pt x="574" y="555"/>
                  </a:lnTo>
                  <a:lnTo>
                    <a:pt x="574" y="557"/>
                  </a:lnTo>
                  <a:lnTo>
                    <a:pt x="574" y="557"/>
                  </a:lnTo>
                  <a:lnTo>
                    <a:pt x="574" y="558"/>
                  </a:lnTo>
                  <a:lnTo>
                    <a:pt x="574" y="558"/>
                  </a:lnTo>
                  <a:lnTo>
                    <a:pt x="574" y="560"/>
                  </a:lnTo>
                  <a:lnTo>
                    <a:pt x="576" y="564"/>
                  </a:lnTo>
                  <a:lnTo>
                    <a:pt x="576" y="564"/>
                  </a:lnTo>
                  <a:lnTo>
                    <a:pt x="576" y="566"/>
                  </a:lnTo>
                  <a:lnTo>
                    <a:pt x="574" y="567"/>
                  </a:lnTo>
                  <a:lnTo>
                    <a:pt x="574" y="567"/>
                  </a:lnTo>
                  <a:lnTo>
                    <a:pt x="572" y="569"/>
                  </a:lnTo>
                  <a:lnTo>
                    <a:pt x="572" y="569"/>
                  </a:lnTo>
                  <a:lnTo>
                    <a:pt x="570" y="571"/>
                  </a:lnTo>
                  <a:lnTo>
                    <a:pt x="570" y="573"/>
                  </a:lnTo>
                  <a:lnTo>
                    <a:pt x="570" y="573"/>
                  </a:lnTo>
                  <a:lnTo>
                    <a:pt x="570" y="573"/>
                  </a:lnTo>
                  <a:lnTo>
                    <a:pt x="570" y="573"/>
                  </a:lnTo>
                  <a:lnTo>
                    <a:pt x="570" y="575"/>
                  </a:lnTo>
                  <a:lnTo>
                    <a:pt x="570" y="575"/>
                  </a:lnTo>
                  <a:lnTo>
                    <a:pt x="570" y="577"/>
                  </a:lnTo>
                  <a:lnTo>
                    <a:pt x="572" y="578"/>
                  </a:lnTo>
                  <a:lnTo>
                    <a:pt x="572" y="580"/>
                  </a:lnTo>
                  <a:lnTo>
                    <a:pt x="572" y="580"/>
                  </a:lnTo>
                  <a:lnTo>
                    <a:pt x="570" y="582"/>
                  </a:lnTo>
                  <a:lnTo>
                    <a:pt x="570" y="582"/>
                  </a:lnTo>
                  <a:lnTo>
                    <a:pt x="570" y="584"/>
                  </a:lnTo>
                  <a:lnTo>
                    <a:pt x="570" y="584"/>
                  </a:lnTo>
                  <a:lnTo>
                    <a:pt x="570" y="584"/>
                  </a:lnTo>
                  <a:lnTo>
                    <a:pt x="572" y="586"/>
                  </a:lnTo>
                  <a:lnTo>
                    <a:pt x="572" y="586"/>
                  </a:lnTo>
                  <a:lnTo>
                    <a:pt x="572" y="586"/>
                  </a:lnTo>
                  <a:lnTo>
                    <a:pt x="568" y="586"/>
                  </a:lnTo>
                  <a:lnTo>
                    <a:pt x="568" y="586"/>
                  </a:lnTo>
                  <a:lnTo>
                    <a:pt x="568" y="586"/>
                  </a:lnTo>
                  <a:lnTo>
                    <a:pt x="568" y="586"/>
                  </a:lnTo>
                  <a:lnTo>
                    <a:pt x="567" y="586"/>
                  </a:lnTo>
                  <a:lnTo>
                    <a:pt x="567" y="586"/>
                  </a:lnTo>
                  <a:lnTo>
                    <a:pt x="565" y="587"/>
                  </a:lnTo>
                  <a:lnTo>
                    <a:pt x="565" y="587"/>
                  </a:lnTo>
                  <a:lnTo>
                    <a:pt x="563" y="587"/>
                  </a:lnTo>
                  <a:lnTo>
                    <a:pt x="563" y="587"/>
                  </a:lnTo>
                  <a:lnTo>
                    <a:pt x="563" y="587"/>
                  </a:lnTo>
                  <a:lnTo>
                    <a:pt x="563" y="587"/>
                  </a:lnTo>
                  <a:lnTo>
                    <a:pt x="563" y="589"/>
                  </a:lnTo>
                  <a:lnTo>
                    <a:pt x="568" y="593"/>
                  </a:lnTo>
                  <a:lnTo>
                    <a:pt x="568" y="593"/>
                  </a:lnTo>
                  <a:lnTo>
                    <a:pt x="570" y="595"/>
                  </a:lnTo>
                  <a:lnTo>
                    <a:pt x="572" y="595"/>
                  </a:lnTo>
                  <a:lnTo>
                    <a:pt x="572" y="595"/>
                  </a:lnTo>
                  <a:lnTo>
                    <a:pt x="574" y="593"/>
                  </a:lnTo>
                  <a:lnTo>
                    <a:pt x="574" y="595"/>
                  </a:lnTo>
                  <a:lnTo>
                    <a:pt x="576" y="596"/>
                  </a:lnTo>
                  <a:lnTo>
                    <a:pt x="576" y="596"/>
                  </a:lnTo>
                  <a:lnTo>
                    <a:pt x="576" y="598"/>
                  </a:lnTo>
                  <a:lnTo>
                    <a:pt x="576" y="598"/>
                  </a:lnTo>
                  <a:lnTo>
                    <a:pt x="581" y="600"/>
                  </a:lnTo>
                  <a:lnTo>
                    <a:pt x="581" y="600"/>
                  </a:lnTo>
                  <a:lnTo>
                    <a:pt x="585" y="600"/>
                  </a:lnTo>
                  <a:lnTo>
                    <a:pt x="585" y="600"/>
                  </a:lnTo>
                  <a:lnTo>
                    <a:pt x="586" y="600"/>
                  </a:lnTo>
                  <a:lnTo>
                    <a:pt x="586" y="600"/>
                  </a:lnTo>
                  <a:lnTo>
                    <a:pt x="590" y="602"/>
                  </a:lnTo>
                  <a:lnTo>
                    <a:pt x="592" y="602"/>
                  </a:lnTo>
                  <a:lnTo>
                    <a:pt x="592" y="602"/>
                  </a:lnTo>
                  <a:lnTo>
                    <a:pt x="597" y="598"/>
                  </a:lnTo>
                  <a:lnTo>
                    <a:pt x="599" y="598"/>
                  </a:lnTo>
                  <a:lnTo>
                    <a:pt x="599" y="598"/>
                  </a:lnTo>
                  <a:lnTo>
                    <a:pt x="601" y="598"/>
                  </a:lnTo>
                  <a:lnTo>
                    <a:pt x="601" y="596"/>
                  </a:lnTo>
                  <a:lnTo>
                    <a:pt x="603" y="596"/>
                  </a:lnTo>
                  <a:lnTo>
                    <a:pt x="603" y="595"/>
                  </a:lnTo>
                  <a:lnTo>
                    <a:pt x="603" y="595"/>
                  </a:lnTo>
                  <a:lnTo>
                    <a:pt x="606" y="593"/>
                  </a:lnTo>
                  <a:lnTo>
                    <a:pt x="606" y="593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10" y="591"/>
                  </a:lnTo>
                  <a:lnTo>
                    <a:pt x="610" y="591"/>
                  </a:lnTo>
                  <a:lnTo>
                    <a:pt x="612" y="591"/>
                  </a:lnTo>
                  <a:lnTo>
                    <a:pt x="612" y="589"/>
                  </a:lnTo>
                  <a:lnTo>
                    <a:pt x="614" y="584"/>
                  </a:lnTo>
                  <a:lnTo>
                    <a:pt x="615" y="582"/>
                  </a:lnTo>
                  <a:lnTo>
                    <a:pt x="615" y="580"/>
                  </a:lnTo>
                  <a:lnTo>
                    <a:pt x="615" y="580"/>
                  </a:lnTo>
                  <a:lnTo>
                    <a:pt x="617" y="577"/>
                  </a:lnTo>
                  <a:lnTo>
                    <a:pt x="617" y="577"/>
                  </a:lnTo>
                  <a:lnTo>
                    <a:pt x="617" y="577"/>
                  </a:lnTo>
                  <a:lnTo>
                    <a:pt x="617" y="578"/>
                  </a:lnTo>
                  <a:lnTo>
                    <a:pt x="617" y="578"/>
                  </a:lnTo>
                  <a:lnTo>
                    <a:pt x="619" y="577"/>
                  </a:lnTo>
                  <a:lnTo>
                    <a:pt x="621" y="577"/>
                  </a:lnTo>
                  <a:lnTo>
                    <a:pt x="624" y="575"/>
                  </a:lnTo>
                  <a:lnTo>
                    <a:pt x="626" y="575"/>
                  </a:lnTo>
                  <a:lnTo>
                    <a:pt x="630" y="571"/>
                  </a:lnTo>
                  <a:lnTo>
                    <a:pt x="632" y="571"/>
                  </a:lnTo>
                  <a:lnTo>
                    <a:pt x="635" y="571"/>
                  </a:lnTo>
                  <a:lnTo>
                    <a:pt x="637" y="571"/>
                  </a:lnTo>
                  <a:lnTo>
                    <a:pt x="637" y="571"/>
                  </a:lnTo>
                  <a:lnTo>
                    <a:pt x="639" y="571"/>
                  </a:lnTo>
                  <a:lnTo>
                    <a:pt x="639" y="571"/>
                  </a:lnTo>
                  <a:lnTo>
                    <a:pt x="641" y="571"/>
                  </a:lnTo>
                  <a:lnTo>
                    <a:pt x="641" y="571"/>
                  </a:lnTo>
                  <a:lnTo>
                    <a:pt x="641" y="569"/>
                  </a:lnTo>
                  <a:lnTo>
                    <a:pt x="641" y="569"/>
                  </a:lnTo>
                  <a:lnTo>
                    <a:pt x="642" y="569"/>
                  </a:lnTo>
                  <a:lnTo>
                    <a:pt x="644" y="569"/>
                  </a:lnTo>
                  <a:lnTo>
                    <a:pt x="644" y="569"/>
                  </a:lnTo>
                  <a:lnTo>
                    <a:pt x="646" y="571"/>
                  </a:lnTo>
                  <a:lnTo>
                    <a:pt x="646" y="571"/>
                  </a:lnTo>
                  <a:lnTo>
                    <a:pt x="646" y="573"/>
                  </a:lnTo>
                  <a:lnTo>
                    <a:pt x="648" y="573"/>
                  </a:lnTo>
                  <a:lnTo>
                    <a:pt x="650" y="571"/>
                  </a:lnTo>
                  <a:lnTo>
                    <a:pt x="651" y="567"/>
                  </a:lnTo>
                  <a:lnTo>
                    <a:pt x="651" y="566"/>
                  </a:lnTo>
                  <a:lnTo>
                    <a:pt x="653" y="566"/>
                  </a:lnTo>
                  <a:lnTo>
                    <a:pt x="655" y="564"/>
                  </a:lnTo>
                  <a:lnTo>
                    <a:pt x="657" y="564"/>
                  </a:lnTo>
                  <a:lnTo>
                    <a:pt x="657" y="562"/>
                  </a:lnTo>
                  <a:lnTo>
                    <a:pt x="659" y="560"/>
                  </a:lnTo>
                  <a:lnTo>
                    <a:pt x="659" y="562"/>
                  </a:lnTo>
                  <a:lnTo>
                    <a:pt x="659" y="560"/>
                  </a:lnTo>
                  <a:lnTo>
                    <a:pt x="660" y="560"/>
                  </a:lnTo>
                  <a:lnTo>
                    <a:pt x="660" y="560"/>
                  </a:lnTo>
                  <a:lnTo>
                    <a:pt x="662" y="562"/>
                  </a:lnTo>
                  <a:lnTo>
                    <a:pt x="662" y="560"/>
                  </a:lnTo>
                  <a:lnTo>
                    <a:pt x="662" y="558"/>
                  </a:lnTo>
                  <a:lnTo>
                    <a:pt x="662" y="558"/>
                  </a:lnTo>
                  <a:lnTo>
                    <a:pt x="664" y="558"/>
                  </a:lnTo>
                  <a:lnTo>
                    <a:pt x="666" y="558"/>
                  </a:lnTo>
                  <a:lnTo>
                    <a:pt x="666" y="558"/>
                  </a:lnTo>
                  <a:lnTo>
                    <a:pt x="666" y="558"/>
                  </a:lnTo>
                  <a:lnTo>
                    <a:pt x="664" y="557"/>
                  </a:lnTo>
                  <a:lnTo>
                    <a:pt x="664" y="557"/>
                  </a:lnTo>
                  <a:lnTo>
                    <a:pt x="664" y="557"/>
                  </a:lnTo>
                  <a:lnTo>
                    <a:pt x="664" y="555"/>
                  </a:lnTo>
                  <a:lnTo>
                    <a:pt x="664" y="555"/>
                  </a:lnTo>
                  <a:lnTo>
                    <a:pt x="664" y="553"/>
                  </a:lnTo>
                  <a:lnTo>
                    <a:pt x="666" y="553"/>
                  </a:lnTo>
                  <a:lnTo>
                    <a:pt x="668" y="551"/>
                  </a:lnTo>
                  <a:lnTo>
                    <a:pt x="669" y="549"/>
                  </a:lnTo>
                  <a:lnTo>
                    <a:pt x="671" y="549"/>
                  </a:lnTo>
                  <a:lnTo>
                    <a:pt x="673" y="549"/>
                  </a:lnTo>
                  <a:lnTo>
                    <a:pt x="677" y="549"/>
                  </a:lnTo>
                  <a:lnTo>
                    <a:pt x="680" y="551"/>
                  </a:lnTo>
                  <a:lnTo>
                    <a:pt x="682" y="553"/>
                  </a:lnTo>
                  <a:lnTo>
                    <a:pt x="684" y="555"/>
                  </a:lnTo>
                  <a:lnTo>
                    <a:pt x="686" y="557"/>
                  </a:lnTo>
                  <a:lnTo>
                    <a:pt x="686" y="557"/>
                  </a:lnTo>
                  <a:lnTo>
                    <a:pt x="686" y="558"/>
                  </a:lnTo>
                  <a:lnTo>
                    <a:pt x="688" y="558"/>
                  </a:lnTo>
                  <a:lnTo>
                    <a:pt x="689" y="558"/>
                  </a:lnTo>
                  <a:lnTo>
                    <a:pt x="695" y="558"/>
                  </a:lnTo>
                  <a:lnTo>
                    <a:pt x="695" y="558"/>
                  </a:lnTo>
                  <a:lnTo>
                    <a:pt x="695" y="557"/>
                  </a:lnTo>
                  <a:lnTo>
                    <a:pt x="697" y="555"/>
                  </a:lnTo>
                  <a:lnTo>
                    <a:pt x="698" y="555"/>
                  </a:lnTo>
                  <a:lnTo>
                    <a:pt x="698" y="555"/>
                  </a:lnTo>
                  <a:lnTo>
                    <a:pt x="702" y="557"/>
                  </a:lnTo>
                  <a:lnTo>
                    <a:pt x="706" y="558"/>
                  </a:lnTo>
                  <a:lnTo>
                    <a:pt x="707" y="558"/>
                  </a:lnTo>
                  <a:lnTo>
                    <a:pt x="707" y="557"/>
                  </a:lnTo>
                  <a:lnTo>
                    <a:pt x="707" y="557"/>
                  </a:lnTo>
                  <a:lnTo>
                    <a:pt x="707" y="555"/>
                  </a:lnTo>
                  <a:lnTo>
                    <a:pt x="707" y="555"/>
                  </a:lnTo>
                  <a:lnTo>
                    <a:pt x="707" y="555"/>
                  </a:lnTo>
                  <a:lnTo>
                    <a:pt x="713" y="555"/>
                  </a:lnTo>
                  <a:lnTo>
                    <a:pt x="716" y="553"/>
                  </a:lnTo>
                  <a:lnTo>
                    <a:pt x="716" y="553"/>
                  </a:lnTo>
                  <a:lnTo>
                    <a:pt x="716" y="551"/>
                  </a:lnTo>
                  <a:lnTo>
                    <a:pt x="716" y="551"/>
                  </a:lnTo>
                  <a:lnTo>
                    <a:pt x="715" y="549"/>
                  </a:lnTo>
                  <a:lnTo>
                    <a:pt x="715" y="548"/>
                  </a:lnTo>
                  <a:lnTo>
                    <a:pt x="715" y="546"/>
                  </a:lnTo>
                  <a:lnTo>
                    <a:pt x="715" y="542"/>
                  </a:lnTo>
                  <a:lnTo>
                    <a:pt x="716" y="540"/>
                  </a:lnTo>
                  <a:lnTo>
                    <a:pt x="716" y="539"/>
                  </a:lnTo>
                  <a:lnTo>
                    <a:pt x="716" y="539"/>
                  </a:lnTo>
                  <a:lnTo>
                    <a:pt x="716" y="539"/>
                  </a:lnTo>
                  <a:lnTo>
                    <a:pt x="718" y="539"/>
                  </a:lnTo>
                  <a:lnTo>
                    <a:pt x="718" y="537"/>
                  </a:lnTo>
                  <a:lnTo>
                    <a:pt x="720" y="537"/>
                  </a:lnTo>
                  <a:lnTo>
                    <a:pt x="718" y="537"/>
                  </a:lnTo>
                  <a:lnTo>
                    <a:pt x="718" y="537"/>
                  </a:lnTo>
                  <a:lnTo>
                    <a:pt x="718" y="537"/>
                  </a:lnTo>
                  <a:lnTo>
                    <a:pt x="718" y="535"/>
                  </a:lnTo>
                  <a:lnTo>
                    <a:pt x="720" y="533"/>
                  </a:lnTo>
                  <a:lnTo>
                    <a:pt x="720" y="533"/>
                  </a:lnTo>
                  <a:lnTo>
                    <a:pt x="722" y="533"/>
                  </a:lnTo>
                  <a:lnTo>
                    <a:pt x="724" y="535"/>
                  </a:lnTo>
                  <a:lnTo>
                    <a:pt x="724" y="535"/>
                  </a:lnTo>
                  <a:lnTo>
                    <a:pt x="724" y="535"/>
                  </a:lnTo>
                  <a:lnTo>
                    <a:pt x="725" y="535"/>
                  </a:lnTo>
                  <a:lnTo>
                    <a:pt x="725" y="533"/>
                  </a:lnTo>
                  <a:lnTo>
                    <a:pt x="725" y="531"/>
                  </a:lnTo>
                  <a:lnTo>
                    <a:pt x="725" y="530"/>
                  </a:lnTo>
                  <a:lnTo>
                    <a:pt x="724" y="528"/>
                  </a:lnTo>
                  <a:lnTo>
                    <a:pt x="724" y="528"/>
                  </a:lnTo>
                  <a:lnTo>
                    <a:pt x="722" y="528"/>
                  </a:lnTo>
                  <a:lnTo>
                    <a:pt x="722" y="530"/>
                  </a:lnTo>
                  <a:lnTo>
                    <a:pt x="722" y="530"/>
                  </a:lnTo>
                  <a:lnTo>
                    <a:pt x="720" y="528"/>
                  </a:lnTo>
                  <a:lnTo>
                    <a:pt x="718" y="528"/>
                  </a:lnTo>
                  <a:lnTo>
                    <a:pt x="718" y="526"/>
                  </a:lnTo>
                  <a:lnTo>
                    <a:pt x="715" y="528"/>
                  </a:lnTo>
                  <a:lnTo>
                    <a:pt x="715" y="528"/>
                  </a:lnTo>
                  <a:lnTo>
                    <a:pt x="713" y="526"/>
                  </a:lnTo>
                  <a:lnTo>
                    <a:pt x="711" y="526"/>
                  </a:lnTo>
                  <a:lnTo>
                    <a:pt x="711" y="526"/>
                  </a:lnTo>
                  <a:lnTo>
                    <a:pt x="711" y="526"/>
                  </a:lnTo>
                  <a:lnTo>
                    <a:pt x="709" y="528"/>
                  </a:lnTo>
                  <a:lnTo>
                    <a:pt x="709" y="528"/>
                  </a:lnTo>
                  <a:lnTo>
                    <a:pt x="709" y="526"/>
                  </a:lnTo>
                  <a:lnTo>
                    <a:pt x="709" y="524"/>
                  </a:lnTo>
                  <a:lnTo>
                    <a:pt x="709" y="524"/>
                  </a:lnTo>
                  <a:lnTo>
                    <a:pt x="707" y="526"/>
                  </a:lnTo>
                  <a:lnTo>
                    <a:pt x="707" y="526"/>
                  </a:lnTo>
                  <a:lnTo>
                    <a:pt x="702" y="526"/>
                  </a:lnTo>
                  <a:lnTo>
                    <a:pt x="700" y="526"/>
                  </a:lnTo>
                  <a:lnTo>
                    <a:pt x="698" y="528"/>
                  </a:lnTo>
                  <a:lnTo>
                    <a:pt x="698" y="528"/>
                  </a:lnTo>
                  <a:lnTo>
                    <a:pt x="698" y="528"/>
                  </a:lnTo>
                  <a:lnTo>
                    <a:pt x="697" y="530"/>
                  </a:lnTo>
                  <a:lnTo>
                    <a:pt x="695" y="533"/>
                  </a:lnTo>
                  <a:lnTo>
                    <a:pt x="693" y="533"/>
                  </a:lnTo>
                  <a:lnTo>
                    <a:pt x="691" y="531"/>
                  </a:lnTo>
                  <a:lnTo>
                    <a:pt x="688" y="530"/>
                  </a:lnTo>
                  <a:lnTo>
                    <a:pt x="688" y="530"/>
                  </a:lnTo>
                  <a:lnTo>
                    <a:pt x="688" y="528"/>
                  </a:lnTo>
                  <a:lnTo>
                    <a:pt x="688" y="528"/>
                  </a:lnTo>
                  <a:lnTo>
                    <a:pt x="688" y="526"/>
                  </a:lnTo>
                  <a:lnTo>
                    <a:pt x="688" y="526"/>
                  </a:lnTo>
                  <a:lnTo>
                    <a:pt x="686" y="524"/>
                  </a:lnTo>
                  <a:lnTo>
                    <a:pt x="686" y="526"/>
                  </a:lnTo>
                  <a:lnTo>
                    <a:pt x="684" y="526"/>
                  </a:lnTo>
                  <a:lnTo>
                    <a:pt x="684" y="528"/>
                  </a:lnTo>
                  <a:lnTo>
                    <a:pt x="684" y="530"/>
                  </a:lnTo>
                  <a:lnTo>
                    <a:pt x="684" y="530"/>
                  </a:lnTo>
                  <a:lnTo>
                    <a:pt x="682" y="531"/>
                  </a:lnTo>
                  <a:lnTo>
                    <a:pt x="682" y="531"/>
                  </a:lnTo>
                  <a:lnTo>
                    <a:pt x="682" y="531"/>
                  </a:lnTo>
                  <a:lnTo>
                    <a:pt x="682" y="531"/>
                  </a:lnTo>
                  <a:lnTo>
                    <a:pt x="682" y="531"/>
                  </a:lnTo>
                  <a:lnTo>
                    <a:pt x="682" y="533"/>
                  </a:lnTo>
                  <a:lnTo>
                    <a:pt x="680" y="535"/>
                  </a:lnTo>
                  <a:lnTo>
                    <a:pt x="679" y="535"/>
                  </a:lnTo>
                  <a:lnTo>
                    <a:pt x="669" y="537"/>
                  </a:lnTo>
                  <a:lnTo>
                    <a:pt x="668" y="537"/>
                  </a:lnTo>
                  <a:lnTo>
                    <a:pt x="660" y="531"/>
                  </a:lnTo>
                  <a:lnTo>
                    <a:pt x="646" y="511"/>
                  </a:lnTo>
                  <a:lnTo>
                    <a:pt x="642" y="502"/>
                  </a:lnTo>
                  <a:lnTo>
                    <a:pt x="639" y="495"/>
                  </a:lnTo>
                  <a:lnTo>
                    <a:pt x="639" y="493"/>
                  </a:lnTo>
                  <a:lnTo>
                    <a:pt x="639" y="493"/>
                  </a:lnTo>
                  <a:lnTo>
                    <a:pt x="639" y="492"/>
                  </a:lnTo>
                  <a:lnTo>
                    <a:pt x="637" y="484"/>
                  </a:lnTo>
                  <a:lnTo>
                    <a:pt x="635" y="483"/>
                  </a:lnTo>
                  <a:lnTo>
                    <a:pt x="635" y="481"/>
                  </a:lnTo>
                  <a:lnTo>
                    <a:pt x="635" y="477"/>
                  </a:lnTo>
                  <a:lnTo>
                    <a:pt x="635" y="475"/>
                  </a:lnTo>
                  <a:lnTo>
                    <a:pt x="635" y="475"/>
                  </a:lnTo>
                  <a:lnTo>
                    <a:pt x="635" y="474"/>
                  </a:lnTo>
                  <a:lnTo>
                    <a:pt x="635" y="474"/>
                  </a:lnTo>
                  <a:lnTo>
                    <a:pt x="635" y="472"/>
                  </a:lnTo>
                  <a:lnTo>
                    <a:pt x="637" y="472"/>
                  </a:lnTo>
                  <a:lnTo>
                    <a:pt x="639" y="472"/>
                  </a:lnTo>
                  <a:lnTo>
                    <a:pt x="639" y="470"/>
                  </a:lnTo>
                  <a:lnTo>
                    <a:pt x="639" y="470"/>
                  </a:lnTo>
                  <a:lnTo>
                    <a:pt x="639" y="468"/>
                  </a:lnTo>
                  <a:lnTo>
                    <a:pt x="639" y="468"/>
                  </a:lnTo>
                  <a:lnTo>
                    <a:pt x="639" y="468"/>
                  </a:lnTo>
                  <a:lnTo>
                    <a:pt x="639" y="470"/>
                  </a:lnTo>
                  <a:lnTo>
                    <a:pt x="641" y="470"/>
                  </a:lnTo>
                  <a:lnTo>
                    <a:pt x="641" y="470"/>
                  </a:lnTo>
                  <a:lnTo>
                    <a:pt x="641" y="470"/>
                  </a:lnTo>
                  <a:lnTo>
                    <a:pt x="646" y="468"/>
                  </a:lnTo>
                  <a:lnTo>
                    <a:pt x="648" y="468"/>
                  </a:lnTo>
                  <a:lnTo>
                    <a:pt x="650" y="466"/>
                  </a:lnTo>
                  <a:lnTo>
                    <a:pt x="650" y="466"/>
                  </a:lnTo>
                  <a:lnTo>
                    <a:pt x="653" y="461"/>
                  </a:lnTo>
                  <a:lnTo>
                    <a:pt x="655" y="459"/>
                  </a:lnTo>
                  <a:lnTo>
                    <a:pt x="655" y="459"/>
                  </a:lnTo>
                  <a:lnTo>
                    <a:pt x="655" y="457"/>
                  </a:lnTo>
                  <a:lnTo>
                    <a:pt x="655" y="457"/>
                  </a:lnTo>
                  <a:lnTo>
                    <a:pt x="655" y="456"/>
                  </a:lnTo>
                  <a:lnTo>
                    <a:pt x="655" y="456"/>
                  </a:lnTo>
                  <a:lnTo>
                    <a:pt x="653" y="454"/>
                  </a:lnTo>
                  <a:lnTo>
                    <a:pt x="653" y="454"/>
                  </a:lnTo>
                  <a:lnTo>
                    <a:pt x="653" y="452"/>
                  </a:lnTo>
                  <a:lnTo>
                    <a:pt x="653" y="450"/>
                  </a:lnTo>
                  <a:lnTo>
                    <a:pt x="653" y="452"/>
                  </a:lnTo>
                  <a:lnTo>
                    <a:pt x="655" y="452"/>
                  </a:lnTo>
                  <a:lnTo>
                    <a:pt x="655" y="454"/>
                  </a:lnTo>
                  <a:lnTo>
                    <a:pt x="655" y="454"/>
                  </a:lnTo>
                  <a:lnTo>
                    <a:pt x="657" y="456"/>
                  </a:lnTo>
                  <a:lnTo>
                    <a:pt x="657" y="456"/>
                  </a:lnTo>
                  <a:lnTo>
                    <a:pt x="657" y="456"/>
                  </a:lnTo>
                  <a:lnTo>
                    <a:pt x="659" y="456"/>
                  </a:lnTo>
                  <a:lnTo>
                    <a:pt x="659" y="456"/>
                  </a:lnTo>
                  <a:lnTo>
                    <a:pt x="657" y="459"/>
                  </a:lnTo>
                  <a:lnTo>
                    <a:pt x="657" y="461"/>
                  </a:lnTo>
                  <a:lnTo>
                    <a:pt x="657" y="463"/>
                  </a:lnTo>
                  <a:lnTo>
                    <a:pt x="659" y="463"/>
                  </a:lnTo>
                  <a:lnTo>
                    <a:pt x="660" y="463"/>
                  </a:lnTo>
                  <a:lnTo>
                    <a:pt x="660" y="463"/>
                  </a:lnTo>
                  <a:lnTo>
                    <a:pt x="662" y="461"/>
                  </a:lnTo>
                  <a:lnTo>
                    <a:pt x="662" y="463"/>
                  </a:lnTo>
                  <a:lnTo>
                    <a:pt x="660" y="465"/>
                  </a:lnTo>
                  <a:lnTo>
                    <a:pt x="659" y="466"/>
                  </a:lnTo>
                  <a:lnTo>
                    <a:pt x="657" y="468"/>
                  </a:lnTo>
                  <a:lnTo>
                    <a:pt x="657" y="470"/>
                  </a:lnTo>
                  <a:lnTo>
                    <a:pt x="655" y="472"/>
                  </a:lnTo>
                  <a:lnTo>
                    <a:pt x="655" y="474"/>
                  </a:lnTo>
                  <a:lnTo>
                    <a:pt x="651" y="475"/>
                  </a:lnTo>
                  <a:lnTo>
                    <a:pt x="646" y="477"/>
                  </a:lnTo>
                  <a:lnTo>
                    <a:pt x="646" y="477"/>
                  </a:lnTo>
                  <a:lnTo>
                    <a:pt x="646" y="477"/>
                  </a:lnTo>
                  <a:lnTo>
                    <a:pt x="646" y="479"/>
                  </a:lnTo>
                  <a:lnTo>
                    <a:pt x="644" y="481"/>
                  </a:lnTo>
                  <a:lnTo>
                    <a:pt x="644" y="481"/>
                  </a:lnTo>
                  <a:lnTo>
                    <a:pt x="644" y="483"/>
                  </a:lnTo>
                  <a:lnTo>
                    <a:pt x="646" y="481"/>
                  </a:lnTo>
                  <a:lnTo>
                    <a:pt x="648" y="481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3" y="477"/>
                  </a:lnTo>
                  <a:lnTo>
                    <a:pt x="653" y="477"/>
                  </a:lnTo>
                  <a:lnTo>
                    <a:pt x="655" y="475"/>
                  </a:lnTo>
                  <a:lnTo>
                    <a:pt x="657" y="470"/>
                  </a:lnTo>
                  <a:lnTo>
                    <a:pt x="659" y="468"/>
                  </a:lnTo>
                  <a:lnTo>
                    <a:pt x="659" y="468"/>
                  </a:lnTo>
                  <a:lnTo>
                    <a:pt x="664" y="461"/>
                  </a:lnTo>
                  <a:lnTo>
                    <a:pt x="664" y="459"/>
                  </a:lnTo>
                  <a:lnTo>
                    <a:pt x="666" y="459"/>
                  </a:lnTo>
                  <a:lnTo>
                    <a:pt x="666" y="457"/>
                  </a:lnTo>
                  <a:lnTo>
                    <a:pt x="668" y="456"/>
                  </a:lnTo>
                  <a:lnTo>
                    <a:pt x="669" y="456"/>
                  </a:lnTo>
                  <a:lnTo>
                    <a:pt x="669" y="454"/>
                  </a:lnTo>
                  <a:lnTo>
                    <a:pt x="675" y="452"/>
                  </a:lnTo>
                  <a:lnTo>
                    <a:pt x="677" y="450"/>
                  </a:lnTo>
                  <a:lnTo>
                    <a:pt x="682" y="445"/>
                  </a:lnTo>
                  <a:lnTo>
                    <a:pt x="682" y="443"/>
                  </a:lnTo>
                  <a:lnTo>
                    <a:pt x="686" y="443"/>
                  </a:lnTo>
                  <a:lnTo>
                    <a:pt x="689" y="439"/>
                  </a:lnTo>
                  <a:lnTo>
                    <a:pt x="691" y="439"/>
                  </a:lnTo>
                  <a:lnTo>
                    <a:pt x="697" y="439"/>
                  </a:lnTo>
                  <a:lnTo>
                    <a:pt x="700" y="439"/>
                  </a:lnTo>
                  <a:lnTo>
                    <a:pt x="704" y="439"/>
                  </a:lnTo>
                  <a:lnTo>
                    <a:pt x="704" y="439"/>
                  </a:lnTo>
                  <a:lnTo>
                    <a:pt x="706" y="439"/>
                  </a:lnTo>
                  <a:lnTo>
                    <a:pt x="706" y="439"/>
                  </a:lnTo>
                  <a:lnTo>
                    <a:pt x="706" y="439"/>
                  </a:lnTo>
                  <a:lnTo>
                    <a:pt x="706" y="441"/>
                  </a:lnTo>
                  <a:lnTo>
                    <a:pt x="706" y="441"/>
                  </a:lnTo>
                  <a:lnTo>
                    <a:pt x="707" y="441"/>
                  </a:lnTo>
                  <a:lnTo>
                    <a:pt x="707" y="441"/>
                  </a:lnTo>
                  <a:lnTo>
                    <a:pt x="707" y="443"/>
                  </a:lnTo>
                  <a:lnTo>
                    <a:pt x="706" y="443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7" y="441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9" y="441"/>
                  </a:lnTo>
                  <a:lnTo>
                    <a:pt x="709" y="439"/>
                  </a:lnTo>
                  <a:lnTo>
                    <a:pt x="713" y="436"/>
                  </a:lnTo>
                  <a:lnTo>
                    <a:pt x="715" y="436"/>
                  </a:lnTo>
                  <a:lnTo>
                    <a:pt x="716" y="434"/>
                  </a:lnTo>
                  <a:lnTo>
                    <a:pt x="718" y="434"/>
                  </a:lnTo>
                  <a:lnTo>
                    <a:pt x="720" y="432"/>
                  </a:lnTo>
                  <a:lnTo>
                    <a:pt x="724" y="432"/>
                  </a:lnTo>
                  <a:lnTo>
                    <a:pt x="724" y="432"/>
                  </a:lnTo>
                  <a:lnTo>
                    <a:pt x="725" y="432"/>
                  </a:lnTo>
                  <a:lnTo>
                    <a:pt x="725" y="430"/>
                  </a:lnTo>
                  <a:lnTo>
                    <a:pt x="725" y="430"/>
                  </a:lnTo>
                  <a:lnTo>
                    <a:pt x="727" y="432"/>
                  </a:lnTo>
                  <a:lnTo>
                    <a:pt x="729" y="432"/>
                  </a:lnTo>
                  <a:lnTo>
                    <a:pt x="729" y="430"/>
                  </a:lnTo>
                  <a:lnTo>
                    <a:pt x="729" y="432"/>
                  </a:lnTo>
                  <a:lnTo>
                    <a:pt x="731" y="432"/>
                  </a:lnTo>
                  <a:lnTo>
                    <a:pt x="733" y="432"/>
                  </a:lnTo>
                  <a:lnTo>
                    <a:pt x="734" y="434"/>
                  </a:lnTo>
                  <a:lnTo>
                    <a:pt x="734" y="434"/>
                  </a:lnTo>
                  <a:lnTo>
                    <a:pt x="734" y="436"/>
                  </a:lnTo>
                  <a:lnTo>
                    <a:pt x="734" y="439"/>
                  </a:lnTo>
                  <a:lnTo>
                    <a:pt x="733" y="441"/>
                  </a:lnTo>
                  <a:lnTo>
                    <a:pt x="733" y="441"/>
                  </a:lnTo>
                  <a:lnTo>
                    <a:pt x="731" y="441"/>
                  </a:lnTo>
                  <a:lnTo>
                    <a:pt x="731" y="441"/>
                  </a:lnTo>
                  <a:lnTo>
                    <a:pt x="733" y="441"/>
                  </a:lnTo>
                  <a:lnTo>
                    <a:pt x="734" y="439"/>
                  </a:lnTo>
                  <a:lnTo>
                    <a:pt x="734" y="437"/>
                  </a:lnTo>
                  <a:lnTo>
                    <a:pt x="734" y="436"/>
                  </a:lnTo>
                  <a:lnTo>
                    <a:pt x="736" y="434"/>
                  </a:lnTo>
                  <a:lnTo>
                    <a:pt x="736" y="432"/>
                  </a:lnTo>
                  <a:lnTo>
                    <a:pt x="738" y="430"/>
                  </a:lnTo>
                  <a:lnTo>
                    <a:pt x="736" y="428"/>
                  </a:lnTo>
                  <a:lnTo>
                    <a:pt x="738" y="428"/>
                  </a:lnTo>
                  <a:lnTo>
                    <a:pt x="742" y="427"/>
                  </a:lnTo>
                  <a:lnTo>
                    <a:pt x="744" y="427"/>
                  </a:lnTo>
                  <a:lnTo>
                    <a:pt x="744" y="425"/>
                  </a:lnTo>
                  <a:lnTo>
                    <a:pt x="745" y="425"/>
                  </a:lnTo>
                  <a:lnTo>
                    <a:pt x="745" y="423"/>
                  </a:lnTo>
                  <a:lnTo>
                    <a:pt x="747" y="423"/>
                  </a:lnTo>
                  <a:lnTo>
                    <a:pt x="753" y="421"/>
                  </a:lnTo>
                  <a:lnTo>
                    <a:pt x="754" y="419"/>
                  </a:lnTo>
                  <a:lnTo>
                    <a:pt x="756" y="419"/>
                  </a:lnTo>
                  <a:lnTo>
                    <a:pt x="758" y="419"/>
                  </a:lnTo>
                  <a:lnTo>
                    <a:pt x="760" y="421"/>
                  </a:lnTo>
                  <a:lnTo>
                    <a:pt x="760" y="421"/>
                  </a:lnTo>
                  <a:lnTo>
                    <a:pt x="760" y="423"/>
                  </a:lnTo>
                  <a:lnTo>
                    <a:pt x="762" y="423"/>
                  </a:lnTo>
                  <a:lnTo>
                    <a:pt x="762" y="421"/>
                  </a:lnTo>
                  <a:lnTo>
                    <a:pt x="763" y="419"/>
                  </a:lnTo>
                  <a:lnTo>
                    <a:pt x="769" y="412"/>
                  </a:lnTo>
                  <a:lnTo>
                    <a:pt x="772" y="409"/>
                  </a:lnTo>
                  <a:lnTo>
                    <a:pt x="774" y="409"/>
                  </a:lnTo>
                  <a:lnTo>
                    <a:pt x="780" y="409"/>
                  </a:lnTo>
                  <a:lnTo>
                    <a:pt x="781" y="409"/>
                  </a:lnTo>
                  <a:lnTo>
                    <a:pt x="787" y="407"/>
                  </a:lnTo>
                  <a:lnTo>
                    <a:pt x="792" y="409"/>
                  </a:lnTo>
                  <a:lnTo>
                    <a:pt x="792" y="407"/>
                  </a:lnTo>
                  <a:lnTo>
                    <a:pt x="794" y="409"/>
                  </a:lnTo>
                  <a:lnTo>
                    <a:pt x="796" y="409"/>
                  </a:lnTo>
                  <a:lnTo>
                    <a:pt x="796" y="409"/>
                  </a:lnTo>
                  <a:lnTo>
                    <a:pt x="798" y="409"/>
                  </a:lnTo>
                  <a:lnTo>
                    <a:pt x="798" y="407"/>
                  </a:lnTo>
                  <a:lnTo>
                    <a:pt x="798" y="407"/>
                  </a:lnTo>
                  <a:lnTo>
                    <a:pt x="800" y="409"/>
                  </a:lnTo>
                  <a:lnTo>
                    <a:pt x="801" y="409"/>
                  </a:lnTo>
                  <a:lnTo>
                    <a:pt x="801" y="410"/>
                  </a:lnTo>
                  <a:lnTo>
                    <a:pt x="800" y="412"/>
                  </a:lnTo>
                  <a:lnTo>
                    <a:pt x="801" y="412"/>
                  </a:lnTo>
                  <a:lnTo>
                    <a:pt x="805" y="409"/>
                  </a:lnTo>
                  <a:lnTo>
                    <a:pt x="805" y="407"/>
                  </a:lnTo>
                  <a:lnTo>
                    <a:pt x="805" y="407"/>
                  </a:lnTo>
                  <a:lnTo>
                    <a:pt x="805" y="407"/>
                  </a:lnTo>
                  <a:lnTo>
                    <a:pt x="805" y="405"/>
                  </a:lnTo>
                  <a:lnTo>
                    <a:pt x="805" y="403"/>
                  </a:lnTo>
                  <a:lnTo>
                    <a:pt x="805" y="401"/>
                  </a:lnTo>
                  <a:lnTo>
                    <a:pt x="805" y="400"/>
                  </a:lnTo>
                  <a:lnTo>
                    <a:pt x="807" y="398"/>
                  </a:lnTo>
                  <a:lnTo>
                    <a:pt x="809" y="398"/>
                  </a:lnTo>
                  <a:lnTo>
                    <a:pt x="809" y="398"/>
                  </a:lnTo>
                  <a:lnTo>
                    <a:pt x="809" y="396"/>
                  </a:lnTo>
                  <a:lnTo>
                    <a:pt x="810" y="394"/>
                  </a:lnTo>
                  <a:lnTo>
                    <a:pt x="809" y="394"/>
                  </a:lnTo>
                  <a:lnTo>
                    <a:pt x="809" y="394"/>
                  </a:lnTo>
                  <a:lnTo>
                    <a:pt x="807" y="392"/>
                  </a:lnTo>
                  <a:lnTo>
                    <a:pt x="805" y="394"/>
                  </a:lnTo>
                  <a:lnTo>
                    <a:pt x="805" y="394"/>
                  </a:lnTo>
                  <a:lnTo>
                    <a:pt x="803" y="392"/>
                  </a:lnTo>
                  <a:lnTo>
                    <a:pt x="803" y="390"/>
                  </a:lnTo>
                  <a:lnTo>
                    <a:pt x="805" y="390"/>
                  </a:lnTo>
                  <a:lnTo>
                    <a:pt x="807" y="389"/>
                  </a:lnTo>
                  <a:lnTo>
                    <a:pt x="807" y="385"/>
                  </a:lnTo>
                  <a:lnTo>
                    <a:pt x="809" y="383"/>
                  </a:lnTo>
                  <a:lnTo>
                    <a:pt x="807" y="378"/>
                  </a:lnTo>
                  <a:lnTo>
                    <a:pt x="809" y="376"/>
                  </a:lnTo>
                  <a:lnTo>
                    <a:pt x="809" y="372"/>
                  </a:lnTo>
                  <a:lnTo>
                    <a:pt x="810" y="371"/>
                  </a:lnTo>
                  <a:lnTo>
                    <a:pt x="812" y="371"/>
                  </a:lnTo>
                  <a:lnTo>
                    <a:pt x="823" y="369"/>
                  </a:lnTo>
                  <a:lnTo>
                    <a:pt x="823" y="369"/>
                  </a:lnTo>
                  <a:lnTo>
                    <a:pt x="825" y="367"/>
                  </a:lnTo>
                  <a:lnTo>
                    <a:pt x="827" y="365"/>
                  </a:lnTo>
                  <a:lnTo>
                    <a:pt x="828" y="365"/>
                  </a:lnTo>
                  <a:lnTo>
                    <a:pt x="828" y="363"/>
                  </a:lnTo>
                  <a:lnTo>
                    <a:pt x="830" y="365"/>
                  </a:lnTo>
                  <a:lnTo>
                    <a:pt x="832" y="365"/>
                  </a:lnTo>
                  <a:lnTo>
                    <a:pt x="832" y="363"/>
                  </a:lnTo>
                  <a:lnTo>
                    <a:pt x="832" y="360"/>
                  </a:lnTo>
                  <a:lnTo>
                    <a:pt x="834" y="358"/>
                  </a:lnTo>
                  <a:lnTo>
                    <a:pt x="834" y="354"/>
                  </a:lnTo>
                  <a:lnTo>
                    <a:pt x="836" y="353"/>
                  </a:lnTo>
                  <a:lnTo>
                    <a:pt x="839" y="351"/>
                  </a:lnTo>
                  <a:lnTo>
                    <a:pt x="846" y="351"/>
                  </a:lnTo>
                  <a:lnTo>
                    <a:pt x="846" y="351"/>
                  </a:lnTo>
                  <a:lnTo>
                    <a:pt x="848" y="353"/>
                  </a:lnTo>
                  <a:lnTo>
                    <a:pt x="850" y="354"/>
                  </a:lnTo>
                  <a:lnTo>
                    <a:pt x="852" y="353"/>
                  </a:lnTo>
                  <a:lnTo>
                    <a:pt x="854" y="353"/>
                  </a:lnTo>
                  <a:lnTo>
                    <a:pt x="861" y="353"/>
                  </a:lnTo>
                  <a:lnTo>
                    <a:pt x="861" y="353"/>
                  </a:lnTo>
                  <a:lnTo>
                    <a:pt x="863" y="354"/>
                  </a:lnTo>
                  <a:lnTo>
                    <a:pt x="865" y="354"/>
                  </a:lnTo>
                  <a:lnTo>
                    <a:pt x="865" y="354"/>
                  </a:lnTo>
                  <a:lnTo>
                    <a:pt x="868" y="353"/>
                  </a:lnTo>
                  <a:lnTo>
                    <a:pt x="868" y="354"/>
                  </a:lnTo>
                  <a:lnTo>
                    <a:pt x="870" y="354"/>
                  </a:lnTo>
                  <a:lnTo>
                    <a:pt x="874" y="353"/>
                  </a:lnTo>
                  <a:lnTo>
                    <a:pt x="875" y="353"/>
                  </a:lnTo>
                  <a:lnTo>
                    <a:pt x="879" y="354"/>
                  </a:lnTo>
                  <a:lnTo>
                    <a:pt x="881" y="354"/>
                  </a:lnTo>
                  <a:lnTo>
                    <a:pt x="883" y="353"/>
                  </a:lnTo>
                  <a:lnTo>
                    <a:pt x="883" y="351"/>
                  </a:lnTo>
                  <a:lnTo>
                    <a:pt x="884" y="349"/>
                  </a:lnTo>
                  <a:lnTo>
                    <a:pt x="884" y="349"/>
                  </a:lnTo>
                  <a:lnTo>
                    <a:pt x="883" y="347"/>
                  </a:lnTo>
                  <a:lnTo>
                    <a:pt x="883" y="347"/>
                  </a:lnTo>
                  <a:lnTo>
                    <a:pt x="884" y="347"/>
                  </a:lnTo>
                  <a:lnTo>
                    <a:pt x="884" y="345"/>
                  </a:lnTo>
                  <a:lnTo>
                    <a:pt x="884" y="345"/>
                  </a:lnTo>
                  <a:lnTo>
                    <a:pt x="884" y="344"/>
                  </a:lnTo>
                  <a:lnTo>
                    <a:pt x="884" y="344"/>
                  </a:lnTo>
                  <a:lnTo>
                    <a:pt x="884" y="342"/>
                  </a:lnTo>
                  <a:lnTo>
                    <a:pt x="883" y="340"/>
                  </a:lnTo>
                  <a:lnTo>
                    <a:pt x="883" y="340"/>
                  </a:lnTo>
                  <a:lnTo>
                    <a:pt x="883" y="340"/>
                  </a:lnTo>
                  <a:lnTo>
                    <a:pt x="883" y="338"/>
                  </a:lnTo>
                  <a:lnTo>
                    <a:pt x="884" y="338"/>
                  </a:lnTo>
                  <a:lnTo>
                    <a:pt x="886" y="338"/>
                  </a:lnTo>
                  <a:lnTo>
                    <a:pt x="886" y="338"/>
                  </a:lnTo>
                  <a:lnTo>
                    <a:pt x="886" y="338"/>
                  </a:lnTo>
                  <a:lnTo>
                    <a:pt x="886" y="338"/>
                  </a:lnTo>
                  <a:lnTo>
                    <a:pt x="886" y="334"/>
                  </a:lnTo>
                  <a:lnTo>
                    <a:pt x="886" y="333"/>
                  </a:lnTo>
                  <a:lnTo>
                    <a:pt x="886" y="333"/>
                  </a:lnTo>
                  <a:lnTo>
                    <a:pt x="890" y="327"/>
                  </a:lnTo>
                  <a:lnTo>
                    <a:pt x="890" y="325"/>
                  </a:lnTo>
                  <a:lnTo>
                    <a:pt x="893" y="324"/>
                  </a:lnTo>
                  <a:lnTo>
                    <a:pt x="893" y="324"/>
                  </a:lnTo>
                  <a:lnTo>
                    <a:pt x="893" y="322"/>
                  </a:lnTo>
                  <a:lnTo>
                    <a:pt x="893" y="320"/>
                  </a:lnTo>
                  <a:lnTo>
                    <a:pt x="893" y="318"/>
                  </a:lnTo>
                  <a:lnTo>
                    <a:pt x="892" y="318"/>
                  </a:lnTo>
                  <a:lnTo>
                    <a:pt x="890" y="320"/>
                  </a:lnTo>
                  <a:lnTo>
                    <a:pt x="888" y="320"/>
                  </a:lnTo>
                  <a:lnTo>
                    <a:pt x="886" y="318"/>
                  </a:lnTo>
                  <a:lnTo>
                    <a:pt x="888" y="315"/>
                  </a:lnTo>
                  <a:lnTo>
                    <a:pt x="890" y="313"/>
                  </a:lnTo>
                  <a:lnTo>
                    <a:pt x="892" y="313"/>
                  </a:lnTo>
                  <a:lnTo>
                    <a:pt x="890" y="313"/>
                  </a:lnTo>
                  <a:lnTo>
                    <a:pt x="890" y="311"/>
                  </a:lnTo>
                  <a:lnTo>
                    <a:pt x="890" y="309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6" y="304"/>
                  </a:lnTo>
                  <a:lnTo>
                    <a:pt x="886" y="304"/>
                  </a:lnTo>
                  <a:lnTo>
                    <a:pt x="886" y="304"/>
                  </a:lnTo>
                  <a:lnTo>
                    <a:pt x="888" y="304"/>
                  </a:lnTo>
                  <a:lnTo>
                    <a:pt x="888" y="304"/>
                  </a:lnTo>
                  <a:lnTo>
                    <a:pt x="888" y="302"/>
                  </a:lnTo>
                  <a:lnTo>
                    <a:pt x="888" y="302"/>
                  </a:lnTo>
                  <a:lnTo>
                    <a:pt x="888" y="302"/>
                  </a:lnTo>
                  <a:lnTo>
                    <a:pt x="888" y="302"/>
                  </a:lnTo>
                  <a:lnTo>
                    <a:pt x="888" y="300"/>
                  </a:lnTo>
                  <a:lnTo>
                    <a:pt x="888" y="298"/>
                  </a:lnTo>
                  <a:lnTo>
                    <a:pt x="886" y="298"/>
                  </a:lnTo>
                  <a:lnTo>
                    <a:pt x="884" y="297"/>
                  </a:lnTo>
                  <a:lnTo>
                    <a:pt x="879" y="297"/>
                  </a:lnTo>
                  <a:lnTo>
                    <a:pt x="877" y="297"/>
                  </a:lnTo>
                  <a:lnTo>
                    <a:pt x="875" y="297"/>
                  </a:lnTo>
                  <a:lnTo>
                    <a:pt x="877" y="295"/>
                  </a:lnTo>
                  <a:lnTo>
                    <a:pt x="879" y="284"/>
                  </a:lnTo>
                  <a:lnTo>
                    <a:pt x="881" y="284"/>
                  </a:lnTo>
                  <a:lnTo>
                    <a:pt x="881" y="284"/>
                  </a:lnTo>
                  <a:lnTo>
                    <a:pt x="883" y="282"/>
                  </a:lnTo>
                  <a:lnTo>
                    <a:pt x="883" y="282"/>
                  </a:lnTo>
                  <a:lnTo>
                    <a:pt x="883" y="280"/>
                  </a:lnTo>
                  <a:lnTo>
                    <a:pt x="884" y="280"/>
                  </a:lnTo>
                  <a:lnTo>
                    <a:pt x="884" y="280"/>
                  </a:lnTo>
                  <a:lnTo>
                    <a:pt x="886" y="280"/>
                  </a:lnTo>
                  <a:lnTo>
                    <a:pt x="892" y="282"/>
                  </a:lnTo>
                  <a:lnTo>
                    <a:pt x="893" y="282"/>
                  </a:lnTo>
                  <a:lnTo>
                    <a:pt x="895" y="280"/>
                  </a:lnTo>
                  <a:lnTo>
                    <a:pt x="897" y="278"/>
                  </a:lnTo>
                  <a:lnTo>
                    <a:pt x="897" y="277"/>
                  </a:lnTo>
                  <a:lnTo>
                    <a:pt x="897" y="275"/>
                  </a:lnTo>
                  <a:lnTo>
                    <a:pt x="897" y="275"/>
                  </a:lnTo>
                  <a:lnTo>
                    <a:pt x="895" y="273"/>
                  </a:lnTo>
                  <a:lnTo>
                    <a:pt x="893" y="275"/>
                  </a:lnTo>
                  <a:lnTo>
                    <a:pt x="893" y="277"/>
                  </a:lnTo>
                  <a:lnTo>
                    <a:pt x="892" y="277"/>
                  </a:lnTo>
                  <a:lnTo>
                    <a:pt x="892" y="277"/>
                  </a:lnTo>
                  <a:lnTo>
                    <a:pt x="890" y="275"/>
                  </a:lnTo>
                  <a:lnTo>
                    <a:pt x="890" y="275"/>
                  </a:lnTo>
                  <a:lnTo>
                    <a:pt x="890" y="275"/>
                  </a:lnTo>
                  <a:lnTo>
                    <a:pt x="888" y="275"/>
                  </a:lnTo>
                  <a:lnTo>
                    <a:pt x="884" y="273"/>
                  </a:lnTo>
                  <a:lnTo>
                    <a:pt x="883" y="273"/>
                  </a:lnTo>
                  <a:lnTo>
                    <a:pt x="883" y="273"/>
                  </a:lnTo>
                  <a:lnTo>
                    <a:pt x="881" y="271"/>
                  </a:lnTo>
                  <a:lnTo>
                    <a:pt x="881" y="269"/>
                  </a:lnTo>
                  <a:lnTo>
                    <a:pt x="881" y="269"/>
                  </a:lnTo>
                  <a:lnTo>
                    <a:pt x="879" y="269"/>
                  </a:lnTo>
                  <a:lnTo>
                    <a:pt x="879" y="268"/>
                  </a:lnTo>
                  <a:lnTo>
                    <a:pt x="879" y="264"/>
                  </a:lnTo>
                  <a:lnTo>
                    <a:pt x="879" y="264"/>
                  </a:lnTo>
                  <a:lnTo>
                    <a:pt x="883" y="264"/>
                  </a:lnTo>
                  <a:lnTo>
                    <a:pt x="886" y="262"/>
                  </a:lnTo>
                  <a:lnTo>
                    <a:pt x="888" y="262"/>
                  </a:lnTo>
                  <a:lnTo>
                    <a:pt x="890" y="262"/>
                  </a:lnTo>
                  <a:lnTo>
                    <a:pt x="890" y="262"/>
                  </a:lnTo>
                  <a:lnTo>
                    <a:pt x="890" y="262"/>
                  </a:lnTo>
                  <a:lnTo>
                    <a:pt x="892" y="260"/>
                  </a:lnTo>
                  <a:lnTo>
                    <a:pt x="892" y="259"/>
                  </a:lnTo>
                  <a:lnTo>
                    <a:pt x="892" y="259"/>
                  </a:lnTo>
                  <a:lnTo>
                    <a:pt x="892" y="257"/>
                  </a:lnTo>
                  <a:lnTo>
                    <a:pt x="893" y="255"/>
                  </a:lnTo>
                  <a:lnTo>
                    <a:pt x="897" y="253"/>
                  </a:lnTo>
                  <a:lnTo>
                    <a:pt x="897" y="251"/>
                  </a:lnTo>
                  <a:lnTo>
                    <a:pt x="899" y="250"/>
                  </a:lnTo>
                  <a:lnTo>
                    <a:pt x="901" y="248"/>
                  </a:lnTo>
                  <a:lnTo>
                    <a:pt x="901" y="248"/>
                  </a:lnTo>
                  <a:lnTo>
                    <a:pt x="902" y="246"/>
                  </a:lnTo>
                  <a:lnTo>
                    <a:pt x="902" y="244"/>
                  </a:lnTo>
                  <a:lnTo>
                    <a:pt x="902" y="241"/>
                  </a:lnTo>
                  <a:lnTo>
                    <a:pt x="902" y="241"/>
                  </a:lnTo>
                  <a:lnTo>
                    <a:pt x="902" y="239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0EA77BC3-DC62-58A9-D8DA-A8CE729B16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8063" y="3706813"/>
              <a:ext cx="1431925" cy="955675"/>
            </a:xfrm>
            <a:custGeom>
              <a:avLst/>
              <a:gdLst>
                <a:gd name="T0" fmla="*/ 500 w 902"/>
                <a:gd name="T1" fmla="*/ 475 h 602"/>
                <a:gd name="T2" fmla="*/ 850 w 902"/>
                <a:gd name="T3" fmla="*/ 201 h 602"/>
                <a:gd name="T4" fmla="*/ 792 w 902"/>
                <a:gd name="T5" fmla="*/ 190 h 602"/>
                <a:gd name="T6" fmla="*/ 715 w 902"/>
                <a:gd name="T7" fmla="*/ 165 h 602"/>
                <a:gd name="T8" fmla="*/ 666 w 902"/>
                <a:gd name="T9" fmla="*/ 130 h 602"/>
                <a:gd name="T10" fmla="*/ 628 w 902"/>
                <a:gd name="T11" fmla="*/ 96 h 602"/>
                <a:gd name="T12" fmla="*/ 599 w 902"/>
                <a:gd name="T13" fmla="*/ 60 h 602"/>
                <a:gd name="T14" fmla="*/ 586 w 902"/>
                <a:gd name="T15" fmla="*/ 6 h 602"/>
                <a:gd name="T16" fmla="*/ 512 w 902"/>
                <a:gd name="T17" fmla="*/ 4 h 602"/>
                <a:gd name="T18" fmla="*/ 442 w 902"/>
                <a:gd name="T19" fmla="*/ 29 h 602"/>
                <a:gd name="T20" fmla="*/ 426 w 902"/>
                <a:gd name="T21" fmla="*/ 53 h 602"/>
                <a:gd name="T22" fmla="*/ 426 w 902"/>
                <a:gd name="T23" fmla="*/ 78 h 602"/>
                <a:gd name="T24" fmla="*/ 390 w 902"/>
                <a:gd name="T25" fmla="*/ 73 h 602"/>
                <a:gd name="T26" fmla="*/ 344 w 902"/>
                <a:gd name="T27" fmla="*/ 64 h 602"/>
                <a:gd name="T28" fmla="*/ 301 w 902"/>
                <a:gd name="T29" fmla="*/ 62 h 602"/>
                <a:gd name="T30" fmla="*/ 254 w 902"/>
                <a:gd name="T31" fmla="*/ 58 h 602"/>
                <a:gd name="T32" fmla="*/ 86 w 902"/>
                <a:gd name="T33" fmla="*/ 60 h 602"/>
                <a:gd name="T34" fmla="*/ 90 w 902"/>
                <a:gd name="T35" fmla="*/ 109 h 602"/>
                <a:gd name="T36" fmla="*/ 90 w 902"/>
                <a:gd name="T37" fmla="*/ 157 h 602"/>
                <a:gd name="T38" fmla="*/ 30 w 902"/>
                <a:gd name="T39" fmla="*/ 244 h 602"/>
                <a:gd name="T40" fmla="*/ 16 w 902"/>
                <a:gd name="T41" fmla="*/ 271 h 602"/>
                <a:gd name="T42" fmla="*/ 9 w 902"/>
                <a:gd name="T43" fmla="*/ 315 h 602"/>
                <a:gd name="T44" fmla="*/ 39 w 902"/>
                <a:gd name="T45" fmla="*/ 344 h 602"/>
                <a:gd name="T46" fmla="*/ 93 w 902"/>
                <a:gd name="T47" fmla="*/ 344 h 602"/>
                <a:gd name="T48" fmla="*/ 193 w 902"/>
                <a:gd name="T49" fmla="*/ 344 h 602"/>
                <a:gd name="T50" fmla="*/ 236 w 902"/>
                <a:gd name="T51" fmla="*/ 313 h 602"/>
                <a:gd name="T52" fmla="*/ 290 w 902"/>
                <a:gd name="T53" fmla="*/ 315 h 602"/>
                <a:gd name="T54" fmla="*/ 319 w 902"/>
                <a:gd name="T55" fmla="*/ 333 h 602"/>
                <a:gd name="T56" fmla="*/ 355 w 902"/>
                <a:gd name="T57" fmla="*/ 360 h 602"/>
                <a:gd name="T58" fmla="*/ 372 w 902"/>
                <a:gd name="T59" fmla="*/ 390 h 602"/>
                <a:gd name="T60" fmla="*/ 386 w 902"/>
                <a:gd name="T61" fmla="*/ 425 h 602"/>
                <a:gd name="T62" fmla="*/ 399 w 902"/>
                <a:gd name="T63" fmla="*/ 461 h 602"/>
                <a:gd name="T64" fmla="*/ 361 w 902"/>
                <a:gd name="T65" fmla="*/ 454 h 602"/>
                <a:gd name="T66" fmla="*/ 341 w 902"/>
                <a:gd name="T67" fmla="*/ 488 h 602"/>
                <a:gd name="T68" fmla="*/ 308 w 902"/>
                <a:gd name="T69" fmla="*/ 521 h 602"/>
                <a:gd name="T70" fmla="*/ 344 w 902"/>
                <a:gd name="T71" fmla="*/ 535 h 602"/>
                <a:gd name="T72" fmla="*/ 382 w 902"/>
                <a:gd name="T73" fmla="*/ 537 h 602"/>
                <a:gd name="T74" fmla="*/ 373 w 902"/>
                <a:gd name="T75" fmla="*/ 511 h 602"/>
                <a:gd name="T76" fmla="*/ 384 w 902"/>
                <a:gd name="T77" fmla="*/ 508 h 602"/>
                <a:gd name="T78" fmla="*/ 400 w 902"/>
                <a:gd name="T79" fmla="*/ 495 h 602"/>
                <a:gd name="T80" fmla="*/ 442 w 902"/>
                <a:gd name="T81" fmla="*/ 445 h 602"/>
                <a:gd name="T82" fmla="*/ 473 w 902"/>
                <a:gd name="T83" fmla="*/ 432 h 602"/>
                <a:gd name="T84" fmla="*/ 487 w 902"/>
                <a:gd name="T85" fmla="*/ 414 h 602"/>
                <a:gd name="T86" fmla="*/ 494 w 902"/>
                <a:gd name="T87" fmla="*/ 419 h 602"/>
                <a:gd name="T88" fmla="*/ 512 w 902"/>
                <a:gd name="T89" fmla="*/ 454 h 602"/>
                <a:gd name="T90" fmla="*/ 483 w 902"/>
                <a:gd name="T91" fmla="*/ 465 h 602"/>
                <a:gd name="T92" fmla="*/ 539 w 902"/>
                <a:gd name="T93" fmla="*/ 479 h 602"/>
                <a:gd name="T94" fmla="*/ 577 w 902"/>
                <a:gd name="T95" fmla="*/ 481 h 602"/>
                <a:gd name="T96" fmla="*/ 563 w 902"/>
                <a:gd name="T97" fmla="*/ 501 h 602"/>
                <a:gd name="T98" fmla="*/ 530 w 902"/>
                <a:gd name="T99" fmla="*/ 533 h 602"/>
                <a:gd name="T100" fmla="*/ 570 w 902"/>
                <a:gd name="T101" fmla="*/ 577 h 602"/>
                <a:gd name="T102" fmla="*/ 599 w 902"/>
                <a:gd name="T103" fmla="*/ 598 h 602"/>
                <a:gd name="T104" fmla="*/ 646 w 902"/>
                <a:gd name="T105" fmla="*/ 571 h 602"/>
                <a:gd name="T106" fmla="*/ 698 w 902"/>
                <a:gd name="T107" fmla="*/ 555 h 602"/>
                <a:gd name="T108" fmla="*/ 718 w 902"/>
                <a:gd name="T109" fmla="*/ 526 h 602"/>
                <a:gd name="T110" fmla="*/ 642 w 902"/>
                <a:gd name="T111" fmla="*/ 502 h 602"/>
                <a:gd name="T112" fmla="*/ 659 w 902"/>
                <a:gd name="T113" fmla="*/ 456 h 602"/>
                <a:gd name="T114" fmla="*/ 691 w 902"/>
                <a:gd name="T115" fmla="*/ 439 h 602"/>
                <a:gd name="T116" fmla="*/ 731 w 902"/>
                <a:gd name="T117" fmla="*/ 441 h 602"/>
                <a:gd name="T118" fmla="*/ 805 w 902"/>
                <a:gd name="T119" fmla="*/ 407 h 602"/>
                <a:gd name="T120" fmla="*/ 861 w 902"/>
                <a:gd name="T121" fmla="*/ 353 h 602"/>
                <a:gd name="T122" fmla="*/ 888 w 902"/>
                <a:gd name="T123" fmla="*/ 315 h 602"/>
                <a:gd name="T124" fmla="*/ 890 w 902"/>
                <a:gd name="T125" fmla="*/ 275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2" h="602">
                  <a:moveTo>
                    <a:pt x="390" y="510"/>
                  </a:moveTo>
                  <a:lnTo>
                    <a:pt x="390" y="510"/>
                  </a:lnTo>
                  <a:lnTo>
                    <a:pt x="388" y="511"/>
                  </a:lnTo>
                  <a:lnTo>
                    <a:pt x="386" y="511"/>
                  </a:lnTo>
                  <a:lnTo>
                    <a:pt x="386" y="513"/>
                  </a:lnTo>
                  <a:lnTo>
                    <a:pt x="386" y="513"/>
                  </a:lnTo>
                  <a:lnTo>
                    <a:pt x="384" y="513"/>
                  </a:lnTo>
                  <a:lnTo>
                    <a:pt x="384" y="513"/>
                  </a:lnTo>
                  <a:lnTo>
                    <a:pt x="384" y="515"/>
                  </a:lnTo>
                  <a:lnTo>
                    <a:pt x="382" y="515"/>
                  </a:lnTo>
                  <a:lnTo>
                    <a:pt x="381" y="517"/>
                  </a:lnTo>
                  <a:lnTo>
                    <a:pt x="384" y="515"/>
                  </a:lnTo>
                  <a:lnTo>
                    <a:pt x="390" y="511"/>
                  </a:lnTo>
                  <a:lnTo>
                    <a:pt x="400" y="501"/>
                  </a:lnTo>
                  <a:lnTo>
                    <a:pt x="399" y="502"/>
                  </a:lnTo>
                  <a:lnTo>
                    <a:pt x="390" y="510"/>
                  </a:lnTo>
                  <a:close/>
                  <a:moveTo>
                    <a:pt x="547" y="486"/>
                  </a:moveTo>
                  <a:lnTo>
                    <a:pt x="547" y="484"/>
                  </a:lnTo>
                  <a:lnTo>
                    <a:pt x="545" y="484"/>
                  </a:lnTo>
                  <a:lnTo>
                    <a:pt x="543" y="484"/>
                  </a:lnTo>
                  <a:lnTo>
                    <a:pt x="543" y="483"/>
                  </a:lnTo>
                  <a:lnTo>
                    <a:pt x="541" y="483"/>
                  </a:lnTo>
                  <a:lnTo>
                    <a:pt x="539" y="484"/>
                  </a:lnTo>
                  <a:lnTo>
                    <a:pt x="538" y="483"/>
                  </a:lnTo>
                  <a:lnTo>
                    <a:pt x="538" y="483"/>
                  </a:lnTo>
                  <a:lnTo>
                    <a:pt x="534" y="484"/>
                  </a:lnTo>
                  <a:lnTo>
                    <a:pt x="527" y="483"/>
                  </a:lnTo>
                  <a:lnTo>
                    <a:pt x="525" y="483"/>
                  </a:lnTo>
                  <a:lnTo>
                    <a:pt x="525" y="483"/>
                  </a:lnTo>
                  <a:lnTo>
                    <a:pt x="525" y="483"/>
                  </a:lnTo>
                  <a:lnTo>
                    <a:pt x="547" y="486"/>
                  </a:lnTo>
                  <a:lnTo>
                    <a:pt x="547" y="486"/>
                  </a:lnTo>
                  <a:close/>
                  <a:moveTo>
                    <a:pt x="498" y="474"/>
                  </a:moveTo>
                  <a:lnTo>
                    <a:pt x="491" y="472"/>
                  </a:lnTo>
                  <a:lnTo>
                    <a:pt x="474" y="468"/>
                  </a:lnTo>
                  <a:lnTo>
                    <a:pt x="473" y="468"/>
                  </a:lnTo>
                  <a:lnTo>
                    <a:pt x="473" y="466"/>
                  </a:lnTo>
                  <a:lnTo>
                    <a:pt x="471" y="465"/>
                  </a:lnTo>
                  <a:lnTo>
                    <a:pt x="471" y="461"/>
                  </a:lnTo>
                  <a:lnTo>
                    <a:pt x="469" y="461"/>
                  </a:lnTo>
                  <a:lnTo>
                    <a:pt x="469" y="461"/>
                  </a:lnTo>
                  <a:lnTo>
                    <a:pt x="469" y="463"/>
                  </a:lnTo>
                  <a:lnTo>
                    <a:pt x="471" y="465"/>
                  </a:lnTo>
                  <a:lnTo>
                    <a:pt x="471" y="466"/>
                  </a:lnTo>
                  <a:lnTo>
                    <a:pt x="473" y="468"/>
                  </a:lnTo>
                  <a:lnTo>
                    <a:pt x="482" y="472"/>
                  </a:lnTo>
                  <a:lnTo>
                    <a:pt x="500" y="475"/>
                  </a:lnTo>
                  <a:lnTo>
                    <a:pt x="502" y="475"/>
                  </a:lnTo>
                  <a:lnTo>
                    <a:pt x="502" y="477"/>
                  </a:lnTo>
                  <a:lnTo>
                    <a:pt x="502" y="475"/>
                  </a:lnTo>
                  <a:lnTo>
                    <a:pt x="498" y="474"/>
                  </a:lnTo>
                  <a:close/>
                  <a:moveTo>
                    <a:pt x="902" y="239"/>
                  </a:moveTo>
                  <a:lnTo>
                    <a:pt x="899" y="235"/>
                  </a:lnTo>
                  <a:lnTo>
                    <a:pt x="897" y="233"/>
                  </a:lnTo>
                  <a:lnTo>
                    <a:pt x="897" y="230"/>
                  </a:lnTo>
                  <a:lnTo>
                    <a:pt x="897" y="228"/>
                  </a:lnTo>
                  <a:lnTo>
                    <a:pt x="897" y="226"/>
                  </a:lnTo>
                  <a:lnTo>
                    <a:pt x="899" y="224"/>
                  </a:lnTo>
                  <a:lnTo>
                    <a:pt x="901" y="224"/>
                  </a:lnTo>
                  <a:lnTo>
                    <a:pt x="901" y="222"/>
                  </a:lnTo>
                  <a:lnTo>
                    <a:pt x="901" y="221"/>
                  </a:lnTo>
                  <a:lnTo>
                    <a:pt x="901" y="221"/>
                  </a:lnTo>
                  <a:lnTo>
                    <a:pt x="901" y="221"/>
                  </a:lnTo>
                  <a:lnTo>
                    <a:pt x="895" y="219"/>
                  </a:lnTo>
                  <a:lnTo>
                    <a:pt x="895" y="219"/>
                  </a:lnTo>
                  <a:lnTo>
                    <a:pt x="893" y="219"/>
                  </a:lnTo>
                  <a:lnTo>
                    <a:pt x="890" y="222"/>
                  </a:lnTo>
                  <a:lnTo>
                    <a:pt x="890" y="222"/>
                  </a:lnTo>
                  <a:lnTo>
                    <a:pt x="888" y="224"/>
                  </a:lnTo>
                  <a:lnTo>
                    <a:pt x="886" y="224"/>
                  </a:lnTo>
                  <a:lnTo>
                    <a:pt x="884" y="224"/>
                  </a:lnTo>
                  <a:lnTo>
                    <a:pt x="884" y="224"/>
                  </a:lnTo>
                  <a:lnTo>
                    <a:pt x="881" y="221"/>
                  </a:lnTo>
                  <a:lnTo>
                    <a:pt x="879" y="221"/>
                  </a:lnTo>
                  <a:lnTo>
                    <a:pt x="877" y="219"/>
                  </a:lnTo>
                  <a:lnTo>
                    <a:pt x="875" y="219"/>
                  </a:lnTo>
                  <a:lnTo>
                    <a:pt x="874" y="215"/>
                  </a:lnTo>
                  <a:lnTo>
                    <a:pt x="874" y="212"/>
                  </a:lnTo>
                  <a:lnTo>
                    <a:pt x="874" y="210"/>
                  </a:lnTo>
                  <a:lnTo>
                    <a:pt x="872" y="210"/>
                  </a:lnTo>
                  <a:lnTo>
                    <a:pt x="870" y="210"/>
                  </a:lnTo>
                  <a:lnTo>
                    <a:pt x="868" y="210"/>
                  </a:lnTo>
                  <a:lnTo>
                    <a:pt x="866" y="208"/>
                  </a:lnTo>
                  <a:lnTo>
                    <a:pt x="865" y="208"/>
                  </a:lnTo>
                  <a:lnTo>
                    <a:pt x="863" y="210"/>
                  </a:lnTo>
                  <a:lnTo>
                    <a:pt x="861" y="210"/>
                  </a:lnTo>
                  <a:lnTo>
                    <a:pt x="859" y="210"/>
                  </a:lnTo>
                  <a:lnTo>
                    <a:pt x="857" y="208"/>
                  </a:lnTo>
                  <a:lnTo>
                    <a:pt x="857" y="206"/>
                  </a:lnTo>
                  <a:lnTo>
                    <a:pt x="854" y="199"/>
                  </a:lnTo>
                  <a:lnTo>
                    <a:pt x="854" y="199"/>
                  </a:lnTo>
                  <a:lnTo>
                    <a:pt x="852" y="199"/>
                  </a:lnTo>
                  <a:lnTo>
                    <a:pt x="850" y="199"/>
                  </a:lnTo>
                  <a:lnTo>
                    <a:pt x="850" y="201"/>
                  </a:lnTo>
                  <a:lnTo>
                    <a:pt x="848" y="203"/>
                  </a:lnTo>
                  <a:lnTo>
                    <a:pt x="846" y="203"/>
                  </a:lnTo>
                  <a:lnTo>
                    <a:pt x="846" y="203"/>
                  </a:lnTo>
                  <a:lnTo>
                    <a:pt x="841" y="204"/>
                  </a:lnTo>
                  <a:lnTo>
                    <a:pt x="839" y="203"/>
                  </a:lnTo>
                  <a:lnTo>
                    <a:pt x="839" y="201"/>
                  </a:lnTo>
                  <a:lnTo>
                    <a:pt x="837" y="199"/>
                  </a:lnTo>
                  <a:lnTo>
                    <a:pt x="832" y="197"/>
                  </a:lnTo>
                  <a:lnTo>
                    <a:pt x="828" y="195"/>
                  </a:lnTo>
                  <a:lnTo>
                    <a:pt x="828" y="195"/>
                  </a:lnTo>
                  <a:lnTo>
                    <a:pt x="828" y="194"/>
                  </a:lnTo>
                  <a:lnTo>
                    <a:pt x="828" y="194"/>
                  </a:lnTo>
                  <a:lnTo>
                    <a:pt x="828" y="192"/>
                  </a:lnTo>
                  <a:lnTo>
                    <a:pt x="828" y="192"/>
                  </a:lnTo>
                  <a:lnTo>
                    <a:pt x="828" y="192"/>
                  </a:lnTo>
                  <a:lnTo>
                    <a:pt x="827" y="192"/>
                  </a:lnTo>
                  <a:lnTo>
                    <a:pt x="827" y="192"/>
                  </a:lnTo>
                  <a:lnTo>
                    <a:pt x="825" y="192"/>
                  </a:lnTo>
                  <a:lnTo>
                    <a:pt x="823" y="192"/>
                  </a:lnTo>
                  <a:lnTo>
                    <a:pt x="819" y="192"/>
                  </a:lnTo>
                  <a:lnTo>
                    <a:pt x="818" y="192"/>
                  </a:lnTo>
                  <a:lnTo>
                    <a:pt x="816" y="192"/>
                  </a:lnTo>
                  <a:lnTo>
                    <a:pt x="816" y="190"/>
                  </a:lnTo>
                  <a:lnTo>
                    <a:pt x="814" y="190"/>
                  </a:lnTo>
                  <a:lnTo>
                    <a:pt x="812" y="190"/>
                  </a:lnTo>
                  <a:lnTo>
                    <a:pt x="812" y="190"/>
                  </a:lnTo>
                  <a:lnTo>
                    <a:pt x="810" y="185"/>
                  </a:lnTo>
                  <a:lnTo>
                    <a:pt x="810" y="185"/>
                  </a:lnTo>
                  <a:lnTo>
                    <a:pt x="809" y="185"/>
                  </a:lnTo>
                  <a:lnTo>
                    <a:pt x="807" y="185"/>
                  </a:lnTo>
                  <a:lnTo>
                    <a:pt x="803" y="183"/>
                  </a:lnTo>
                  <a:lnTo>
                    <a:pt x="803" y="185"/>
                  </a:lnTo>
                  <a:lnTo>
                    <a:pt x="803" y="186"/>
                  </a:lnTo>
                  <a:lnTo>
                    <a:pt x="803" y="190"/>
                  </a:lnTo>
                  <a:lnTo>
                    <a:pt x="803" y="194"/>
                  </a:lnTo>
                  <a:lnTo>
                    <a:pt x="800" y="195"/>
                  </a:lnTo>
                  <a:lnTo>
                    <a:pt x="800" y="195"/>
                  </a:lnTo>
                  <a:lnTo>
                    <a:pt x="800" y="194"/>
                  </a:lnTo>
                  <a:lnTo>
                    <a:pt x="798" y="194"/>
                  </a:lnTo>
                  <a:lnTo>
                    <a:pt x="798" y="194"/>
                  </a:lnTo>
                  <a:lnTo>
                    <a:pt x="796" y="195"/>
                  </a:lnTo>
                  <a:lnTo>
                    <a:pt x="794" y="197"/>
                  </a:lnTo>
                  <a:lnTo>
                    <a:pt x="794" y="195"/>
                  </a:lnTo>
                  <a:lnTo>
                    <a:pt x="794" y="195"/>
                  </a:lnTo>
                  <a:lnTo>
                    <a:pt x="794" y="194"/>
                  </a:lnTo>
                  <a:lnTo>
                    <a:pt x="794" y="194"/>
                  </a:lnTo>
                  <a:lnTo>
                    <a:pt x="792" y="190"/>
                  </a:lnTo>
                  <a:lnTo>
                    <a:pt x="790" y="188"/>
                  </a:lnTo>
                  <a:lnTo>
                    <a:pt x="789" y="186"/>
                  </a:lnTo>
                  <a:lnTo>
                    <a:pt x="787" y="186"/>
                  </a:lnTo>
                  <a:lnTo>
                    <a:pt x="783" y="185"/>
                  </a:lnTo>
                  <a:lnTo>
                    <a:pt x="781" y="183"/>
                  </a:lnTo>
                  <a:lnTo>
                    <a:pt x="776" y="176"/>
                  </a:lnTo>
                  <a:lnTo>
                    <a:pt x="774" y="174"/>
                  </a:lnTo>
                  <a:lnTo>
                    <a:pt x="774" y="172"/>
                  </a:lnTo>
                  <a:lnTo>
                    <a:pt x="774" y="172"/>
                  </a:lnTo>
                  <a:lnTo>
                    <a:pt x="774" y="170"/>
                  </a:lnTo>
                  <a:lnTo>
                    <a:pt x="774" y="168"/>
                  </a:lnTo>
                  <a:lnTo>
                    <a:pt x="774" y="166"/>
                  </a:lnTo>
                  <a:lnTo>
                    <a:pt x="772" y="165"/>
                  </a:lnTo>
                  <a:lnTo>
                    <a:pt x="769" y="163"/>
                  </a:lnTo>
                  <a:lnTo>
                    <a:pt x="767" y="159"/>
                  </a:lnTo>
                  <a:lnTo>
                    <a:pt x="767" y="157"/>
                  </a:lnTo>
                  <a:lnTo>
                    <a:pt x="767" y="156"/>
                  </a:lnTo>
                  <a:lnTo>
                    <a:pt x="765" y="156"/>
                  </a:lnTo>
                  <a:lnTo>
                    <a:pt x="760" y="156"/>
                  </a:lnTo>
                  <a:lnTo>
                    <a:pt x="758" y="156"/>
                  </a:lnTo>
                  <a:lnTo>
                    <a:pt x="756" y="159"/>
                  </a:lnTo>
                  <a:lnTo>
                    <a:pt x="754" y="161"/>
                  </a:lnTo>
                  <a:lnTo>
                    <a:pt x="747" y="163"/>
                  </a:lnTo>
                  <a:lnTo>
                    <a:pt x="744" y="161"/>
                  </a:lnTo>
                  <a:lnTo>
                    <a:pt x="740" y="163"/>
                  </a:lnTo>
                  <a:lnTo>
                    <a:pt x="736" y="163"/>
                  </a:lnTo>
                  <a:lnTo>
                    <a:pt x="729" y="168"/>
                  </a:lnTo>
                  <a:lnTo>
                    <a:pt x="727" y="168"/>
                  </a:lnTo>
                  <a:lnTo>
                    <a:pt x="727" y="170"/>
                  </a:lnTo>
                  <a:lnTo>
                    <a:pt x="727" y="172"/>
                  </a:lnTo>
                  <a:lnTo>
                    <a:pt x="725" y="172"/>
                  </a:lnTo>
                  <a:lnTo>
                    <a:pt x="725" y="172"/>
                  </a:lnTo>
                  <a:lnTo>
                    <a:pt x="724" y="172"/>
                  </a:lnTo>
                  <a:lnTo>
                    <a:pt x="724" y="172"/>
                  </a:lnTo>
                  <a:lnTo>
                    <a:pt x="722" y="172"/>
                  </a:lnTo>
                  <a:lnTo>
                    <a:pt x="722" y="172"/>
                  </a:lnTo>
                  <a:lnTo>
                    <a:pt x="720" y="170"/>
                  </a:lnTo>
                  <a:lnTo>
                    <a:pt x="722" y="170"/>
                  </a:lnTo>
                  <a:lnTo>
                    <a:pt x="722" y="168"/>
                  </a:lnTo>
                  <a:lnTo>
                    <a:pt x="722" y="168"/>
                  </a:lnTo>
                  <a:lnTo>
                    <a:pt x="722" y="168"/>
                  </a:lnTo>
                  <a:lnTo>
                    <a:pt x="720" y="166"/>
                  </a:lnTo>
                  <a:lnTo>
                    <a:pt x="720" y="166"/>
                  </a:lnTo>
                  <a:lnTo>
                    <a:pt x="718" y="166"/>
                  </a:lnTo>
                  <a:lnTo>
                    <a:pt x="716" y="166"/>
                  </a:lnTo>
                  <a:lnTo>
                    <a:pt x="716" y="165"/>
                  </a:lnTo>
                  <a:lnTo>
                    <a:pt x="715" y="165"/>
                  </a:lnTo>
                  <a:lnTo>
                    <a:pt x="715" y="165"/>
                  </a:lnTo>
                  <a:lnTo>
                    <a:pt x="715" y="165"/>
                  </a:lnTo>
                  <a:lnTo>
                    <a:pt x="713" y="165"/>
                  </a:lnTo>
                  <a:lnTo>
                    <a:pt x="713" y="166"/>
                  </a:lnTo>
                  <a:lnTo>
                    <a:pt x="711" y="166"/>
                  </a:lnTo>
                  <a:lnTo>
                    <a:pt x="711" y="166"/>
                  </a:lnTo>
                  <a:lnTo>
                    <a:pt x="709" y="166"/>
                  </a:lnTo>
                  <a:lnTo>
                    <a:pt x="707" y="166"/>
                  </a:lnTo>
                  <a:lnTo>
                    <a:pt x="702" y="159"/>
                  </a:lnTo>
                  <a:lnTo>
                    <a:pt x="702" y="157"/>
                  </a:lnTo>
                  <a:lnTo>
                    <a:pt x="700" y="156"/>
                  </a:lnTo>
                  <a:lnTo>
                    <a:pt x="700" y="156"/>
                  </a:lnTo>
                  <a:lnTo>
                    <a:pt x="691" y="156"/>
                  </a:lnTo>
                  <a:lnTo>
                    <a:pt x="686" y="156"/>
                  </a:lnTo>
                  <a:lnTo>
                    <a:pt x="686" y="156"/>
                  </a:lnTo>
                  <a:lnTo>
                    <a:pt x="684" y="156"/>
                  </a:lnTo>
                  <a:lnTo>
                    <a:pt x="684" y="157"/>
                  </a:lnTo>
                  <a:lnTo>
                    <a:pt x="684" y="157"/>
                  </a:lnTo>
                  <a:lnTo>
                    <a:pt x="682" y="159"/>
                  </a:lnTo>
                  <a:lnTo>
                    <a:pt x="682" y="159"/>
                  </a:lnTo>
                  <a:lnTo>
                    <a:pt x="680" y="159"/>
                  </a:lnTo>
                  <a:lnTo>
                    <a:pt x="680" y="159"/>
                  </a:lnTo>
                  <a:lnTo>
                    <a:pt x="680" y="161"/>
                  </a:lnTo>
                  <a:lnTo>
                    <a:pt x="679" y="161"/>
                  </a:lnTo>
                  <a:lnTo>
                    <a:pt x="679" y="161"/>
                  </a:lnTo>
                  <a:lnTo>
                    <a:pt x="679" y="163"/>
                  </a:lnTo>
                  <a:lnTo>
                    <a:pt x="677" y="161"/>
                  </a:lnTo>
                  <a:lnTo>
                    <a:pt x="677" y="161"/>
                  </a:lnTo>
                  <a:lnTo>
                    <a:pt x="675" y="161"/>
                  </a:lnTo>
                  <a:lnTo>
                    <a:pt x="673" y="161"/>
                  </a:lnTo>
                  <a:lnTo>
                    <a:pt x="673" y="159"/>
                  </a:lnTo>
                  <a:lnTo>
                    <a:pt x="673" y="157"/>
                  </a:lnTo>
                  <a:lnTo>
                    <a:pt x="673" y="157"/>
                  </a:lnTo>
                  <a:lnTo>
                    <a:pt x="671" y="154"/>
                  </a:lnTo>
                  <a:lnTo>
                    <a:pt x="671" y="154"/>
                  </a:lnTo>
                  <a:lnTo>
                    <a:pt x="671" y="152"/>
                  </a:lnTo>
                  <a:lnTo>
                    <a:pt x="669" y="152"/>
                  </a:lnTo>
                  <a:lnTo>
                    <a:pt x="668" y="152"/>
                  </a:lnTo>
                  <a:lnTo>
                    <a:pt x="666" y="152"/>
                  </a:lnTo>
                  <a:lnTo>
                    <a:pt x="666" y="150"/>
                  </a:lnTo>
                  <a:lnTo>
                    <a:pt x="664" y="139"/>
                  </a:lnTo>
                  <a:lnTo>
                    <a:pt x="662" y="139"/>
                  </a:lnTo>
                  <a:lnTo>
                    <a:pt x="664" y="138"/>
                  </a:lnTo>
                  <a:lnTo>
                    <a:pt x="668" y="136"/>
                  </a:lnTo>
                  <a:lnTo>
                    <a:pt x="666" y="134"/>
                  </a:lnTo>
                  <a:lnTo>
                    <a:pt x="666" y="132"/>
                  </a:lnTo>
                  <a:lnTo>
                    <a:pt x="666" y="130"/>
                  </a:lnTo>
                  <a:lnTo>
                    <a:pt x="666" y="129"/>
                  </a:lnTo>
                  <a:lnTo>
                    <a:pt x="666" y="129"/>
                  </a:lnTo>
                  <a:lnTo>
                    <a:pt x="666" y="127"/>
                  </a:lnTo>
                  <a:lnTo>
                    <a:pt x="664" y="127"/>
                  </a:lnTo>
                  <a:lnTo>
                    <a:pt x="664" y="127"/>
                  </a:lnTo>
                  <a:lnTo>
                    <a:pt x="664" y="125"/>
                  </a:lnTo>
                  <a:lnTo>
                    <a:pt x="664" y="125"/>
                  </a:lnTo>
                  <a:lnTo>
                    <a:pt x="664" y="123"/>
                  </a:lnTo>
                  <a:lnTo>
                    <a:pt x="662" y="121"/>
                  </a:lnTo>
                  <a:lnTo>
                    <a:pt x="662" y="121"/>
                  </a:lnTo>
                  <a:lnTo>
                    <a:pt x="662" y="120"/>
                  </a:lnTo>
                  <a:lnTo>
                    <a:pt x="660" y="118"/>
                  </a:lnTo>
                  <a:lnTo>
                    <a:pt x="662" y="118"/>
                  </a:lnTo>
                  <a:lnTo>
                    <a:pt x="662" y="116"/>
                  </a:lnTo>
                  <a:lnTo>
                    <a:pt x="660" y="116"/>
                  </a:lnTo>
                  <a:lnTo>
                    <a:pt x="660" y="116"/>
                  </a:lnTo>
                  <a:lnTo>
                    <a:pt x="659" y="114"/>
                  </a:lnTo>
                  <a:lnTo>
                    <a:pt x="659" y="114"/>
                  </a:lnTo>
                  <a:lnTo>
                    <a:pt x="659" y="114"/>
                  </a:lnTo>
                  <a:lnTo>
                    <a:pt x="659" y="112"/>
                  </a:lnTo>
                  <a:lnTo>
                    <a:pt x="659" y="110"/>
                  </a:lnTo>
                  <a:lnTo>
                    <a:pt x="660" y="110"/>
                  </a:lnTo>
                  <a:lnTo>
                    <a:pt x="662" y="109"/>
                  </a:lnTo>
                  <a:lnTo>
                    <a:pt x="662" y="109"/>
                  </a:lnTo>
                  <a:lnTo>
                    <a:pt x="662" y="107"/>
                  </a:lnTo>
                  <a:lnTo>
                    <a:pt x="660" y="107"/>
                  </a:lnTo>
                  <a:lnTo>
                    <a:pt x="660" y="107"/>
                  </a:lnTo>
                  <a:lnTo>
                    <a:pt x="659" y="107"/>
                  </a:lnTo>
                  <a:lnTo>
                    <a:pt x="655" y="107"/>
                  </a:lnTo>
                  <a:lnTo>
                    <a:pt x="653" y="107"/>
                  </a:lnTo>
                  <a:lnTo>
                    <a:pt x="651" y="105"/>
                  </a:lnTo>
                  <a:lnTo>
                    <a:pt x="650" y="103"/>
                  </a:lnTo>
                  <a:lnTo>
                    <a:pt x="650" y="96"/>
                  </a:lnTo>
                  <a:lnTo>
                    <a:pt x="650" y="94"/>
                  </a:lnTo>
                  <a:lnTo>
                    <a:pt x="648" y="94"/>
                  </a:lnTo>
                  <a:lnTo>
                    <a:pt x="648" y="92"/>
                  </a:lnTo>
                  <a:lnTo>
                    <a:pt x="646" y="92"/>
                  </a:lnTo>
                  <a:lnTo>
                    <a:pt x="646" y="94"/>
                  </a:lnTo>
                  <a:lnTo>
                    <a:pt x="644" y="94"/>
                  </a:lnTo>
                  <a:lnTo>
                    <a:pt x="642" y="94"/>
                  </a:lnTo>
                  <a:lnTo>
                    <a:pt x="642" y="92"/>
                  </a:lnTo>
                  <a:lnTo>
                    <a:pt x="642" y="92"/>
                  </a:lnTo>
                  <a:lnTo>
                    <a:pt x="639" y="94"/>
                  </a:lnTo>
                  <a:lnTo>
                    <a:pt x="635" y="96"/>
                  </a:lnTo>
                  <a:lnTo>
                    <a:pt x="632" y="96"/>
                  </a:lnTo>
                  <a:lnTo>
                    <a:pt x="628" y="96"/>
                  </a:lnTo>
                  <a:lnTo>
                    <a:pt x="628" y="96"/>
                  </a:lnTo>
                  <a:lnTo>
                    <a:pt x="626" y="96"/>
                  </a:lnTo>
                  <a:lnTo>
                    <a:pt x="626" y="94"/>
                  </a:lnTo>
                  <a:lnTo>
                    <a:pt x="626" y="92"/>
                  </a:lnTo>
                  <a:lnTo>
                    <a:pt x="626" y="92"/>
                  </a:lnTo>
                  <a:lnTo>
                    <a:pt x="624" y="91"/>
                  </a:lnTo>
                  <a:lnTo>
                    <a:pt x="623" y="91"/>
                  </a:lnTo>
                  <a:lnTo>
                    <a:pt x="621" y="92"/>
                  </a:lnTo>
                  <a:lnTo>
                    <a:pt x="619" y="91"/>
                  </a:lnTo>
                  <a:lnTo>
                    <a:pt x="615" y="91"/>
                  </a:lnTo>
                  <a:lnTo>
                    <a:pt x="614" y="89"/>
                  </a:lnTo>
                  <a:lnTo>
                    <a:pt x="612" y="91"/>
                  </a:lnTo>
                  <a:lnTo>
                    <a:pt x="610" y="92"/>
                  </a:lnTo>
                  <a:lnTo>
                    <a:pt x="608" y="92"/>
                  </a:lnTo>
                  <a:lnTo>
                    <a:pt x="606" y="92"/>
                  </a:lnTo>
                  <a:lnTo>
                    <a:pt x="603" y="91"/>
                  </a:lnTo>
                  <a:lnTo>
                    <a:pt x="606" y="89"/>
                  </a:lnTo>
                  <a:lnTo>
                    <a:pt x="608" y="85"/>
                  </a:lnTo>
                  <a:lnTo>
                    <a:pt x="610" y="83"/>
                  </a:lnTo>
                  <a:lnTo>
                    <a:pt x="610" y="80"/>
                  </a:lnTo>
                  <a:lnTo>
                    <a:pt x="608" y="82"/>
                  </a:lnTo>
                  <a:lnTo>
                    <a:pt x="608" y="82"/>
                  </a:lnTo>
                  <a:lnTo>
                    <a:pt x="606" y="82"/>
                  </a:lnTo>
                  <a:lnTo>
                    <a:pt x="606" y="82"/>
                  </a:lnTo>
                  <a:lnTo>
                    <a:pt x="604" y="80"/>
                  </a:lnTo>
                  <a:lnTo>
                    <a:pt x="604" y="80"/>
                  </a:lnTo>
                  <a:lnTo>
                    <a:pt x="603" y="78"/>
                  </a:lnTo>
                  <a:lnTo>
                    <a:pt x="603" y="78"/>
                  </a:lnTo>
                  <a:lnTo>
                    <a:pt x="604" y="78"/>
                  </a:lnTo>
                  <a:lnTo>
                    <a:pt x="604" y="78"/>
                  </a:lnTo>
                  <a:lnTo>
                    <a:pt x="604" y="76"/>
                  </a:lnTo>
                  <a:lnTo>
                    <a:pt x="604" y="76"/>
                  </a:lnTo>
                  <a:lnTo>
                    <a:pt x="604" y="74"/>
                  </a:lnTo>
                  <a:lnTo>
                    <a:pt x="604" y="74"/>
                  </a:lnTo>
                  <a:lnTo>
                    <a:pt x="604" y="74"/>
                  </a:lnTo>
                  <a:lnTo>
                    <a:pt x="604" y="73"/>
                  </a:lnTo>
                  <a:lnTo>
                    <a:pt x="606" y="71"/>
                  </a:lnTo>
                  <a:lnTo>
                    <a:pt x="606" y="71"/>
                  </a:lnTo>
                  <a:lnTo>
                    <a:pt x="606" y="69"/>
                  </a:lnTo>
                  <a:lnTo>
                    <a:pt x="604" y="67"/>
                  </a:lnTo>
                  <a:lnTo>
                    <a:pt x="604" y="67"/>
                  </a:lnTo>
                  <a:lnTo>
                    <a:pt x="603" y="64"/>
                  </a:lnTo>
                  <a:lnTo>
                    <a:pt x="603" y="64"/>
                  </a:lnTo>
                  <a:lnTo>
                    <a:pt x="601" y="64"/>
                  </a:lnTo>
                  <a:lnTo>
                    <a:pt x="601" y="62"/>
                  </a:lnTo>
                  <a:lnTo>
                    <a:pt x="601" y="60"/>
                  </a:lnTo>
                  <a:lnTo>
                    <a:pt x="601" y="60"/>
                  </a:lnTo>
                  <a:lnTo>
                    <a:pt x="599" y="60"/>
                  </a:lnTo>
                  <a:lnTo>
                    <a:pt x="599" y="58"/>
                  </a:lnTo>
                  <a:lnTo>
                    <a:pt x="599" y="56"/>
                  </a:lnTo>
                  <a:lnTo>
                    <a:pt x="601" y="56"/>
                  </a:lnTo>
                  <a:lnTo>
                    <a:pt x="610" y="53"/>
                  </a:lnTo>
                  <a:lnTo>
                    <a:pt x="612" y="55"/>
                  </a:lnTo>
                  <a:lnTo>
                    <a:pt x="614" y="53"/>
                  </a:lnTo>
                  <a:lnTo>
                    <a:pt x="615" y="51"/>
                  </a:lnTo>
                  <a:lnTo>
                    <a:pt x="615" y="47"/>
                  </a:lnTo>
                  <a:lnTo>
                    <a:pt x="614" y="44"/>
                  </a:lnTo>
                  <a:lnTo>
                    <a:pt x="614" y="44"/>
                  </a:lnTo>
                  <a:lnTo>
                    <a:pt x="612" y="42"/>
                  </a:lnTo>
                  <a:lnTo>
                    <a:pt x="610" y="42"/>
                  </a:lnTo>
                  <a:lnTo>
                    <a:pt x="608" y="40"/>
                  </a:lnTo>
                  <a:lnTo>
                    <a:pt x="608" y="40"/>
                  </a:lnTo>
                  <a:lnTo>
                    <a:pt x="608" y="40"/>
                  </a:lnTo>
                  <a:lnTo>
                    <a:pt x="606" y="40"/>
                  </a:lnTo>
                  <a:lnTo>
                    <a:pt x="606" y="40"/>
                  </a:lnTo>
                  <a:lnTo>
                    <a:pt x="606" y="40"/>
                  </a:lnTo>
                  <a:lnTo>
                    <a:pt x="606" y="38"/>
                  </a:lnTo>
                  <a:lnTo>
                    <a:pt x="606" y="38"/>
                  </a:lnTo>
                  <a:lnTo>
                    <a:pt x="604" y="38"/>
                  </a:lnTo>
                  <a:lnTo>
                    <a:pt x="604" y="36"/>
                  </a:lnTo>
                  <a:lnTo>
                    <a:pt x="604" y="36"/>
                  </a:lnTo>
                  <a:lnTo>
                    <a:pt x="603" y="35"/>
                  </a:lnTo>
                  <a:lnTo>
                    <a:pt x="601" y="33"/>
                  </a:lnTo>
                  <a:lnTo>
                    <a:pt x="599" y="33"/>
                  </a:lnTo>
                  <a:lnTo>
                    <a:pt x="599" y="33"/>
                  </a:lnTo>
                  <a:lnTo>
                    <a:pt x="599" y="31"/>
                  </a:lnTo>
                  <a:lnTo>
                    <a:pt x="599" y="31"/>
                  </a:lnTo>
                  <a:lnTo>
                    <a:pt x="599" y="29"/>
                  </a:lnTo>
                  <a:lnTo>
                    <a:pt x="597" y="27"/>
                  </a:lnTo>
                  <a:lnTo>
                    <a:pt x="597" y="26"/>
                  </a:lnTo>
                  <a:lnTo>
                    <a:pt x="597" y="24"/>
                  </a:lnTo>
                  <a:lnTo>
                    <a:pt x="597" y="22"/>
                  </a:lnTo>
                  <a:lnTo>
                    <a:pt x="597" y="22"/>
                  </a:lnTo>
                  <a:lnTo>
                    <a:pt x="597" y="20"/>
                  </a:lnTo>
                  <a:lnTo>
                    <a:pt x="597" y="18"/>
                  </a:lnTo>
                  <a:lnTo>
                    <a:pt x="597" y="18"/>
                  </a:lnTo>
                  <a:lnTo>
                    <a:pt x="597" y="17"/>
                  </a:lnTo>
                  <a:lnTo>
                    <a:pt x="597" y="17"/>
                  </a:lnTo>
                  <a:lnTo>
                    <a:pt x="595" y="15"/>
                  </a:lnTo>
                  <a:lnTo>
                    <a:pt x="595" y="13"/>
                  </a:lnTo>
                  <a:lnTo>
                    <a:pt x="592" y="11"/>
                  </a:lnTo>
                  <a:lnTo>
                    <a:pt x="592" y="11"/>
                  </a:lnTo>
                  <a:lnTo>
                    <a:pt x="590" y="8"/>
                  </a:lnTo>
                  <a:lnTo>
                    <a:pt x="590" y="6"/>
                  </a:lnTo>
                  <a:lnTo>
                    <a:pt x="586" y="6"/>
                  </a:lnTo>
                  <a:lnTo>
                    <a:pt x="586" y="4"/>
                  </a:lnTo>
                  <a:lnTo>
                    <a:pt x="585" y="2"/>
                  </a:lnTo>
                  <a:lnTo>
                    <a:pt x="585" y="2"/>
                  </a:lnTo>
                  <a:lnTo>
                    <a:pt x="585" y="0"/>
                  </a:lnTo>
                  <a:lnTo>
                    <a:pt x="583" y="0"/>
                  </a:lnTo>
                  <a:lnTo>
                    <a:pt x="581" y="0"/>
                  </a:lnTo>
                  <a:lnTo>
                    <a:pt x="579" y="0"/>
                  </a:lnTo>
                  <a:lnTo>
                    <a:pt x="574" y="2"/>
                  </a:lnTo>
                  <a:lnTo>
                    <a:pt x="570" y="6"/>
                  </a:lnTo>
                  <a:lnTo>
                    <a:pt x="570" y="6"/>
                  </a:lnTo>
                  <a:lnTo>
                    <a:pt x="568" y="6"/>
                  </a:lnTo>
                  <a:lnTo>
                    <a:pt x="568" y="2"/>
                  </a:lnTo>
                  <a:lnTo>
                    <a:pt x="568" y="0"/>
                  </a:lnTo>
                  <a:lnTo>
                    <a:pt x="568" y="0"/>
                  </a:lnTo>
                  <a:lnTo>
                    <a:pt x="567" y="2"/>
                  </a:lnTo>
                  <a:lnTo>
                    <a:pt x="567" y="2"/>
                  </a:lnTo>
                  <a:lnTo>
                    <a:pt x="565" y="2"/>
                  </a:lnTo>
                  <a:lnTo>
                    <a:pt x="565" y="2"/>
                  </a:lnTo>
                  <a:lnTo>
                    <a:pt x="565" y="2"/>
                  </a:lnTo>
                  <a:lnTo>
                    <a:pt x="563" y="0"/>
                  </a:lnTo>
                  <a:lnTo>
                    <a:pt x="563" y="0"/>
                  </a:lnTo>
                  <a:lnTo>
                    <a:pt x="559" y="0"/>
                  </a:lnTo>
                  <a:lnTo>
                    <a:pt x="554" y="0"/>
                  </a:lnTo>
                  <a:lnTo>
                    <a:pt x="554" y="0"/>
                  </a:lnTo>
                  <a:lnTo>
                    <a:pt x="552" y="0"/>
                  </a:lnTo>
                  <a:lnTo>
                    <a:pt x="552" y="2"/>
                  </a:lnTo>
                  <a:lnTo>
                    <a:pt x="550" y="2"/>
                  </a:lnTo>
                  <a:lnTo>
                    <a:pt x="550" y="4"/>
                  </a:lnTo>
                  <a:lnTo>
                    <a:pt x="548" y="4"/>
                  </a:lnTo>
                  <a:lnTo>
                    <a:pt x="548" y="4"/>
                  </a:lnTo>
                  <a:lnTo>
                    <a:pt x="548" y="6"/>
                  </a:lnTo>
                  <a:lnTo>
                    <a:pt x="548" y="6"/>
                  </a:lnTo>
                  <a:lnTo>
                    <a:pt x="547" y="4"/>
                  </a:lnTo>
                  <a:lnTo>
                    <a:pt x="547" y="4"/>
                  </a:lnTo>
                  <a:lnTo>
                    <a:pt x="545" y="6"/>
                  </a:lnTo>
                  <a:lnTo>
                    <a:pt x="541" y="9"/>
                  </a:lnTo>
                  <a:lnTo>
                    <a:pt x="539" y="9"/>
                  </a:lnTo>
                  <a:lnTo>
                    <a:pt x="539" y="9"/>
                  </a:lnTo>
                  <a:lnTo>
                    <a:pt x="538" y="9"/>
                  </a:lnTo>
                  <a:lnTo>
                    <a:pt x="536" y="9"/>
                  </a:lnTo>
                  <a:lnTo>
                    <a:pt x="534" y="9"/>
                  </a:lnTo>
                  <a:lnTo>
                    <a:pt x="532" y="9"/>
                  </a:lnTo>
                  <a:lnTo>
                    <a:pt x="530" y="9"/>
                  </a:lnTo>
                  <a:lnTo>
                    <a:pt x="521" y="4"/>
                  </a:lnTo>
                  <a:lnTo>
                    <a:pt x="518" y="4"/>
                  </a:lnTo>
                  <a:lnTo>
                    <a:pt x="514" y="4"/>
                  </a:lnTo>
                  <a:lnTo>
                    <a:pt x="512" y="4"/>
                  </a:lnTo>
                  <a:lnTo>
                    <a:pt x="511" y="6"/>
                  </a:lnTo>
                  <a:lnTo>
                    <a:pt x="511" y="8"/>
                  </a:lnTo>
                  <a:lnTo>
                    <a:pt x="512" y="9"/>
                  </a:lnTo>
                  <a:lnTo>
                    <a:pt x="512" y="9"/>
                  </a:lnTo>
                  <a:lnTo>
                    <a:pt x="512" y="11"/>
                  </a:lnTo>
                  <a:lnTo>
                    <a:pt x="512" y="11"/>
                  </a:lnTo>
                  <a:lnTo>
                    <a:pt x="511" y="11"/>
                  </a:lnTo>
                  <a:lnTo>
                    <a:pt x="511" y="11"/>
                  </a:lnTo>
                  <a:lnTo>
                    <a:pt x="511" y="13"/>
                  </a:lnTo>
                  <a:lnTo>
                    <a:pt x="509" y="18"/>
                  </a:lnTo>
                  <a:lnTo>
                    <a:pt x="509" y="22"/>
                  </a:lnTo>
                  <a:lnTo>
                    <a:pt x="505" y="24"/>
                  </a:lnTo>
                  <a:lnTo>
                    <a:pt x="500" y="26"/>
                  </a:lnTo>
                  <a:lnTo>
                    <a:pt x="498" y="27"/>
                  </a:lnTo>
                  <a:lnTo>
                    <a:pt x="494" y="26"/>
                  </a:lnTo>
                  <a:lnTo>
                    <a:pt x="493" y="26"/>
                  </a:lnTo>
                  <a:lnTo>
                    <a:pt x="491" y="27"/>
                  </a:lnTo>
                  <a:lnTo>
                    <a:pt x="489" y="27"/>
                  </a:lnTo>
                  <a:lnTo>
                    <a:pt x="489" y="27"/>
                  </a:lnTo>
                  <a:lnTo>
                    <a:pt x="489" y="26"/>
                  </a:lnTo>
                  <a:lnTo>
                    <a:pt x="489" y="24"/>
                  </a:lnTo>
                  <a:lnTo>
                    <a:pt x="489" y="22"/>
                  </a:lnTo>
                  <a:lnTo>
                    <a:pt x="487" y="22"/>
                  </a:lnTo>
                  <a:lnTo>
                    <a:pt x="485" y="22"/>
                  </a:lnTo>
                  <a:lnTo>
                    <a:pt x="482" y="22"/>
                  </a:lnTo>
                  <a:lnTo>
                    <a:pt x="476" y="22"/>
                  </a:lnTo>
                  <a:lnTo>
                    <a:pt x="467" y="20"/>
                  </a:lnTo>
                  <a:lnTo>
                    <a:pt x="464" y="20"/>
                  </a:lnTo>
                  <a:lnTo>
                    <a:pt x="460" y="22"/>
                  </a:lnTo>
                  <a:lnTo>
                    <a:pt x="458" y="24"/>
                  </a:lnTo>
                  <a:lnTo>
                    <a:pt x="458" y="26"/>
                  </a:lnTo>
                  <a:lnTo>
                    <a:pt x="456" y="26"/>
                  </a:lnTo>
                  <a:lnTo>
                    <a:pt x="456" y="27"/>
                  </a:lnTo>
                  <a:lnTo>
                    <a:pt x="455" y="26"/>
                  </a:lnTo>
                  <a:lnTo>
                    <a:pt x="453" y="24"/>
                  </a:lnTo>
                  <a:lnTo>
                    <a:pt x="451" y="24"/>
                  </a:lnTo>
                  <a:lnTo>
                    <a:pt x="449" y="24"/>
                  </a:lnTo>
                  <a:lnTo>
                    <a:pt x="442" y="24"/>
                  </a:lnTo>
                  <a:lnTo>
                    <a:pt x="440" y="24"/>
                  </a:lnTo>
                  <a:lnTo>
                    <a:pt x="440" y="26"/>
                  </a:lnTo>
                  <a:lnTo>
                    <a:pt x="440" y="26"/>
                  </a:lnTo>
                  <a:lnTo>
                    <a:pt x="440" y="27"/>
                  </a:lnTo>
                  <a:lnTo>
                    <a:pt x="440" y="27"/>
                  </a:lnTo>
                  <a:lnTo>
                    <a:pt x="440" y="27"/>
                  </a:lnTo>
                  <a:lnTo>
                    <a:pt x="440" y="27"/>
                  </a:lnTo>
                  <a:lnTo>
                    <a:pt x="442" y="27"/>
                  </a:lnTo>
                  <a:lnTo>
                    <a:pt x="442" y="29"/>
                  </a:lnTo>
                  <a:lnTo>
                    <a:pt x="442" y="31"/>
                  </a:lnTo>
                  <a:lnTo>
                    <a:pt x="440" y="31"/>
                  </a:lnTo>
                  <a:lnTo>
                    <a:pt x="440" y="29"/>
                  </a:lnTo>
                  <a:lnTo>
                    <a:pt x="438" y="29"/>
                  </a:lnTo>
                  <a:lnTo>
                    <a:pt x="438" y="29"/>
                  </a:lnTo>
                  <a:lnTo>
                    <a:pt x="438" y="31"/>
                  </a:lnTo>
                  <a:lnTo>
                    <a:pt x="438" y="31"/>
                  </a:lnTo>
                  <a:lnTo>
                    <a:pt x="438" y="31"/>
                  </a:lnTo>
                  <a:lnTo>
                    <a:pt x="438" y="31"/>
                  </a:lnTo>
                  <a:lnTo>
                    <a:pt x="438" y="33"/>
                  </a:lnTo>
                  <a:lnTo>
                    <a:pt x="438" y="33"/>
                  </a:lnTo>
                  <a:lnTo>
                    <a:pt x="437" y="33"/>
                  </a:lnTo>
                  <a:lnTo>
                    <a:pt x="437" y="35"/>
                  </a:lnTo>
                  <a:lnTo>
                    <a:pt x="435" y="35"/>
                  </a:lnTo>
                  <a:lnTo>
                    <a:pt x="435" y="35"/>
                  </a:lnTo>
                  <a:lnTo>
                    <a:pt x="435" y="35"/>
                  </a:lnTo>
                  <a:lnTo>
                    <a:pt x="435" y="35"/>
                  </a:lnTo>
                  <a:lnTo>
                    <a:pt x="435" y="36"/>
                  </a:lnTo>
                  <a:lnTo>
                    <a:pt x="435" y="36"/>
                  </a:lnTo>
                  <a:lnTo>
                    <a:pt x="435" y="38"/>
                  </a:lnTo>
                  <a:lnTo>
                    <a:pt x="433" y="38"/>
                  </a:lnTo>
                  <a:lnTo>
                    <a:pt x="433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38"/>
                  </a:lnTo>
                  <a:lnTo>
                    <a:pt x="431" y="40"/>
                  </a:lnTo>
                  <a:lnTo>
                    <a:pt x="431" y="40"/>
                  </a:lnTo>
                  <a:lnTo>
                    <a:pt x="429" y="40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8" y="44"/>
                  </a:lnTo>
                  <a:lnTo>
                    <a:pt x="428" y="44"/>
                  </a:lnTo>
                  <a:lnTo>
                    <a:pt x="428" y="44"/>
                  </a:lnTo>
                  <a:lnTo>
                    <a:pt x="428" y="45"/>
                  </a:lnTo>
                  <a:lnTo>
                    <a:pt x="428" y="45"/>
                  </a:lnTo>
                  <a:lnTo>
                    <a:pt x="428" y="47"/>
                  </a:lnTo>
                  <a:lnTo>
                    <a:pt x="428" y="47"/>
                  </a:lnTo>
                  <a:lnTo>
                    <a:pt x="426" y="49"/>
                  </a:lnTo>
                  <a:lnTo>
                    <a:pt x="426" y="49"/>
                  </a:lnTo>
                  <a:lnTo>
                    <a:pt x="426" y="49"/>
                  </a:lnTo>
                  <a:lnTo>
                    <a:pt x="426" y="49"/>
                  </a:lnTo>
                  <a:lnTo>
                    <a:pt x="426" y="51"/>
                  </a:lnTo>
                  <a:lnTo>
                    <a:pt x="426" y="51"/>
                  </a:lnTo>
                  <a:lnTo>
                    <a:pt x="426" y="53"/>
                  </a:lnTo>
                  <a:lnTo>
                    <a:pt x="426" y="53"/>
                  </a:lnTo>
                  <a:lnTo>
                    <a:pt x="426" y="53"/>
                  </a:lnTo>
                  <a:lnTo>
                    <a:pt x="424" y="55"/>
                  </a:lnTo>
                  <a:lnTo>
                    <a:pt x="424" y="55"/>
                  </a:lnTo>
                  <a:lnTo>
                    <a:pt x="422" y="55"/>
                  </a:lnTo>
                  <a:lnTo>
                    <a:pt x="422" y="55"/>
                  </a:lnTo>
                  <a:lnTo>
                    <a:pt x="422" y="56"/>
                  </a:lnTo>
                  <a:lnTo>
                    <a:pt x="422" y="58"/>
                  </a:lnTo>
                  <a:lnTo>
                    <a:pt x="422" y="58"/>
                  </a:lnTo>
                  <a:lnTo>
                    <a:pt x="422" y="58"/>
                  </a:lnTo>
                  <a:lnTo>
                    <a:pt x="422" y="60"/>
                  </a:lnTo>
                  <a:lnTo>
                    <a:pt x="422" y="60"/>
                  </a:lnTo>
                  <a:lnTo>
                    <a:pt x="422" y="60"/>
                  </a:lnTo>
                  <a:lnTo>
                    <a:pt x="422" y="60"/>
                  </a:lnTo>
                  <a:lnTo>
                    <a:pt x="420" y="62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2" y="64"/>
                  </a:lnTo>
                  <a:lnTo>
                    <a:pt x="422" y="64"/>
                  </a:lnTo>
                  <a:lnTo>
                    <a:pt x="420" y="64"/>
                  </a:lnTo>
                  <a:lnTo>
                    <a:pt x="420" y="64"/>
                  </a:lnTo>
                  <a:lnTo>
                    <a:pt x="420" y="64"/>
                  </a:lnTo>
                  <a:lnTo>
                    <a:pt x="420" y="65"/>
                  </a:lnTo>
                  <a:lnTo>
                    <a:pt x="420" y="65"/>
                  </a:lnTo>
                  <a:lnTo>
                    <a:pt x="420" y="65"/>
                  </a:lnTo>
                  <a:lnTo>
                    <a:pt x="422" y="67"/>
                  </a:lnTo>
                  <a:lnTo>
                    <a:pt x="424" y="67"/>
                  </a:lnTo>
                  <a:lnTo>
                    <a:pt x="422" y="67"/>
                  </a:lnTo>
                  <a:lnTo>
                    <a:pt x="422" y="67"/>
                  </a:lnTo>
                  <a:lnTo>
                    <a:pt x="422" y="69"/>
                  </a:lnTo>
                  <a:lnTo>
                    <a:pt x="422" y="69"/>
                  </a:lnTo>
                  <a:lnTo>
                    <a:pt x="424" y="69"/>
                  </a:lnTo>
                  <a:lnTo>
                    <a:pt x="424" y="71"/>
                  </a:lnTo>
                  <a:lnTo>
                    <a:pt x="424" y="71"/>
                  </a:lnTo>
                  <a:lnTo>
                    <a:pt x="424" y="71"/>
                  </a:lnTo>
                  <a:lnTo>
                    <a:pt x="424" y="73"/>
                  </a:lnTo>
                  <a:lnTo>
                    <a:pt x="424" y="73"/>
                  </a:lnTo>
                  <a:lnTo>
                    <a:pt x="426" y="73"/>
                  </a:lnTo>
                  <a:lnTo>
                    <a:pt x="426" y="73"/>
                  </a:lnTo>
                  <a:lnTo>
                    <a:pt x="424" y="73"/>
                  </a:lnTo>
                  <a:lnTo>
                    <a:pt x="424" y="73"/>
                  </a:lnTo>
                  <a:lnTo>
                    <a:pt x="424" y="74"/>
                  </a:lnTo>
                  <a:lnTo>
                    <a:pt x="424" y="74"/>
                  </a:lnTo>
                  <a:lnTo>
                    <a:pt x="424" y="76"/>
                  </a:lnTo>
                  <a:lnTo>
                    <a:pt x="424" y="76"/>
                  </a:lnTo>
                  <a:lnTo>
                    <a:pt x="424" y="76"/>
                  </a:lnTo>
                  <a:lnTo>
                    <a:pt x="426" y="76"/>
                  </a:lnTo>
                  <a:lnTo>
                    <a:pt x="426" y="78"/>
                  </a:lnTo>
                  <a:lnTo>
                    <a:pt x="426" y="80"/>
                  </a:lnTo>
                  <a:lnTo>
                    <a:pt x="426" y="80"/>
                  </a:lnTo>
                  <a:lnTo>
                    <a:pt x="426" y="80"/>
                  </a:lnTo>
                  <a:lnTo>
                    <a:pt x="426" y="82"/>
                  </a:lnTo>
                  <a:lnTo>
                    <a:pt x="426" y="82"/>
                  </a:lnTo>
                  <a:lnTo>
                    <a:pt x="426" y="83"/>
                  </a:lnTo>
                  <a:lnTo>
                    <a:pt x="424" y="85"/>
                  </a:lnTo>
                  <a:lnTo>
                    <a:pt x="424" y="85"/>
                  </a:lnTo>
                  <a:lnTo>
                    <a:pt x="422" y="87"/>
                  </a:lnTo>
                  <a:lnTo>
                    <a:pt x="422" y="89"/>
                  </a:lnTo>
                  <a:lnTo>
                    <a:pt x="422" y="89"/>
                  </a:lnTo>
                  <a:lnTo>
                    <a:pt x="422" y="91"/>
                  </a:lnTo>
                  <a:lnTo>
                    <a:pt x="422" y="91"/>
                  </a:lnTo>
                  <a:lnTo>
                    <a:pt x="422" y="91"/>
                  </a:lnTo>
                  <a:lnTo>
                    <a:pt x="420" y="91"/>
                  </a:lnTo>
                  <a:lnTo>
                    <a:pt x="420" y="91"/>
                  </a:lnTo>
                  <a:lnTo>
                    <a:pt x="420" y="91"/>
                  </a:lnTo>
                  <a:lnTo>
                    <a:pt x="420" y="89"/>
                  </a:lnTo>
                  <a:lnTo>
                    <a:pt x="418" y="89"/>
                  </a:lnTo>
                  <a:lnTo>
                    <a:pt x="418" y="89"/>
                  </a:lnTo>
                  <a:lnTo>
                    <a:pt x="417" y="89"/>
                  </a:lnTo>
                  <a:lnTo>
                    <a:pt x="417" y="87"/>
                  </a:lnTo>
                  <a:lnTo>
                    <a:pt x="415" y="87"/>
                  </a:lnTo>
                  <a:lnTo>
                    <a:pt x="415" y="87"/>
                  </a:lnTo>
                  <a:lnTo>
                    <a:pt x="413" y="87"/>
                  </a:lnTo>
                  <a:lnTo>
                    <a:pt x="413" y="87"/>
                  </a:lnTo>
                  <a:lnTo>
                    <a:pt x="411" y="85"/>
                  </a:lnTo>
                  <a:lnTo>
                    <a:pt x="409" y="83"/>
                  </a:lnTo>
                  <a:lnTo>
                    <a:pt x="409" y="83"/>
                  </a:lnTo>
                  <a:lnTo>
                    <a:pt x="409" y="83"/>
                  </a:lnTo>
                  <a:lnTo>
                    <a:pt x="411" y="82"/>
                  </a:lnTo>
                  <a:lnTo>
                    <a:pt x="411" y="80"/>
                  </a:lnTo>
                  <a:lnTo>
                    <a:pt x="411" y="80"/>
                  </a:lnTo>
                  <a:lnTo>
                    <a:pt x="411" y="80"/>
                  </a:lnTo>
                  <a:lnTo>
                    <a:pt x="409" y="78"/>
                  </a:lnTo>
                  <a:lnTo>
                    <a:pt x="409" y="78"/>
                  </a:lnTo>
                  <a:lnTo>
                    <a:pt x="409" y="78"/>
                  </a:lnTo>
                  <a:lnTo>
                    <a:pt x="408" y="76"/>
                  </a:lnTo>
                  <a:lnTo>
                    <a:pt x="406" y="76"/>
                  </a:lnTo>
                  <a:lnTo>
                    <a:pt x="404" y="73"/>
                  </a:lnTo>
                  <a:lnTo>
                    <a:pt x="402" y="73"/>
                  </a:lnTo>
                  <a:lnTo>
                    <a:pt x="402" y="71"/>
                  </a:lnTo>
                  <a:lnTo>
                    <a:pt x="395" y="71"/>
                  </a:lnTo>
                  <a:lnTo>
                    <a:pt x="393" y="73"/>
                  </a:lnTo>
                  <a:lnTo>
                    <a:pt x="390" y="74"/>
                  </a:lnTo>
                  <a:lnTo>
                    <a:pt x="390" y="74"/>
                  </a:lnTo>
                  <a:lnTo>
                    <a:pt x="390" y="73"/>
                  </a:lnTo>
                  <a:lnTo>
                    <a:pt x="388" y="73"/>
                  </a:lnTo>
                  <a:lnTo>
                    <a:pt x="388" y="73"/>
                  </a:lnTo>
                  <a:lnTo>
                    <a:pt x="386" y="74"/>
                  </a:lnTo>
                  <a:lnTo>
                    <a:pt x="386" y="76"/>
                  </a:lnTo>
                  <a:lnTo>
                    <a:pt x="386" y="76"/>
                  </a:lnTo>
                  <a:lnTo>
                    <a:pt x="381" y="74"/>
                  </a:lnTo>
                  <a:lnTo>
                    <a:pt x="381" y="74"/>
                  </a:lnTo>
                  <a:lnTo>
                    <a:pt x="381" y="73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77" y="71"/>
                  </a:lnTo>
                  <a:lnTo>
                    <a:pt x="375" y="71"/>
                  </a:lnTo>
                  <a:lnTo>
                    <a:pt x="375" y="71"/>
                  </a:lnTo>
                  <a:lnTo>
                    <a:pt x="373" y="73"/>
                  </a:lnTo>
                  <a:lnTo>
                    <a:pt x="373" y="73"/>
                  </a:lnTo>
                  <a:lnTo>
                    <a:pt x="372" y="74"/>
                  </a:lnTo>
                  <a:lnTo>
                    <a:pt x="372" y="74"/>
                  </a:lnTo>
                  <a:lnTo>
                    <a:pt x="370" y="74"/>
                  </a:lnTo>
                  <a:lnTo>
                    <a:pt x="370" y="74"/>
                  </a:lnTo>
                  <a:lnTo>
                    <a:pt x="368" y="76"/>
                  </a:lnTo>
                  <a:lnTo>
                    <a:pt x="368" y="78"/>
                  </a:lnTo>
                  <a:lnTo>
                    <a:pt x="368" y="80"/>
                  </a:lnTo>
                  <a:lnTo>
                    <a:pt x="366" y="80"/>
                  </a:lnTo>
                  <a:lnTo>
                    <a:pt x="364" y="78"/>
                  </a:lnTo>
                  <a:lnTo>
                    <a:pt x="362" y="78"/>
                  </a:lnTo>
                  <a:lnTo>
                    <a:pt x="362" y="80"/>
                  </a:lnTo>
                  <a:lnTo>
                    <a:pt x="361" y="80"/>
                  </a:lnTo>
                  <a:lnTo>
                    <a:pt x="361" y="82"/>
                  </a:lnTo>
                  <a:lnTo>
                    <a:pt x="359" y="80"/>
                  </a:lnTo>
                  <a:lnTo>
                    <a:pt x="359" y="78"/>
                  </a:lnTo>
                  <a:lnTo>
                    <a:pt x="357" y="76"/>
                  </a:lnTo>
                  <a:lnTo>
                    <a:pt x="357" y="76"/>
                  </a:lnTo>
                  <a:lnTo>
                    <a:pt x="357" y="74"/>
                  </a:lnTo>
                  <a:lnTo>
                    <a:pt x="355" y="74"/>
                  </a:lnTo>
                  <a:lnTo>
                    <a:pt x="355" y="73"/>
                  </a:lnTo>
                  <a:lnTo>
                    <a:pt x="355" y="71"/>
                  </a:lnTo>
                  <a:lnTo>
                    <a:pt x="355" y="69"/>
                  </a:lnTo>
                  <a:lnTo>
                    <a:pt x="355" y="67"/>
                  </a:lnTo>
                  <a:lnTo>
                    <a:pt x="353" y="65"/>
                  </a:lnTo>
                  <a:lnTo>
                    <a:pt x="352" y="62"/>
                  </a:lnTo>
                  <a:lnTo>
                    <a:pt x="352" y="62"/>
                  </a:lnTo>
                  <a:lnTo>
                    <a:pt x="350" y="60"/>
                  </a:lnTo>
                  <a:lnTo>
                    <a:pt x="348" y="60"/>
                  </a:lnTo>
                  <a:lnTo>
                    <a:pt x="346" y="60"/>
                  </a:lnTo>
                  <a:lnTo>
                    <a:pt x="346" y="60"/>
                  </a:lnTo>
                  <a:lnTo>
                    <a:pt x="344" y="62"/>
                  </a:lnTo>
                  <a:lnTo>
                    <a:pt x="344" y="64"/>
                  </a:lnTo>
                  <a:lnTo>
                    <a:pt x="343" y="65"/>
                  </a:lnTo>
                  <a:lnTo>
                    <a:pt x="341" y="65"/>
                  </a:lnTo>
                  <a:lnTo>
                    <a:pt x="339" y="65"/>
                  </a:lnTo>
                  <a:lnTo>
                    <a:pt x="337" y="65"/>
                  </a:lnTo>
                  <a:lnTo>
                    <a:pt x="335" y="67"/>
                  </a:lnTo>
                  <a:lnTo>
                    <a:pt x="334" y="67"/>
                  </a:lnTo>
                  <a:lnTo>
                    <a:pt x="332" y="69"/>
                  </a:lnTo>
                  <a:lnTo>
                    <a:pt x="332" y="71"/>
                  </a:lnTo>
                  <a:lnTo>
                    <a:pt x="332" y="73"/>
                  </a:lnTo>
                  <a:lnTo>
                    <a:pt x="332" y="76"/>
                  </a:lnTo>
                  <a:lnTo>
                    <a:pt x="332" y="76"/>
                  </a:lnTo>
                  <a:lnTo>
                    <a:pt x="330" y="78"/>
                  </a:lnTo>
                  <a:lnTo>
                    <a:pt x="330" y="78"/>
                  </a:lnTo>
                  <a:lnTo>
                    <a:pt x="330" y="76"/>
                  </a:lnTo>
                  <a:lnTo>
                    <a:pt x="330" y="74"/>
                  </a:lnTo>
                  <a:lnTo>
                    <a:pt x="328" y="74"/>
                  </a:lnTo>
                  <a:lnTo>
                    <a:pt x="328" y="74"/>
                  </a:lnTo>
                  <a:lnTo>
                    <a:pt x="326" y="76"/>
                  </a:lnTo>
                  <a:lnTo>
                    <a:pt x="326" y="74"/>
                  </a:lnTo>
                  <a:lnTo>
                    <a:pt x="326" y="74"/>
                  </a:lnTo>
                  <a:lnTo>
                    <a:pt x="325" y="73"/>
                  </a:lnTo>
                  <a:lnTo>
                    <a:pt x="325" y="69"/>
                  </a:lnTo>
                  <a:lnTo>
                    <a:pt x="325" y="67"/>
                  </a:lnTo>
                  <a:lnTo>
                    <a:pt x="325" y="65"/>
                  </a:lnTo>
                  <a:lnTo>
                    <a:pt x="323" y="65"/>
                  </a:lnTo>
                  <a:lnTo>
                    <a:pt x="319" y="64"/>
                  </a:lnTo>
                  <a:lnTo>
                    <a:pt x="317" y="64"/>
                  </a:lnTo>
                  <a:lnTo>
                    <a:pt x="316" y="65"/>
                  </a:lnTo>
                  <a:lnTo>
                    <a:pt x="314" y="67"/>
                  </a:lnTo>
                  <a:lnTo>
                    <a:pt x="312" y="67"/>
                  </a:lnTo>
                  <a:lnTo>
                    <a:pt x="312" y="69"/>
                  </a:lnTo>
                  <a:lnTo>
                    <a:pt x="310" y="67"/>
                  </a:lnTo>
                  <a:lnTo>
                    <a:pt x="310" y="67"/>
                  </a:lnTo>
                  <a:lnTo>
                    <a:pt x="310" y="65"/>
                  </a:lnTo>
                  <a:lnTo>
                    <a:pt x="310" y="64"/>
                  </a:lnTo>
                  <a:lnTo>
                    <a:pt x="308" y="64"/>
                  </a:lnTo>
                  <a:lnTo>
                    <a:pt x="307" y="62"/>
                  </a:lnTo>
                  <a:lnTo>
                    <a:pt x="307" y="62"/>
                  </a:lnTo>
                  <a:lnTo>
                    <a:pt x="307" y="62"/>
                  </a:lnTo>
                  <a:lnTo>
                    <a:pt x="307" y="60"/>
                  </a:lnTo>
                  <a:lnTo>
                    <a:pt x="307" y="60"/>
                  </a:lnTo>
                  <a:lnTo>
                    <a:pt x="307" y="58"/>
                  </a:lnTo>
                  <a:lnTo>
                    <a:pt x="305" y="58"/>
                  </a:lnTo>
                  <a:lnTo>
                    <a:pt x="305" y="58"/>
                  </a:lnTo>
                  <a:lnTo>
                    <a:pt x="303" y="58"/>
                  </a:lnTo>
                  <a:lnTo>
                    <a:pt x="303" y="60"/>
                  </a:lnTo>
                  <a:lnTo>
                    <a:pt x="301" y="62"/>
                  </a:lnTo>
                  <a:lnTo>
                    <a:pt x="299" y="64"/>
                  </a:lnTo>
                  <a:lnTo>
                    <a:pt x="299" y="65"/>
                  </a:lnTo>
                  <a:lnTo>
                    <a:pt x="297" y="65"/>
                  </a:lnTo>
                  <a:lnTo>
                    <a:pt x="292" y="65"/>
                  </a:lnTo>
                  <a:lnTo>
                    <a:pt x="292" y="65"/>
                  </a:lnTo>
                  <a:lnTo>
                    <a:pt x="290" y="65"/>
                  </a:lnTo>
                  <a:lnTo>
                    <a:pt x="288" y="62"/>
                  </a:lnTo>
                  <a:lnTo>
                    <a:pt x="287" y="62"/>
                  </a:lnTo>
                  <a:lnTo>
                    <a:pt x="285" y="62"/>
                  </a:lnTo>
                  <a:lnTo>
                    <a:pt x="285" y="62"/>
                  </a:lnTo>
                  <a:lnTo>
                    <a:pt x="283" y="64"/>
                  </a:lnTo>
                  <a:lnTo>
                    <a:pt x="283" y="65"/>
                  </a:lnTo>
                  <a:lnTo>
                    <a:pt x="283" y="65"/>
                  </a:lnTo>
                  <a:lnTo>
                    <a:pt x="283" y="67"/>
                  </a:lnTo>
                  <a:lnTo>
                    <a:pt x="283" y="67"/>
                  </a:lnTo>
                  <a:lnTo>
                    <a:pt x="283" y="69"/>
                  </a:lnTo>
                  <a:lnTo>
                    <a:pt x="283" y="69"/>
                  </a:lnTo>
                  <a:lnTo>
                    <a:pt x="281" y="73"/>
                  </a:lnTo>
                  <a:lnTo>
                    <a:pt x="281" y="73"/>
                  </a:lnTo>
                  <a:lnTo>
                    <a:pt x="279" y="73"/>
                  </a:lnTo>
                  <a:lnTo>
                    <a:pt x="279" y="73"/>
                  </a:lnTo>
                  <a:lnTo>
                    <a:pt x="278" y="73"/>
                  </a:lnTo>
                  <a:lnTo>
                    <a:pt x="278" y="71"/>
                  </a:lnTo>
                  <a:lnTo>
                    <a:pt x="278" y="71"/>
                  </a:lnTo>
                  <a:lnTo>
                    <a:pt x="278" y="71"/>
                  </a:lnTo>
                  <a:lnTo>
                    <a:pt x="279" y="67"/>
                  </a:lnTo>
                  <a:lnTo>
                    <a:pt x="279" y="65"/>
                  </a:lnTo>
                  <a:lnTo>
                    <a:pt x="278" y="64"/>
                  </a:lnTo>
                  <a:lnTo>
                    <a:pt x="278" y="62"/>
                  </a:lnTo>
                  <a:lnTo>
                    <a:pt x="274" y="62"/>
                  </a:lnTo>
                  <a:lnTo>
                    <a:pt x="269" y="60"/>
                  </a:lnTo>
                  <a:lnTo>
                    <a:pt x="269" y="60"/>
                  </a:lnTo>
                  <a:lnTo>
                    <a:pt x="269" y="60"/>
                  </a:lnTo>
                  <a:lnTo>
                    <a:pt x="267" y="60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3" y="64"/>
                  </a:lnTo>
                  <a:lnTo>
                    <a:pt x="260" y="62"/>
                  </a:lnTo>
                  <a:lnTo>
                    <a:pt x="258" y="64"/>
                  </a:lnTo>
                  <a:lnTo>
                    <a:pt x="258" y="64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8" y="60"/>
                  </a:lnTo>
                  <a:lnTo>
                    <a:pt x="258" y="58"/>
                  </a:lnTo>
                  <a:lnTo>
                    <a:pt x="256" y="58"/>
                  </a:lnTo>
                  <a:lnTo>
                    <a:pt x="254" y="58"/>
                  </a:lnTo>
                  <a:lnTo>
                    <a:pt x="254" y="58"/>
                  </a:lnTo>
                  <a:lnTo>
                    <a:pt x="254" y="56"/>
                  </a:lnTo>
                  <a:lnTo>
                    <a:pt x="252" y="55"/>
                  </a:lnTo>
                  <a:lnTo>
                    <a:pt x="252" y="53"/>
                  </a:lnTo>
                  <a:lnTo>
                    <a:pt x="252" y="51"/>
                  </a:lnTo>
                  <a:lnTo>
                    <a:pt x="252" y="51"/>
                  </a:lnTo>
                  <a:lnTo>
                    <a:pt x="251" y="49"/>
                  </a:lnTo>
                  <a:lnTo>
                    <a:pt x="249" y="49"/>
                  </a:lnTo>
                  <a:lnTo>
                    <a:pt x="245" y="49"/>
                  </a:lnTo>
                  <a:lnTo>
                    <a:pt x="240" y="51"/>
                  </a:lnTo>
                  <a:lnTo>
                    <a:pt x="236" y="51"/>
                  </a:lnTo>
                  <a:lnTo>
                    <a:pt x="227" y="45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4" y="44"/>
                  </a:lnTo>
                  <a:lnTo>
                    <a:pt x="214" y="44"/>
                  </a:lnTo>
                  <a:lnTo>
                    <a:pt x="214" y="44"/>
                  </a:lnTo>
                  <a:lnTo>
                    <a:pt x="214" y="42"/>
                  </a:lnTo>
                  <a:lnTo>
                    <a:pt x="214" y="42"/>
                  </a:lnTo>
                  <a:lnTo>
                    <a:pt x="202" y="42"/>
                  </a:lnTo>
                  <a:lnTo>
                    <a:pt x="202" y="40"/>
                  </a:lnTo>
                  <a:lnTo>
                    <a:pt x="198" y="38"/>
                  </a:lnTo>
                  <a:lnTo>
                    <a:pt x="196" y="38"/>
                  </a:lnTo>
                  <a:lnTo>
                    <a:pt x="193" y="38"/>
                  </a:lnTo>
                  <a:lnTo>
                    <a:pt x="182" y="36"/>
                  </a:lnTo>
                  <a:lnTo>
                    <a:pt x="178" y="36"/>
                  </a:lnTo>
                  <a:lnTo>
                    <a:pt x="171" y="36"/>
                  </a:lnTo>
                  <a:lnTo>
                    <a:pt x="162" y="36"/>
                  </a:lnTo>
                  <a:lnTo>
                    <a:pt x="153" y="35"/>
                  </a:lnTo>
                  <a:lnTo>
                    <a:pt x="151" y="35"/>
                  </a:lnTo>
                  <a:lnTo>
                    <a:pt x="148" y="35"/>
                  </a:lnTo>
                  <a:lnTo>
                    <a:pt x="144" y="36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26" y="38"/>
                  </a:lnTo>
                  <a:lnTo>
                    <a:pt x="113" y="40"/>
                  </a:lnTo>
                  <a:lnTo>
                    <a:pt x="111" y="40"/>
                  </a:lnTo>
                  <a:lnTo>
                    <a:pt x="111" y="42"/>
                  </a:lnTo>
                  <a:lnTo>
                    <a:pt x="110" y="44"/>
                  </a:lnTo>
                  <a:lnTo>
                    <a:pt x="108" y="45"/>
                  </a:lnTo>
                  <a:lnTo>
                    <a:pt x="108" y="51"/>
                  </a:lnTo>
                  <a:lnTo>
                    <a:pt x="106" y="53"/>
                  </a:lnTo>
                  <a:lnTo>
                    <a:pt x="101" y="56"/>
                  </a:lnTo>
                  <a:lnTo>
                    <a:pt x="93" y="64"/>
                  </a:lnTo>
                  <a:lnTo>
                    <a:pt x="92" y="64"/>
                  </a:lnTo>
                  <a:lnTo>
                    <a:pt x="90" y="62"/>
                  </a:lnTo>
                  <a:lnTo>
                    <a:pt x="88" y="60"/>
                  </a:lnTo>
                  <a:lnTo>
                    <a:pt x="86" y="60"/>
                  </a:lnTo>
                  <a:lnTo>
                    <a:pt x="84" y="60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75" y="60"/>
                  </a:lnTo>
                  <a:lnTo>
                    <a:pt x="75" y="60"/>
                  </a:lnTo>
                  <a:lnTo>
                    <a:pt x="74" y="60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4" y="64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71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7" y="73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9" y="76"/>
                  </a:lnTo>
                  <a:lnTo>
                    <a:pt x="79" y="78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7" y="80"/>
                  </a:lnTo>
                  <a:lnTo>
                    <a:pt x="77" y="80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5" y="85"/>
                  </a:lnTo>
                  <a:lnTo>
                    <a:pt x="75" y="87"/>
                  </a:lnTo>
                  <a:lnTo>
                    <a:pt x="77" y="87"/>
                  </a:lnTo>
                  <a:lnTo>
                    <a:pt x="77" y="87"/>
                  </a:lnTo>
                  <a:lnTo>
                    <a:pt x="81" y="92"/>
                  </a:lnTo>
                  <a:lnTo>
                    <a:pt x="83" y="94"/>
                  </a:lnTo>
                  <a:lnTo>
                    <a:pt x="84" y="96"/>
                  </a:lnTo>
                  <a:lnTo>
                    <a:pt x="86" y="98"/>
                  </a:lnTo>
                  <a:lnTo>
                    <a:pt x="88" y="100"/>
                  </a:lnTo>
                  <a:lnTo>
                    <a:pt x="86" y="100"/>
                  </a:lnTo>
                  <a:lnTo>
                    <a:pt x="86" y="100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4"/>
                  </a:lnTo>
                  <a:lnTo>
                    <a:pt x="93" y="114"/>
                  </a:lnTo>
                  <a:lnTo>
                    <a:pt x="95" y="118"/>
                  </a:lnTo>
                  <a:lnTo>
                    <a:pt x="101" y="120"/>
                  </a:lnTo>
                  <a:lnTo>
                    <a:pt x="101" y="121"/>
                  </a:lnTo>
                  <a:lnTo>
                    <a:pt x="101" y="123"/>
                  </a:lnTo>
                  <a:lnTo>
                    <a:pt x="99" y="123"/>
                  </a:lnTo>
                  <a:lnTo>
                    <a:pt x="97" y="123"/>
                  </a:lnTo>
                  <a:lnTo>
                    <a:pt x="95" y="123"/>
                  </a:lnTo>
                  <a:lnTo>
                    <a:pt x="95" y="123"/>
                  </a:lnTo>
                  <a:lnTo>
                    <a:pt x="93" y="123"/>
                  </a:lnTo>
                  <a:lnTo>
                    <a:pt x="92" y="123"/>
                  </a:lnTo>
                  <a:lnTo>
                    <a:pt x="92" y="125"/>
                  </a:lnTo>
                  <a:lnTo>
                    <a:pt x="92" y="127"/>
                  </a:lnTo>
                  <a:lnTo>
                    <a:pt x="92" y="129"/>
                  </a:lnTo>
                  <a:lnTo>
                    <a:pt x="93" y="129"/>
                  </a:lnTo>
                  <a:lnTo>
                    <a:pt x="95" y="129"/>
                  </a:lnTo>
                  <a:lnTo>
                    <a:pt x="95" y="129"/>
                  </a:lnTo>
                  <a:lnTo>
                    <a:pt x="93" y="130"/>
                  </a:lnTo>
                  <a:lnTo>
                    <a:pt x="95" y="132"/>
                  </a:lnTo>
                  <a:lnTo>
                    <a:pt x="97" y="132"/>
                  </a:lnTo>
                  <a:lnTo>
                    <a:pt x="97" y="132"/>
                  </a:lnTo>
                  <a:lnTo>
                    <a:pt x="97" y="134"/>
                  </a:lnTo>
                  <a:lnTo>
                    <a:pt x="97" y="136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7" y="141"/>
                  </a:lnTo>
                  <a:lnTo>
                    <a:pt x="99" y="145"/>
                  </a:lnTo>
                  <a:lnTo>
                    <a:pt x="99" y="147"/>
                  </a:lnTo>
                  <a:lnTo>
                    <a:pt x="99" y="147"/>
                  </a:lnTo>
                  <a:lnTo>
                    <a:pt x="99" y="147"/>
                  </a:lnTo>
                  <a:lnTo>
                    <a:pt x="99" y="147"/>
                  </a:lnTo>
                  <a:lnTo>
                    <a:pt x="97" y="148"/>
                  </a:lnTo>
                  <a:lnTo>
                    <a:pt x="93" y="150"/>
                  </a:lnTo>
                  <a:lnTo>
                    <a:pt x="93" y="150"/>
                  </a:lnTo>
                  <a:lnTo>
                    <a:pt x="93" y="152"/>
                  </a:lnTo>
                  <a:lnTo>
                    <a:pt x="93" y="154"/>
                  </a:lnTo>
                  <a:lnTo>
                    <a:pt x="93" y="154"/>
                  </a:lnTo>
                  <a:lnTo>
                    <a:pt x="93" y="157"/>
                  </a:lnTo>
                  <a:lnTo>
                    <a:pt x="90" y="157"/>
                  </a:lnTo>
                  <a:lnTo>
                    <a:pt x="81" y="157"/>
                  </a:lnTo>
                  <a:lnTo>
                    <a:pt x="79" y="159"/>
                  </a:lnTo>
                  <a:lnTo>
                    <a:pt x="79" y="159"/>
                  </a:lnTo>
                  <a:lnTo>
                    <a:pt x="77" y="159"/>
                  </a:lnTo>
                  <a:lnTo>
                    <a:pt x="77" y="161"/>
                  </a:lnTo>
                  <a:lnTo>
                    <a:pt x="77" y="163"/>
                  </a:lnTo>
                  <a:lnTo>
                    <a:pt x="77" y="163"/>
                  </a:lnTo>
                  <a:lnTo>
                    <a:pt x="75" y="165"/>
                  </a:lnTo>
                  <a:lnTo>
                    <a:pt x="72" y="168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68" y="172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52" y="188"/>
                  </a:lnTo>
                  <a:lnTo>
                    <a:pt x="50" y="190"/>
                  </a:lnTo>
                  <a:lnTo>
                    <a:pt x="48" y="192"/>
                  </a:lnTo>
                  <a:lnTo>
                    <a:pt x="43" y="199"/>
                  </a:lnTo>
                  <a:lnTo>
                    <a:pt x="41" y="203"/>
                  </a:lnTo>
                  <a:lnTo>
                    <a:pt x="41" y="203"/>
                  </a:lnTo>
                  <a:lnTo>
                    <a:pt x="41" y="204"/>
                  </a:lnTo>
                  <a:lnTo>
                    <a:pt x="41" y="204"/>
                  </a:lnTo>
                  <a:lnTo>
                    <a:pt x="39" y="204"/>
                  </a:lnTo>
                  <a:lnTo>
                    <a:pt x="39" y="206"/>
                  </a:lnTo>
                  <a:lnTo>
                    <a:pt x="39" y="206"/>
                  </a:lnTo>
                  <a:lnTo>
                    <a:pt x="37" y="206"/>
                  </a:lnTo>
                  <a:lnTo>
                    <a:pt x="36" y="212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3"/>
                  </a:lnTo>
                  <a:lnTo>
                    <a:pt x="32" y="213"/>
                  </a:lnTo>
                  <a:lnTo>
                    <a:pt x="32" y="215"/>
                  </a:lnTo>
                  <a:lnTo>
                    <a:pt x="30" y="217"/>
                  </a:lnTo>
                  <a:lnTo>
                    <a:pt x="27" y="222"/>
                  </a:lnTo>
                  <a:lnTo>
                    <a:pt x="25" y="224"/>
                  </a:lnTo>
                  <a:lnTo>
                    <a:pt x="27" y="228"/>
                  </a:lnTo>
                  <a:lnTo>
                    <a:pt x="27" y="230"/>
                  </a:lnTo>
                  <a:lnTo>
                    <a:pt x="27" y="232"/>
                  </a:lnTo>
                  <a:lnTo>
                    <a:pt x="27" y="233"/>
                  </a:lnTo>
                  <a:lnTo>
                    <a:pt x="28" y="233"/>
                  </a:lnTo>
                  <a:lnTo>
                    <a:pt x="28" y="235"/>
                  </a:lnTo>
                  <a:lnTo>
                    <a:pt x="28" y="235"/>
                  </a:lnTo>
                  <a:lnTo>
                    <a:pt x="30" y="237"/>
                  </a:lnTo>
                  <a:lnTo>
                    <a:pt x="30" y="237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0" y="248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3"/>
                  </a:lnTo>
                  <a:lnTo>
                    <a:pt x="28" y="253"/>
                  </a:lnTo>
                  <a:lnTo>
                    <a:pt x="28" y="253"/>
                  </a:lnTo>
                  <a:lnTo>
                    <a:pt x="28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5"/>
                  </a:lnTo>
                  <a:lnTo>
                    <a:pt x="32" y="257"/>
                  </a:lnTo>
                  <a:lnTo>
                    <a:pt x="34" y="257"/>
                  </a:lnTo>
                  <a:lnTo>
                    <a:pt x="36" y="259"/>
                  </a:lnTo>
                  <a:lnTo>
                    <a:pt x="36" y="259"/>
                  </a:lnTo>
                  <a:lnTo>
                    <a:pt x="36" y="260"/>
                  </a:lnTo>
                  <a:lnTo>
                    <a:pt x="36" y="260"/>
                  </a:lnTo>
                  <a:lnTo>
                    <a:pt x="36" y="262"/>
                  </a:lnTo>
                  <a:lnTo>
                    <a:pt x="36" y="262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4" y="264"/>
                  </a:lnTo>
                  <a:lnTo>
                    <a:pt x="34" y="264"/>
                  </a:lnTo>
                  <a:lnTo>
                    <a:pt x="32" y="264"/>
                  </a:lnTo>
                  <a:lnTo>
                    <a:pt x="32" y="262"/>
                  </a:lnTo>
                  <a:lnTo>
                    <a:pt x="32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28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5" y="260"/>
                  </a:lnTo>
                  <a:lnTo>
                    <a:pt x="23" y="259"/>
                  </a:lnTo>
                  <a:lnTo>
                    <a:pt x="21" y="259"/>
                  </a:lnTo>
                  <a:lnTo>
                    <a:pt x="21" y="260"/>
                  </a:lnTo>
                  <a:lnTo>
                    <a:pt x="19" y="260"/>
                  </a:lnTo>
                  <a:lnTo>
                    <a:pt x="19" y="262"/>
                  </a:lnTo>
                  <a:lnTo>
                    <a:pt x="19" y="264"/>
                  </a:lnTo>
                  <a:lnTo>
                    <a:pt x="19" y="266"/>
                  </a:lnTo>
                  <a:lnTo>
                    <a:pt x="19" y="266"/>
                  </a:lnTo>
                  <a:lnTo>
                    <a:pt x="18" y="268"/>
                  </a:lnTo>
                  <a:lnTo>
                    <a:pt x="16" y="268"/>
                  </a:lnTo>
                  <a:lnTo>
                    <a:pt x="16" y="271"/>
                  </a:lnTo>
                  <a:lnTo>
                    <a:pt x="14" y="271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5"/>
                  </a:lnTo>
                  <a:lnTo>
                    <a:pt x="12" y="275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2" y="278"/>
                  </a:lnTo>
                  <a:lnTo>
                    <a:pt x="12" y="278"/>
                  </a:lnTo>
                  <a:lnTo>
                    <a:pt x="12" y="280"/>
                  </a:lnTo>
                  <a:lnTo>
                    <a:pt x="12" y="282"/>
                  </a:lnTo>
                  <a:lnTo>
                    <a:pt x="12" y="282"/>
                  </a:lnTo>
                  <a:lnTo>
                    <a:pt x="10" y="284"/>
                  </a:lnTo>
                  <a:lnTo>
                    <a:pt x="10" y="284"/>
                  </a:lnTo>
                  <a:lnTo>
                    <a:pt x="10" y="284"/>
                  </a:lnTo>
                  <a:lnTo>
                    <a:pt x="10" y="286"/>
                  </a:lnTo>
                  <a:lnTo>
                    <a:pt x="10" y="286"/>
                  </a:lnTo>
                  <a:lnTo>
                    <a:pt x="10" y="288"/>
                  </a:lnTo>
                  <a:lnTo>
                    <a:pt x="9" y="289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7" y="291"/>
                  </a:lnTo>
                  <a:lnTo>
                    <a:pt x="5" y="291"/>
                  </a:lnTo>
                  <a:lnTo>
                    <a:pt x="5" y="293"/>
                  </a:lnTo>
                  <a:lnTo>
                    <a:pt x="5" y="293"/>
                  </a:lnTo>
                  <a:lnTo>
                    <a:pt x="5" y="295"/>
                  </a:lnTo>
                  <a:lnTo>
                    <a:pt x="1" y="297"/>
                  </a:lnTo>
                  <a:lnTo>
                    <a:pt x="1" y="298"/>
                  </a:lnTo>
                  <a:lnTo>
                    <a:pt x="0" y="300"/>
                  </a:lnTo>
                  <a:lnTo>
                    <a:pt x="1" y="302"/>
                  </a:lnTo>
                  <a:lnTo>
                    <a:pt x="1" y="304"/>
                  </a:lnTo>
                  <a:lnTo>
                    <a:pt x="0" y="306"/>
                  </a:lnTo>
                  <a:lnTo>
                    <a:pt x="0" y="311"/>
                  </a:lnTo>
                  <a:lnTo>
                    <a:pt x="1" y="311"/>
                  </a:lnTo>
                  <a:lnTo>
                    <a:pt x="1" y="311"/>
                  </a:lnTo>
                  <a:lnTo>
                    <a:pt x="1" y="311"/>
                  </a:lnTo>
                  <a:lnTo>
                    <a:pt x="1" y="311"/>
                  </a:lnTo>
                  <a:lnTo>
                    <a:pt x="1" y="309"/>
                  </a:lnTo>
                  <a:lnTo>
                    <a:pt x="3" y="309"/>
                  </a:lnTo>
                  <a:lnTo>
                    <a:pt x="5" y="309"/>
                  </a:lnTo>
                  <a:lnTo>
                    <a:pt x="7" y="311"/>
                  </a:lnTo>
                  <a:lnTo>
                    <a:pt x="7" y="313"/>
                  </a:lnTo>
                  <a:lnTo>
                    <a:pt x="7" y="315"/>
                  </a:lnTo>
                  <a:lnTo>
                    <a:pt x="9" y="315"/>
                  </a:lnTo>
                  <a:lnTo>
                    <a:pt x="9" y="315"/>
                  </a:lnTo>
                  <a:lnTo>
                    <a:pt x="9" y="315"/>
                  </a:lnTo>
                  <a:lnTo>
                    <a:pt x="9" y="315"/>
                  </a:lnTo>
                  <a:lnTo>
                    <a:pt x="9" y="316"/>
                  </a:lnTo>
                  <a:lnTo>
                    <a:pt x="9" y="316"/>
                  </a:lnTo>
                  <a:lnTo>
                    <a:pt x="9" y="318"/>
                  </a:lnTo>
                  <a:lnTo>
                    <a:pt x="12" y="322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2" y="322"/>
                  </a:lnTo>
                  <a:lnTo>
                    <a:pt x="14" y="322"/>
                  </a:lnTo>
                  <a:lnTo>
                    <a:pt x="14" y="322"/>
                  </a:lnTo>
                  <a:lnTo>
                    <a:pt x="14" y="322"/>
                  </a:lnTo>
                  <a:lnTo>
                    <a:pt x="14" y="324"/>
                  </a:lnTo>
                  <a:lnTo>
                    <a:pt x="16" y="324"/>
                  </a:lnTo>
                  <a:lnTo>
                    <a:pt x="16" y="324"/>
                  </a:lnTo>
                  <a:lnTo>
                    <a:pt x="18" y="322"/>
                  </a:lnTo>
                  <a:lnTo>
                    <a:pt x="18" y="322"/>
                  </a:lnTo>
                  <a:lnTo>
                    <a:pt x="18" y="322"/>
                  </a:lnTo>
                  <a:lnTo>
                    <a:pt x="18" y="322"/>
                  </a:lnTo>
                  <a:lnTo>
                    <a:pt x="21" y="327"/>
                  </a:lnTo>
                  <a:lnTo>
                    <a:pt x="21" y="329"/>
                  </a:lnTo>
                  <a:lnTo>
                    <a:pt x="23" y="331"/>
                  </a:lnTo>
                  <a:lnTo>
                    <a:pt x="23" y="333"/>
                  </a:lnTo>
                  <a:lnTo>
                    <a:pt x="23" y="333"/>
                  </a:lnTo>
                  <a:lnTo>
                    <a:pt x="25" y="333"/>
                  </a:lnTo>
                  <a:lnTo>
                    <a:pt x="25" y="333"/>
                  </a:lnTo>
                  <a:lnTo>
                    <a:pt x="28" y="333"/>
                  </a:lnTo>
                  <a:lnTo>
                    <a:pt x="28" y="333"/>
                  </a:lnTo>
                  <a:lnTo>
                    <a:pt x="30" y="333"/>
                  </a:lnTo>
                  <a:lnTo>
                    <a:pt x="30" y="333"/>
                  </a:lnTo>
                  <a:lnTo>
                    <a:pt x="32" y="333"/>
                  </a:lnTo>
                  <a:lnTo>
                    <a:pt x="32" y="333"/>
                  </a:lnTo>
                  <a:lnTo>
                    <a:pt x="34" y="334"/>
                  </a:lnTo>
                  <a:lnTo>
                    <a:pt x="36" y="334"/>
                  </a:lnTo>
                  <a:lnTo>
                    <a:pt x="36" y="336"/>
                  </a:lnTo>
                  <a:lnTo>
                    <a:pt x="36" y="338"/>
                  </a:lnTo>
                  <a:lnTo>
                    <a:pt x="37" y="338"/>
                  </a:lnTo>
                  <a:lnTo>
                    <a:pt x="36" y="340"/>
                  </a:lnTo>
                  <a:lnTo>
                    <a:pt x="36" y="340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4"/>
                  </a:lnTo>
                  <a:lnTo>
                    <a:pt x="37" y="345"/>
                  </a:lnTo>
                  <a:lnTo>
                    <a:pt x="39" y="344"/>
                  </a:lnTo>
                  <a:lnTo>
                    <a:pt x="39" y="344"/>
                  </a:lnTo>
                  <a:lnTo>
                    <a:pt x="39" y="344"/>
                  </a:lnTo>
                  <a:lnTo>
                    <a:pt x="39" y="342"/>
                  </a:lnTo>
                  <a:lnTo>
                    <a:pt x="39" y="340"/>
                  </a:lnTo>
                  <a:lnTo>
                    <a:pt x="41" y="340"/>
                  </a:lnTo>
                  <a:lnTo>
                    <a:pt x="41" y="340"/>
                  </a:lnTo>
                  <a:lnTo>
                    <a:pt x="43" y="342"/>
                  </a:lnTo>
                  <a:lnTo>
                    <a:pt x="43" y="342"/>
                  </a:lnTo>
                  <a:lnTo>
                    <a:pt x="45" y="342"/>
                  </a:lnTo>
                  <a:lnTo>
                    <a:pt x="45" y="342"/>
                  </a:lnTo>
                  <a:lnTo>
                    <a:pt x="46" y="340"/>
                  </a:lnTo>
                  <a:lnTo>
                    <a:pt x="48" y="338"/>
                  </a:lnTo>
                  <a:lnTo>
                    <a:pt x="48" y="336"/>
                  </a:lnTo>
                  <a:lnTo>
                    <a:pt x="50" y="334"/>
                  </a:lnTo>
                  <a:lnTo>
                    <a:pt x="50" y="333"/>
                  </a:lnTo>
                  <a:lnTo>
                    <a:pt x="52" y="334"/>
                  </a:lnTo>
                  <a:lnTo>
                    <a:pt x="55" y="334"/>
                  </a:lnTo>
                  <a:lnTo>
                    <a:pt x="55" y="336"/>
                  </a:lnTo>
                  <a:lnTo>
                    <a:pt x="57" y="338"/>
                  </a:lnTo>
                  <a:lnTo>
                    <a:pt x="61" y="340"/>
                  </a:lnTo>
                  <a:lnTo>
                    <a:pt x="61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3" y="342"/>
                  </a:lnTo>
                  <a:lnTo>
                    <a:pt x="66" y="344"/>
                  </a:lnTo>
                  <a:lnTo>
                    <a:pt x="68" y="344"/>
                  </a:lnTo>
                  <a:lnTo>
                    <a:pt x="68" y="344"/>
                  </a:lnTo>
                  <a:lnTo>
                    <a:pt x="68" y="342"/>
                  </a:lnTo>
                  <a:lnTo>
                    <a:pt x="68" y="342"/>
                  </a:lnTo>
                  <a:lnTo>
                    <a:pt x="68" y="342"/>
                  </a:lnTo>
                  <a:lnTo>
                    <a:pt x="68" y="342"/>
                  </a:lnTo>
                  <a:lnTo>
                    <a:pt x="70" y="342"/>
                  </a:lnTo>
                  <a:lnTo>
                    <a:pt x="70" y="340"/>
                  </a:lnTo>
                  <a:lnTo>
                    <a:pt x="72" y="340"/>
                  </a:lnTo>
                  <a:lnTo>
                    <a:pt x="74" y="340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9" y="342"/>
                  </a:lnTo>
                  <a:lnTo>
                    <a:pt x="83" y="342"/>
                  </a:lnTo>
                  <a:lnTo>
                    <a:pt x="83" y="342"/>
                  </a:lnTo>
                  <a:lnTo>
                    <a:pt x="86" y="345"/>
                  </a:lnTo>
                  <a:lnTo>
                    <a:pt x="86" y="345"/>
                  </a:lnTo>
                  <a:lnTo>
                    <a:pt x="88" y="345"/>
                  </a:lnTo>
                  <a:lnTo>
                    <a:pt x="93" y="344"/>
                  </a:lnTo>
                  <a:lnTo>
                    <a:pt x="93" y="344"/>
                  </a:lnTo>
                  <a:lnTo>
                    <a:pt x="95" y="344"/>
                  </a:lnTo>
                  <a:lnTo>
                    <a:pt x="97" y="345"/>
                  </a:lnTo>
                  <a:lnTo>
                    <a:pt x="99" y="345"/>
                  </a:lnTo>
                  <a:lnTo>
                    <a:pt x="101" y="347"/>
                  </a:lnTo>
                  <a:lnTo>
                    <a:pt x="101" y="347"/>
                  </a:lnTo>
                  <a:lnTo>
                    <a:pt x="101" y="347"/>
                  </a:lnTo>
                  <a:lnTo>
                    <a:pt x="104" y="349"/>
                  </a:lnTo>
                  <a:lnTo>
                    <a:pt x="106" y="349"/>
                  </a:lnTo>
                  <a:lnTo>
                    <a:pt x="108" y="347"/>
                  </a:lnTo>
                  <a:lnTo>
                    <a:pt x="111" y="347"/>
                  </a:lnTo>
                  <a:lnTo>
                    <a:pt x="113" y="345"/>
                  </a:lnTo>
                  <a:lnTo>
                    <a:pt x="113" y="344"/>
                  </a:lnTo>
                  <a:lnTo>
                    <a:pt x="115" y="344"/>
                  </a:lnTo>
                  <a:lnTo>
                    <a:pt x="119" y="345"/>
                  </a:lnTo>
                  <a:lnTo>
                    <a:pt x="121" y="345"/>
                  </a:lnTo>
                  <a:lnTo>
                    <a:pt x="122" y="345"/>
                  </a:lnTo>
                  <a:lnTo>
                    <a:pt x="122" y="345"/>
                  </a:lnTo>
                  <a:lnTo>
                    <a:pt x="124" y="347"/>
                  </a:lnTo>
                  <a:lnTo>
                    <a:pt x="126" y="347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51"/>
                  </a:lnTo>
                  <a:lnTo>
                    <a:pt x="126" y="351"/>
                  </a:lnTo>
                  <a:lnTo>
                    <a:pt x="128" y="353"/>
                  </a:lnTo>
                  <a:lnTo>
                    <a:pt x="130" y="354"/>
                  </a:lnTo>
                  <a:lnTo>
                    <a:pt x="133" y="356"/>
                  </a:lnTo>
                  <a:lnTo>
                    <a:pt x="135" y="356"/>
                  </a:lnTo>
                  <a:lnTo>
                    <a:pt x="135" y="356"/>
                  </a:lnTo>
                  <a:lnTo>
                    <a:pt x="137" y="360"/>
                  </a:lnTo>
                  <a:lnTo>
                    <a:pt x="137" y="362"/>
                  </a:lnTo>
                  <a:lnTo>
                    <a:pt x="139" y="362"/>
                  </a:lnTo>
                  <a:lnTo>
                    <a:pt x="140" y="362"/>
                  </a:lnTo>
                  <a:lnTo>
                    <a:pt x="140" y="362"/>
                  </a:lnTo>
                  <a:lnTo>
                    <a:pt x="144" y="362"/>
                  </a:lnTo>
                  <a:lnTo>
                    <a:pt x="148" y="360"/>
                  </a:lnTo>
                  <a:lnTo>
                    <a:pt x="148" y="360"/>
                  </a:lnTo>
                  <a:lnTo>
                    <a:pt x="148" y="360"/>
                  </a:lnTo>
                  <a:lnTo>
                    <a:pt x="149" y="358"/>
                  </a:lnTo>
                  <a:lnTo>
                    <a:pt x="155" y="349"/>
                  </a:lnTo>
                  <a:lnTo>
                    <a:pt x="157" y="349"/>
                  </a:lnTo>
                  <a:lnTo>
                    <a:pt x="182" y="345"/>
                  </a:lnTo>
                  <a:lnTo>
                    <a:pt x="186" y="344"/>
                  </a:lnTo>
                  <a:lnTo>
                    <a:pt x="187" y="344"/>
                  </a:lnTo>
                  <a:lnTo>
                    <a:pt x="189" y="344"/>
                  </a:lnTo>
                  <a:lnTo>
                    <a:pt x="189" y="344"/>
                  </a:lnTo>
                  <a:lnTo>
                    <a:pt x="193" y="344"/>
                  </a:lnTo>
                  <a:lnTo>
                    <a:pt x="195" y="342"/>
                  </a:lnTo>
                  <a:lnTo>
                    <a:pt x="198" y="342"/>
                  </a:lnTo>
                  <a:lnTo>
                    <a:pt x="200" y="342"/>
                  </a:lnTo>
                  <a:lnTo>
                    <a:pt x="202" y="342"/>
                  </a:lnTo>
                  <a:lnTo>
                    <a:pt x="204" y="340"/>
                  </a:lnTo>
                  <a:lnTo>
                    <a:pt x="204" y="338"/>
                  </a:lnTo>
                  <a:lnTo>
                    <a:pt x="205" y="336"/>
                  </a:lnTo>
                  <a:lnTo>
                    <a:pt x="205" y="336"/>
                  </a:lnTo>
                  <a:lnTo>
                    <a:pt x="207" y="334"/>
                  </a:lnTo>
                  <a:lnTo>
                    <a:pt x="207" y="334"/>
                  </a:lnTo>
                  <a:lnTo>
                    <a:pt x="209" y="331"/>
                  </a:lnTo>
                  <a:lnTo>
                    <a:pt x="209" y="329"/>
                  </a:lnTo>
                  <a:lnTo>
                    <a:pt x="209" y="327"/>
                  </a:lnTo>
                  <a:lnTo>
                    <a:pt x="209" y="325"/>
                  </a:lnTo>
                  <a:lnTo>
                    <a:pt x="209" y="325"/>
                  </a:lnTo>
                  <a:lnTo>
                    <a:pt x="211" y="325"/>
                  </a:lnTo>
                  <a:lnTo>
                    <a:pt x="211" y="325"/>
                  </a:lnTo>
                  <a:lnTo>
                    <a:pt x="213" y="324"/>
                  </a:lnTo>
                  <a:lnTo>
                    <a:pt x="214" y="324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23" y="322"/>
                  </a:lnTo>
                  <a:lnTo>
                    <a:pt x="225" y="322"/>
                  </a:lnTo>
                  <a:lnTo>
                    <a:pt x="225" y="320"/>
                  </a:lnTo>
                  <a:lnTo>
                    <a:pt x="225" y="320"/>
                  </a:lnTo>
                  <a:lnTo>
                    <a:pt x="225" y="318"/>
                  </a:lnTo>
                  <a:lnTo>
                    <a:pt x="227" y="318"/>
                  </a:lnTo>
                  <a:lnTo>
                    <a:pt x="227" y="316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9" y="316"/>
                  </a:lnTo>
                  <a:lnTo>
                    <a:pt x="231" y="318"/>
                  </a:lnTo>
                  <a:lnTo>
                    <a:pt x="231" y="318"/>
                  </a:lnTo>
                  <a:lnTo>
                    <a:pt x="231" y="320"/>
                  </a:lnTo>
                  <a:lnTo>
                    <a:pt x="232" y="320"/>
                  </a:lnTo>
                  <a:lnTo>
                    <a:pt x="232" y="318"/>
                  </a:lnTo>
                  <a:lnTo>
                    <a:pt x="232" y="318"/>
                  </a:lnTo>
                  <a:lnTo>
                    <a:pt x="232" y="316"/>
                  </a:lnTo>
                  <a:lnTo>
                    <a:pt x="232" y="315"/>
                  </a:lnTo>
                  <a:lnTo>
                    <a:pt x="232" y="315"/>
                  </a:lnTo>
                  <a:lnTo>
                    <a:pt x="232" y="313"/>
                  </a:lnTo>
                  <a:lnTo>
                    <a:pt x="232" y="313"/>
                  </a:lnTo>
                  <a:lnTo>
                    <a:pt x="234" y="313"/>
                  </a:lnTo>
                  <a:lnTo>
                    <a:pt x="234" y="313"/>
                  </a:lnTo>
                  <a:lnTo>
                    <a:pt x="234" y="313"/>
                  </a:lnTo>
                  <a:lnTo>
                    <a:pt x="234" y="313"/>
                  </a:lnTo>
                  <a:lnTo>
                    <a:pt x="236" y="313"/>
                  </a:lnTo>
                  <a:lnTo>
                    <a:pt x="236" y="311"/>
                  </a:lnTo>
                  <a:lnTo>
                    <a:pt x="236" y="311"/>
                  </a:lnTo>
                  <a:lnTo>
                    <a:pt x="238" y="313"/>
                  </a:lnTo>
                  <a:lnTo>
                    <a:pt x="240" y="313"/>
                  </a:lnTo>
                  <a:lnTo>
                    <a:pt x="242" y="315"/>
                  </a:lnTo>
                  <a:lnTo>
                    <a:pt x="243" y="315"/>
                  </a:lnTo>
                  <a:lnTo>
                    <a:pt x="243" y="313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5" y="315"/>
                  </a:lnTo>
                  <a:lnTo>
                    <a:pt x="245" y="315"/>
                  </a:lnTo>
                  <a:lnTo>
                    <a:pt x="245" y="315"/>
                  </a:lnTo>
                  <a:lnTo>
                    <a:pt x="245" y="313"/>
                  </a:lnTo>
                  <a:lnTo>
                    <a:pt x="245" y="313"/>
                  </a:lnTo>
                  <a:lnTo>
                    <a:pt x="245" y="313"/>
                  </a:lnTo>
                  <a:lnTo>
                    <a:pt x="245" y="313"/>
                  </a:lnTo>
                  <a:lnTo>
                    <a:pt x="245" y="311"/>
                  </a:lnTo>
                  <a:lnTo>
                    <a:pt x="245" y="311"/>
                  </a:lnTo>
                  <a:lnTo>
                    <a:pt x="245" y="311"/>
                  </a:lnTo>
                  <a:lnTo>
                    <a:pt x="247" y="311"/>
                  </a:lnTo>
                  <a:lnTo>
                    <a:pt x="247" y="311"/>
                  </a:lnTo>
                  <a:lnTo>
                    <a:pt x="252" y="313"/>
                  </a:lnTo>
                  <a:lnTo>
                    <a:pt x="254" y="315"/>
                  </a:lnTo>
                  <a:lnTo>
                    <a:pt x="256" y="313"/>
                  </a:lnTo>
                  <a:lnTo>
                    <a:pt x="256" y="313"/>
                  </a:lnTo>
                  <a:lnTo>
                    <a:pt x="260" y="309"/>
                  </a:lnTo>
                  <a:lnTo>
                    <a:pt x="261" y="307"/>
                  </a:lnTo>
                  <a:lnTo>
                    <a:pt x="261" y="309"/>
                  </a:lnTo>
                  <a:lnTo>
                    <a:pt x="263" y="309"/>
                  </a:lnTo>
                  <a:lnTo>
                    <a:pt x="263" y="309"/>
                  </a:lnTo>
                  <a:lnTo>
                    <a:pt x="265" y="309"/>
                  </a:lnTo>
                  <a:lnTo>
                    <a:pt x="269" y="307"/>
                  </a:lnTo>
                  <a:lnTo>
                    <a:pt x="269" y="306"/>
                  </a:lnTo>
                  <a:lnTo>
                    <a:pt x="270" y="306"/>
                  </a:lnTo>
                  <a:lnTo>
                    <a:pt x="272" y="306"/>
                  </a:lnTo>
                  <a:lnTo>
                    <a:pt x="272" y="304"/>
                  </a:lnTo>
                  <a:lnTo>
                    <a:pt x="274" y="304"/>
                  </a:lnTo>
                  <a:lnTo>
                    <a:pt x="274" y="306"/>
                  </a:lnTo>
                  <a:lnTo>
                    <a:pt x="276" y="307"/>
                  </a:lnTo>
                  <a:lnTo>
                    <a:pt x="281" y="307"/>
                  </a:lnTo>
                  <a:lnTo>
                    <a:pt x="283" y="307"/>
                  </a:lnTo>
                  <a:lnTo>
                    <a:pt x="287" y="309"/>
                  </a:lnTo>
                  <a:lnTo>
                    <a:pt x="287" y="311"/>
                  </a:lnTo>
                  <a:lnTo>
                    <a:pt x="288" y="313"/>
                  </a:lnTo>
                  <a:lnTo>
                    <a:pt x="288" y="313"/>
                  </a:lnTo>
                  <a:lnTo>
                    <a:pt x="288" y="313"/>
                  </a:lnTo>
                  <a:lnTo>
                    <a:pt x="290" y="315"/>
                  </a:lnTo>
                  <a:lnTo>
                    <a:pt x="292" y="316"/>
                  </a:lnTo>
                  <a:lnTo>
                    <a:pt x="294" y="316"/>
                  </a:lnTo>
                  <a:lnTo>
                    <a:pt x="297" y="316"/>
                  </a:lnTo>
                  <a:lnTo>
                    <a:pt x="297" y="316"/>
                  </a:lnTo>
                  <a:lnTo>
                    <a:pt x="299" y="318"/>
                  </a:lnTo>
                  <a:lnTo>
                    <a:pt x="299" y="320"/>
                  </a:lnTo>
                  <a:lnTo>
                    <a:pt x="297" y="322"/>
                  </a:lnTo>
                  <a:lnTo>
                    <a:pt x="299" y="324"/>
                  </a:lnTo>
                  <a:lnTo>
                    <a:pt x="299" y="324"/>
                  </a:lnTo>
                  <a:lnTo>
                    <a:pt x="301" y="324"/>
                  </a:lnTo>
                  <a:lnTo>
                    <a:pt x="303" y="322"/>
                  </a:lnTo>
                  <a:lnTo>
                    <a:pt x="303" y="322"/>
                  </a:lnTo>
                  <a:lnTo>
                    <a:pt x="303" y="322"/>
                  </a:lnTo>
                  <a:lnTo>
                    <a:pt x="303" y="324"/>
                  </a:lnTo>
                  <a:lnTo>
                    <a:pt x="305" y="325"/>
                  </a:lnTo>
                  <a:lnTo>
                    <a:pt x="305" y="325"/>
                  </a:lnTo>
                  <a:lnTo>
                    <a:pt x="307" y="325"/>
                  </a:lnTo>
                  <a:lnTo>
                    <a:pt x="307" y="324"/>
                  </a:lnTo>
                  <a:lnTo>
                    <a:pt x="308" y="324"/>
                  </a:lnTo>
                  <a:lnTo>
                    <a:pt x="308" y="324"/>
                  </a:lnTo>
                  <a:lnTo>
                    <a:pt x="310" y="324"/>
                  </a:lnTo>
                  <a:lnTo>
                    <a:pt x="312" y="324"/>
                  </a:lnTo>
                  <a:lnTo>
                    <a:pt x="312" y="324"/>
                  </a:lnTo>
                  <a:lnTo>
                    <a:pt x="312" y="325"/>
                  </a:lnTo>
                  <a:lnTo>
                    <a:pt x="312" y="327"/>
                  </a:lnTo>
                  <a:lnTo>
                    <a:pt x="312" y="327"/>
                  </a:lnTo>
                  <a:lnTo>
                    <a:pt x="310" y="327"/>
                  </a:lnTo>
                  <a:lnTo>
                    <a:pt x="310" y="329"/>
                  </a:lnTo>
                  <a:lnTo>
                    <a:pt x="310" y="329"/>
                  </a:lnTo>
                  <a:lnTo>
                    <a:pt x="310" y="331"/>
                  </a:lnTo>
                  <a:lnTo>
                    <a:pt x="310" y="331"/>
                  </a:lnTo>
                  <a:lnTo>
                    <a:pt x="312" y="331"/>
                  </a:lnTo>
                  <a:lnTo>
                    <a:pt x="312" y="331"/>
                  </a:lnTo>
                  <a:lnTo>
                    <a:pt x="312" y="329"/>
                  </a:lnTo>
                  <a:lnTo>
                    <a:pt x="314" y="327"/>
                  </a:lnTo>
                  <a:lnTo>
                    <a:pt x="314" y="327"/>
                  </a:lnTo>
                  <a:lnTo>
                    <a:pt x="316" y="329"/>
                  </a:lnTo>
                  <a:lnTo>
                    <a:pt x="316" y="329"/>
                  </a:lnTo>
                  <a:lnTo>
                    <a:pt x="316" y="331"/>
                  </a:lnTo>
                  <a:lnTo>
                    <a:pt x="316" y="331"/>
                  </a:lnTo>
                  <a:lnTo>
                    <a:pt x="316" y="334"/>
                  </a:lnTo>
                  <a:lnTo>
                    <a:pt x="317" y="334"/>
                  </a:lnTo>
                  <a:lnTo>
                    <a:pt x="317" y="336"/>
                  </a:lnTo>
                  <a:lnTo>
                    <a:pt x="319" y="336"/>
                  </a:lnTo>
                  <a:lnTo>
                    <a:pt x="319" y="334"/>
                  </a:lnTo>
                  <a:lnTo>
                    <a:pt x="319" y="334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29"/>
                  </a:lnTo>
                  <a:lnTo>
                    <a:pt x="321" y="329"/>
                  </a:lnTo>
                  <a:lnTo>
                    <a:pt x="323" y="329"/>
                  </a:lnTo>
                  <a:lnTo>
                    <a:pt x="326" y="331"/>
                  </a:lnTo>
                  <a:lnTo>
                    <a:pt x="330" y="331"/>
                  </a:lnTo>
                  <a:lnTo>
                    <a:pt x="332" y="331"/>
                  </a:lnTo>
                  <a:lnTo>
                    <a:pt x="334" y="333"/>
                  </a:lnTo>
                  <a:lnTo>
                    <a:pt x="334" y="333"/>
                  </a:lnTo>
                  <a:lnTo>
                    <a:pt x="334" y="333"/>
                  </a:lnTo>
                  <a:lnTo>
                    <a:pt x="334" y="334"/>
                  </a:lnTo>
                  <a:lnTo>
                    <a:pt x="335" y="334"/>
                  </a:lnTo>
                  <a:lnTo>
                    <a:pt x="335" y="336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40"/>
                  </a:lnTo>
                  <a:lnTo>
                    <a:pt x="337" y="340"/>
                  </a:lnTo>
                  <a:lnTo>
                    <a:pt x="337" y="340"/>
                  </a:lnTo>
                  <a:lnTo>
                    <a:pt x="337" y="342"/>
                  </a:lnTo>
                  <a:lnTo>
                    <a:pt x="339" y="344"/>
                  </a:lnTo>
                  <a:lnTo>
                    <a:pt x="341" y="345"/>
                  </a:lnTo>
                  <a:lnTo>
                    <a:pt x="341" y="345"/>
                  </a:lnTo>
                  <a:lnTo>
                    <a:pt x="343" y="347"/>
                  </a:lnTo>
                  <a:lnTo>
                    <a:pt x="344" y="345"/>
                  </a:lnTo>
                  <a:lnTo>
                    <a:pt x="346" y="344"/>
                  </a:lnTo>
                  <a:lnTo>
                    <a:pt x="348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2" y="344"/>
                  </a:lnTo>
                  <a:lnTo>
                    <a:pt x="352" y="344"/>
                  </a:lnTo>
                  <a:lnTo>
                    <a:pt x="352" y="345"/>
                  </a:lnTo>
                  <a:lnTo>
                    <a:pt x="352" y="347"/>
                  </a:lnTo>
                  <a:lnTo>
                    <a:pt x="353" y="349"/>
                  </a:lnTo>
                  <a:lnTo>
                    <a:pt x="353" y="349"/>
                  </a:lnTo>
                  <a:lnTo>
                    <a:pt x="355" y="351"/>
                  </a:lnTo>
                  <a:lnTo>
                    <a:pt x="355" y="351"/>
                  </a:lnTo>
                  <a:lnTo>
                    <a:pt x="355" y="351"/>
                  </a:lnTo>
                  <a:lnTo>
                    <a:pt x="355" y="353"/>
                  </a:lnTo>
                  <a:lnTo>
                    <a:pt x="353" y="353"/>
                  </a:lnTo>
                  <a:lnTo>
                    <a:pt x="353" y="354"/>
                  </a:lnTo>
                  <a:lnTo>
                    <a:pt x="353" y="356"/>
                  </a:lnTo>
                  <a:lnTo>
                    <a:pt x="353" y="356"/>
                  </a:lnTo>
                  <a:lnTo>
                    <a:pt x="353" y="356"/>
                  </a:lnTo>
                  <a:lnTo>
                    <a:pt x="355" y="358"/>
                  </a:lnTo>
                  <a:lnTo>
                    <a:pt x="355" y="358"/>
                  </a:lnTo>
                  <a:lnTo>
                    <a:pt x="355" y="360"/>
                  </a:lnTo>
                  <a:lnTo>
                    <a:pt x="355" y="360"/>
                  </a:lnTo>
                  <a:lnTo>
                    <a:pt x="353" y="362"/>
                  </a:lnTo>
                  <a:lnTo>
                    <a:pt x="353" y="363"/>
                  </a:lnTo>
                  <a:lnTo>
                    <a:pt x="353" y="367"/>
                  </a:lnTo>
                  <a:lnTo>
                    <a:pt x="353" y="369"/>
                  </a:lnTo>
                  <a:lnTo>
                    <a:pt x="352" y="372"/>
                  </a:lnTo>
                  <a:lnTo>
                    <a:pt x="350" y="374"/>
                  </a:lnTo>
                  <a:lnTo>
                    <a:pt x="350" y="376"/>
                  </a:lnTo>
                  <a:lnTo>
                    <a:pt x="350" y="378"/>
                  </a:lnTo>
                  <a:lnTo>
                    <a:pt x="350" y="378"/>
                  </a:lnTo>
                  <a:lnTo>
                    <a:pt x="350" y="378"/>
                  </a:lnTo>
                  <a:lnTo>
                    <a:pt x="350" y="378"/>
                  </a:lnTo>
                  <a:lnTo>
                    <a:pt x="352" y="380"/>
                  </a:lnTo>
                  <a:lnTo>
                    <a:pt x="352" y="380"/>
                  </a:lnTo>
                  <a:lnTo>
                    <a:pt x="352" y="381"/>
                  </a:lnTo>
                  <a:lnTo>
                    <a:pt x="352" y="381"/>
                  </a:lnTo>
                  <a:lnTo>
                    <a:pt x="353" y="383"/>
                  </a:lnTo>
                  <a:lnTo>
                    <a:pt x="353" y="383"/>
                  </a:lnTo>
                  <a:lnTo>
                    <a:pt x="353" y="381"/>
                  </a:lnTo>
                  <a:lnTo>
                    <a:pt x="355" y="381"/>
                  </a:lnTo>
                  <a:lnTo>
                    <a:pt x="355" y="381"/>
                  </a:lnTo>
                  <a:lnTo>
                    <a:pt x="357" y="383"/>
                  </a:lnTo>
                  <a:lnTo>
                    <a:pt x="359" y="385"/>
                  </a:lnTo>
                  <a:lnTo>
                    <a:pt x="359" y="385"/>
                  </a:lnTo>
                  <a:lnTo>
                    <a:pt x="359" y="387"/>
                  </a:lnTo>
                  <a:lnTo>
                    <a:pt x="359" y="387"/>
                  </a:lnTo>
                  <a:lnTo>
                    <a:pt x="359" y="387"/>
                  </a:lnTo>
                  <a:lnTo>
                    <a:pt x="361" y="387"/>
                  </a:lnTo>
                  <a:lnTo>
                    <a:pt x="361" y="387"/>
                  </a:lnTo>
                  <a:lnTo>
                    <a:pt x="362" y="389"/>
                  </a:lnTo>
                  <a:lnTo>
                    <a:pt x="362" y="390"/>
                  </a:lnTo>
                  <a:lnTo>
                    <a:pt x="362" y="390"/>
                  </a:lnTo>
                  <a:lnTo>
                    <a:pt x="362" y="392"/>
                  </a:lnTo>
                  <a:lnTo>
                    <a:pt x="362" y="392"/>
                  </a:lnTo>
                  <a:lnTo>
                    <a:pt x="362" y="392"/>
                  </a:lnTo>
                  <a:lnTo>
                    <a:pt x="364" y="394"/>
                  </a:lnTo>
                  <a:lnTo>
                    <a:pt x="364" y="394"/>
                  </a:lnTo>
                  <a:lnTo>
                    <a:pt x="366" y="394"/>
                  </a:lnTo>
                  <a:lnTo>
                    <a:pt x="366" y="394"/>
                  </a:lnTo>
                  <a:lnTo>
                    <a:pt x="366" y="392"/>
                  </a:lnTo>
                  <a:lnTo>
                    <a:pt x="368" y="392"/>
                  </a:lnTo>
                  <a:lnTo>
                    <a:pt x="368" y="390"/>
                  </a:lnTo>
                  <a:lnTo>
                    <a:pt x="368" y="390"/>
                  </a:lnTo>
                  <a:lnTo>
                    <a:pt x="370" y="390"/>
                  </a:lnTo>
                  <a:lnTo>
                    <a:pt x="370" y="390"/>
                  </a:lnTo>
                  <a:lnTo>
                    <a:pt x="372" y="390"/>
                  </a:lnTo>
                  <a:lnTo>
                    <a:pt x="372" y="390"/>
                  </a:lnTo>
                  <a:lnTo>
                    <a:pt x="373" y="392"/>
                  </a:lnTo>
                  <a:lnTo>
                    <a:pt x="373" y="394"/>
                  </a:lnTo>
                  <a:lnTo>
                    <a:pt x="373" y="396"/>
                  </a:lnTo>
                  <a:lnTo>
                    <a:pt x="372" y="396"/>
                  </a:lnTo>
                  <a:lnTo>
                    <a:pt x="372" y="398"/>
                  </a:lnTo>
                  <a:lnTo>
                    <a:pt x="372" y="400"/>
                  </a:lnTo>
                  <a:lnTo>
                    <a:pt x="372" y="403"/>
                  </a:lnTo>
                  <a:lnTo>
                    <a:pt x="372" y="405"/>
                  </a:lnTo>
                  <a:lnTo>
                    <a:pt x="370" y="405"/>
                  </a:lnTo>
                  <a:lnTo>
                    <a:pt x="370" y="407"/>
                  </a:lnTo>
                  <a:lnTo>
                    <a:pt x="368" y="407"/>
                  </a:lnTo>
                  <a:lnTo>
                    <a:pt x="368" y="407"/>
                  </a:lnTo>
                  <a:lnTo>
                    <a:pt x="368" y="407"/>
                  </a:lnTo>
                  <a:lnTo>
                    <a:pt x="368" y="407"/>
                  </a:lnTo>
                  <a:lnTo>
                    <a:pt x="368" y="407"/>
                  </a:lnTo>
                  <a:lnTo>
                    <a:pt x="370" y="410"/>
                  </a:lnTo>
                  <a:lnTo>
                    <a:pt x="370" y="410"/>
                  </a:lnTo>
                  <a:lnTo>
                    <a:pt x="370" y="410"/>
                  </a:lnTo>
                  <a:lnTo>
                    <a:pt x="372" y="409"/>
                  </a:lnTo>
                  <a:lnTo>
                    <a:pt x="372" y="409"/>
                  </a:lnTo>
                  <a:lnTo>
                    <a:pt x="373" y="409"/>
                  </a:lnTo>
                  <a:lnTo>
                    <a:pt x="373" y="409"/>
                  </a:lnTo>
                  <a:lnTo>
                    <a:pt x="373" y="409"/>
                  </a:lnTo>
                  <a:lnTo>
                    <a:pt x="373" y="410"/>
                  </a:lnTo>
                  <a:lnTo>
                    <a:pt x="373" y="412"/>
                  </a:lnTo>
                  <a:lnTo>
                    <a:pt x="373" y="412"/>
                  </a:lnTo>
                  <a:lnTo>
                    <a:pt x="373" y="412"/>
                  </a:lnTo>
                  <a:lnTo>
                    <a:pt x="373" y="414"/>
                  </a:lnTo>
                  <a:lnTo>
                    <a:pt x="372" y="416"/>
                  </a:lnTo>
                  <a:lnTo>
                    <a:pt x="372" y="418"/>
                  </a:lnTo>
                  <a:lnTo>
                    <a:pt x="372" y="418"/>
                  </a:lnTo>
                  <a:lnTo>
                    <a:pt x="372" y="419"/>
                  </a:lnTo>
                  <a:lnTo>
                    <a:pt x="372" y="419"/>
                  </a:lnTo>
                  <a:lnTo>
                    <a:pt x="373" y="419"/>
                  </a:lnTo>
                  <a:lnTo>
                    <a:pt x="373" y="419"/>
                  </a:lnTo>
                  <a:lnTo>
                    <a:pt x="375" y="419"/>
                  </a:lnTo>
                  <a:lnTo>
                    <a:pt x="375" y="421"/>
                  </a:lnTo>
                  <a:lnTo>
                    <a:pt x="375" y="421"/>
                  </a:lnTo>
                  <a:lnTo>
                    <a:pt x="377" y="421"/>
                  </a:lnTo>
                  <a:lnTo>
                    <a:pt x="379" y="421"/>
                  </a:lnTo>
                  <a:lnTo>
                    <a:pt x="379" y="421"/>
                  </a:lnTo>
                  <a:lnTo>
                    <a:pt x="379" y="423"/>
                  </a:lnTo>
                  <a:lnTo>
                    <a:pt x="381" y="425"/>
                  </a:lnTo>
                  <a:lnTo>
                    <a:pt x="382" y="425"/>
                  </a:lnTo>
                  <a:lnTo>
                    <a:pt x="384" y="425"/>
                  </a:lnTo>
                  <a:lnTo>
                    <a:pt x="384" y="425"/>
                  </a:lnTo>
                  <a:lnTo>
                    <a:pt x="386" y="425"/>
                  </a:lnTo>
                  <a:lnTo>
                    <a:pt x="388" y="427"/>
                  </a:lnTo>
                  <a:lnTo>
                    <a:pt x="388" y="427"/>
                  </a:lnTo>
                  <a:lnTo>
                    <a:pt x="388" y="428"/>
                  </a:lnTo>
                  <a:lnTo>
                    <a:pt x="388" y="428"/>
                  </a:lnTo>
                  <a:lnTo>
                    <a:pt x="390" y="428"/>
                  </a:lnTo>
                  <a:lnTo>
                    <a:pt x="390" y="428"/>
                  </a:lnTo>
                  <a:lnTo>
                    <a:pt x="390" y="428"/>
                  </a:lnTo>
                  <a:lnTo>
                    <a:pt x="390" y="428"/>
                  </a:lnTo>
                  <a:lnTo>
                    <a:pt x="391" y="428"/>
                  </a:lnTo>
                  <a:lnTo>
                    <a:pt x="391" y="430"/>
                  </a:lnTo>
                  <a:lnTo>
                    <a:pt x="391" y="432"/>
                  </a:lnTo>
                  <a:lnTo>
                    <a:pt x="391" y="432"/>
                  </a:lnTo>
                  <a:lnTo>
                    <a:pt x="391" y="432"/>
                  </a:lnTo>
                  <a:lnTo>
                    <a:pt x="391" y="434"/>
                  </a:lnTo>
                  <a:lnTo>
                    <a:pt x="391" y="434"/>
                  </a:lnTo>
                  <a:lnTo>
                    <a:pt x="391" y="439"/>
                  </a:lnTo>
                  <a:lnTo>
                    <a:pt x="391" y="439"/>
                  </a:lnTo>
                  <a:lnTo>
                    <a:pt x="391" y="441"/>
                  </a:lnTo>
                  <a:lnTo>
                    <a:pt x="391" y="441"/>
                  </a:lnTo>
                  <a:lnTo>
                    <a:pt x="391" y="443"/>
                  </a:lnTo>
                  <a:lnTo>
                    <a:pt x="391" y="443"/>
                  </a:lnTo>
                  <a:lnTo>
                    <a:pt x="391" y="445"/>
                  </a:lnTo>
                  <a:lnTo>
                    <a:pt x="391" y="445"/>
                  </a:lnTo>
                  <a:lnTo>
                    <a:pt x="391" y="446"/>
                  </a:lnTo>
                  <a:lnTo>
                    <a:pt x="390" y="446"/>
                  </a:lnTo>
                  <a:lnTo>
                    <a:pt x="390" y="446"/>
                  </a:lnTo>
                  <a:lnTo>
                    <a:pt x="390" y="448"/>
                  </a:lnTo>
                  <a:lnTo>
                    <a:pt x="390" y="450"/>
                  </a:lnTo>
                  <a:lnTo>
                    <a:pt x="391" y="450"/>
                  </a:lnTo>
                  <a:lnTo>
                    <a:pt x="391" y="450"/>
                  </a:lnTo>
                  <a:lnTo>
                    <a:pt x="393" y="452"/>
                  </a:lnTo>
                  <a:lnTo>
                    <a:pt x="393" y="452"/>
                  </a:lnTo>
                  <a:lnTo>
                    <a:pt x="393" y="452"/>
                  </a:lnTo>
                  <a:lnTo>
                    <a:pt x="393" y="452"/>
                  </a:lnTo>
                  <a:lnTo>
                    <a:pt x="393" y="452"/>
                  </a:lnTo>
                  <a:lnTo>
                    <a:pt x="395" y="452"/>
                  </a:lnTo>
                  <a:lnTo>
                    <a:pt x="395" y="452"/>
                  </a:lnTo>
                  <a:lnTo>
                    <a:pt x="395" y="454"/>
                  </a:lnTo>
                  <a:lnTo>
                    <a:pt x="395" y="454"/>
                  </a:lnTo>
                  <a:lnTo>
                    <a:pt x="397" y="456"/>
                  </a:lnTo>
                  <a:lnTo>
                    <a:pt x="399" y="457"/>
                  </a:lnTo>
                  <a:lnTo>
                    <a:pt x="399" y="456"/>
                  </a:lnTo>
                  <a:lnTo>
                    <a:pt x="399" y="456"/>
                  </a:lnTo>
                  <a:lnTo>
                    <a:pt x="400" y="456"/>
                  </a:lnTo>
                  <a:lnTo>
                    <a:pt x="400" y="457"/>
                  </a:lnTo>
                  <a:lnTo>
                    <a:pt x="399" y="459"/>
                  </a:lnTo>
                  <a:lnTo>
                    <a:pt x="399" y="461"/>
                  </a:lnTo>
                  <a:lnTo>
                    <a:pt x="395" y="461"/>
                  </a:lnTo>
                  <a:lnTo>
                    <a:pt x="390" y="461"/>
                  </a:lnTo>
                  <a:lnTo>
                    <a:pt x="390" y="461"/>
                  </a:lnTo>
                  <a:lnTo>
                    <a:pt x="388" y="461"/>
                  </a:lnTo>
                  <a:lnTo>
                    <a:pt x="386" y="463"/>
                  </a:lnTo>
                  <a:lnTo>
                    <a:pt x="386" y="463"/>
                  </a:lnTo>
                  <a:lnTo>
                    <a:pt x="384" y="461"/>
                  </a:lnTo>
                  <a:lnTo>
                    <a:pt x="384" y="461"/>
                  </a:lnTo>
                  <a:lnTo>
                    <a:pt x="384" y="459"/>
                  </a:lnTo>
                  <a:lnTo>
                    <a:pt x="384" y="459"/>
                  </a:lnTo>
                  <a:lnTo>
                    <a:pt x="384" y="459"/>
                  </a:lnTo>
                  <a:lnTo>
                    <a:pt x="382" y="457"/>
                  </a:lnTo>
                  <a:lnTo>
                    <a:pt x="381" y="454"/>
                  </a:lnTo>
                  <a:lnTo>
                    <a:pt x="381" y="454"/>
                  </a:lnTo>
                  <a:lnTo>
                    <a:pt x="381" y="456"/>
                  </a:lnTo>
                  <a:lnTo>
                    <a:pt x="379" y="456"/>
                  </a:lnTo>
                  <a:lnTo>
                    <a:pt x="379" y="457"/>
                  </a:lnTo>
                  <a:lnTo>
                    <a:pt x="377" y="457"/>
                  </a:lnTo>
                  <a:lnTo>
                    <a:pt x="377" y="457"/>
                  </a:lnTo>
                  <a:lnTo>
                    <a:pt x="377" y="459"/>
                  </a:lnTo>
                  <a:lnTo>
                    <a:pt x="377" y="461"/>
                  </a:lnTo>
                  <a:lnTo>
                    <a:pt x="375" y="461"/>
                  </a:lnTo>
                  <a:lnTo>
                    <a:pt x="375" y="461"/>
                  </a:lnTo>
                  <a:lnTo>
                    <a:pt x="373" y="461"/>
                  </a:lnTo>
                  <a:lnTo>
                    <a:pt x="373" y="461"/>
                  </a:lnTo>
                  <a:lnTo>
                    <a:pt x="373" y="459"/>
                  </a:lnTo>
                  <a:lnTo>
                    <a:pt x="372" y="457"/>
                  </a:lnTo>
                  <a:lnTo>
                    <a:pt x="372" y="457"/>
                  </a:lnTo>
                  <a:lnTo>
                    <a:pt x="370" y="457"/>
                  </a:lnTo>
                  <a:lnTo>
                    <a:pt x="368" y="457"/>
                  </a:lnTo>
                  <a:lnTo>
                    <a:pt x="368" y="457"/>
                  </a:lnTo>
                  <a:lnTo>
                    <a:pt x="368" y="456"/>
                  </a:lnTo>
                  <a:lnTo>
                    <a:pt x="368" y="456"/>
                  </a:lnTo>
                  <a:lnTo>
                    <a:pt x="368" y="456"/>
                  </a:lnTo>
                  <a:lnTo>
                    <a:pt x="368" y="454"/>
                  </a:lnTo>
                  <a:lnTo>
                    <a:pt x="368" y="454"/>
                  </a:lnTo>
                  <a:lnTo>
                    <a:pt x="368" y="454"/>
                  </a:lnTo>
                  <a:lnTo>
                    <a:pt x="368" y="454"/>
                  </a:lnTo>
                  <a:lnTo>
                    <a:pt x="368" y="452"/>
                  </a:lnTo>
                  <a:lnTo>
                    <a:pt x="366" y="452"/>
                  </a:lnTo>
                  <a:lnTo>
                    <a:pt x="366" y="452"/>
                  </a:lnTo>
                  <a:lnTo>
                    <a:pt x="366" y="452"/>
                  </a:lnTo>
                  <a:lnTo>
                    <a:pt x="364" y="454"/>
                  </a:lnTo>
                  <a:lnTo>
                    <a:pt x="362" y="457"/>
                  </a:lnTo>
                  <a:lnTo>
                    <a:pt x="362" y="457"/>
                  </a:lnTo>
                  <a:lnTo>
                    <a:pt x="361" y="456"/>
                  </a:lnTo>
                  <a:lnTo>
                    <a:pt x="361" y="454"/>
                  </a:lnTo>
                  <a:lnTo>
                    <a:pt x="359" y="454"/>
                  </a:lnTo>
                  <a:lnTo>
                    <a:pt x="359" y="454"/>
                  </a:lnTo>
                  <a:lnTo>
                    <a:pt x="359" y="456"/>
                  </a:lnTo>
                  <a:lnTo>
                    <a:pt x="359" y="457"/>
                  </a:lnTo>
                  <a:lnTo>
                    <a:pt x="359" y="457"/>
                  </a:lnTo>
                  <a:lnTo>
                    <a:pt x="359" y="459"/>
                  </a:lnTo>
                  <a:lnTo>
                    <a:pt x="357" y="459"/>
                  </a:lnTo>
                  <a:lnTo>
                    <a:pt x="357" y="459"/>
                  </a:lnTo>
                  <a:lnTo>
                    <a:pt x="357" y="459"/>
                  </a:lnTo>
                  <a:lnTo>
                    <a:pt x="355" y="461"/>
                  </a:lnTo>
                  <a:lnTo>
                    <a:pt x="353" y="461"/>
                  </a:lnTo>
                  <a:lnTo>
                    <a:pt x="353" y="461"/>
                  </a:lnTo>
                  <a:lnTo>
                    <a:pt x="353" y="459"/>
                  </a:lnTo>
                  <a:lnTo>
                    <a:pt x="353" y="459"/>
                  </a:lnTo>
                  <a:lnTo>
                    <a:pt x="353" y="459"/>
                  </a:lnTo>
                  <a:lnTo>
                    <a:pt x="353" y="457"/>
                  </a:lnTo>
                  <a:lnTo>
                    <a:pt x="353" y="457"/>
                  </a:lnTo>
                  <a:lnTo>
                    <a:pt x="353" y="450"/>
                  </a:lnTo>
                  <a:lnTo>
                    <a:pt x="353" y="450"/>
                  </a:lnTo>
                  <a:lnTo>
                    <a:pt x="353" y="448"/>
                  </a:lnTo>
                  <a:lnTo>
                    <a:pt x="353" y="448"/>
                  </a:lnTo>
                  <a:lnTo>
                    <a:pt x="352" y="448"/>
                  </a:lnTo>
                  <a:lnTo>
                    <a:pt x="348" y="450"/>
                  </a:lnTo>
                  <a:lnTo>
                    <a:pt x="346" y="452"/>
                  </a:lnTo>
                  <a:lnTo>
                    <a:pt x="344" y="452"/>
                  </a:lnTo>
                  <a:lnTo>
                    <a:pt x="341" y="454"/>
                  </a:lnTo>
                  <a:lnTo>
                    <a:pt x="341" y="456"/>
                  </a:lnTo>
                  <a:lnTo>
                    <a:pt x="339" y="457"/>
                  </a:lnTo>
                  <a:lnTo>
                    <a:pt x="341" y="461"/>
                  </a:lnTo>
                  <a:lnTo>
                    <a:pt x="341" y="465"/>
                  </a:lnTo>
                  <a:lnTo>
                    <a:pt x="341" y="465"/>
                  </a:lnTo>
                  <a:lnTo>
                    <a:pt x="341" y="466"/>
                  </a:lnTo>
                  <a:lnTo>
                    <a:pt x="341" y="468"/>
                  </a:lnTo>
                  <a:lnTo>
                    <a:pt x="341" y="468"/>
                  </a:lnTo>
                  <a:lnTo>
                    <a:pt x="341" y="470"/>
                  </a:lnTo>
                  <a:lnTo>
                    <a:pt x="341" y="470"/>
                  </a:lnTo>
                  <a:lnTo>
                    <a:pt x="343" y="472"/>
                  </a:lnTo>
                  <a:lnTo>
                    <a:pt x="344" y="472"/>
                  </a:lnTo>
                  <a:lnTo>
                    <a:pt x="344" y="474"/>
                  </a:lnTo>
                  <a:lnTo>
                    <a:pt x="344" y="475"/>
                  </a:lnTo>
                  <a:lnTo>
                    <a:pt x="343" y="477"/>
                  </a:lnTo>
                  <a:lnTo>
                    <a:pt x="341" y="479"/>
                  </a:lnTo>
                  <a:lnTo>
                    <a:pt x="341" y="481"/>
                  </a:lnTo>
                  <a:lnTo>
                    <a:pt x="341" y="483"/>
                  </a:lnTo>
                  <a:lnTo>
                    <a:pt x="343" y="486"/>
                  </a:lnTo>
                  <a:lnTo>
                    <a:pt x="343" y="486"/>
                  </a:lnTo>
                  <a:lnTo>
                    <a:pt x="341" y="488"/>
                  </a:lnTo>
                  <a:lnTo>
                    <a:pt x="332" y="490"/>
                  </a:lnTo>
                  <a:lnTo>
                    <a:pt x="332" y="490"/>
                  </a:lnTo>
                  <a:lnTo>
                    <a:pt x="330" y="492"/>
                  </a:lnTo>
                  <a:lnTo>
                    <a:pt x="330" y="493"/>
                  </a:lnTo>
                  <a:lnTo>
                    <a:pt x="332" y="495"/>
                  </a:lnTo>
                  <a:lnTo>
                    <a:pt x="332" y="497"/>
                  </a:lnTo>
                  <a:lnTo>
                    <a:pt x="332" y="497"/>
                  </a:lnTo>
                  <a:lnTo>
                    <a:pt x="330" y="499"/>
                  </a:lnTo>
                  <a:lnTo>
                    <a:pt x="330" y="499"/>
                  </a:lnTo>
                  <a:lnTo>
                    <a:pt x="330" y="501"/>
                  </a:lnTo>
                  <a:lnTo>
                    <a:pt x="328" y="501"/>
                  </a:lnTo>
                  <a:lnTo>
                    <a:pt x="328" y="501"/>
                  </a:lnTo>
                  <a:lnTo>
                    <a:pt x="328" y="501"/>
                  </a:lnTo>
                  <a:lnTo>
                    <a:pt x="328" y="502"/>
                  </a:lnTo>
                  <a:lnTo>
                    <a:pt x="328" y="502"/>
                  </a:lnTo>
                  <a:lnTo>
                    <a:pt x="328" y="502"/>
                  </a:lnTo>
                  <a:lnTo>
                    <a:pt x="326" y="504"/>
                  </a:lnTo>
                  <a:lnTo>
                    <a:pt x="323" y="504"/>
                  </a:lnTo>
                  <a:lnTo>
                    <a:pt x="323" y="506"/>
                  </a:lnTo>
                  <a:lnTo>
                    <a:pt x="323" y="506"/>
                  </a:lnTo>
                  <a:lnTo>
                    <a:pt x="323" y="506"/>
                  </a:lnTo>
                  <a:lnTo>
                    <a:pt x="323" y="508"/>
                  </a:lnTo>
                  <a:lnTo>
                    <a:pt x="321" y="508"/>
                  </a:lnTo>
                  <a:lnTo>
                    <a:pt x="319" y="508"/>
                  </a:lnTo>
                  <a:lnTo>
                    <a:pt x="319" y="510"/>
                  </a:lnTo>
                  <a:lnTo>
                    <a:pt x="317" y="511"/>
                  </a:lnTo>
                  <a:lnTo>
                    <a:pt x="317" y="511"/>
                  </a:lnTo>
                  <a:lnTo>
                    <a:pt x="317" y="511"/>
                  </a:lnTo>
                  <a:lnTo>
                    <a:pt x="319" y="513"/>
                  </a:lnTo>
                  <a:lnTo>
                    <a:pt x="319" y="513"/>
                  </a:lnTo>
                  <a:lnTo>
                    <a:pt x="319" y="515"/>
                  </a:lnTo>
                  <a:lnTo>
                    <a:pt x="319" y="515"/>
                  </a:lnTo>
                  <a:lnTo>
                    <a:pt x="321" y="517"/>
                  </a:lnTo>
                  <a:lnTo>
                    <a:pt x="321" y="517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19"/>
                  </a:lnTo>
                  <a:lnTo>
                    <a:pt x="319" y="522"/>
                  </a:lnTo>
                  <a:lnTo>
                    <a:pt x="319" y="522"/>
                  </a:lnTo>
                  <a:lnTo>
                    <a:pt x="317" y="522"/>
                  </a:lnTo>
                  <a:lnTo>
                    <a:pt x="316" y="522"/>
                  </a:lnTo>
                  <a:lnTo>
                    <a:pt x="310" y="522"/>
                  </a:lnTo>
                  <a:lnTo>
                    <a:pt x="308" y="521"/>
                  </a:lnTo>
                  <a:lnTo>
                    <a:pt x="308" y="521"/>
                  </a:lnTo>
                  <a:lnTo>
                    <a:pt x="305" y="524"/>
                  </a:lnTo>
                  <a:lnTo>
                    <a:pt x="305" y="524"/>
                  </a:lnTo>
                  <a:lnTo>
                    <a:pt x="305" y="524"/>
                  </a:lnTo>
                  <a:lnTo>
                    <a:pt x="305" y="524"/>
                  </a:lnTo>
                  <a:lnTo>
                    <a:pt x="305" y="526"/>
                  </a:lnTo>
                  <a:lnTo>
                    <a:pt x="305" y="526"/>
                  </a:lnTo>
                  <a:lnTo>
                    <a:pt x="305" y="526"/>
                  </a:lnTo>
                  <a:lnTo>
                    <a:pt x="305" y="526"/>
                  </a:lnTo>
                  <a:lnTo>
                    <a:pt x="307" y="526"/>
                  </a:lnTo>
                  <a:lnTo>
                    <a:pt x="307" y="528"/>
                  </a:lnTo>
                  <a:lnTo>
                    <a:pt x="308" y="528"/>
                  </a:lnTo>
                  <a:lnTo>
                    <a:pt x="308" y="530"/>
                  </a:lnTo>
                  <a:lnTo>
                    <a:pt x="310" y="533"/>
                  </a:lnTo>
                  <a:lnTo>
                    <a:pt x="310" y="535"/>
                  </a:lnTo>
                  <a:lnTo>
                    <a:pt x="312" y="537"/>
                  </a:lnTo>
                  <a:lnTo>
                    <a:pt x="312" y="537"/>
                  </a:lnTo>
                  <a:lnTo>
                    <a:pt x="314" y="537"/>
                  </a:lnTo>
                  <a:lnTo>
                    <a:pt x="319" y="539"/>
                  </a:lnTo>
                  <a:lnTo>
                    <a:pt x="323" y="540"/>
                  </a:lnTo>
                  <a:lnTo>
                    <a:pt x="330" y="542"/>
                  </a:lnTo>
                  <a:lnTo>
                    <a:pt x="332" y="542"/>
                  </a:lnTo>
                  <a:lnTo>
                    <a:pt x="334" y="542"/>
                  </a:lnTo>
                  <a:lnTo>
                    <a:pt x="334" y="542"/>
                  </a:lnTo>
                  <a:lnTo>
                    <a:pt x="334" y="540"/>
                  </a:lnTo>
                  <a:lnTo>
                    <a:pt x="332" y="540"/>
                  </a:lnTo>
                  <a:lnTo>
                    <a:pt x="332" y="540"/>
                  </a:lnTo>
                  <a:lnTo>
                    <a:pt x="332" y="540"/>
                  </a:lnTo>
                  <a:lnTo>
                    <a:pt x="332" y="539"/>
                  </a:lnTo>
                  <a:lnTo>
                    <a:pt x="332" y="539"/>
                  </a:lnTo>
                  <a:lnTo>
                    <a:pt x="334" y="537"/>
                  </a:lnTo>
                  <a:lnTo>
                    <a:pt x="334" y="537"/>
                  </a:lnTo>
                  <a:lnTo>
                    <a:pt x="334" y="535"/>
                  </a:lnTo>
                  <a:lnTo>
                    <a:pt x="335" y="535"/>
                  </a:lnTo>
                  <a:lnTo>
                    <a:pt x="335" y="535"/>
                  </a:lnTo>
                  <a:lnTo>
                    <a:pt x="337" y="537"/>
                  </a:lnTo>
                  <a:lnTo>
                    <a:pt x="337" y="537"/>
                  </a:lnTo>
                  <a:lnTo>
                    <a:pt x="339" y="537"/>
                  </a:lnTo>
                  <a:lnTo>
                    <a:pt x="339" y="539"/>
                  </a:lnTo>
                  <a:lnTo>
                    <a:pt x="341" y="539"/>
                  </a:lnTo>
                  <a:lnTo>
                    <a:pt x="341" y="539"/>
                  </a:lnTo>
                  <a:lnTo>
                    <a:pt x="343" y="537"/>
                  </a:lnTo>
                  <a:lnTo>
                    <a:pt x="343" y="537"/>
                  </a:lnTo>
                  <a:lnTo>
                    <a:pt x="343" y="535"/>
                  </a:lnTo>
                  <a:lnTo>
                    <a:pt x="343" y="535"/>
                  </a:lnTo>
                  <a:lnTo>
                    <a:pt x="343" y="535"/>
                  </a:lnTo>
                  <a:lnTo>
                    <a:pt x="344" y="535"/>
                  </a:lnTo>
                  <a:lnTo>
                    <a:pt x="344" y="535"/>
                  </a:lnTo>
                  <a:lnTo>
                    <a:pt x="348" y="533"/>
                  </a:lnTo>
                  <a:lnTo>
                    <a:pt x="350" y="531"/>
                  </a:lnTo>
                  <a:lnTo>
                    <a:pt x="350" y="531"/>
                  </a:lnTo>
                  <a:lnTo>
                    <a:pt x="352" y="531"/>
                  </a:lnTo>
                  <a:lnTo>
                    <a:pt x="352" y="531"/>
                  </a:lnTo>
                  <a:lnTo>
                    <a:pt x="353" y="531"/>
                  </a:lnTo>
                  <a:lnTo>
                    <a:pt x="353" y="531"/>
                  </a:lnTo>
                  <a:lnTo>
                    <a:pt x="353" y="530"/>
                  </a:lnTo>
                  <a:lnTo>
                    <a:pt x="353" y="530"/>
                  </a:lnTo>
                  <a:lnTo>
                    <a:pt x="353" y="530"/>
                  </a:lnTo>
                  <a:lnTo>
                    <a:pt x="355" y="528"/>
                  </a:lnTo>
                  <a:lnTo>
                    <a:pt x="357" y="528"/>
                  </a:lnTo>
                  <a:lnTo>
                    <a:pt x="357" y="528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61" y="528"/>
                  </a:lnTo>
                  <a:lnTo>
                    <a:pt x="361" y="528"/>
                  </a:lnTo>
                  <a:lnTo>
                    <a:pt x="361" y="528"/>
                  </a:lnTo>
                  <a:lnTo>
                    <a:pt x="362" y="528"/>
                  </a:lnTo>
                  <a:lnTo>
                    <a:pt x="366" y="528"/>
                  </a:lnTo>
                  <a:lnTo>
                    <a:pt x="373" y="530"/>
                  </a:lnTo>
                  <a:lnTo>
                    <a:pt x="375" y="533"/>
                  </a:lnTo>
                  <a:lnTo>
                    <a:pt x="375" y="533"/>
                  </a:lnTo>
                  <a:lnTo>
                    <a:pt x="377" y="533"/>
                  </a:lnTo>
                  <a:lnTo>
                    <a:pt x="377" y="537"/>
                  </a:lnTo>
                  <a:lnTo>
                    <a:pt x="377" y="539"/>
                  </a:lnTo>
                  <a:lnTo>
                    <a:pt x="377" y="540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7" y="544"/>
                  </a:lnTo>
                  <a:lnTo>
                    <a:pt x="379" y="542"/>
                  </a:lnTo>
                  <a:lnTo>
                    <a:pt x="379" y="542"/>
                  </a:lnTo>
                  <a:lnTo>
                    <a:pt x="381" y="542"/>
                  </a:lnTo>
                  <a:lnTo>
                    <a:pt x="381" y="542"/>
                  </a:lnTo>
                  <a:lnTo>
                    <a:pt x="381" y="542"/>
                  </a:lnTo>
                  <a:lnTo>
                    <a:pt x="381" y="540"/>
                  </a:lnTo>
                  <a:lnTo>
                    <a:pt x="381" y="540"/>
                  </a:lnTo>
                  <a:lnTo>
                    <a:pt x="381" y="539"/>
                  </a:lnTo>
                  <a:lnTo>
                    <a:pt x="381" y="539"/>
                  </a:lnTo>
                  <a:lnTo>
                    <a:pt x="382" y="537"/>
                  </a:lnTo>
                  <a:lnTo>
                    <a:pt x="382" y="537"/>
                  </a:lnTo>
                  <a:lnTo>
                    <a:pt x="382" y="535"/>
                  </a:lnTo>
                  <a:lnTo>
                    <a:pt x="382" y="533"/>
                  </a:lnTo>
                  <a:lnTo>
                    <a:pt x="382" y="531"/>
                  </a:lnTo>
                  <a:lnTo>
                    <a:pt x="381" y="530"/>
                  </a:lnTo>
                  <a:lnTo>
                    <a:pt x="381" y="530"/>
                  </a:lnTo>
                  <a:lnTo>
                    <a:pt x="381" y="530"/>
                  </a:lnTo>
                  <a:lnTo>
                    <a:pt x="382" y="528"/>
                  </a:lnTo>
                  <a:lnTo>
                    <a:pt x="382" y="526"/>
                  </a:lnTo>
                  <a:lnTo>
                    <a:pt x="381" y="526"/>
                  </a:lnTo>
                  <a:lnTo>
                    <a:pt x="381" y="524"/>
                  </a:lnTo>
                  <a:lnTo>
                    <a:pt x="381" y="526"/>
                  </a:lnTo>
                  <a:lnTo>
                    <a:pt x="381" y="526"/>
                  </a:lnTo>
                  <a:lnTo>
                    <a:pt x="379" y="528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9" y="526"/>
                  </a:lnTo>
                  <a:lnTo>
                    <a:pt x="377" y="526"/>
                  </a:lnTo>
                  <a:lnTo>
                    <a:pt x="377" y="526"/>
                  </a:lnTo>
                  <a:lnTo>
                    <a:pt x="377" y="524"/>
                  </a:lnTo>
                  <a:lnTo>
                    <a:pt x="377" y="524"/>
                  </a:lnTo>
                  <a:lnTo>
                    <a:pt x="377" y="526"/>
                  </a:lnTo>
                  <a:lnTo>
                    <a:pt x="377" y="526"/>
                  </a:lnTo>
                  <a:lnTo>
                    <a:pt x="377" y="528"/>
                  </a:lnTo>
                  <a:lnTo>
                    <a:pt x="375" y="528"/>
                  </a:lnTo>
                  <a:lnTo>
                    <a:pt x="375" y="526"/>
                  </a:lnTo>
                  <a:lnTo>
                    <a:pt x="375" y="526"/>
                  </a:lnTo>
                  <a:lnTo>
                    <a:pt x="375" y="524"/>
                  </a:lnTo>
                  <a:lnTo>
                    <a:pt x="375" y="524"/>
                  </a:lnTo>
                  <a:lnTo>
                    <a:pt x="375" y="524"/>
                  </a:lnTo>
                  <a:lnTo>
                    <a:pt x="375" y="524"/>
                  </a:lnTo>
                  <a:lnTo>
                    <a:pt x="375" y="522"/>
                  </a:lnTo>
                  <a:lnTo>
                    <a:pt x="375" y="522"/>
                  </a:lnTo>
                  <a:lnTo>
                    <a:pt x="377" y="522"/>
                  </a:lnTo>
                  <a:lnTo>
                    <a:pt x="377" y="521"/>
                  </a:lnTo>
                  <a:lnTo>
                    <a:pt x="379" y="519"/>
                  </a:lnTo>
                  <a:lnTo>
                    <a:pt x="379" y="517"/>
                  </a:lnTo>
                  <a:lnTo>
                    <a:pt x="379" y="519"/>
                  </a:lnTo>
                  <a:lnTo>
                    <a:pt x="377" y="519"/>
                  </a:lnTo>
                  <a:lnTo>
                    <a:pt x="377" y="521"/>
                  </a:lnTo>
                  <a:lnTo>
                    <a:pt x="375" y="519"/>
                  </a:lnTo>
                  <a:lnTo>
                    <a:pt x="375" y="519"/>
                  </a:lnTo>
                  <a:lnTo>
                    <a:pt x="373" y="519"/>
                  </a:lnTo>
                  <a:lnTo>
                    <a:pt x="373" y="515"/>
                  </a:lnTo>
                  <a:lnTo>
                    <a:pt x="373" y="511"/>
                  </a:lnTo>
                  <a:lnTo>
                    <a:pt x="373" y="510"/>
                  </a:lnTo>
                  <a:lnTo>
                    <a:pt x="375" y="508"/>
                  </a:lnTo>
                  <a:lnTo>
                    <a:pt x="375" y="508"/>
                  </a:lnTo>
                  <a:lnTo>
                    <a:pt x="375" y="506"/>
                  </a:lnTo>
                  <a:lnTo>
                    <a:pt x="375" y="506"/>
                  </a:lnTo>
                  <a:lnTo>
                    <a:pt x="375" y="504"/>
                  </a:lnTo>
                  <a:lnTo>
                    <a:pt x="375" y="504"/>
                  </a:lnTo>
                  <a:lnTo>
                    <a:pt x="377" y="502"/>
                  </a:lnTo>
                  <a:lnTo>
                    <a:pt x="377" y="502"/>
                  </a:lnTo>
                  <a:lnTo>
                    <a:pt x="377" y="502"/>
                  </a:lnTo>
                  <a:lnTo>
                    <a:pt x="375" y="501"/>
                  </a:lnTo>
                  <a:lnTo>
                    <a:pt x="375" y="501"/>
                  </a:lnTo>
                  <a:lnTo>
                    <a:pt x="375" y="501"/>
                  </a:lnTo>
                  <a:lnTo>
                    <a:pt x="375" y="499"/>
                  </a:lnTo>
                  <a:lnTo>
                    <a:pt x="377" y="499"/>
                  </a:lnTo>
                  <a:lnTo>
                    <a:pt x="377" y="501"/>
                  </a:lnTo>
                  <a:lnTo>
                    <a:pt x="377" y="501"/>
                  </a:lnTo>
                  <a:lnTo>
                    <a:pt x="377" y="501"/>
                  </a:lnTo>
                  <a:lnTo>
                    <a:pt x="379" y="501"/>
                  </a:lnTo>
                  <a:lnTo>
                    <a:pt x="379" y="502"/>
                  </a:lnTo>
                  <a:lnTo>
                    <a:pt x="379" y="502"/>
                  </a:lnTo>
                  <a:lnTo>
                    <a:pt x="379" y="502"/>
                  </a:lnTo>
                  <a:lnTo>
                    <a:pt x="379" y="502"/>
                  </a:lnTo>
                  <a:lnTo>
                    <a:pt x="379" y="504"/>
                  </a:lnTo>
                  <a:lnTo>
                    <a:pt x="379" y="504"/>
                  </a:lnTo>
                  <a:lnTo>
                    <a:pt x="379" y="508"/>
                  </a:lnTo>
                  <a:lnTo>
                    <a:pt x="379" y="510"/>
                  </a:lnTo>
                  <a:lnTo>
                    <a:pt x="379" y="510"/>
                  </a:lnTo>
                  <a:lnTo>
                    <a:pt x="381" y="511"/>
                  </a:lnTo>
                  <a:lnTo>
                    <a:pt x="381" y="513"/>
                  </a:lnTo>
                  <a:lnTo>
                    <a:pt x="381" y="515"/>
                  </a:lnTo>
                  <a:lnTo>
                    <a:pt x="381" y="513"/>
                  </a:lnTo>
                  <a:lnTo>
                    <a:pt x="382" y="513"/>
                  </a:lnTo>
                  <a:lnTo>
                    <a:pt x="384" y="513"/>
                  </a:lnTo>
                  <a:lnTo>
                    <a:pt x="382" y="513"/>
                  </a:lnTo>
                  <a:lnTo>
                    <a:pt x="382" y="513"/>
                  </a:lnTo>
                  <a:lnTo>
                    <a:pt x="384" y="511"/>
                  </a:lnTo>
                  <a:lnTo>
                    <a:pt x="384" y="511"/>
                  </a:lnTo>
                  <a:lnTo>
                    <a:pt x="384" y="511"/>
                  </a:lnTo>
                  <a:lnTo>
                    <a:pt x="386" y="511"/>
                  </a:lnTo>
                  <a:lnTo>
                    <a:pt x="386" y="511"/>
                  </a:lnTo>
                  <a:lnTo>
                    <a:pt x="388" y="511"/>
                  </a:lnTo>
                  <a:lnTo>
                    <a:pt x="388" y="511"/>
                  </a:lnTo>
                  <a:lnTo>
                    <a:pt x="388" y="510"/>
                  </a:lnTo>
                  <a:lnTo>
                    <a:pt x="386" y="510"/>
                  </a:lnTo>
                  <a:lnTo>
                    <a:pt x="384" y="510"/>
                  </a:lnTo>
                  <a:lnTo>
                    <a:pt x="384" y="508"/>
                  </a:lnTo>
                  <a:lnTo>
                    <a:pt x="384" y="508"/>
                  </a:lnTo>
                  <a:lnTo>
                    <a:pt x="384" y="506"/>
                  </a:lnTo>
                  <a:lnTo>
                    <a:pt x="386" y="506"/>
                  </a:lnTo>
                  <a:lnTo>
                    <a:pt x="386" y="504"/>
                  </a:lnTo>
                  <a:lnTo>
                    <a:pt x="388" y="504"/>
                  </a:lnTo>
                  <a:lnTo>
                    <a:pt x="388" y="504"/>
                  </a:lnTo>
                  <a:lnTo>
                    <a:pt x="388" y="504"/>
                  </a:lnTo>
                  <a:lnTo>
                    <a:pt x="388" y="504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0" y="504"/>
                  </a:lnTo>
                  <a:lnTo>
                    <a:pt x="390" y="504"/>
                  </a:lnTo>
                  <a:lnTo>
                    <a:pt x="390" y="504"/>
                  </a:lnTo>
                  <a:lnTo>
                    <a:pt x="390" y="506"/>
                  </a:lnTo>
                  <a:lnTo>
                    <a:pt x="390" y="506"/>
                  </a:lnTo>
                  <a:lnTo>
                    <a:pt x="391" y="506"/>
                  </a:lnTo>
                  <a:lnTo>
                    <a:pt x="391" y="504"/>
                  </a:lnTo>
                  <a:lnTo>
                    <a:pt x="391" y="504"/>
                  </a:lnTo>
                  <a:lnTo>
                    <a:pt x="390" y="504"/>
                  </a:lnTo>
                  <a:lnTo>
                    <a:pt x="390" y="502"/>
                  </a:lnTo>
                  <a:lnTo>
                    <a:pt x="390" y="501"/>
                  </a:lnTo>
                  <a:lnTo>
                    <a:pt x="390" y="501"/>
                  </a:lnTo>
                  <a:lnTo>
                    <a:pt x="391" y="501"/>
                  </a:lnTo>
                  <a:lnTo>
                    <a:pt x="391" y="501"/>
                  </a:lnTo>
                  <a:lnTo>
                    <a:pt x="391" y="501"/>
                  </a:lnTo>
                  <a:lnTo>
                    <a:pt x="391" y="502"/>
                  </a:lnTo>
                  <a:lnTo>
                    <a:pt x="391" y="502"/>
                  </a:lnTo>
                  <a:lnTo>
                    <a:pt x="391" y="504"/>
                  </a:lnTo>
                  <a:lnTo>
                    <a:pt x="391" y="502"/>
                  </a:lnTo>
                  <a:lnTo>
                    <a:pt x="391" y="501"/>
                  </a:lnTo>
                  <a:lnTo>
                    <a:pt x="393" y="499"/>
                  </a:lnTo>
                  <a:lnTo>
                    <a:pt x="393" y="499"/>
                  </a:lnTo>
                  <a:lnTo>
                    <a:pt x="395" y="499"/>
                  </a:lnTo>
                  <a:lnTo>
                    <a:pt x="397" y="501"/>
                  </a:lnTo>
                  <a:lnTo>
                    <a:pt x="397" y="501"/>
                  </a:lnTo>
                  <a:lnTo>
                    <a:pt x="397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399" y="499"/>
                  </a:lnTo>
                  <a:lnTo>
                    <a:pt x="399" y="499"/>
                  </a:lnTo>
                  <a:lnTo>
                    <a:pt x="399" y="497"/>
                  </a:lnTo>
                  <a:lnTo>
                    <a:pt x="400" y="495"/>
                  </a:lnTo>
                  <a:lnTo>
                    <a:pt x="400" y="495"/>
                  </a:lnTo>
                  <a:lnTo>
                    <a:pt x="400" y="495"/>
                  </a:lnTo>
                  <a:lnTo>
                    <a:pt x="400" y="495"/>
                  </a:lnTo>
                  <a:lnTo>
                    <a:pt x="400" y="499"/>
                  </a:lnTo>
                  <a:lnTo>
                    <a:pt x="400" y="501"/>
                  </a:lnTo>
                  <a:lnTo>
                    <a:pt x="404" y="497"/>
                  </a:lnTo>
                  <a:lnTo>
                    <a:pt x="408" y="495"/>
                  </a:lnTo>
                  <a:lnTo>
                    <a:pt x="413" y="488"/>
                  </a:lnTo>
                  <a:lnTo>
                    <a:pt x="418" y="481"/>
                  </a:lnTo>
                  <a:lnTo>
                    <a:pt x="418" y="481"/>
                  </a:lnTo>
                  <a:lnTo>
                    <a:pt x="420" y="477"/>
                  </a:lnTo>
                  <a:lnTo>
                    <a:pt x="420" y="477"/>
                  </a:lnTo>
                  <a:lnTo>
                    <a:pt x="422" y="477"/>
                  </a:lnTo>
                  <a:lnTo>
                    <a:pt x="422" y="475"/>
                  </a:lnTo>
                  <a:lnTo>
                    <a:pt x="424" y="474"/>
                  </a:lnTo>
                  <a:lnTo>
                    <a:pt x="428" y="468"/>
                  </a:lnTo>
                  <a:lnTo>
                    <a:pt x="428" y="466"/>
                  </a:lnTo>
                  <a:lnTo>
                    <a:pt x="428" y="465"/>
                  </a:lnTo>
                  <a:lnTo>
                    <a:pt x="428" y="465"/>
                  </a:lnTo>
                  <a:lnTo>
                    <a:pt x="428" y="463"/>
                  </a:lnTo>
                  <a:lnTo>
                    <a:pt x="428" y="463"/>
                  </a:lnTo>
                  <a:lnTo>
                    <a:pt x="428" y="463"/>
                  </a:lnTo>
                  <a:lnTo>
                    <a:pt x="428" y="463"/>
                  </a:lnTo>
                  <a:lnTo>
                    <a:pt x="429" y="463"/>
                  </a:lnTo>
                  <a:lnTo>
                    <a:pt x="431" y="461"/>
                  </a:lnTo>
                  <a:lnTo>
                    <a:pt x="433" y="459"/>
                  </a:lnTo>
                  <a:lnTo>
                    <a:pt x="433" y="459"/>
                  </a:lnTo>
                  <a:lnTo>
                    <a:pt x="433" y="456"/>
                  </a:lnTo>
                  <a:lnTo>
                    <a:pt x="433" y="456"/>
                  </a:lnTo>
                  <a:lnTo>
                    <a:pt x="433" y="456"/>
                  </a:lnTo>
                  <a:lnTo>
                    <a:pt x="433" y="456"/>
                  </a:lnTo>
                  <a:lnTo>
                    <a:pt x="435" y="456"/>
                  </a:lnTo>
                  <a:lnTo>
                    <a:pt x="433" y="454"/>
                  </a:lnTo>
                  <a:lnTo>
                    <a:pt x="433" y="454"/>
                  </a:lnTo>
                  <a:lnTo>
                    <a:pt x="433" y="454"/>
                  </a:lnTo>
                  <a:lnTo>
                    <a:pt x="433" y="452"/>
                  </a:lnTo>
                  <a:lnTo>
                    <a:pt x="431" y="450"/>
                  </a:lnTo>
                  <a:lnTo>
                    <a:pt x="431" y="450"/>
                  </a:lnTo>
                  <a:lnTo>
                    <a:pt x="433" y="450"/>
                  </a:lnTo>
                  <a:lnTo>
                    <a:pt x="433" y="446"/>
                  </a:lnTo>
                  <a:lnTo>
                    <a:pt x="435" y="446"/>
                  </a:lnTo>
                  <a:lnTo>
                    <a:pt x="435" y="446"/>
                  </a:lnTo>
                  <a:lnTo>
                    <a:pt x="437" y="446"/>
                  </a:lnTo>
                  <a:lnTo>
                    <a:pt x="437" y="446"/>
                  </a:lnTo>
                  <a:lnTo>
                    <a:pt x="440" y="445"/>
                  </a:lnTo>
                  <a:lnTo>
                    <a:pt x="440" y="445"/>
                  </a:lnTo>
                  <a:lnTo>
                    <a:pt x="442" y="445"/>
                  </a:lnTo>
                  <a:lnTo>
                    <a:pt x="442" y="445"/>
                  </a:lnTo>
                  <a:lnTo>
                    <a:pt x="444" y="445"/>
                  </a:lnTo>
                  <a:lnTo>
                    <a:pt x="444" y="443"/>
                  </a:lnTo>
                  <a:lnTo>
                    <a:pt x="446" y="443"/>
                  </a:lnTo>
                  <a:lnTo>
                    <a:pt x="447" y="443"/>
                  </a:lnTo>
                  <a:lnTo>
                    <a:pt x="449" y="443"/>
                  </a:lnTo>
                  <a:lnTo>
                    <a:pt x="453" y="441"/>
                  </a:lnTo>
                  <a:lnTo>
                    <a:pt x="453" y="441"/>
                  </a:lnTo>
                  <a:lnTo>
                    <a:pt x="456" y="443"/>
                  </a:lnTo>
                  <a:lnTo>
                    <a:pt x="458" y="443"/>
                  </a:lnTo>
                  <a:lnTo>
                    <a:pt x="458" y="443"/>
                  </a:lnTo>
                  <a:lnTo>
                    <a:pt x="458" y="443"/>
                  </a:lnTo>
                  <a:lnTo>
                    <a:pt x="460" y="443"/>
                  </a:lnTo>
                  <a:lnTo>
                    <a:pt x="462" y="443"/>
                  </a:lnTo>
                  <a:lnTo>
                    <a:pt x="462" y="443"/>
                  </a:lnTo>
                  <a:lnTo>
                    <a:pt x="464" y="441"/>
                  </a:lnTo>
                  <a:lnTo>
                    <a:pt x="465" y="441"/>
                  </a:lnTo>
                  <a:lnTo>
                    <a:pt x="465" y="441"/>
                  </a:lnTo>
                  <a:lnTo>
                    <a:pt x="467" y="437"/>
                  </a:lnTo>
                  <a:lnTo>
                    <a:pt x="467" y="437"/>
                  </a:lnTo>
                  <a:lnTo>
                    <a:pt x="467" y="437"/>
                  </a:lnTo>
                  <a:lnTo>
                    <a:pt x="469" y="436"/>
                  </a:lnTo>
                  <a:lnTo>
                    <a:pt x="469" y="436"/>
                  </a:lnTo>
                  <a:lnTo>
                    <a:pt x="469" y="434"/>
                  </a:lnTo>
                  <a:lnTo>
                    <a:pt x="467" y="434"/>
                  </a:lnTo>
                  <a:lnTo>
                    <a:pt x="467" y="434"/>
                  </a:lnTo>
                  <a:lnTo>
                    <a:pt x="467" y="432"/>
                  </a:lnTo>
                  <a:lnTo>
                    <a:pt x="467" y="432"/>
                  </a:lnTo>
                  <a:lnTo>
                    <a:pt x="467" y="430"/>
                  </a:lnTo>
                  <a:lnTo>
                    <a:pt x="465" y="428"/>
                  </a:lnTo>
                  <a:lnTo>
                    <a:pt x="467" y="430"/>
                  </a:lnTo>
                  <a:lnTo>
                    <a:pt x="467" y="430"/>
                  </a:lnTo>
                  <a:lnTo>
                    <a:pt x="469" y="432"/>
                  </a:lnTo>
                  <a:lnTo>
                    <a:pt x="469" y="432"/>
                  </a:lnTo>
                  <a:lnTo>
                    <a:pt x="469" y="434"/>
                  </a:lnTo>
                  <a:lnTo>
                    <a:pt x="471" y="434"/>
                  </a:lnTo>
                  <a:lnTo>
                    <a:pt x="471" y="432"/>
                  </a:lnTo>
                  <a:lnTo>
                    <a:pt x="471" y="432"/>
                  </a:lnTo>
                  <a:lnTo>
                    <a:pt x="471" y="430"/>
                  </a:lnTo>
                  <a:lnTo>
                    <a:pt x="471" y="430"/>
                  </a:lnTo>
                  <a:lnTo>
                    <a:pt x="473" y="430"/>
                  </a:lnTo>
                  <a:lnTo>
                    <a:pt x="473" y="430"/>
                  </a:lnTo>
                  <a:lnTo>
                    <a:pt x="473" y="430"/>
                  </a:lnTo>
                  <a:lnTo>
                    <a:pt x="474" y="428"/>
                  </a:lnTo>
                  <a:lnTo>
                    <a:pt x="474" y="428"/>
                  </a:lnTo>
                  <a:lnTo>
                    <a:pt x="474" y="427"/>
                  </a:lnTo>
                  <a:lnTo>
                    <a:pt x="474" y="428"/>
                  </a:lnTo>
                  <a:lnTo>
                    <a:pt x="473" y="432"/>
                  </a:lnTo>
                  <a:lnTo>
                    <a:pt x="473" y="432"/>
                  </a:lnTo>
                  <a:lnTo>
                    <a:pt x="473" y="434"/>
                  </a:lnTo>
                  <a:lnTo>
                    <a:pt x="471" y="434"/>
                  </a:lnTo>
                  <a:lnTo>
                    <a:pt x="469" y="439"/>
                  </a:lnTo>
                  <a:lnTo>
                    <a:pt x="467" y="441"/>
                  </a:lnTo>
                  <a:lnTo>
                    <a:pt x="469" y="441"/>
                  </a:lnTo>
                  <a:lnTo>
                    <a:pt x="469" y="441"/>
                  </a:lnTo>
                  <a:lnTo>
                    <a:pt x="469" y="441"/>
                  </a:lnTo>
                  <a:lnTo>
                    <a:pt x="471" y="441"/>
                  </a:lnTo>
                  <a:lnTo>
                    <a:pt x="471" y="441"/>
                  </a:lnTo>
                  <a:lnTo>
                    <a:pt x="471" y="443"/>
                  </a:lnTo>
                  <a:lnTo>
                    <a:pt x="473" y="443"/>
                  </a:lnTo>
                  <a:lnTo>
                    <a:pt x="473" y="443"/>
                  </a:lnTo>
                  <a:lnTo>
                    <a:pt x="473" y="441"/>
                  </a:lnTo>
                  <a:lnTo>
                    <a:pt x="474" y="441"/>
                  </a:lnTo>
                  <a:lnTo>
                    <a:pt x="474" y="441"/>
                  </a:lnTo>
                  <a:lnTo>
                    <a:pt x="478" y="439"/>
                  </a:lnTo>
                  <a:lnTo>
                    <a:pt x="483" y="441"/>
                  </a:lnTo>
                  <a:lnTo>
                    <a:pt x="485" y="443"/>
                  </a:lnTo>
                  <a:lnTo>
                    <a:pt x="487" y="441"/>
                  </a:lnTo>
                  <a:lnTo>
                    <a:pt x="487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39"/>
                  </a:lnTo>
                  <a:lnTo>
                    <a:pt x="489" y="439"/>
                  </a:lnTo>
                  <a:lnTo>
                    <a:pt x="489" y="437"/>
                  </a:lnTo>
                  <a:lnTo>
                    <a:pt x="489" y="437"/>
                  </a:lnTo>
                  <a:lnTo>
                    <a:pt x="489" y="434"/>
                  </a:lnTo>
                  <a:lnTo>
                    <a:pt x="489" y="434"/>
                  </a:lnTo>
                  <a:lnTo>
                    <a:pt x="487" y="430"/>
                  </a:lnTo>
                  <a:lnTo>
                    <a:pt x="487" y="428"/>
                  </a:lnTo>
                  <a:lnTo>
                    <a:pt x="487" y="427"/>
                  </a:lnTo>
                  <a:lnTo>
                    <a:pt x="489" y="427"/>
                  </a:lnTo>
                  <a:lnTo>
                    <a:pt x="491" y="427"/>
                  </a:lnTo>
                  <a:lnTo>
                    <a:pt x="491" y="425"/>
                  </a:lnTo>
                  <a:lnTo>
                    <a:pt x="493" y="423"/>
                  </a:lnTo>
                  <a:lnTo>
                    <a:pt x="493" y="421"/>
                  </a:lnTo>
                  <a:lnTo>
                    <a:pt x="493" y="419"/>
                  </a:lnTo>
                  <a:lnTo>
                    <a:pt x="491" y="419"/>
                  </a:lnTo>
                  <a:lnTo>
                    <a:pt x="491" y="419"/>
                  </a:lnTo>
                  <a:lnTo>
                    <a:pt x="489" y="419"/>
                  </a:lnTo>
                  <a:lnTo>
                    <a:pt x="489" y="419"/>
                  </a:lnTo>
                  <a:lnTo>
                    <a:pt x="489" y="418"/>
                  </a:lnTo>
                  <a:lnTo>
                    <a:pt x="491" y="416"/>
                  </a:lnTo>
                  <a:lnTo>
                    <a:pt x="491" y="414"/>
                  </a:lnTo>
                  <a:lnTo>
                    <a:pt x="491" y="414"/>
                  </a:lnTo>
                  <a:lnTo>
                    <a:pt x="487" y="414"/>
                  </a:lnTo>
                  <a:lnTo>
                    <a:pt x="485" y="414"/>
                  </a:lnTo>
                  <a:lnTo>
                    <a:pt x="487" y="410"/>
                  </a:lnTo>
                  <a:lnTo>
                    <a:pt x="487" y="410"/>
                  </a:lnTo>
                  <a:lnTo>
                    <a:pt x="487" y="409"/>
                  </a:lnTo>
                  <a:lnTo>
                    <a:pt x="487" y="409"/>
                  </a:lnTo>
                  <a:lnTo>
                    <a:pt x="487" y="407"/>
                  </a:lnTo>
                  <a:lnTo>
                    <a:pt x="487" y="407"/>
                  </a:lnTo>
                  <a:lnTo>
                    <a:pt x="487" y="407"/>
                  </a:lnTo>
                  <a:lnTo>
                    <a:pt x="487" y="407"/>
                  </a:lnTo>
                  <a:lnTo>
                    <a:pt x="485" y="407"/>
                  </a:lnTo>
                  <a:lnTo>
                    <a:pt x="485" y="405"/>
                  </a:lnTo>
                  <a:lnTo>
                    <a:pt x="485" y="401"/>
                  </a:lnTo>
                  <a:lnTo>
                    <a:pt x="485" y="401"/>
                  </a:lnTo>
                  <a:lnTo>
                    <a:pt x="482" y="400"/>
                  </a:lnTo>
                  <a:lnTo>
                    <a:pt x="482" y="400"/>
                  </a:lnTo>
                  <a:lnTo>
                    <a:pt x="480" y="398"/>
                  </a:lnTo>
                  <a:lnTo>
                    <a:pt x="480" y="398"/>
                  </a:lnTo>
                  <a:lnTo>
                    <a:pt x="480" y="398"/>
                  </a:lnTo>
                  <a:lnTo>
                    <a:pt x="482" y="396"/>
                  </a:lnTo>
                  <a:lnTo>
                    <a:pt x="482" y="396"/>
                  </a:lnTo>
                  <a:lnTo>
                    <a:pt x="482" y="396"/>
                  </a:lnTo>
                  <a:lnTo>
                    <a:pt x="482" y="396"/>
                  </a:lnTo>
                  <a:lnTo>
                    <a:pt x="482" y="398"/>
                  </a:lnTo>
                  <a:lnTo>
                    <a:pt x="482" y="400"/>
                  </a:lnTo>
                  <a:lnTo>
                    <a:pt x="485" y="400"/>
                  </a:lnTo>
                  <a:lnTo>
                    <a:pt x="485" y="401"/>
                  </a:lnTo>
                  <a:lnTo>
                    <a:pt x="485" y="401"/>
                  </a:lnTo>
                  <a:lnTo>
                    <a:pt x="485" y="403"/>
                  </a:lnTo>
                  <a:lnTo>
                    <a:pt x="485" y="403"/>
                  </a:lnTo>
                  <a:lnTo>
                    <a:pt x="487" y="405"/>
                  </a:lnTo>
                  <a:lnTo>
                    <a:pt x="487" y="405"/>
                  </a:lnTo>
                  <a:lnTo>
                    <a:pt x="487" y="405"/>
                  </a:lnTo>
                  <a:lnTo>
                    <a:pt x="489" y="407"/>
                  </a:lnTo>
                  <a:lnTo>
                    <a:pt x="489" y="409"/>
                  </a:lnTo>
                  <a:lnTo>
                    <a:pt x="489" y="410"/>
                  </a:lnTo>
                  <a:lnTo>
                    <a:pt x="487" y="412"/>
                  </a:lnTo>
                  <a:lnTo>
                    <a:pt x="489" y="414"/>
                  </a:lnTo>
                  <a:lnTo>
                    <a:pt x="489" y="414"/>
                  </a:lnTo>
                  <a:lnTo>
                    <a:pt x="491" y="414"/>
                  </a:lnTo>
                  <a:lnTo>
                    <a:pt x="493" y="414"/>
                  </a:lnTo>
                  <a:lnTo>
                    <a:pt x="493" y="414"/>
                  </a:lnTo>
                  <a:lnTo>
                    <a:pt x="493" y="414"/>
                  </a:lnTo>
                  <a:lnTo>
                    <a:pt x="491" y="418"/>
                  </a:lnTo>
                  <a:lnTo>
                    <a:pt x="491" y="418"/>
                  </a:lnTo>
                  <a:lnTo>
                    <a:pt x="491" y="419"/>
                  </a:lnTo>
                  <a:lnTo>
                    <a:pt x="494" y="419"/>
                  </a:lnTo>
                  <a:lnTo>
                    <a:pt x="494" y="419"/>
                  </a:lnTo>
                  <a:lnTo>
                    <a:pt x="494" y="421"/>
                  </a:lnTo>
                  <a:lnTo>
                    <a:pt x="494" y="423"/>
                  </a:lnTo>
                  <a:lnTo>
                    <a:pt x="493" y="425"/>
                  </a:lnTo>
                  <a:lnTo>
                    <a:pt x="493" y="427"/>
                  </a:lnTo>
                  <a:lnTo>
                    <a:pt x="491" y="428"/>
                  </a:lnTo>
                  <a:lnTo>
                    <a:pt x="491" y="432"/>
                  </a:lnTo>
                  <a:lnTo>
                    <a:pt x="493" y="434"/>
                  </a:lnTo>
                  <a:lnTo>
                    <a:pt x="493" y="434"/>
                  </a:lnTo>
                  <a:lnTo>
                    <a:pt x="493" y="436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4" y="439"/>
                  </a:lnTo>
                  <a:lnTo>
                    <a:pt x="494" y="441"/>
                  </a:lnTo>
                  <a:lnTo>
                    <a:pt x="496" y="441"/>
                  </a:lnTo>
                  <a:lnTo>
                    <a:pt x="496" y="443"/>
                  </a:lnTo>
                  <a:lnTo>
                    <a:pt x="500" y="443"/>
                  </a:lnTo>
                  <a:lnTo>
                    <a:pt x="500" y="443"/>
                  </a:lnTo>
                  <a:lnTo>
                    <a:pt x="502" y="446"/>
                  </a:lnTo>
                  <a:lnTo>
                    <a:pt x="502" y="446"/>
                  </a:lnTo>
                  <a:lnTo>
                    <a:pt x="503" y="445"/>
                  </a:lnTo>
                  <a:lnTo>
                    <a:pt x="503" y="445"/>
                  </a:lnTo>
                  <a:lnTo>
                    <a:pt x="503" y="445"/>
                  </a:lnTo>
                  <a:lnTo>
                    <a:pt x="505" y="445"/>
                  </a:lnTo>
                  <a:lnTo>
                    <a:pt x="505" y="445"/>
                  </a:lnTo>
                  <a:lnTo>
                    <a:pt x="505" y="443"/>
                  </a:lnTo>
                  <a:lnTo>
                    <a:pt x="507" y="443"/>
                  </a:lnTo>
                  <a:lnTo>
                    <a:pt x="507" y="443"/>
                  </a:lnTo>
                  <a:lnTo>
                    <a:pt x="507" y="445"/>
                  </a:lnTo>
                  <a:lnTo>
                    <a:pt x="511" y="446"/>
                  </a:lnTo>
                  <a:lnTo>
                    <a:pt x="514" y="446"/>
                  </a:lnTo>
                  <a:lnTo>
                    <a:pt x="521" y="443"/>
                  </a:lnTo>
                  <a:lnTo>
                    <a:pt x="523" y="443"/>
                  </a:lnTo>
                  <a:lnTo>
                    <a:pt x="523" y="441"/>
                  </a:lnTo>
                  <a:lnTo>
                    <a:pt x="525" y="441"/>
                  </a:lnTo>
                  <a:lnTo>
                    <a:pt x="527" y="441"/>
                  </a:lnTo>
                  <a:lnTo>
                    <a:pt x="525" y="441"/>
                  </a:lnTo>
                  <a:lnTo>
                    <a:pt x="525" y="443"/>
                  </a:lnTo>
                  <a:lnTo>
                    <a:pt x="525" y="443"/>
                  </a:lnTo>
                  <a:lnTo>
                    <a:pt x="523" y="443"/>
                  </a:lnTo>
                  <a:lnTo>
                    <a:pt x="523" y="445"/>
                  </a:lnTo>
                  <a:lnTo>
                    <a:pt x="520" y="445"/>
                  </a:lnTo>
                  <a:lnTo>
                    <a:pt x="520" y="445"/>
                  </a:lnTo>
                  <a:lnTo>
                    <a:pt x="516" y="448"/>
                  </a:lnTo>
                  <a:lnTo>
                    <a:pt x="514" y="450"/>
                  </a:lnTo>
                  <a:lnTo>
                    <a:pt x="516" y="452"/>
                  </a:lnTo>
                  <a:lnTo>
                    <a:pt x="514" y="452"/>
                  </a:lnTo>
                  <a:lnTo>
                    <a:pt x="512" y="454"/>
                  </a:lnTo>
                  <a:lnTo>
                    <a:pt x="511" y="454"/>
                  </a:lnTo>
                  <a:lnTo>
                    <a:pt x="509" y="454"/>
                  </a:lnTo>
                  <a:lnTo>
                    <a:pt x="505" y="452"/>
                  </a:lnTo>
                  <a:lnTo>
                    <a:pt x="500" y="450"/>
                  </a:lnTo>
                  <a:lnTo>
                    <a:pt x="498" y="450"/>
                  </a:lnTo>
                  <a:lnTo>
                    <a:pt x="496" y="450"/>
                  </a:lnTo>
                  <a:lnTo>
                    <a:pt x="491" y="450"/>
                  </a:lnTo>
                  <a:lnTo>
                    <a:pt x="487" y="450"/>
                  </a:lnTo>
                  <a:lnTo>
                    <a:pt x="487" y="450"/>
                  </a:lnTo>
                  <a:lnTo>
                    <a:pt x="487" y="450"/>
                  </a:lnTo>
                  <a:lnTo>
                    <a:pt x="483" y="448"/>
                  </a:lnTo>
                  <a:lnTo>
                    <a:pt x="482" y="446"/>
                  </a:lnTo>
                  <a:lnTo>
                    <a:pt x="473" y="448"/>
                  </a:lnTo>
                  <a:lnTo>
                    <a:pt x="473" y="448"/>
                  </a:lnTo>
                  <a:lnTo>
                    <a:pt x="471" y="446"/>
                  </a:lnTo>
                  <a:lnTo>
                    <a:pt x="469" y="445"/>
                  </a:lnTo>
                  <a:lnTo>
                    <a:pt x="471" y="446"/>
                  </a:lnTo>
                  <a:lnTo>
                    <a:pt x="476" y="452"/>
                  </a:lnTo>
                  <a:lnTo>
                    <a:pt x="476" y="452"/>
                  </a:lnTo>
                  <a:lnTo>
                    <a:pt x="478" y="454"/>
                  </a:lnTo>
                  <a:lnTo>
                    <a:pt x="478" y="456"/>
                  </a:lnTo>
                  <a:lnTo>
                    <a:pt x="478" y="454"/>
                  </a:lnTo>
                  <a:lnTo>
                    <a:pt x="478" y="454"/>
                  </a:lnTo>
                  <a:lnTo>
                    <a:pt x="478" y="452"/>
                  </a:lnTo>
                  <a:lnTo>
                    <a:pt x="478" y="452"/>
                  </a:lnTo>
                  <a:lnTo>
                    <a:pt x="480" y="452"/>
                  </a:lnTo>
                  <a:lnTo>
                    <a:pt x="480" y="452"/>
                  </a:lnTo>
                  <a:lnTo>
                    <a:pt x="482" y="452"/>
                  </a:lnTo>
                  <a:lnTo>
                    <a:pt x="483" y="452"/>
                  </a:lnTo>
                  <a:lnTo>
                    <a:pt x="489" y="454"/>
                  </a:lnTo>
                  <a:lnTo>
                    <a:pt x="493" y="456"/>
                  </a:lnTo>
                  <a:lnTo>
                    <a:pt x="494" y="454"/>
                  </a:lnTo>
                  <a:lnTo>
                    <a:pt x="494" y="456"/>
                  </a:lnTo>
                  <a:lnTo>
                    <a:pt x="496" y="457"/>
                  </a:lnTo>
                  <a:lnTo>
                    <a:pt x="498" y="459"/>
                  </a:lnTo>
                  <a:lnTo>
                    <a:pt x="496" y="459"/>
                  </a:lnTo>
                  <a:lnTo>
                    <a:pt x="496" y="459"/>
                  </a:lnTo>
                  <a:lnTo>
                    <a:pt x="496" y="459"/>
                  </a:lnTo>
                  <a:lnTo>
                    <a:pt x="493" y="461"/>
                  </a:lnTo>
                  <a:lnTo>
                    <a:pt x="493" y="463"/>
                  </a:lnTo>
                  <a:lnTo>
                    <a:pt x="489" y="463"/>
                  </a:lnTo>
                  <a:lnTo>
                    <a:pt x="485" y="463"/>
                  </a:lnTo>
                  <a:lnTo>
                    <a:pt x="485" y="463"/>
                  </a:lnTo>
                  <a:lnTo>
                    <a:pt x="483" y="463"/>
                  </a:lnTo>
                  <a:lnTo>
                    <a:pt x="483" y="463"/>
                  </a:lnTo>
                  <a:lnTo>
                    <a:pt x="482" y="465"/>
                  </a:lnTo>
                  <a:lnTo>
                    <a:pt x="483" y="465"/>
                  </a:lnTo>
                  <a:lnTo>
                    <a:pt x="483" y="466"/>
                  </a:lnTo>
                  <a:lnTo>
                    <a:pt x="483" y="466"/>
                  </a:lnTo>
                  <a:lnTo>
                    <a:pt x="485" y="466"/>
                  </a:lnTo>
                  <a:lnTo>
                    <a:pt x="489" y="466"/>
                  </a:lnTo>
                  <a:lnTo>
                    <a:pt x="489" y="466"/>
                  </a:lnTo>
                  <a:lnTo>
                    <a:pt x="489" y="466"/>
                  </a:lnTo>
                  <a:lnTo>
                    <a:pt x="489" y="465"/>
                  </a:lnTo>
                  <a:lnTo>
                    <a:pt x="489" y="465"/>
                  </a:lnTo>
                  <a:lnTo>
                    <a:pt x="493" y="468"/>
                  </a:lnTo>
                  <a:lnTo>
                    <a:pt x="494" y="468"/>
                  </a:lnTo>
                  <a:lnTo>
                    <a:pt x="496" y="468"/>
                  </a:lnTo>
                  <a:lnTo>
                    <a:pt x="498" y="470"/>
                  </a:lnTo>
                  <a:lnTo>
                    <a:pt x="500" y="472"/>
                  </a:lnTo>
                  <a:lnTo>
                    <a:pt x="500" y="472"/>
                  </a:lnTo>
                  <a:lnTo>
                    <a:pt x="502" y="472"/>
                  </a:lnTo>
                  <a:lnTo>
                    <a:pt x="503" y="474"/>
                  </a:lnTo>
                  <a:lnTo>
                    <a:pt x="505" y="474"/>
                  </a:lnTo>
                  <a:lnTo>
                    <a:pt x="507" y="474"/>
                  </a:lnTo>
                  <a:lnTo>
                    <a:pt x="507" y="472"/>
                  </a:lnTo>
                  <a:lnTo>
                    <a:pt x="507" y="474"/>
                  </a:lnTo>
                  <a:lnTo>
                    <a:pt x="507" y="474"/>
                  </a:lnTo>
                  <a:lnTo>
                    <a:pt x="507" y="474"/>
                  </a:lnTo>
                  <a:lnTo>
                    <a:pt x="507" y="475"/>
                  </a:lnTo>
                  <a:lnTo>
                    <a:pt x="507" y="475"/>
                  </a:lnTo>
                  <a:lnTo>
                    <a:pt x="507" y="477"/>
                  </a:lnTo>
                  <a:lnTo>
                    <a:pt x="507" y="477"/>
                  </a:lnTo>
                  <a:lnTo>
                    <a:pt x="507" y="477"/>
                  </a:lnTo>
                  <a:lnTo>
                    <a:pt x="507" y="477"/>
                  </a:lnTo>
                  <a:lnTo>
                    <a:pt x="507" y="477"/>
                  </a:lnTo>
                  <a:lnTo>
                    <a:pt x="509" y="477"/>
                  </a:lnTo>
                  <a:lnTo>
                    <a:pt x="509" y="479"/>
                  </a:lnTo>
                  <a:lnTo>
                    <a:pt x="520" y="481"/>
                  </a:lnTo>
                  <a:lnTo>
                    <a:pt x="521" y="481"/>
                  </a:lnTo>
                  <a:lnTo>
                    <a:pt x="521" y="481"/>
                  </a:lnTo>
                  <a:lnTo>
                    <a:pt x="523" y="481"/>
                  </a:lnTo>
                  <a:lnTo>
                    <a:pt x="523" y="479"/>
                  </a:lnTo>
                  <a:lnTo>
                    <a:pt x="523" y="479"/>
                  </a:lnTo>
                  <a:lnTo>
                    <a:pt x="530" y="479"/>
                  </a:lnTo>
                  <a:lnTo>
                    <a:pt x="532" y="477"/>
                  </a:lnTo>
                  <a:lnTo>
                    <a:pt x="532" y="477"/>
                  </a:lnTo>
                  <a:lnTo>
                    <a:pt x="534" y="477"/>
                  </a:lnTo>
                  <a:lnTo>
                    <a:pt x="536" y="479"/>
                  </a:lnTo>
                  <a:lnTo>
                    <a:pt x="538" y="479"/>
                  </a:lnTo>
                  <a:lnTo>
                    <a:pt x="538" y="479"/>
                  </a:lnTo>
                  <a:lnTo>
                    <a:pt x="538" y="479"/>
                  </a:lnTo>
                  <a:lnTo>
                    <a:pt x="539" y="479"/>
                  </a:lnTo>
                  <a:lnTo>
                    <a:pt x="539" y="479"/>
                  </a:lnTo>
                  <a:lnTo>
                    <a:pt x="539" y="479"/>
                  </a:lnTo>
                  <a:lnTo>
                    <a:pt x="545" y="477"/>
                  </a:lnTo>
                  <a:lnTo>
                    <a:pt x="547" y="477"/>
                  </a:lnTo>
                  <a:lnTo>
                    <a:pt x="545" y="475"/>
                  </a:lnTo>
                  <a:lnTo>
                    <a:pt x="548" y="477"/>
                  </a:lnTo>
                  <a:lnTo>
                    <a:pt x="548" y="477"/>
                  </a:lnTo>
                  <a:lnTo>
                    <a:pt x="550" y="477"/>
                  </a:lnTo>
                  <a:lnTo>
                    <a:pt x="550" y="477"/>
                  </a:lnTo>
                  <a:lnTo>
                    <a:pt x="550" y="477"/>
                  </a:lnTo>
                  <a:lnTo>
                    <a:pt x="552" y="477"/>
                  </a:lnTo>
                  <a:lnTo>
                    <a:pt x="552" y="475"/>
                  </a:lnTo>
                  <a:lnTo>
                    <a:pt x="554" y="474"/>
                  </a:lnTo>
                  <a:lnTo>
                    <a:pt x="554" y="472"/>
                  </a:lnTo>
                  <a:lnTo>
                    <a:pt x="556" y="472"/>
                  </a:lnTo>
                  <a:lnTo>
                    <a:pt x="556" y="475"/>
                  </a:lnTo>
                  <a:lnTo>
                    <a:pt x="556" y="477"/>
                  </a:lnTo>
                  <a:lnTo>
                    <a:pt x="556" y="477"/>
                  </a:lnTo>
                  <a:lnTo>
                    <a:pt x="559" y="477"/>
                  </a:lnTo>
                  <a:lnTo>
                    <a:pt x="559" y="477"/>
                  </a:lnTo>
                  <a:lnTo>
                    <a:pt x="559" y="479"/>
                  </a:lnTo>
                  <a:lnTo>
                    <a:pt x="559" y="479"/>
                  </a:lnTo>
                  <a:lnTo>
                    <a:pt x="559" y="481"/>
                  </a:lnTo>
                  <a:lnTo>
                    <a:pt x="559" y="481"/>
                  </a:lnTo>
                  <a:lnTo>
                    <a:pt x="559" y="481"/>
                  </a:lnTo>
                  <a:lnTo>
                    <a:pt x="559" y="481"/>
                  </a:lnTo>
                  <a:lnTo>
                    <a:pt x="559" y="481"/>
                  </a:lnTo>
                  <a:lnTo>
                    <a:pt x="561" y="479"/>
                  </a:lnTo>
                  <a:lnTo>
                    <a:pt x="563" y="479"/>
                  </a:lnTo>
                  <a:lnTo>
                    <a:pt x="563" y="481"/>
                  </a:lnTo>
                  <a:lnTo>
                    <a:pt x="565" y="483"/>
                  </a:lnTo>
                  <a:lnTo>
                    <a:pt x="565" y="483"/>
                  </a:lnTo>
                  <a:lnTo>
                    <a:pt x="568" y="483"/>
                  </a:lnTo>
                  <a:lnTo>
                    <a:pt x="570" y="484"/>
                  </a:lnTo>
                  <a:lnTo>
                    <a:pt x="570" y="484"/>
                  </a:lnTo>
                  <a:lnTo>
                    <a:pt x="568" y="483"/>
                  </a:lnTo>
                  <a:lnTo>
                    <a:pt x="570" y="481"/>
                  </a:lnTo>
                  <a:lnTo>
                    <a:pt x="570" y="481"/>
                  </a:lnTo>
                  <a:lnTo>
                    <a:pt x="572" y="481"/>
                  </a:lnTo>
                  <a:lnTo>
                    <a:pt x="572" y="481"/>
                  </a:lnTo>
                  <a:lnTo>
                    <a:pt x="570" y="479"/>
                  </a:lnTo>
                  <a:lnTo>
                    <a:pt x="570" y="479"/>
                  </a:lnTo>
                  <a:lnTo>
                    <a:pt x="572" y="477"/>
                  </a:lnTo>
                  <a:lnTo>
                    <a:pt x="572" y="477"/>
                  </a:lnTo>
                  <a:lnTo>
                    <a:pt x="574" y="475"/>
                  </a:lnTo>
                  <a:lnTo>
                    <a:pt x="576" y="477"/>
                  </a:lnTo>
                  <a:lnTo>
                    <a:pt x="576" y="479"/>
                  </a:lnTo>
                  <a:lnTo>
                    <a:pt x="577" y="481"/>
                  </a:lnTo>
                  <a:lnTo>
                    <a:pt x="576" y="481"/>
                  </a:lnTo>
                  <a:lnTo>
                    <a:pt x="576" y="483"/>
                  </a:lnTo>
                  <a:lnTo>
                    <a:pt x="576" y="483"/>
                  </a:lnTo>
                  <a:lnTo>
                    <a:pt x="576" y="486"/>
                  </a:lnTo>
                  <a:lnTo>
                    <a:pt x="576" y="486"/>
                  </a:lnTo>
                  <a:lnTo>
                    <a:pt x="576" y="486"/>
                  </a:lnTo>
                  <a:lnTo>
                    <a:pt x="576" y="488"/>
                  </a:lnTo>
                  <a:lnTo>
                    <a:pt x="576" y="488"/>
                  </a:lnTo>
                  <a:lnTo>
                    <a:pt x="576" y="488"/>
                  </a:lnTo>
                  <a:lnTo>
                    <a:pt x="577" y="488"/>
                  </a:lnTo>
                  <a:lnTo>
                    <a:pt x="576" y="490"/>
                  </a:lnTo>
                  <a:lnTo>
                    <a:pt x="576" y="490"/>
                  </a:lnTo>
                  <a:lnTo>
                    <a:pt x="576" y="492"/>
                  </a:lnTo>
                  <a:lnTo>
                    <a:pt x="576" y="492"/>
                  </a:lnTo>
                  <a:lnTo>
                    <a:pt x="577" y="490"/>
                  </a:lnTo>
                  <a:lnTo>
                    <a:pt x="577" y="490"/>
                  </a:lnTo>
                  <a:lnTo>
                    <a:pt x="579" y="490"/>
                  </a:lnTo>
                  <a:lnTo>
                    <a:pt x="581" y="492"/>
                  </a:lnTo>
                  <a:lnTo>
                    <a:pt x="583" y="492"/>
                  </a:lnTo>
                  <a:lnTo>
                    <a:pt x="583" y="492"/>
                  </a:lnTo>
                  <a:lnTo>
                    <a:pt x="583" y="493"/>
                  </a:lnTo>
                  <a:lnTo>
                    <a:pt x="581" y="493"/>
                  </a:lnTo>
                  <a:lnTo>
                    <a:pt x="579" y="493"/>
                  </a:lnTo>
                  <a:lnTo>
                    <a:pt x="579" y="493"/>
                  </a:lnTo>
                  <a:lnTo>
                    <a:pt x="579" y="495"/>
                  </a:lnTo>
                  <a:lnTo>
                    <a:pt x="579" y="497"/>
                  </a:lnTo>
                  <a:lnTo>
                    <a:pt x="579" y="497"/>
                  </a:lnTo>
                  <a:lnTo>
                    <a:pt x="577" y="497"/>
                  </a:lnTo>
                  <a:lnTo>
                    <a:pt x="577" y="497"/>
                  </a:lnTo>
                  <a:lnTo>
                    <a:pt x="577" y="497"/>
                  </a:lnTo>
                  <a:lnTo>
                    <a:pt x="577" y="497"/>
                  </a:lnTo>
                  <a:lnTo>
                    <a:pt x="576" y="495"/>
                  </a:lnTo>
                  <a:lnTo>
                    <a:pt x="576" y="495"/>
                  </a:lnTo>
                  <a:lnTo>
                    <a:pt x="576" y="495"/>
                  </a:lnTo>
                  <a:lnTo>
                    <a:pt x="576" y="495"/>
                  </a:lnTo>
                  <a:lnTo>
                    <a:pt x="574" y="495"/>
                  </a:lnTo>
                  <a:lnTo>
                    <a:pt x="574" y="497"/>
                  </a:lnTo>
                  <a:lnTo>
                    <a:pt x="572" y="499"/>
                  </a:lnTo>
                  <a:lnTo>
                    <a:pt x="570" y="499"/>
                  </a:lnTo>
                  <a:lnTo>
                    <a:pt x="570" y="499"/>
                  </a:lnTo>
                  <a:lnTo>
                    <a:pt x="570" y="499"/>
                  </a:lnTo>
                  <a:lnTo>
                    <a:pt x="568" y="497"/>
                  </a:lnTo>
                  <a:lnTo>
                    <a:pt x="568" y="497"/>
                  </a:lnTo>
                  <a:lnTo>
                    <a:pt x="568" y="497"/>
                  </a:lnTo>
                  <a:lnTo>
                    <a:pt x="565" y="499"/>
                  </a:lnTo>
                  <a:lnTo>
                    <a:pt x="565" y="499"/>
                  </a:lnTo>
                  <a:lnTo>
                    <a:pt x="563" y="501"/>
                  </a:lnTo>
                  <a:lnTo>
                    <a:pt x="563" y="502"/>
                  </a:lnTo>
                  <a:lnTo>
                    <a:pt x="561" y="502"/>
                  </a:lnTo>
                  <a:lnTo>
                    <a:pt x="558" y="504"/>
                  </a:lnTo>
                  <a:lnTo>
                    <a:pt x="556" y="504"/>
                  </a:lnTo>
                  <a:lnTo>
                    <a:pt x="554" y="504"/>
                  </a:lnTo>
                  <a:lnTo>
                    <a:pt x="554" y="502"/>
                  </a:lnTo>
                  <a:lnTo>
                    <a:pt x="552" y="502"/>
                  </a:lnTo>
                  <a:lnTo>
                    <a:pt x="552" y="502"/>
                  </a:lnTo>
                  <a:lnTo>
                    <a:pt x="552" y="504"/>
                  </a:lnTo>
                  <a:lnTo>
                    <a:pt x="552" y="504"/>
                  </a:lnTo>
                  <a:lnTo>
                    <a:pt x="552" y="504"/>
                  </a:lnTo>
                  <a:lnTo>
                    <a:pt x="554" y="504"/>
                  </a:lnTo>
                  <a:lnTo>
                    <a:pt x="552" y="506"/>
                  </a:lnTo>
                  <a:lnTo>
                    <a:pt x="552" y="506"/>
                  </a:lnTo>
                  <a:lnTo>
                    <a:pt x="541" y="511"/>
                  </a:lnTo>
                  <a:lnTo>
                    <a:pt x="538" y="513"/>
                  </a:lnTo>
                  <a:lnTo>
                    <a:pt x="536" y="515"/>
                  </a:lnTo>
                  <a:lnTo>
                    <a:pt x="536" y="515"/>
                  </a:lnTo>
                  <a:lnTo>
                    <a:pt x="536" y="517"/>
                  </a:lnTo>
                  <a:lnTo>
                    <a:pt x="536" y="517"/>
                  </a:lnTo>
                  <a:lnTo>
                    <a:pt x="536" y="517"/>
                  </a:lnTo>
                  <a:lnTo>
                    <a:pt x="536" y="519"/>
                  </a:lnTo>
                  <a:lnTo>
                    <a:pt x="536" y="519"/>
                  </a:lnTo>
                  <a:lnTo>
                    <a:pt x="534" y="519"/>
                  </a:lnTo>
                  <a:lnTo>
                    <a:pt x="534" y="519"/>
                  </a:lnTo>
                  <a:lnTo>
                    <a:pt x="534" y="519"/>
                  </a:lnTo>
                  <a:lnTo>
                    <a:pt x="532" y="519"/>
                  </a:lnTo>
                  <a:lnTo>
                    <a:pt x="532" y="519"/>
                  </a:lnTo>
                  <a:lnTo>
                    <a:pt x="532" y="519"/>
                  </a:lnTo>
                  <a:lnTo>
                    <a:pt x="532" y="519"/>
                  </a:lnTo>
                  <a:lnTo>
                    <a:pt x="530" y="521"/>
                  </a:lnTo>
                  <a:lnTo>
                    <a:pt x="530" y="521"/>
                  </a:lnTo>
                  <a:lnTo>
                    <a:pt x="529" y="521"/>
                  </a:lnTo>
                  <a:lnTo>
                    <a:pt x="529" y="521"/>
                  </a:lnTo>
                  <a:lnTo>
                    <a:pt x="527" y="521"/>
                  </a:lnTo>
                  <a:lnTo>
                    <a:pt x="527" y="521"/>
                  </a:lnTo>
                  <a:lnTo>
                    <a:pt x="520" y="526"/>
                  </a:lnTo>
                  <a:lnTo>
                    <a:pt x="520" y="528"/>
                  </a:lnTo>
                  <a:lnTo>
                    <a:pt x="518" y="530"/>
                  </a:lnTo>
                  <a:lnTo>
                    <a:pt x="518" y="530"/>
                  </a:lnTo>
                  <a:lnTo>
                    <a:pt x="520" y="535"/>
                  </a:lnTo>
                  <a:lnTo>
                    <a:pt x="521" y="535"/>
                  </a:lnTo>
                  <a:lnTo>
                    <a:pt x="523" y="535"/>
                  </a:lnTo>
                  <a:lnTo>
                    <a:pt x="523" y="535"/>
                  </a:lnTo>
                  <a:lnTo>
                    <a:pt x="527" y="535"/>
                  </a:lnTo>
                  <a:lnTo>
                    <a:pt x="529" y="535"/>
                  </a:lnTo>
                  <a:lnTo>
                    <a:pt x="530" y="533"/>
                  </a:lnTo>
                  <a:lnTo>
                    <a:pt x="530" y="533"/>
                  </a:lnTo>
                  <a:lnTo>
                    <a:pt x="532" y="533"/>
                  </a:lnTo>
                  <a:lnTo>
                    <a:pt x="539" y="533"/>
                  </a:lnTo>
                  <a:lnTo>
                    <a:pt x="541" y="535"/>
                  </a:lnTo>
                  <a:lnTo>
                    <a:pt x="543" y="535"/>
                  </a:lnTo>
                  <a:lnTo>
                    <a:pt x="547" y="539"/>
                  </a:lnTo>
                  <a:lnTo>
                    <a:pt x="547" y="539"/>
                  </a:lnTo>
                  <a:lnTo>
                    <a:pt x="548" y="539"/>
                  </a:lnTo>
                  <a:lnTo>
                    <a:pt x="548" y="539"/>
                  </a:lnTo>
                  <a:lnTo>
                    <a:pt x="548" y="540"/>
                  </a:lnTo>
                  <a:lnTo>
                    <a:pt x="548" y="540"/>
                  </a:lnTo>
                  <a:lnTo>
                    <a:pt x="550" y="542"/>
                  </a:lnTo>
                  <a:lnTo>
                    <a:pt x="552" y="544"/>
                  </a:lnTo>
                  <a:lnTo>
                    <a:pt x="552" y="544"/>
                  </a:lnTo>
                  <a:lnTo>
                    <a:pt x="556" y="546"/>
                  </a:lnTo>
                  <a:lnTo>
                    <a:pt x="556" y="546"/>
                  </a:lnTo>
                  <a:lnTo>
                    <a:pt x="558" y="546"/>
                  </a:lnTo>
                  <a:lnTo>
                    <a:pt x="558" y="548"/>
                  </a:lnTo>
                  <a:lnTo>
                    <a:pt x="558" y="548"/>
                  </a:lnTo>
                  <a:lnTo>
                    <a:pt x="559" y="546"/>
                  </a:lnTo>
                  <a:lnTo>
                    <a:pt x="561" y="546"/>
                  </a:lnTo>
                  <a:lnTo>
                    <a:pt x="565" y="546"/>
                  </a:lnTo>
                  <a:lnTo>
                    <a:pt x="565" y="546"/>
                  </a:lnTo>
                  <a:lnTo>
                    <a:pt x="568" y="548"/>
                  </a:lnTo>
                  <a:lnTo>
                    <a:pt x="572" y="549"/>
                  </a:lnTo>
                  <a:lnTo>
                    <a:pt x="572" y="551"/>
                  </a:lnTo>
                  <a:lnTo>
                    <a:pt x="574" y="555"/>
                  </a:lnTo>
                  <a:lnTo>
                    <a:pt x="574" y="557"/>
                  </a:lnTo>
                  <a:lnTo>
                    <a:pt x="574" y="557"/>
                  </a:lnTo>
                  <a:lnTo>
                    <a:pt x="574" y="558"/>
                  </a:lnTo>
                  <a:lnTo>
                    <a:pt x="574" y="558"/>
                  </a:lnTo>
                  <a:lnTo>
                    <a:pt x="574" y="560"/>
                  </a:lnTo>
                  <a:lnTo>
                    <a:pt x="576" y="564"/>
                  </a:lnTo>
                  <a:lnTo>
                    <a:pt x="576" y="564"/>
                  </a:lnTo>
                  <a:lnTo>
                    <a:pt x="576" y="566"/>
                  </a:lnTo>
                  <a:lnTo>
                    <a:pt x="574" y="567"/>
                  </a:lnTo>
                  <a:lnTo>
                    <a:pt x="574" y="567"/>
                  </a:lnTo>
                  <a:lnTo>
                    <a:pt x="572" y="569"/>
                  </a:lnTo>
                  <a:lnTo>
                    <a:pt x="572" y="569"/>
                  </a:lnTo>
                  <a:lnTo>
                    <a:pt x="570" y="571"/>
                  </a:lnTo>
                  <a:lnTo>
                    <a:pt x="570" y="573"/>
                  </a:lnTo>
                  <a:lnTo>
                    <a:pt x="570" y="573"/>
                  </a:lnTo>
                  <a:lnTo>
                    <a:pt x="570" y="573"/>
                  </a:lnTo>
                  <a:lnTo>
                    <a:pt x="570" y="573"/>
                  </a:lnTo>
                  <a:lnTo>
                    <a:pt x="570" y="575"/>
                  </a:lnTo>
                  <a:lnTo>
                    <a:pt x="570" y="575"/>
                  </a:lnTo>
                  <a:lnTo>
                    <a:pt x="570" y="577"/>
                  </a:lnTo>
                  <a:lnTo>
                    <a:pt x="572" y="578"/>
                  </a:lnTo>
                  <a:lnTo>
                    <a:pt x="572" y="580"/>
                  </a:lnTo>
                  <a:lnTo>
                    <a:pt x="572" y="580"/>
                  </a:lnTo>
                  <a:lnTo>
                    <a:pt x="570" y="582"/>
                  </a:lnTo>
                  <a:lnTo>
                    <a:pt x="570" y="582"/>
                  </a:lnTo>
                  <a:lnTo>
                    <a:pt x="570" y="584"/>
                  </a:lnTo>
                  <a:lnTo>
                    <a:pt x="570" y="584"/>
                  </a:lnTo>
                  <a:lnTo>
                    <a:pt x="570" y="584"/>
                  </a:lnTo>
                  <a:lnTo>
                    <a:pt x="572" y="586"/>
                  </a:lnTo>
                  <a:lnTo>
                    <a:pt x="572" y="586"/>
                  </a:lnTo>
                  <a:lnTo>
                    <a:pt x="572" y="586"/>
                  </a:lnTo>
                  <a:lnTo>
                    <a:pt x="568" y="586"/>
                  </a:lnTo>
                  <a:lnTo>
                    <a:pt x="568" y="586"/>
                  </a:lnTo>
                  <a:lnTo>
                    <a:pt x="568" y="586"/>
                  </a:lnTo>
                  <a:lnTo>
                    <a:pt x="568" y="586"/>
                  </a:lnTo>
                  <a:lnTo>
                    <a:pt x="567" y="586"/>
                  </a:lnTo>
                  <a:lnTo>
                    <a:pt x="567" y="586"/>
                  </a:lnTo>
                  <a:lnTo>
                    <a:pt x="565" y="587"/>
                  </a:lnTo>
                  <a:lnTo>
                    <a:pt x="565" y="587"/>
                  </a:lnTo>
                  <a:lnTo>
                    <a:pt x="563" y="587"/>
                  </a:lnTo>
                  <a:lnTo>
                    <a:pt x="563" y="587"/>
                  </a:lnTo>
                  <a:lnTo>
                    <a:pt x="563" y="587"/>
                  </a:lnTo>
                  <a:lnTo>
                    <a:pt x="563" y="587"/>
                  </a:lnTo>
                  <a:lnTo>
                    <a:pt x="563" y="589"/>
                  </a:lnTo>
                  <a:lnTo>
                    <a:pt x="568" y="593"/>
                  </a:lnTo>
                  <a:lnTo>
                    <a:pt x="568" y="593"/>
                  </a:lnTo>
                  <a:lnTo>
                    <a:pt x="570" y="595"/>
                  </a:lnTo>
                  <a:lnTo>
                    <a:pt x="572" y="595"/>
                  </a:lnTo>
                  <a:lnTo>
                    <a:pt x="572" y="595"/>
                  </a:lnTo>
                  <a:lnTo>
                    <a:pt x="574" y="593"/>
                  </a:lnTo>
                  <a:lnTo>
                    <a:pt x="574" y="595"/>
                  </a:lnTo>
                  <a:lnTo>
                    <a:pt x="576" y="596"/>
                  </a:lnTo>
                  <a:lnTo>
                    <a:pt x="576" y="596"/>
                  </a:lnTo>
                  <a:lnTo>
                    <a:pt x="576" y="598"/>
                  </a:lnTo>
                  <a:lnTo>
                    <a:pt x="576" y="598"/>
                  </a:lnTo>
                  <a:lnTo>
                    <a:pt x="581" y="600"/>
                  </a:lnTo>
                  <a:lnTo>
                    <a:pt x="581" y="600"/>
                  </a:lnTo>
                  <a:lnTo>
                    <a:pt x="585" y="600"/>
                  </a:lnTo>
                  <a:lnTo>
                    <a:pt x="585" y="600"/>
                  </a:lnTo>
                  <a:lnTo>
                    <a:pt x="586" y="600"/>
                  </a:lnTo>
                  <a:lnTo>
                    <a:pt x="586" y="600"/>
                  </a:lnTo>
                  <a:lnTo>
                    <a:pt x="590" y="602"/>
                  </a:lnTo>
                  <a:lnTo>
                    <a:pt x="592" y="602"/>
                  </a:lnTo>
                  <a:lnTo>
                    <a:pt x="592" y="602"/>
                  </a:lnTo>
                  <a:lnTo>
                    <a:pt x="597" y="598"/>
                  </a:lnTo>
                  <a:lnTo>
                    <a:pt x="599" y="598"/>
                  </a:lnTo>
                  <a:lnTo>
                    <a:pt x="599" y="598"/>
                  </a:lnTo>
                  <a:lnTo>
                    <a:pt x="601" y="598"/>
                  </a:lnTo>
                  <a:lnTo>
                    <a:pt x="601" y="596"/>
                  </a:lnTo>
                  <a:lnTo>
                    <a:pt x="603" y="596"/>
                  </a:lnTo>
                  <a:lnTo>
                    <a:pt x="603" y="595"/>
                  </a:lnTo>
                  <a:lnTo>
                    <a:pt x="603" y="595"/>
                  </a:lnTo>
                  <a:lnTo>
                    <a:pt x="606" y="593"/>
                  </a:lnTo>
                  <a:lnTo>
                    <a:pt x="606" y="593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08" y="591"/>
                  </a:lnTo>
                  <a:lnTo>
                    <a:pt x="610" y="591"/>
                  </a:lnTo>
                  <a:lnTo>
                    <a:pt x="610" y="591"/>
                  </a:lnTo>
                  <a:lnTo>
                    <a:pt x="612" y="591"/>
                  </a:lnTo>
                  <a:lnTo>
                    <a:pt x="612" y="589"/>
                  </a:lnTo>
                  <a:lnTo>
                    <a:pt x="614" y="584"/>
                  </a:lnTo>
                  <a:lnTo>
                    <a:pt x="615" y="582"/>
                  </a:lnTo>
                  <a:lnTo>
                    <a:pt x="615" y="580"/>
                  </a:lnTo>
                  <a:lnTo>
                    <a:pt x="615" y="580"/>
                  </a:lnTo>
                  <a:lnTo>
                    <a:pt x="617" y="577"/>
                  </a:lnTo>
                  <a:lnTo>
                    <a:pt x="617" y="577"/>
                  </a:lnTo>
                  <a:lnTo>
                    <a:pt x="617" y="577"/>
                  </a:lnTo>
                  <a:lnTo>
                    <a:pt x="617" y="578"/>
                  </a:lnTo>
                  <a:lnTo>
                    <a:pt x="617" y="578"/>
                  </a:lnTo>
                  <a:lnTo>
                    <a:pt x="619" y="577"/>
                  </a:lnTo>
                  <a:lnTo>
                    <a:pt x="621" y="577"/>
                  </a:lnTo>
                  <a:lnTo>
                    <a:pt x="624" y="575"/>
                  </a:lnTo>
                  <a:lnTo>
                    <a:pt x="626" y="575"/>
                  </a:lnTo>
                  <a:lnTo>
                    <a:pt x="630" y="571"/>
                  </a:lnTo>
                  <a:lnTo>
                    <a:pt x="632" y="571"/>
                  </a:lnTo>
                  <a:lnTo>
                    <a:pt x="635" y="571"/>
                  </a:lnTo>
                  <a:lnTo>
                    <a:pt x="637" y="571"/>
                  </a:lnTo>
                  <a:lnTo>
                    <a:pt x="637" y="571"/>
                  </a:lnTo>
                  <a:lnTo>
                    <a:pt x="639" y="571"/>
                  </a:lnTo>
                  <a:lnTo>
                    <a:pt x="639" y="571"/>
                  </a:lnTo>
                  <a:lnTo>
                    <a:pt x="641" y="571"/>
                  </a:lnTo>
                  <a:lnTo>
                    <a:pt x="641" y="571"/>
                  </a:lnTo>
                  <a:lnTo>
                    <a:pt x="641" y="569"/>
                  </a:lnTo>
                  <a:lnTo>
                    <a:pt x="641" y="569"/>
                  </a:lnTo>
                  <a:lnTo>
                    <a:pt x="642" y="569"/>
                  </a:lnTo>
                  <a:lnTo>
                    <a:pt x="644" y="569"/>
                  </a:lnTo>
                  <a:lnTo>
                    <a:pt x="644" y="569"/>
                  </a:lnTo>
                  <a:lnTo>
                    <a:pt x="646" y="571"/>
                  </a:lnTo>
                  <a:lnTo>
                    <a:pt x="646" y="571"/>
                  </a:lnTo>
                  <a:lnTo>
                    <a:pt x="646" y="573"/>
                  </a:lnTo>
                  <a:lnTo>
                    <a:pt x="648" y="573"/>
                  </a:lnTo>
                  <a:lnTo>
                    <a:pt x="650" y="571"/>
                  </a:lnTo>
                  <a:lnTo>
                    <a:pt x="651" y="567"/>
                  </a:lnTo>
                  <a:lnTo>
                    <a:pt x="651" y="566"/>
                  </a:lnTo>
                  <a:lnTo>
                    <a:pt x="653" y="566"/>
                  </a:lnTo>
                  <a:lnTo>
                    <a:pt x="655" y="564"/>
                  </a:lnTo>
                  <a:lnTo>
                    <a:pt x="657" y="564"/>
                  </a:lnTo>
                  <a:lnTo>
                    <a:pt x="657" y="562"/>
                  </a:lnTo>
                  <a:lnTo>
                    <a:pt x="659" y="560"/>
                  </a:lnTo>
                  <a:lnTo>
                    <a:pt x="659" y="562"/>
                  </a:lnTo>
                  <a:lnTo>
                    <a:pt x="659" y="560"/>
                  </a:lnTo>
                  <a:lnTo>
                    <a:pt x="660" y="560"/>
                  </a:lnTo>
                  <a:lnTo>
                    <a:pt x="660" y="560"/>
                  </a:lnTo>
                  <a:lnTo>
                    <a:pt x="662" y="562"/>
                  </a:lnTo>
                  <a:lnTo>
                    <a:pt x="662" y="560"/>
                  </a:lnTo>
                  <a:lnTo>
                    <a:pt x="662" y="558"/>
                  </a:lnTo>
                  <a:lnTo>
                    <a:pt x="662" y="558"/>
                  </a:lnTo>
                  <a:lnTo>
                    <a:pt x="664" y="558"/>
                  </a:lnTo>
                  <a:lnTo>
                    <a:pt x="666" y="558"/>
                  </a:lnTo>
                  <a:lnTo>
                    <a:pt x="666" y="558"/>
                  </a:lnTo>
                  <a:lnTo>
                    <a:pt x="666" y="558"/>
                  </a:lnTo>
                  <a:lnTo>
                    <a:pt x="664" y="557"/>
                  </a:lnTo>
                  <a:lnTo>
                    <a:pt x="664" y="557"/>
                  </a:lnTo>
                  <a:lnTo>
                    <a:pt x="664" y="557"/>
                  </a:lnTo>
                  <a:lnTo>
                    <a:pt x="664" y="555"/>
                  </a:lnTo>
                  <a:lnTo>
                    <a:pt x="664" y="555"/>
                  </a:lnTo>
                  <a:lnTo>
                    <a:pt x="664" y="553"/>
                  </a:lnTo>
                  <a:lnTo>
                    <a:pt x="666" y="553"/>
                  </a:lnTo>
                  <a:lnTo>
                    <a:pt x="668" y="551"/>
                  </a:lnTo>
                  <a:lnTo>
                    <a:pt x="669" y="549"/>
                  </a:lnTo>
                  <a:lnTo>
                    <a:pt x="671" y="549"/>
                  </a:lnTo>
                  <a:lnTo>
                    <a:pt x="673" y="549"/>
                  </a:lnTo>
                  <a:lnTo>
                    <a:pt x="677" y="549"/>
                  </a:lnTo>
                  <a:lnTo>
                    <a:pt x="680" y="551"/>
                  </a:lnTo>
                  <a:lnTo>
                    <a:pt x="682" y="553"/>
                  </a:lnTo>
                  <a:lnTo>
                    <a:pt x="684" y="555"/>
                  </a:lnTo>
                  <a:lnTo>
                    <a:pt x="686" y="557"/>
                  </a:lnTo>
                  <a:lnTo>
                    <a:pt x="686" y="557"/>
                  </a:lnTo>
                  <a:lnTo>
                    <a:pt x="686" y="558"/>
                  </a:lnTo>
                  <a:lnTo>
                    <a:pt x="688" y="558"/>
                  </a:lnTo>
                  <a:lnTo>
                    <a:pt x="689" y="558"/>
                  </a:lnTo>
                  <a:lnTo>
                    <a:pt x="695" y="558"/>
                  </a:lnTo>
                  <a:lnTo>
                    <a:pt x="695" y="558"/>
                  </a:lnTo>
                  <a:lnTo>
                    <a:pt x="695" y="557"/>
                  </a:lnTo>
                  <a:lnTo>
                    <a:pt x="697" y="555"/>
                  </a:lnTo>
                  <a:lnTo>
                    <a:pt x="698" y="555"/>
                  </a:lnTo>
                  <a:lnTo>
                    <a:pt x="698" y="555"/>
                  </a:lnTo>
                  <a:lnTo>
                    <a:pt x="702" y="557"/>
                  </a:lnTo>
                  <a:lnTo>
                    <a:pt x="706" y="558"/>
                  </a:lnTo>
                  <a:lnTo>
                    <a:pt x="707" y="558"/>
                  </a:lnTo>
                  <a:lnTo>
                    <a:pt x="707" y="557"/>
                  </a:lnTo>
                  <a:lnTo>
                    <a:pt x="707" y="557"/>
                  </a:lnTo>
                  <a:lnTo>
                    <a:pt x="707" y="555"/>
                  </a:lnTo>
                  <a:lnTo>
                    <a:pt x="707" y="555"/>
                  </a:lnTo>
                  <a:lnTo>
                    <a:pt x="707" y="555"/>
                  </a:lnTo>
                  <a:lnTo>
                    <a:pt x="713" y="555"/>
                  </a:lnTo>
                  <a:lnTo>
                    <a:pt x="716" y="553"/>
                  </a:lnTo>
                  <a:lnTo>
                    <a:pt x="716" y="553"/>
                  </a:lnTo>
                  <a:lnTo>
                    <a:pt x="716" y="551"/>
                  </a:lnTo>
                  <a:lnTo>
                    <a:pt x="716" y="551"/>
                  </a:lnTo>
                  <a:lnTo>
                    <a:pt x="715" y="549"/>
                  </a:lnTo>
                  <a:lnTo>
                    <a:pt x="715" y="548"/>
                  </a:lnTo>
                  <a:lnTo>
                    <a:pt x="715" y="546"/>
                  </a:lnTo>
                  <a:lnTo>
                    <a:pt x="715" y="542"/>
                  </a:lnTo>
                  <a:lnTo>
                    <a:pt x="716" y="540"/>
                  </a:lnTo>
                  <a:lnTo>
                    <a:pt x="716" y="539"/>
                  </a:lnTo>
                  <a:lnTo>
                    <a:pt x="716" y="539"/>
                  </a:lnTo>
                  <a:lnTo>
                    <a:pt x="716" y="539"/>
                  </a:lnTo>
                  <a:lnTo>
                    <a:pt x="718" y="539"/>
                  </a:lnTo>
                  <a:lnTo>
                    <a:pt x="718" y="537"/>
                  </a:lnTo>
                  <a:lnTo>
                    <a:pt x="720" y="537"/>
                  </a:lnTo>
                  <a:lnTo>
                    <a:pt x="718" y="537"/>
                  </a:lnTo>
                  <a:lnTo>
                    <a:pt x="718" y="537"/>
                  </a:lnTo>
                  <a:lnTo>
                    <a:pt x="718" y="537"/>
                  </a:lnTo>
                  <a:lnTo>
                    <a:pt x="718" y="535"/>
                  </a:lnTo>
                  <a:lnTo>
                    <a:pt x="720" y="533"/>
                  </a:lnTo>
                  <a:lnTo>
                    <a:pt x="720" y="533"/>
                  </a:lnTo>
                  <a:lnTo>
                    <a:pt x="722" y="533"/>
                  </a:lnTo>
                  <a:lnTo>
                    <a:pt x="724" y="535"/>
                  </a:lnTo>
                  <a:lnTo>
                    <a:pt x="724" y="535"/>
                  </a:lnTo>
                  <a:lnTo>
                    <a:pt x="724" y="535"/>
                  </a:lnTo>
                  <a:lnTo>
                    <a:pt x="725" y="535"/>
                  </a:lnTo>
                  <a:lnTo>
                    <a:pt x="725" y="533"/>
                  </a:lnTo>
                  <a:lnTo>
                    <a:pt x="725" y="531"/>
                  </a:lnTo>
                  <a:lnTo>
                    <a:pt x="725" y="530"/>
                  </a:lnTo>
                  <a:lnTo>
                    <a:pt x="724" y="528"/>
                  </a:lnTo>
                  <a:lnTo>
                    <a:pt x="724" y="528"/>
                  </a:lnTo>
                  <a:lnTo>
                    <a:pt x="722" y="528"/>
                  </a:lnTo>
                  <a:lnTo>
                    <a:pt x="722" y="530"/>
                  </a:lnTo>
                  <a:lnTo>
                    <a:pt x="722" y="530"/>
                  </a:lnTo>
                  <a:lnTo>
                    <a:pt x="720" y="528"/>
                  </a:lnTo>
                  <a:lnTo>
                    <a:pt x="718" y="528"/>
                  </a:lnTo>
                  <a:lnTo>
                    <a:pt x="718" y="526"/>
                  </a:lnTo>
                  <a:lnTo>
                    <a:pt x="715" y="528"/>
                  </a:lnTo>
                  <a:lnTo>
                    <a:pt x="715" y="528"/>
                  </a:lnTo>
                  <a:lnTo>
                    <a:pt x="713" y="526"/>
                  </a:lnTo>
                  <a:lnTo>
                    <a:pt x="711" y="526"/>
                  </a:lnTo>
                  <a:lnTo>
                    <a:pt x="711" y="526"/>
                  </a:lnTo>
                  <a:lnTo>
                    <a:pt x="711" y="526"/>
                  </a:lnTo>
                  <a:lnTo>
                    <a:pt x="709" y="528"/>
                  </a:lnTo>
                  <a:lnTo>
                    <a:pt x="709" y="528"/>
                  </a:lnTo>
                  <a:lnTo>
                    <a:pt x="709" y="526"/>
                  </a:lnTo>
                  <a:lnTo>
                    <a:pt x="709" y="524"/>
                  </a:lnTo>
                  <a:lnTo>
                    <a:pt x="709" y="524"/>
                  </a:lnTo>
                  <a:lnTo>
                    <a:pt x="707" y="526"/>
                  </a:lnTo>
                  <a:lnTo>
                    <a:pt x="707" y="526"/>
                  </a:lnTo>
                  <a:lnTo>
                    <a:pt x="702" y="526"/>
                  </a:lnTo>
                  <a:lnTo>
                    <a:pt x="700" y="526"/>
                  </a:lnTo>
                  <a:lnTo>
                    <a:pt x="698" y="528"/>
                  </a:lnTo>
                  <a:lnTo>
                    <a:pt x="698" y="528"/>
                  </a:lnTo>
                  <a:lnTo>
                    <a:pt x="698" y="528"/>
                  </a:lnTo>
                  <a:lnTo>
                    <a:pt x="697" y="530"/>
                  </a:lnTo>
                  <a:lnTo>
                    <a:pt x="695" y="533"/>
                  </a:lnTo>
                  <a:lnTo>
                    <a:pt x="693" y="533"/>
                  </a:lnTo>
                  <a:lnTo>
                    <a:pt x="691" y="531"/>
                  </a:lnTo>
                  <a:lnTo>
                    <a:pt x="688" y="530"/>
                  </a:lnTo>
                  <a:lnTo>
                    <a:pt x="688" y="530"/>
                  </a:lnTo>
                  <a:lnTo>
                    <a:pt x="688" y="528"/>
                  </a:lnTo>
                  <a:lnTo>
                    <a:pt x="688" y="528"/>
                  </a:lnTo>
                  <a:lnTo>
                    <a:pt x="688" y="526"/>
                  </a:lnTo>
                  <a:lnTo>
                    <a:pt x="688" y="526"/>
                  </a:lnTo>
                  <a:lnTo>
                    <a:pt x="686" y="524"/>
                  </a:lnTo>
                  <a:lnTo>
                    <a:pt x="686" y="526"/>
                  </a:lnTo>
                  <a:lnTo>
                    <a:pt x="684" y="526"/>
                  </a:lnTo>
                  <a:lnTo>
                    <a:pt x="684" y="528"/>
                  </a:lnTo>
                  <a:lnTo>
                    <a:pt x="684" y="530"/>
                  </a:lnTo>
                  <a:lnTo>
                    <a:pt x="684" y="530"/>
                  </a:lnTo>
                  <a:lnTo>
                    <a:pt x="682" y="531"/>
                  </a:lnTo>
                  <a:lnTo>
                    <a:pt x="682" y="531"/>
                  </a:lnTo>
                  <a:lnTo>
                    <a:pt x="682" y="531"/>
                  </a:lnTo>
                  <a:lnTo>
                    <a:pt x="682" y="531"/>
                  </a:lnTo>
                  <a:lnTo>
                    <a:pt x="682" y="531"/>
                  </a:lnTo>
                  <a:lnTo>
                    <a:pt x="682" y="533"/>
                  </a:lnTo>
                  <a:lnTo>
                    <a:pt x="680" y="535"/>
                  </a:lnTo>
                  <a:lnTo>
                    <a:pt x="679" y="535"/>
                  </a:lnTo>
                  <a:lnTo>
                    <a:pt x="669" y="537"/>
                  </a:lnTo>
                  <a:lnTo>
                    <a:pt x="668" y="537"/>
                  </a:lnTo>
                  <a:lnTo>
                    <a:pt x="660" y="531"/>
                  </a:lnTo>
                  <a:lnTo>
                    <a:pt x="646" y="511"/>
                  </a:lnTo>
                  <a:lnTo>
                    <a:pt x="642" y="502"/>
                  </a:lnTo>
                  <a:lnTo>
                    <a:pt x="639" y="495"/>
                  </a:lnTo>
                  <a:lnTo>
                    <a:pt x="639" y="493"/>
                  </a:lnTo>
                  <a:lnTo>
                    <a:pt x="639" y="493"/>
                  </a:lnTo>
                  <a:lnTo>
                    <a:pt x="639" y="492"/>
                  </a:lnTo>
                  <a:lnTo>
                    <a:pt x="637" y="484"/>
                  </a:lnTo>
                  <a:lnTo>
                    <a:pt x="635" y="483"/>
                  </a:lnTo>
                  <a:lnTo>
                    <a:pt x="635" y="481"/>
                  </a:lnTo>
                  <a:lnTo>
                    <a:pt x="635" y="477"/>
                  </a:lnTo>
                  <a:lnTo>
                    <a:pt x="635" y="475"/>
                  </a:lnTo>
                  <a:lnTo>
                    <a:pt x="635" y="475"/>
                  </a:lnTo>
                  <a:lnTo>
                    <a:pt x="635" y="474"/>
                  </a:lnTo>
                  <a:lnTo>
                    <a:pt x="635" y="474"/>
                  </a:lnTo>
                  <a:lnTo>
                    <a:pt x="635" y="472"/>
                  </a:lnTo>
                  <a:lnTo>
                    <a:pt x="637" y="472"/>
                  </a:lnTo>
                  <a:lnTo>
                    <a:pt x="639" y="472"/>
                  </a:lnTo>
                  <a:lnTo>
                    <a:pt x="639" y="470"/>
                  </a:lnTo>
                  <a:lnTo>
                    <a:pt x="639" y="470"/>
                  </a:lnTo>
                  <a:lnTo>
                    <a:pt x="639" y="468"/>
                  </a:lnTo>
                  <a:lnTo>
                    <a:pt x="639" y="468"/>
                  </a:lnTo>
                  <a:lnTo>
                    <a:pt x="639" y="468"/>
                  </a:lnTo>
                  <a:lnTo>
                    <a:pt x="639" y="470"/>
                  </a:lnTo>
                  <a:lnTo>
                    <a:pt x="641" y="470"/>
                  </a:lnTo>
                  <a:lnTo>
                    <a:pt x="641" y="470"/>
                  </a:lnTo>
                  <a:lnTo>
                    <a:pt x="641" y="470"/>
                  </a:lnTo>
                  <a:lnTo>
                    <a:pt x="646" y="468"/>
                  </a:lnTo>
                  <a:lnTo>
                    <a:pt x="648" y="468"/>
                  </a:lnTo>
                  <a:lnTo>
                    <a:pt x="650" y="466"/>
                  </a:lnTo>
                  <a:lnTo>
                    <a:pt x="650" y="466"/>
                  </a:lnTo>
                  <a:lnTo>
                    <a:pt x="653" y="461"/>
                  </a:lnTo>
                  <a:lnTo>
                    <a:pt x="655" y="459"/>
                  </a:lnTo>
                  <a:lnTo>
                    <a:pt x="655" y="459"/>
                  </a:lnTo>
                  <a:lnTo>
                    <a:pt x="655" y="457"/>
                  </a:lnTo>
                  <a:lnTo>
                    <a:pt x="655" y="457"/>
                  </a:lnTo>
                  <a:lnTo>
                    <a:pt x="655" y="456"/>
                  </a:lnTo>
                  <a:lnTo>
                    <a:pt x="655" y="456"/>
                  </a:lnTo>
                  <a:lnTo>
                    <a:pt x="653" y="454"/>
                  </a:lnTo>
                  <a:lnTo>
                    <a:pt x="653" y="454"/>
                  </a:lnTo>
                  <a:lnTo>
                    <a:pt x="653" y="452"/>
                  </a:lnTo>
                  <a:lnTo>
                    <a:pt x="653" y="450"/>
                  </a:lnTo>
                  <a:lnTo>
                    <a:pt x="653" y="452"/>
                  </a:lnTo>
                  <a:lnTo>
                    <a:pt x="655" y="452"/>
                  </a:lnTo>
                  <a:lnTo>
                    <a:pt x="655" y="454"/>
                  </a:lnTo>
                  <a:lnTo>
                    <a:pt x="655" y="454"/>
                  </a:lnTo>
                  <a:lnTo>
                    <a:pt x="657" y="456"/>
                  </a:lnTo>
                  <a:lnTo>
                    <a:pt x="657" y="456"/>
                  </a:lnTo>
                  <a:lnTo>
                    <a:pt x="657" y="456"/>
                  </a:lnTo>
                  <a:lnTo>
                    <a:pt x="659" y="456"/>
                  </a:lnTo>
                  <a:lnTo>
                    <a:pt x="659" y="456"/>
                  </a:lnTo>
                  <a:lnTo>
                    <a:pt x="657" y="459"/>
                  </a:lnTo>
                  <a:lnTo>
                    <a:pt x="657" y="461"/>
                  </a:lnTo>
                  <a:lnTo>
                    <a:pt x="657" y="463"/>
                  </a:lnTo>
                  <a:lnTo>
                    <a:pt x="659" y="463"/>
                  </a:lnTo>
                  <a:lnTo>
                    <a:pt x="660" y="463"/>
                  </a:lnTo>
                  <a:lnTo>
                    <a:pt x="660" y="463"/>
                  </a:lnTo>
                  <a:lnTo>
                    <a:pt x="662" y="461"/>
                  </a:lnTo>
                  <a:lnTo>
                    <a:pt x="662" y="463"/>
                  </a:lnTo>
                  <a:lnTo>
                    <a:pt x="660" y="465"/>
                  </a:lnTo>
                  <a:lnTo>
                    <a:pt x="659" y="466"/>
                  </a:lnTo>
                  <a:lnTo>
                    <a:pt x="657" y="468"/>
                  </a:lnTo>
                  <a:lnTo>
                    <a:pt x="657" y="470"/>
                  </a:lnTo>
                  <a:lnTo>
                    <a:pt x="655" y="472"/>
                  </a:lnTo>
                  <a:lnTo>
                    <a:pt x="655" y="474"/>
                  </a:lnTo>
                  <a:lnTo>
                    <a:pt x="651" y="475"/>
                  </a:lnTo>
                  <a:lnTo>
                    <a:pt x="646" y="477"/>
                  </a:lnTo>
                  <a:lnTo>
                    <a:pt x="646" y="477"/>
                  </a:lnTo>
                  <a:lnTo>
                    <a:pt x="646" y="477"/>
                  </a:lnTo>
                  <a:lnTo>
                    <a:pt x="646" y="479"/>
                  </a:lnTo>
                  <a:lnTo>
                    <a:pt x="644" y="481"/>
                  </a:lnTo>
                  <a:lnTo>
                    <a:pt x="644" y="481"/>
                  </a:lnTo>
                  <a:lnTo>
                    <a:pt x="644" y="483"/>
                  </a:lnTo>
                  <a:lnTo>
                    <a:pt x="646" y="481"/>
                  </a:lnTo>
                  <a:lnTo>
                    <a:pt x="648" y="481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3" y="477"/>
                  </a:lnTo>
                  <a:lnTo>
                    <a:pt x="653" y="477"/>
                  </a:lnTo>
                  <a:lnTo>
                    <a:pt x="655" y="475"/>
                  </a:lnTo>
                  <a:lnTo>
                    <a:pt x="657" y="470"/>
                  </a:lnTo>
                  <a:lnTo>
                    <a:pt x="659" y="468"/>
                  </a:lnTo>
                  <a:lnTo>
                    <a:pt x="659" y="468"/>
                  </a:lnTo>
                  <a:lnTo>
                    <a:pt x="664" y="461"/>
                  </a:lnTo>
                  <a:lnTo>
                    <a:pt x="664" y="459"/>
                  </a:lnTo>
                  <a:lnTo>
                    <a:pt x="666" y="459"/>
                  </a:lnTo>
                  <a:lnTo>
                    <a:pt x="666" y="457"/>
                  </a:lnTo>
                  <a:lnTo>
                    <a:pt x="668" y="456"/>
                  </a:lnTo>
                  <a:lnTo>
                    <a:pt x="669" y="456"/>
                  </a:lnTo>
                  <a:lnTo>
                    <a:pt x="669" y="454"/>
                  </a:lnTo>
                  <a:lnTo>
                    <a:pt x="675" y="452"/>
                  </a:lnTo>
                  <a:lnTo>
                    <a:pt x="677" y="450"/>
                  </a:lnTo>
                  <a:lnTo>
                    <a:pt x="682" y="445"/>
                  </a:lnTo>
                  <a:lnTo>
                    <a:pt x="682" y="443"/>
                  </a:lnTo>
                  <a:lnTo>
                    <a:pt x="686" y="443"/>
                  </a:lnTo>
                  <a:lnTo>
                    <a:pt x="689" y="439"/>
                  </a:lnTo>
                  <a:lnTo>
                    <a:pt x="691" y="439"/>
                  </a:lnTo>
                  <a:lnTo>
                    <a:pt x="697" y="439"/>
                  </a:lnTo>
                  <a:lnTo>
                    <a:pt x="700" y="439"/>
                  </a:lnTo>
                  <a:lnTo>
                    <a:pt x="704" y="439"/>
                  </a:lnTo>
                  <a:lnTo>
                    <a:pt x="704" y="439"/>
                  </a:lnTo>
                  <a:lnTo>
                    <a:pt x="706" y="439"/>
                  </a:lnTo>
                  <a:lnTo>
                    <a:pt x="706" y="439"/>
                  </a:lnTo>
                  <a:lnTo>
                    <a:pt x="706" y="439"/>
                  </a:lnTo>
                  <a:lnTo>
                    <a:pt x="706" y="441"/>
                  </a:lnTo>
                  <a:lnTo>
                    <a:pt x="706" y="441"/>
                  </a:lnTo>
                  <a:lnTo>
                    <a:pt x="707" y="441"/>
                  </a:lnTo>
                  <a:lnTo>
                    <a:pt x="707" y="441"/>
                  </a:lnTo>
                  <a:lnTo>
                    <a:pt x="707" y="443"/>
                  </a:lnTo>
                  <a:lnTo>
                    <a:pt x="706" y="443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7" y="441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7" y="443"/>
                  </a:lnTo>
                  <a:lnTo>
                    <a:pt x="709" y="441"/>
                  </a:lnTo>
                  <a:lnTo>
                    <a:pt x="709" y="439"/>
                  </a:lnTo>
                  <a:lnTo>
                    <a:pt x="713" y="436"/>
                  </a:lnTo>
                  <a:lnTo>
                    <a:pt x="715" y="436"/>
                  </a:lnTo>
                  <a:lnTo>
                    <a:pt x="716" y="434"/>
                  </a:lnTo>
                  <a:lnTo>
                    <a:pt x="718" y="434"/>
                  </a:lnTo>
                  <a:lnTo>
                    <a:pt x="720" y="432"/>
                  </a:lnTo>
                  <a:lnTo>
                    <a:pt x="724" y="432"/>
                  </a:lnTo>
                  <a:lnTo>
                    <a:pt x="724" y="432"/>
                  </a:lnTo>
                  <a:lnTo>
                    <a:pt x="725" y="432"/>
                  </a:lnTo>
                  <a:lnTo>
                    <a:pt x="725" y="430"/>
                  </a:lnTo>
                  <a:lnTo>
                    <a:pt x="725" y="430"/>
                  </a:lnTo>
                  <a:lnTo>
                    <a:pt x="727" y="432"/>
                  </a:lnTo>
                  <a:lnTo>
                    <a:pt x="729" y="432"/>
                  </a:lnTo>
                  <a:lnTo>
                    <a:pt x="729" y="430"/>
                  </a:lnTo>
                  <a:lnTo>
                    <a:pt x="729" y="432"/>
                  </a:lnTo>
                  <a:lnTo>
                    <a:pt x="731" y="432"/>
                  </a:lnTo>
                  <a:lnTo>
                    <a:pt x="733" y="432"/>
                  </a:lnTo>
                  <a:lnTo>
                    <a:pt x="734" y="434"/>
                  </a:lnTo>
                  <a:lnTo>
                    <a:pt x="734" y="434"/>
                  </a:lnTo>
                  <a:lnTo>
                    <a:pt x="734" y="436"/>
                  </a:lnTo>
                  <a:lnTo>
                    <a:pt x="734" y="439"/>
                  </a:lnTo>
                  <a:lnTo>
                    <a:pt x="733" y="441"/>
                  </a:lnTo>
                  <a:lnTo>
                    <a:pt x="733" y="441"/>
                  </a:lnTo>
                  <a:lnTo>
                    <a:pt x="731" y="441"/>
                  </a:lnTo>
                  <a:lnTo>
                    <a:pt x="731" y="441"/>
                  </a:lnTo>
                  <a:lnTo>
                    <a:pt x="733" y="441"/>
                  </a:lnTo>
                  <a:lnTo>
                    <a:pt x="734" y="439"/>
                  </a:lnTo>
                  <a:lnTo>
                    <a:pt x="734" y="437"/>
                  </a:lnTo>
                  <a:lnTo>
                    <a:pt x="734" y="436"/>
                  </a:lnTo>
                  <a:lnTo>
                    <a:pt x="736" y="434"/>
                  </a:lnTo>
                  <a:lnTo>
                    <a:pt x="736" y="432"/>
                  </a:lnTo>
                  <a:lnTo>
                    <a:pt x="738" y="430"/>
                  </a:lnTo>
                  <a:lnTo>
                    <a:pt x="736" y="428"/>
                  </a:lnTo>
                  <a:lnTo>
                    <a:pt x="738" y="428"/>
                  </a:lnTo>
                  <a:lnTo>
                    <a:pt x="742" y="427"/>
                  </a:lnTo>
                  <a:lnTo>
                    <a:pt x="744" y="427"/>
                  </a:lnTo>
                  <a:lnTo>
                    <a:pt x="744" y="425"/>
                  </a:lnTo>
                  <a:lnTo>
                    <a:pt x="745" y="425"/>
                  </a:lnTo>
                  <a:lnTo>
                    <a:pt x="745" y="423"/>
                  </a:lnTo>
                  <a:lnTo>
                    <a:pt x="747" y="423"/>
                  </a:lnTo>
                  <a:lnTo>
                    <a:pt x="753" y="421"/>
                  </a:lnTo>
                  <a:lnTo>
                    <a:pt x="754" y="419"/>
                  </a:lnTo>
                  <a:lnTo>
                    <a:pt x="756" y="419"/>
                  </a:lnTo>
                  <a:lnTo>
                    <a:pt x="758" y="419"/>
                  </a:lnTo>
                  <a:lnTo>
                    <a:pt x="760" y="421"/>
                  </a:lnTo>
                  <a:lnTo>
                    <a:pt x="760" y="421"/>
                  </a:lnTo>
                  <a:lnTo>
                    <a:pt x="760" y="423"/>
                  </a:lnTo>
                  <a:lnTo>
                    <a:pt x="762" y="423"/>
                  </a:lnTo>
                  <a:lnTo>
                    <a:pt x="762" y="421"/>
                  </a:lnTo>
                  <a:lnTo>
                    <a:pt x="763" y="419"/>
                  </a:lnTo>
                  <a:lnTo>
                    <a:pt x="769" y="412"/>
                  </a:lnTo>
                  <a:lnTo>
                    <a:pt x="772" y="409"/>
                  </a:lnTo>
                  <a:lnTo>
                    <a:pt x="774" y="409"/>
                  </a:lnTo>
                  <a:lnTo>
                    <a:pt x="780" y="409"/>
                  </a:lnTo>
                  <a:lnTo>
                    <a:pt x="781" y="409"/>
                  </a:lnTo>
                  <a:lnTo>
                    <a:pt x="787" y="407"/>
                  </a:lnTo>
                  <a:lnTo>
                    <a:pt x="792" y="409"/>
                  </a:lnTo>
                  <a:lnTo>
                    <a:pt x="792" y="407"/>
                  </a:lnTo>
                  <a:lnTo>
                    <a:pt x="794" y="409"/>
                  </a:lnTo>
                  <a:lnTo>
                    <a:pt x="796" y="409"/>
                  </a:lnTo>
                  <a:lnTo>
                    <a:pt x="796" y="409"/>
                  </a:lnTo>
                  <a:lnTo>
                    <a:pt x="798" y="409"/>
                  </a:lnTo>
                  <a:lnTo>
                    <a:pt x="798" y="407"/>
                  </a:lnTo>
                  <a:lnTo>
                    <a:pt x="798" y="407"/>
                  </a:lnTo>
                  <a:lnTo>
                    <a:pt x="800" y="409"/>
                  </a:lnTo>
                  <a:lnTo>
                    <a:pt x="801" y="409"/>
                  </a:lnTo>
                  <a:lnTo>
                    <a:pt x="801" y="410"/>
                  </a:lnTo>
                  <a:lnTo>
                    <a:pt x="800" y="412"/>
                  </a:lnTo>
                  <a:lnTo>
                    <a:pt x="801" y="412"/>
                  </a:lnTo>
                  <a:lnTo>
                    <a:pt x="805" y="409"/>
                  </a:lnTo>
                  <a:lnTo>
                    <a:pt x="805" y="407"/>
                  </a:lnTo>
                  <a:lnTo>
                    <a:pt x="805" y="407"/>
                  </a:lnTo>
                  <a:lnTo>
                    <a:pt x="805" y="407"/>
                  </a:lnTo>
                  <a:lnTo>
                    <a:pt x="805" y="405"/>
                  </a:lnTo>
                  <a:lnTo>
                    <a:pt x="805" y="403"/>
                  </a:lnTo>
                  <a:lnTo>
                    <a:pt x="805" y="401"/>
                  </a:lnTo>
                  <a:lnTo>
                    <a:pt x="805" y="400"/>
                  </a:lnTo>
                  <a:lnTo>
                    <a:pt x="807" y="398"/>
                  </a:lnTo>
                  <a:lnTo>
                    <a:pt x="809" y="398"/>
                  </a:lnTo>
                  <a:lnTo>
                    <a:pt x="809" y="398"/>
                  </a:lnTo>
                  <a:lnTo>
                    <a:pt x="809" y="396"/>
                  </a:lnTo>
                  <a:lnTo>
                    <a:pt x="810" y="394"/>
                  </a:lnTo>
                  <a:lnTo>
                    <a:pt x="809" y="394"/>
                  </a:lnTo>
                  <a:lnTo>
                    <a:pt x="809" y="394"/>
                  </a:lnTo>
                  <a:lnTo>
                    <a:pt x="807" y="392"/>
                  </a:lnTo>
                  <a:lnTo>
                    <a:pt x="805" y="394"/>
                  </a:lnTo>
                  <a:lnTo>
                    <a:pt x="805" y="394"/>
                  </a:lnTo>
                  <a:lnTo>
                    <a:pt x="803" y="392"/>
                  </a:lnTo>
                  <a:lnTo>
                    <a:pt x="803" y="390"/>
                  </a:lnTo>
                  <a:lnTo>
                    <a:pt x="805" y="390"/>
                  </a:lnTo>
                  <a:lnTo>
                    <a:pt x="807" y="389"/>
                  </a:lnTo>
                  <a:lnTo>
                    <a:pt x="807" y="385"/>
                  </a:lnTo>
                  <a:lnTo>
                    <a:pt x="809" y="383"/>
                  </a:lnTo>
                  <a:lnTo>
                    <a:pt x="807" y="378"/>
                  </a:lnTo>
                  <a:lnTo>
                    <a:pt x="809" y="376"/>
                  </a:lnTo>
                  <a:lnTo>
                    <a:pt x="809" y="372"/>
                  </a:lnTo>
                  <a:lnTo>
                    <a:pt x="810" y="371"/>
                  </a:lnTo>
                  <a:lnTo>
                    <a:pt x="812" y="371"/>
                  </a:lnTo>
                  <a:lnTo>
                    <a:pt x="823" y="369"/>
                  </a:lnTo>
                  <a:lnTo>
                    <a:pt x="823" y="369"/>
                  </a:lnTo>
                  <a:lnTo>
                    <a:pt x="825" y="367"/>
                  </a:lnTo>
                  <a:lnTo>
                    <a:pt x="827" y="365"/>
                  </a:lnTo>
                  <a:lnTo>
                    <a:pt x="828" y="365"/>
                  </a:lnTo>
                  <a:lnTo>
                    <a:pt x="828" y="363"/>
                  </a:lnTo>
                  <a:lnTo>
                    <a:pt x="830" y="365"/>
                  </a:lnTo>
                  <a:lnTo>
                    <a:pt x="832" y="365"/>
                  </a:lnTo>
                  <a:lnTo>
                    <a:pt x="832" y="363"/>
                  </a:lnTo>
                  <a:lnTo>
                    <a:pt x="832" y="360"/>
                  </a:lnTo>
                  <a:lnTo>
                    <a:pt x="834" y="358"/>
                  </a:lnTo>
                  <a:lnTo>
                    <a:pt x="834" y="354"/>
                  </a:lnTo>
                  <a:lnTo>
                    <a:pt x="836" y="353"/>
                  </a:lnTo>
                  <a:lnTo>
                    <a:pt x="839" y="351"/>
                  </a:lnTo>
                  <a:lnTo>
                    <a:pt x="846" y="351"/>
                  </a:lnTo>
                  <a:lnTo>
                    <a:pt x="846" y="351"/>
                  </a:lnTo>
                  <a:lnTo>
                    <a:pt x="848" y="353"/>
                  </a:lnTo>
                  <a:lnTo>
                    <a:pt x="850" y="354"/>
                  </a:lnTo>
                  <a:lnTo>
                    <a:pt x="852" y="353"/>
                  </a:lnTo>
                  <a:lnTo>
                    <a:pt x="854" y="353"/>
                  </a:lnTo>
                  <a:lnTo>
                    <a:pt x="861" y="353"/>
                  </a:lnTo>
                  <a:lnTo>
                    <a:pt x="861" y="353"/>
                  </a:lnTo>
                  <a:lnTo>
                    <a:pt x="863" y="354"/>
                  </a:lnTo>
                  <a:lnTo>
                    <a:pt x="865" y="354"/>
                  </a:lnTo>
                  <a:lnTo>
                    <a:pt x="865" y="354"/>
                  </a:lnTo>
                  <a:lnTo>
                    <a:pt x="868" y="353"/>
                  </a:lnTo>
                  <a:lnTo>
                    <a:pt x="868" y="354"/>
                  </a:lnTo>
                  <a:lnTo>
                    <a:pt x="870" y="354"/>
                  </a:lnTo>
                  <a:lnTo>
                    <a:pt x="874" y="353"/>
                  </a:lnTo>
                  <a:lnTo>
                    <a:pt x="875" y="353"/>
                  </a:lnTo>
                  <a:lnTo>
                    <a:pt x="879" y="354"/>
                  </a:lnTo>
                  <a:lnTo>
                    <a:pt x="881" y="354"/>
                  </a:lnTo>
                  <a:lnTo>
                    <a:pt x="883" y="353"/>
                  </a:lnTo>
                  <a:lnTo>
                    <a:pt x="883" y="351"/>
                  </a:lnTo>
                  <a:lnTo>
                    <a:pt x="884" y="349"/>
                  </a:lnTo>
                  <a:lnTo>
                    <a:pt x="884" y="349"/>
                  </a:lnTo>
                  <a:lnTo>
                    <a:pt x="883" y="347"/>
                  </a:lnTo>
                  <a:lnTo>
                    <a:pt x="883" y="347"/>
                  </a:lnTo>
                  <a:lnTo>
                    <a:pt x="884" y="347"/>
                  </a:lnTo>
                  <a:lnTo>
                    <a:pt x="884" y="345"/>
                  </a:lnTo>
                  <a:lnTo>
                    <a:pt x="884" y="345"/>
                  </a:lnTo>
                  <a:lnTo>
                    <a:pt x="884" y="344"/>
                  </a:lnTo>
                  <a:lnTo>
                    <a:pt x="884" y="344"/>
                  </a:lnTo>
                  <a:lnTo>
                    <a:pt x="884" y="342"/>
                  </a:lnTo>
                  <a:lnTo>
                    <a:pt x="883" y="340"/>
                  </a:lnTo>
                  <a:lnTo>
                    <a:pt x="883" y="340"/>
                  </a:lnTo>
                  <a:lnTo>
                    <a:pt x="883" y="340"/>
                  </a:lnTo>
                  <a:lnTo>
                    <a:pt x="883" y="338"/>
                  </a:lnTo>
                  <a:lnTo>
                    <a:pt x="884" y="338"/>
                  </a:lnTo>
                  <a:lnTo>
                    <a:pt x="886" y="338"/>
                  </a:lnTo>
                  <a:lnTo>
                    <a:pt x="886" y="338"/>
                  </a:lnTo>
                  <a:lnTo>
                    <a:pt x="886" y="338"/>
                  </a:lnTo>
                  <a:lnTo>
                    <a:pt x="886" y="338"/>
                  </a:lnTo>
                  <a:lnTo>
                    <a:pt x="886" y="334"/>
                  </a:lnTo>
                  <a:lnTo>
                    <a:pt x="886" y="333"/>
                  </a:lnTo>
                  <a:lnTo>
                    <a:pt x="886" y="333"/>
                  </a:lnTo>
                  <a:lnTo>
                    <a:pt x="890" y="327"/>
                  </a:lnTo>
                  <a:lnTo>
                    <a:pt x="890" y="325"/>
                  </a:lnTo>
                  <a:lnTo>
                    <a:pt x="893" y="324"/>
                  </a:lnTo>
                  <a:lnTo>
                    <a:pt x="893" y="324"/>
                  </a:lnTo>
                  <a:lnTo>
                    <a:pt x="893" y="322"/>
                  </a:lnTo>
                  <a:lnTo>
                    <a:pt x="893" y="320"/>
                  </a:lnTo>
                  <a:lnTo>
                    <a:pt x="893" y="318"/>
                  </a:lnTo>
                  <a:lnTo>
                    <a:pt x="892" y="318"/>
                  </a:lnTo>
                  <a:lnTo>
                    <a:pt x="890" y="320"/>
                  </a:lnTo>
                  <a:lnTo>
                    <a:pt x="888" y="320"/>
                  </a:lnTo>
                  <a:lnTo>
                    <a:pt x="886" y="318"/>
                  </a:lnTo>
                  <a:lnTo>
                    <a:pt x="888" y="315"/>
                  </a:lnTo>
                  <a:lnTo>
                    <a:pt x="890" y="313"/>
                  </a:lnTo>
                  <a:lnTo>
                    <a:pt x="892" y="313"/>
                  </a:lnTo>
                  <a:lnTo>
                    <a:pt x="890" y="313"/>
                  </a:lnTo>
                  <a:lnTo>
                    <a:pt x="890" y="311"/>
                  </a:lnTo>
                  <a:lnTo>
                    <a:pt x="890" y="309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6" y="304"/>
                  </a:lnTo>
                  <a:lnTo>
                    <a:pt x="886" y="304"/>
                  </a:lnTo>
                  <a:lnTo>
                    <a:pt x="886" y="304"/>
                  </a:lnTo>
                  <a:lnTo>
                    <a:pt x="888" y="304"/>
                  </a:lnTo>
                  <a:lnTo>
                    <a:pt x="888" y="304"/>
                  </a:lnTo>
                  <a:lnTo>
                    <a:pt x="888" y="302"/>
                  </a:lnTo>
                  <a:lnTo>
                    <a:pt x="888" y="302"/>
                  </a:lnTo>
                  <a:lnTo>
                    <a:pt x="888" y="302"/>
                  </a:lnTo>
                  <a:lnTo>
                    <a:pt x="888" y="302"/>
                  </a:lnTo>
                  <a:lnTo>
                    <a:pt x="888" y="300"/>
                  </a:lnTo>
                  <a:lnTo>
                    <a:pt x="888" y="298"/>
                  </a:lnTo>
                  <a:lnTo>
                    <a:pt x="886" y="298"/>
                  </a:lnTo>
                  <a:lnTo>
                    <a:pt x="884" y="297"/>
                  </a:lnTo>
                  <a:lnTo>
                    <a:pt x="879" y="297"/>
                  </a:lnTo>
                  <a:lnTo>
                    <a:pt x="877" y="297"/>
                  </a:lnTo>
                  <a:lnTo>
                    <a:pt x="875" y="297"/>
                  </a:lnTo>
                  <a:lnTo>
                    <a:pt x="877" y="295"/>
                  </a:lnTo>
                  <a:lnTo>
                    <a:pt x="879" y="284"/>
                  </a:lnTo>
                  <a:lnTo>
                    <a:pt x="881" y="284"/>
                  </a:lnTo>
                  <a:lnTo>
                    <a:pt x="881" y="284"/>
                  </a:lnTo>
                  <a:lnTo>
                    <a:pt x="883" y="282"/>
                  </a:lnTo>
                  <a:lnTo>
                    <a:pt x="883" y="282"/>
                  </a:lnTo>
                  <a:lnTo>
                    <a:pt x="883" y="280"/>
                  </a:lnTo>
                  <a:lnTo>
                    <a:pt x="884" y="280"/>
                  </a:lnTo>
                  <a:lnTo>
                    <a:pt x="884" y="280"/>
                  </a:lnTo>
                  <a:lnTo>
                    <a:pt x="886" y="280"/>
                  </a:lnTo>
                  <a:lnTo>
                    <a:pt x="892" y="282"/>
                  </a:lnTo>
                  <a:lnTo>
                    <a:pt x="893" y="282"/>
                  </a:lnTo>
                  <a:lnTo>
                    <a:pt x="895" y="280"/>
                  </a:lnTo>
                  <a:lnTo>
                    <a:pt x="897" y="278"/>
                  </a:lnTo>
                  <a:lnTo>
                    <a:pt x="897" y="277"/>
                  </a:lnTo>
                  <a:lnTo>
                    <a:pt x="897" y="275"/>
                  </a:lnTo>
                  <a:lnTo>
                    <a:pt x="897" y="275"/>
                  </a:lnTo>
                  <a:lnTo>
                    <a:pt x="895" y="273"/>
                  </a:lnTo>
                  <a:lnTo>
                    <a:pt x="893" y="275"/>
                  </a:lnTo>
                  <a:lnTo>
                    <a:pt x="893" y="277"/>
                  </a:lnTo>
                  <a:lnTo>
                    <a:pt x="892" y="277"/>
                  </a:lnTo>
                  <a:lnTo>
                    <a:pt x="892" y="277"/>
                  </a:lnTo>
                  <a:lnTo>
                    <a:pt x="890" y="275"/>
                  </a:lnTo>
                  <a:lnTo>
                    <a:pt x="890" y="275"/>
                  </a:lnTo>
                  <a:lnTo>
                    <a:pt x="890" y="275"/>
                  </a:lnTo>
                  <a:lnTo>
                    <a:pt x="888" y="275"/>
                  </a:lnTo>
                  <a:lnTo>
                    <a:pt x="884" y="273"/>
                  </a:lnTo>
                  <a:lnTo>
                    <a:pt x="883" y="273"/>
                  </a:lnTo>
                  <a:lnTo>
                    <a:pt x="883" y="273"/>
                  </a:lnTo>
                  <a:lnTo>
                    <a:pt x="881" y="271"/>
                  </a:lnTo>
                  <a:lnTo>
                    <a:pt x="881" y="269"/>
                  </a:lnTo>
                  <a:lnTo>
                    <a:pt x="881" y="269"/>
                  </a:lnTo>
                  <a:lnTo>
                    <a:pt x="879" y="269"/>
                  </a:lnTo>
                  <a:lnTo>
                    <a:pt x="879" y="268"/>
                  </a:lnTo>
                  <a:lnTo>
                    <a:pt x="879" y="264"/>
                  </a:lnTo>
                  <a:lnTo>
                    <a:pt x="879" y="264"/>
                  </a:lnTo>
                  <a:lnTo>
                    <a:pt x="883" y="264"/>
                  </a:lnTo>
                  <a:lnTo>
                    <a:pt x="886" y="262"/>
                  </a:lnTo>
                  <a:lnTo>
                    <a:pt x="888" y="262"/>
                  </a:lnTo>
                  <a:lnTo>
                    <a:pt x="890" y="262"/>
                  </a:lnTo>
                  <a:lnTo>
                    <a:pt x="890" y="262"/>
                  </a:lnTo>
                  <a:lnTo>
                    <a:pt x="890" y="262"/>
                  </a:lnTo>
                  <a:lnTo>
                    <a:pt x="892" y="260"/>
                  </a:lnTo>
                  <a:lnTo>
                    <a:pt x="892" y="259"/>
                  </a:lnTo>
                  <a:lnTo>
                    <a:pt x="892" y="259"/>
                  </a:lnTo>
                  <a:lnTo>
                    <a:pt x="892" y="257"/>
                  </a:lnTo>
                  <a:lnTo>
                    <a:pt x="893" y="255"/>
                  </a:lnTo>
                  <a:lnTo>
                    <a:pt x="897" y="253"/>
                  </a:lnTo>
                  <a:lnTo>
                    <a:pt x="897" y="251"/>
                  </a:lnTo>
                  <a:lnTo>
                    <a:pt x="899" y="250"/>
                  </a:lnTo>
                  <a:lnTo>
                    <a:pt x="901" y="248"/>
                  </a:lnTo>
                  <a:lnTo>
                    <a:pt x="901" y="248"/>
                  </a:lnTo>
                  <a:lnTo>
                    <a:pt x="902" y="246"/>
                  </a:lnTo>
                  <a:lnTo>
                    <a:pt x="902" y="244"/>
                  </a:lnTo>
                  <a:lnTo>
                    <a:pt x="902" y="241"/>
                  </a:lnTo>
                  <a:lnTo>
                    <a:pt x="902" y="241"/>
                  </a:lnTo>
                  <a:lnTo>
                    <a:pt x="902" y="239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9B386D0F-103E-05C4-769C-999FF532F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07463" y="4911727"/>
              <a:ext cx="1522413" cy="639763"/>
            </a:xfrm>
            <a:custGeom>
              <a:avLst/>
              <a:gdLst>
                <a:gd name="T0" fmla="*/ 96 w 959"/>
                <a:gd name="T1" fmla="*/ 107 h 403"/>
                <a:gd name="T2" fmla="*/ 47 w 959"/>
                <a:gd name="T3" fmla="*/ 96 h 403"/>
                <a:gd name="T4" fmla="*/ 37 w 959"/>
                <a:gd name="T5" fmla="*/ 128 h 403"/>
                <a:gd name="T6" fmla="*/ 111 w 959"/>
                <a:gd name="T7" fmla="*/ 74 h 403"/>
                <a:gd name="T8" fmla="*/ 165 w 959"/>
                <a:gd name="T9" fmla="*/ 72 h 403"/>
                <a:gd name="T10" fmla="*/ 121 w 959"/>
                <a:gd name="T11" fmla="*/ 29 h 403"/>
                <a:gd name="T12" fmla="*/ 96 w 959"/>
                <a:gd name="T13" fmla="*/ 11 h 403"/>
                <a:gd name="T14" fmla="*/ 55 w 959"/>
                <a:gd name="T15" fmla="*/ 9 h 403"/>
                <a:gd name="T16" fmla="*/ 46 w 959"/>
                <a:gd name="T17" fmla="*/ 51 h 403"/>
                <a:gd name="T18" fmla="*/ 29 w 959"/>
                <a:gd name="T19" fmla="*/ 79 h 403"/>
                <a:gd name="T20" fmla="*/ 941 w 959"/>
                <a:gd name="T21" fmla="*/ 278 h 403"/>
                <a:gd name="T22" fmla="*/ 932 w 959"/>
                <a:gd name="T23" fmla="*/ 242 h 403"/>
                <a:gd name="T24" fmla="*/ 921 w 959"/>
                <a:gd name="T25" fmla="*/ 182 h 403"/>
                <a:gd name="T26" fmla="*/ 949 w 959"/>
                <a:gd name="T27" fmla="*/ 148 h 403"/>
                <a:gd name="T28" fmla="*/ 902 w 959"/>
                <a:gd name="T29" fmla="*/ 103 h 403"/>
                <a:gd name="T30" fmla="*/ 862 w 959"/>
                <a:gd name="T31" fmla="*/ 40 h 403"/>
                <a:gd name="T32" fmla="*/ 804 w 959"/>
                <a:gd name="T33" fmla="*/ 40 h 403"/>
                <a:gd name="T34" fmla="*/ 712 w 959"/>
                <a:gd name="T35" fmla="*/ 76 h 403"/>
                <a:gd name="T36" fmla="*/ 642 w 959"/>
                <a:gd name="T37" fmla="*/ 78 h 403"/>
                <a:gd name="T38" fmla="*/ 569 w 959"/>
                <a:gd name="T39" fmla="*/ 54 h 403"/>
                <a:gd name="T40" fmla="*/ 513 w 959"/>
                <a:gd name="T41" fmla="*/ 29 h 403"/>
                <a:gd name="T42" fmla="*/ 470 w 959"/>
                <a:gd name="T43" fmla="*/ 0 h 403"/>
                <a:gd name="T44" fmla="*/ 338 w 959"/>
                <a:gd name="T45" fmla="*/ 23 h 403"/>
                <a:gd name="T46" fmla="*/ 255 w 959"/>
                <a:gd name="T47" fmla="*/ 67 h 403"/>
                <a:gd name="T48" fmla="*/ 183 w 959"/>
                <a:gd name="T49" fmla="*/ 83 h 403"/>
                <a:gd name="T50" fmla="*/ 192 w 959"/>
                <a:gd name="T51" fmla="*/ 92 h 403"/>
                <a:gd name="T52" fmla="*/ 150 w 959"/>
                <a:gd name="T53" fmla="*/ 114 h 403"/>
                <a:gd name="T54" fmla="*/ 109 w 959"/>
                <a:gd name="T55" fmla="*/ 116 h 403"/>
                <a:gd name="T56" fmla="*/ 38 w 959"/>
                <a:gd name="T57" fmla="*/ 128 h 403"/>
                <a:gd name="T58" fmla="*/ 33 w 959"/>
                <a:gd name="T59" fmla="*/ 172 h 403"/>
                <a:gd name="T60" fmla="*/ 55 w 959"/>
                <a:gd name="T61" fmla="*/ 186 h 403"/>
                <a:gd name="T62" fmla="*/ 64 w 959"/>
                <a:gd name="T63" fmla="*/ 215 h 403"/>
                <a:gd name="T64" fmla="*/ 58 w 959"/>
                <a:gd name="T65" fmla="*/ 231 h 403"/>
                <a:gd name="T66" fmla="*/ 53 w 959"/>
                <a:gd name="T67" fmla="*/ 246 h 403"/>
                <a:gd name="T68" fmla="*/ 40 w 959"/>
                <a:gd name="T69" fmla="*/ 237 h 403"/>
                <a:gd name="T70" fmla="*/ 37 w 959"/>
                <a:gd name="T71" fmla="*/ 251 h 403"/>
                <a:gd name="T72" fmla="*/ 64 w 959"/>
                <a:gd name="T73" fmla="*/ 262 h 403"/>
                <a:gd name="T74" fmla="*/ 78 w 959"/>
                <a:gd name="T75" fmla="*/ 296 h 403"/>
                <a:gd name="T76" fmla="*/ 91 w 959"/>
                <a:gd name="T77" fmla="*/ 312 h 403"/>
                <a:gd name="T78" fmla="*/ 89 w 959"/>
                <a:gd name="T79" fmla="*/ 321 h 403"/>
                <a:gd name="T80" fmla="*/ 84 w 959"/>
                <a:gd name="T81" fmla="*/ 331 h 403"/>
                <a:gd name="T82" fmla="*/ 118 w 959"/>
                <a:gd name="T83" fmla="*/ 327 h 403"/>
                <a:gd name="T84" fmla="*/ 120 w 959"/>
                <a:gd name="T85" fmla="*/ 334 h 403"/>
                <a:gd name="T86" fmla="*/ 89 w 959"/>
                <a:gd name="T87" fmla="*/ 345 h 403"/>
                <a:gd name="T88" fmla="*/ 112 w 959"/>
                <a:gd name="T89" fmla="*/ 345 h 403"/>
                <a:gd name="T90" fmla="*/ 120 w 959"/>
                <a:gd name="T91" fmla="*/ 349 h 403"/>
                <a:gd name="T92" fmla="*/ 131 w 959"/>
                <a:gd name="T93" fmla="*/ 343 h 403"/>
                <a:gd name="T94" fmla="*/ 145 w 959"/>
                <a:gd name="T95" fmla="*/ 343 h 403"/>
                <a:gd name="T96" fmla="*/ 161 w 959"/>
                <a:gd name="T97" fmla="*/ 352 h 403"/>
                <a:gd name="T98" fmla="*/ 174 w 959"/>
                <a:gd name="T99" fmla="*/ 365 h 403"/>
                <a:gd name="T100" fmla="*/ 199 w 959"/>
                <a:gd name="T101" fmla="*/ 381 h 403"/>
                <a:gd name="T102" fmla="*/ 224 w 959"/>
                <a:gd name="T103" fmla="*/ 376 h 403"/>
                <a:gd name="T104" fmla="*/ 246 w 959"/>
                <a:gd name="T105" fmla="*/ 341 h 403"/>
                <a:gd name="T106" fmla="*/ 336 w 959"/>
                <a:gd name="T107" fmla="*/ 379 h 403"/>
                <a:gd name="T108" fmla="*/ 403 w 959"/>
                <a:gd name="T109" fmla="*/ 383 h 403"/>
                <a:gd name="T110" fmla="*/ 448 w 959"/>
                <a:gd name="T111" fmla="*/ 343 h 403"/>
                <a:gd name="T112" fmla="*/ 499 w 959"/>
                <a:gd name="T113" fmla="*/ 350 h 403"/>
                <a:gd name="T114" fmla="*/ 530 w 959"/>
                <a:gd name="T115" fmla="*/ 350 h 403"/>
                <a:gd name="T116" fmla="*/ 526 w 959"/>
                <a:gd name="T117" fmla="*/ 403 h 403"/>
                <a:gd name="T118" fmla="*/ 546 w 959"/>
                <a:gd name="T119" fmla="*/ 367 h 403"/>
                <a:gd name="T120" fmla="*/ 654 w 959"/>
                <a:gd name="T121" fmla="*/ 349 h 403"/>
                <a:gd name="T122" fmla="*/ 842 w 959"/>
                <a:gd name="T123" fmla="*/ 321 h 403"/>
                <a:gd name="T124" fmla="*/ 918 w 959"/>
                <a:gd name="T125" fmla="*/ 309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9" h="403">
                  <a:moveTo>
                    <a:pt x="22" y="152"/>
                  </a:moveTo>
                  <a:lnTo>
                    <a:pt x="22" y="148"/>
                  </a:lnTo>
                  <a:lnTo>
                    <a:pt x="22" y="148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19" y="148"/>
                  </a:lnTo>
                  <a:lnTo>
                    <a:pt x="17" y="148"/>
                  </a:lnTo>
                  <a:lnTo>
                    <a:pt x="17" y="148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9" y="150"/>
                  </a:lnTo>
                  <a:lnTo>
                    <a:pt x="20" y="152"/>
                  </a:lnTo>
                  <a:lnTo>
                    <a:pt x="22" y="152"/>
                  </a:lnTo>
                  <a:lnTo>
                    <a:pt x="22" y="152"/>
                  </a:lnTo>
                  <a:close/>
                  <a:moveTo>
                    <a:pt x="19" y="128"/>
                  </a:moveTo>
                  <a:lnTo>
                    <a:pt x="19" y="126"/>
                  </a:lnTo>
                  <a:lnTo>
                    <a:pt x="19" y="126"/>
                  </a:lnTo>
                  <a:lnTo>
                    <a:pt x="17" y="128"/>
                  </a:lnTo>
                  <a:lnTo>
                    <a:pt x="17" y="128"/>
                  </a:lnTo>
                  <a:lnTo>
                    <a:pt x="17" y="128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17" y="125"/>
                  </a:lnTo>
                  <a:lnTo>
                    <a:pt x="17" y="125"/>
                  </a:lnTo>
                  <a:lnTo>
                    <a:pt x="17" y="125"/>
                  </a:lnTo>
                  <a:lnTo>
                    <a:pt x="17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3" y="123"/>
                  </a:lnTo>
                  <a:lnTo>
                    <a:pt x="10" y="125"/>
                  </a:lnTo>
                  <a:lnTo>
                    <a:pt x="6" y="125"/>
                  </a:lnTo>
                  <a:lnTo>
                    <a:pt x="4" y="126"/>
                  </a:lnTo>
                  <a:lnTo>
                    <a:pt x="2" y="128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2" y="130"/>
                  </a:lnTo>
                  <a:lnTo>
                    <a:pt x="4" y="130"/>
                  </a:lnTo>
                  <a:lnTo>
                    <a:pt x="4" y="132"/>
                  </a:lnTo>
                  <a:lnTo>
                    <a:pt x="6" y="132"/>
                  </a:lnTo>
                  <a:lnTo>
                    <a:pt x="6" y="132"/>
                  </a:lnTo>
                  <a:lnTo>
                    <a:pt x="11" y="130"/>
                  </a:lnTo>
                  <a:lnTo>
                    <a:pt x="13" y="130"/>
                  </a:lnTo>
                  <a:lnTo>
                    <a:pt x="17" y="130"/>
                  </a:lnTo>
                  <a:lnTo>
                    <a:pt x="17" y="128"/>
                  </a:lnTo>
                  <a:lnTo>
                    <a:pt x="19" y="128"/>
                  </a:lnTo>
                  <a:close/>
                  <a:moveTo>
                    <a:pt x="100" y="107"/>
                  </a:moveTo>
                  <a:lnTo>
                    <a:pt x="100" y="107"/>
                  </a:lnTo>
                  <a:lnTo>
                    <a:pt x="98" y="105"/>
                  </a:lnTo>
                  <a:lnTo>
                    <a:pt x="98" y="105"/>
                  </a:lnTo>
                  <a:lnTo>
                    <a:pt x="98" y="107"/>
                  </a:lnTo>
                  <a:lnTo>
                    <a:pt x="96" y="107"/>
                  </a:lnTo>
                  <a:lnTo>
                    <a:pt x="96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2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7"/>
                  </a:lnTo>
                  <a:lnTo>
                    <a:pt x="100" y="107"/>
                  </a:lnTo>
                  <a:close/>
                  <a:moveTo>
                    <a:pt x="102" y="98"/>
                  </a:moveTo>
                  <a:lnTo>
                    <a:pt x="103" y="98"/>
                  </a:lnTo>
                  <a:lnTo>
                    <a:pt x="105" y="98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00" y="94"/>
                  </a:lnTo>
                  <a:lnTo>
                    <a:pt x="98" y="94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4" y="94"/>
                  </a:lnTo>
                  <a:lnTo>
                    <a:pt x="94" y="96"/>
                  </a:lnTo>
                  <a:lnTo>
                    <a:pt x="94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4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8" y="101"/>
                  </a:lnTo>
                  <a:lnTo>
                    <a:pt x="100" y="99"/>
                  </a:lnTo>
                  <a:lnTo>
                    <a:pt x="102" y="98"/>
                  </a:lnTo>
                  <a:lnTo>
                    <a:pt x="102" y="98"/>
                  </a:lnTo>
                  <a:close/>
                  <a:moveTo>
                    <a:pt x="20" y="92"/>
                  </a:moveTo>
                  <a:lnTo>
                    <a:pt x="20" y="94"/>
                  </a:lnTo>
                  <a:lnTo>
                    <a:pt x="20" y="94"/>
                  </a:lnTo>
                  <a:lnTo>
                    <a:pt x="20" y="96"/>
                  </a:lnTo>
                  <a:lnTo>
                    <a:pt x="20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4" y="99"/>
                  </a:lnTo>
                  <a:lnTo>
                    <a:pt x="33" y="99"/>
                  </a:lnTo>
                  <a:lnTo>
                    <a:pt x="35" y="98"/>
                  </a:lnTo>
                  <a:lnTo>
                    <a:pt x="37" y="98"/>
                  </a:lnTo>
                  <a:lnTo>
                    <a:pt x="38" y="99"/>
                  </a:lnTo>
                  <a:lnTo>
                    <a:pt x="38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2" y="98"/>
                  </a:lnTo>
                  <a:lnTo>
                    <a:pt x="44" y="99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51" y="96"/>
                  </a:lnTo>
                  <a:lnTo>
                    <a:pt x="53" y="96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56" y="94"/>
                  </a:lnTo>
                  <a:lnTo>
                    <a:pt x="58" y="96"/>
                  </a:lnTo>
                  <a:lnTo>
                    <a:pt x="60" y="99"/>
                  </a:lnTo>
                  <a:lnTo>
                    <a:pt x="58" y="99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5" y="101"/>
                  </a:lnTo>
                  <a:lnTo>
                    <a:pt x="53" y="101"/>
                  </a:lnTo>
                  <a:lnTo>
                    <a:pt x="53" y="103"/>
                  </a:lnTo>
                  <a:lnTo>
                    <a:pt x="53" y="105"/>
                  </a:lnTo>
                  <a:lnTo>
                    <a:pt x="51" y="105"/>
                  </a:lnTo>
                  <a:lnTo>
                    <a:pt x="49" y="105"/>
                  </a:lnTo>
                  <a:lnTo>
                    <a:pt x="47" y="105"/>
                  </a:lnTo>
                  <a:lnTo>
                    <a:pt x="46" y="105"/>
                  </a:lnTo>
                  <a:lnTo>
                    <a:pt x="44" y="107"/>
                  </a:lnTo>
                  <a:lnTo>
                    <a:pt x="42" y="108"/>
                  </a:lnTo>
                  <a:lnTo>
                    <a:pt x="40" y="108"/>
                  </a:lnTo>
                  <a:lnTo>
                    <a:pt x="37" y="112"/>
                  </a:lnTo>
                  <a:lnTo>
                    <a:pt x="35" y="112"/>
                  </a:lnTo>
                  <a:lnTo>
                    <a:pt x="33" y="114"/>
                  </a:lnTo>
                  <a:lnTo>
                    <a:pt x="33" y="114"/>
                  </a:lnTo>
                  <a:lnTo>
                    <a:pt x="31" y="116"/>
                  </a:lnTo>
                  <a:lnTo>
                    <a:pt x="29" y="116"/>
                  </a:lnTo>
                  <a:lnTo>
                    <a:pt x="29" y="116"/>
                  </a:lnTo>
                  <a:lnTo>
                    <a:pt x="29" y="116"/>
                  </a:lnTo>
                  <a:lnTo>
                    <a:pt x="28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31" y="121"/>
                  </a:lnTo>
                  <a:lnTo>
                    <a:pt x="31" y="123"/>
                  </a:lnTo>
                  <a:lnTo>
                    <a:pt x="31" y="125"/>
                  </a:lnTo>
                  <a:lnTo>
                    <a:pt x="29" y="128"/>
                  </a:lnTo>
                  <a:lnTo>
                    <a:pt x="28" y="128"/>
                  </a:lnTo>
                  <a:lnTo>
                    <a:pt x="28" y="130"/>
                  </a:lnTo>
                  <a:lnTo>
                    <a:pt x="28" y="132"/>
                  </a:lnTo>
                  <a:lnTo>
                    <a:pt x="26" y="132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9" y="134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3" y="130"/>
                  </a:lnTo>
                  <a:lnTo>
                    <a:pt x="35" y="130"/>
                  </a:lnTo>
                  <a:lnTo>
                    <a:pt x="37" y="128"/>
                  </a:lnTo>
                  <a:lnTo>
                    <a:pt x="37" y="128"/>
                  </a:lnTo>
                  <a:lnTo>
                    <a:pt x="35" y="126"/>
                  </a:lnTo>
                  <a:lnTo>
                    <a:pt x="35" y="125"/>
                  </a:lnTo>
                  <a:lnTo>
                    <a:pt x="37" y="125"/>
                  </a:lnTo>
                  <a:lnTo>
                    <a:pt x="37" y="125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40" y="123"/>
                  </a:lnTo>
                  <a:lnTo>
                    <a:pt x="42" y="121"/>
                  </a:lnTo>
                  <a:lnTo>
                    <a:pt x="42" y="121"/>
                  </a:lnTo>
                  <a:lnTo>
                    <a:pt x="42" y="121"/>
                  </a:lnTo>
                  <a:lnTo>
                    <a:pt x="42" y="119"/>
                  </a:lnTo>
                  <a:lnTo>
                    <a:pt x="44" y="119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7" y="116"/>
                  </a:lnTo>
                  <a:lnTo>
                    <a:pt x="49" y="114"/>
                  </a:lnTo>
                  <a:lnTo>
                    <a:pt x="49" y="114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3" y="108"/>
                  </a:lnTo>
                  <a:lnTo>
                    <a:pt x="53" y="108"/>
                  </a:lnTo>
                  <a:lnTo>
                    <a:pt x="53" y="108"/>
                  </a:lnTo>
                  <a:lnTo>
                    <a:pt x="55" y="107"/>
                  </a:lnTo>
                  <a:lnTo>
                    <a:pt x="56" y="105"/>
                  </a:lnTo>
                  <a:lnTo>
                    <a:pt x="58" y="105"/>
                  </a:lnTo>
                  <a:lnTo>
                    <a:pt x="60" y="105"/>
                  </a:lnTo>
                  <a:lnTo>
                    <a:pt x="60" y="103"/>
                  </a:lnTo>
                  <a:lnTo>
                    <a:pt x="64" y="101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9" y="99"/>
                  </a:lnTo>
                  <a:lnTo>
                    <a:pt x="71" y="98"/>
                  </a:lnTo>
                  <a:lnTo>
                    <a:pt x="71" y="98"/>
                  </a:lnTo>
                  <a:lnTo>
                    <a:pt x="73" y="98"/>
                  </a:lnTo>
                  <a:lnTo>
                    <a:pt x="75" y="98"/>
                  </a:lnTo>
                  <a:lnTo>
                    <a:pt x="76" y="98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82" y="92"/>
                  </a:lnTo>
                  <a:lnTo>
                    <a:pt x="84" y="88"/>
                  </a:lnTo>
                  <a:lnTo>
                    <a:pt x="89" y="83"/>
                  </a:lnTo>
                  <a:lnTo>
                    <a:pt x="91" y="81"/>
                  </a:lnTo>
                  <a:lnTo>
                    <a:pt x="91" y="76"/>
                  </a:lnTo>
                  <a:lnTo>
                    <a:pt x="93" y="74"/>
                  </a:lnTo>
                  <a:lnTo>
                    <a:pt x="94" y="72"/>
                  </a:lnTo>
                  <a:lnTo>
                    <a:pt x="105" y="72"/>
                  </a:lnTo>
                  <a:lnTo>
                    <a:pt x="107" y="72"/>
                  </a:lnTo>
                  <a:lnTo>
                    <a:pt x="109" y="72"/>
                  </a:lnTo>
                  <a:lnTo>
                    <a:pt x="109" y="72"/>
                  </a:lnTo>
                  <a:lnTo>
                    <a:pt x="111" y="74"/>
                  </a:lnTo>
                  <a:lnTo>
                    <a:pt x="111" y="74"/>
                  </a:lnTo>
                  <a:lnTo>
                    <a:pt x="114" y="74"/>
                  </a:lnTo>
                  <a:lnTo>
                    <a:pt x="116" y="74"/>
                  </a:lnTo>
                  <a:lnTo>
                    <a:pt x="116" y="74"/>
                  </a:lnTo>
                  <a:lnTo>
                    <a:pt x="116" y="72"/>
                  </a:lnTo>
                  <a:lnTo>
                    <a:pt x="118" y="70"/>
                  </a:lnTo>
                  <a:lnTo>
                    <a:pt x="118" y="70"/>
                  </a:lnTo>
                  <a:lnTo>
                    <a:pt x="118" y="70"/>
                  </a:lnTo>
                  <a:lnTo>
                    <a:pt x="120" y="69"/>
                  </a:lnTo>
                  <a:lnTo>
                    <a:pt x="120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7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9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2" y="67"/>
                  </a:lnTo>
                  <a:lnTo>
                    <a:pt x="134" y="69"/>
                  </a:lnTo>
                  <a:lnTo>
                    <a:pt x="138" y="69"/>
                  </a:lnTo>
                  <a:lnTo>
                    <a:pt x="140" y="70"/>
                  </a:lnTo>
                  <a:lnTo>
                    <a:pt x="141" y="70"/>
                  </a:lnTo>
                  <a:lnTo>
                    <a:pt x="143" y="72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7" y="72"/>
                  </a:lnTo>
                  <a:lnTo>
                    <a:pt x="147" y="70"/>
                  </a:lnTo>
                  <a:lnTo>
                    <a:pt x="147" y="70"/>
                  </a:lnTo>
                  <a:lnTo>
                    <a:pt x="145" y="69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7" y="69"/>
                  </a:lnTo>
                  <a:lnTo>
                    <a:pt x="147" y="69"/>
                  </a:lnTo>
                  <a:lnTo>
                    <a:pt x="147" y="70"/>
                  </a:lnTo>
                  <a:lnTo>
                    <a:pt x="147" y="70"/>
                  </a:lnTo>
                  <a:lnTo>
                    <a:pt x="147" y="70"/>
                  </a:lnTo>
                  <a:lnTo>
                    <a:pt x="149" y="72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56" y="74"/>
                  </a:lnTo>
                  <a:lnTo>
                    <a:pt x="156" y="74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61" y="74"/>
                  </a:lnTo>
                  <a:lnTo>
                    <a:pt x="161" y="74"/>
                  </a:lnTo>
                  <a:lnTo>
                    <a:pt x="163" y="74"/>
                  </a:lnTo>
                  <a:lnTo>
                    <a:pt x="163" y="72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67" y="72"/>
                  </a:lnTo>
                  <a:lnTo>
                    <a:pt x="167" y="72"/>
                  </a:lnTo>
                  <a:lnTo>
                    <a:pt x="167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8" y="70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70" y="69"/>
                  </a:lnTo>
                  <a:lnTo>
                    <a:pt x="170" y="69"/>
                  </a:lnTo>
                  <a:lnTo>
                    <a:pt x="170" y="67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2" y="65"/>
                  </a:lnTo>
                  <a:lnTo>
                    <a:pt x="172" y="65"/>
                  </a:lnTo>
                  <a:lnTo>
                    <a:pt x="172" y="63"/>
                  </a:lnTo>
                  <a:lnTo>
                    <a:pt x="172" y="63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2" y="61"/>
                  </a:lnTo>
                  <a:lnTo>
                    <a:pt x="172" y="60"/>
                  </a:lnTo>
                  <a:lnTo>
                    <a:pt x="172" y="58"/>
                  </a:lnTo>
                  <a:lnTo>
                    <a:pt x="174" y="56"/>
                  </a:lnTo>
                  <a:lnTo>
                    <a:pt x="172" y="56"/>
                  </a:lnTo>
                  <a:lnTo>
                    <a:pt x="172" y="56"/>
                  </a:lnTo>
                  <a:lnTo>
                    <a:pt x="170" y="56"/>
                  </a:lnTo>
                  <a:lnTo>
                    <a:pt x="170" y="56"/>
                  </a:lnTo>
                  <a:lnTo>
                    <a:pt x="170" y="56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63" y="54"/>
                  </a:lnTo>
                  <a:lnTo>
                    <a:pt x="149" y="47"/>
                  </a:lnTo>
                  <a:lnTo>
                    <a:pt x="138" y="43"/>
                  </a:lnTo>
                  <a:lnTo>
                    <a:pt x="129" y="38"/>
                  </a:lnTo>
                  <a:lnTo>
                    <a:pt x="127" y="36"/>
                  </a:lnTo>
                  <a:lnTo>
                    <a:pt x="125" y="34"/>
                  </a:lnTo>
                  <a:lnTo>
                    <a:pt x="125" y="32"/>
                  </a:lnTo>
                  <a:lnTo>
                    <a:pt x="123" y="32"/>
                  </a:lnTo>
                  <a:lnTo>
                    <a:pt x="123" y="31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3"/>
                  </a:lnTo>
                  <a:lnTo>
                    <a:pt x="120" y="22"/>
                  </a:lnTo>
                  <a:lnTo>
                    <a:pt x="118" y="20"/>
                  </a:lnTo>
                  <a:lnTo>
                    <a:pt x="118" y="18"/>
                  </a:lnTo>
                  <a:lnTo>
                    <a:pt x="116" y="18"/>
                  </a:lnTo>
                  <a:lnTo>
                    <a:pt x="116" y="16"/>
                  </a:lnTo>
                  <a:lnTo>
                    <a:pt x="116" y="14"/>
                  </a:lnTo>
                  <a:lnTo>
                    <a:pt x="116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18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4" y="7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3" y="7"/>
                  </a:lnTo>
                  <a:lnTo>
                    <a:pt x="102" y="7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3" y="11"/>
                  </a:lnTo>
                  <a:lnTo>
                    <a:pt x="93" y="9"/>
                  </a:lnTo>
                  <a:lnTo>
                    <a:pt x="89" y="7"/>
                  </a:lnTo>
                  <a:lnTo>
                    <a:pt x="87" y="7"/>
                  </a:lnTo>
                  <a:lnTo>
                    <a:pt x="87" y="5"/>
                  </a:lnTo>
                  <a:lnTo>
                    <a:pt x="85" y="2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3" y="2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6" y="4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3" y="9"/>
                  </a:lnTo>
                  <a:lnTo>
                    <a:pt x="49" y="7"/>
                  </a:lnTo>
                  <a:lnTo>
                    <a:pt x="47" y="7"/>
                  </a:lnTo>
                  <a:lnTo>
                    <a:pt x="47" y="9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37" y="18"/>
                  </a:lnTo>
                  <a:lnTo>
                    <a:pt x="35" y="20"/>
                  </a:lnTo>
                  <a:lnTo>
                    <a:pt x="33" y="22"/>
                  </a:lnTo>
                  <a:lnTo>
                    <a:pt x="33" y="23"/>
                  </a:lnTo>
                  <a:lnTo>
                    <a:pt x="35" y="23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8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2" y="27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4" y="31"/>
                  </a:lnTo>
                  <a:lnTo>
                    <a:pt x="46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8"/>
                  </a:lnTo>
                  <a:lnTo>
                    <a:pt x="49" y="38"/>
                  </a:lnTo>
                  <a:lnTo>
                    <a:pt x="49" y="42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7"/>
                  </a:lnTo>
                  <a:lnTo>
                    <a:pt x="49" y="49"/>
                  </a:lnTo>
                  <a:lnTo>
                    <a:pt x="49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49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38" y="54"/>
                  </a:lnTo>
                  <a:lnTo>
                    <a:pt x="38" y="56"/>
                  </a:lnTo>
                  <a:lnTo>
                    <a:pt x="35" y="56"/>
                  </a:lnTo>
                  <a:lnTo>
                    <a:pt x="33" y="56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3" y="60"/>
                  </a:lnTo>
                  <a:lnTo>
                    <a:pt x="35" y="61"/>
                  </a:lnTo>
                  <a:lnTo>
                    <a:pt x="35" y="61"/>
                  </a:lnTo>
                  <a:lnTo>
                    <a:pt x="33" y="63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5" y="67"/>
                  </a:lnTo>
                  <a:lnTo>
                    <a:pt x="35" y="69"/>
                  </a:lnTo>
                  <a:lnTo>
                    <a:pt x="35" y="70"/>
                  </a:lnTo>
                  <a:lnTo>
                    <a:pt x="37" y="70"/>
                  </a:lnTo>
                  <a:lnTo>
                    <a:pt x="37" y="70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7" y="74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3" y="76"/>
                  </a:lnTo>
                  <a:lnTo>
                    <a:pt x="33" y="78"/>
                  </a:lnTo>
                  <a:lnTo>
                    <a:pt x="33" y="78"/>
                  </a:lnTo>
                  <a:lnTo>
                    <a:pt x="33" y="78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8" y="79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3"/>
                  </a:lnTo>
                  <a:lnTo>
                    <a:pt x="26" y="85"/>
                  </a:lnTo>
                  <a:lnTo>
                    <a:pt x="26" y="87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2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19" y="90"/>
                  </a:lnTo>
                  <a:lnTo>
                    <a:pt x="20" y="90"/>
                  </a:lnTo>
                  <a:lnTo>
                    <a:pt x="20" y="92"/>
                  </a:lnTo>
                  <a:close/>
                  <a:moveTo>
                    <a:pt x="956" y="307"/>
                  </a:moveTo>
                  <a:lnTo>
                    <a:pt x="954" y="307"/>
                  </a:lnTo>
                  <a:lnTo>
                    <a:pt x="954" y="305"/>
                  </a:lnTo>
                  <a:lnTo>
                    <a:pt x="954" y="305"/>
                  </a:lnTo>
                  <a:lnTo>
                    <a:pt x="952" y="305"/>
                  </a:lnTo>
                  <a:lnTo>
                    <a:pt x="952" y="305"/>
                  </a:lnTo>
                  <a:lnTo>
                    <a:pt x="950" y="303"/>
                  </a:lnTo>
                  <a:lnTo>
                    <a:pt x="950" y="303"/>
                  </a:lnTo>
                  <a:lnTo>
                    <a:pt x="949" y="303"/>
                  </a:lnTo>
                  <a:lnTo>
                    <a:pt x="947" y="302"/>
                  </a:lnTo>
                  <a:lnTo>
                    <a:pt x="947" y="302"/>
                  </a:lnTo>
                  <a:lnTo>
                    <a:pt x="949" y="300"/>
                  </a:lnTo>
                  <a:lnTo>
                    <a:pt x="947" y="298"/>
                  </a:lnTo>
                  <a:lnTo>
                    <a:pt x="947" y="298"/>
                  </a:lnTo>
                  <a:lnTo>
                    <a:pt x="947" y="296"/>
                  </a:lnTo>
                  <a:lnTo>
                    <a:pt x="947" y="296"/>
                  </a:lnTo>
                  <a:lnTo>
                    <a:pt x="949" y="294"/>
                  </a:lnTo>
                  <a:lnTo>
                    <a:pt x="949" y="293"/>
                  </a:lnTo>
                  <a:lnTo>
                    <a:pt x="949" y="291"/>
                  </a:lnTo>
                  <a:lnTo>
                    <a:pt x="947" y="291"/>
                  </a:lnTo>
                  <a:lnTo>
                    <a:pt x="947" y="289"/>
                  </a:lnTo>
                  <a:lnTo>
                    <a:pt x="947" y="287"/>
                  </a:lnTo>
                  <a:lnTo>
                    <a:pt x="947" y="287"/>
                  </a:lnTo>
                  <a:lnTo>
                    <a:pt x="949" y="285"/>
                  </a:lnTo>
                  <a:lnTo>
                    <a:pt x="949" y="285"/>
                  </a:lnTo>
                  <a:lnTo>
                    <a:pt x="949" y="284"/>
                  </a:lnTo>
                  <a:lnTo>
                    <a:pt x="947" y="282"/>
                  </a:lnTo>
                  <a:lnTo>
                    <a:pt x="945" y="282"/>
                  </a:lnTo>
                  <a:lnTo>
                    <a:pt x="945" y="280"/>
                  </a:lnTo>
                  <a:lnTo>
                    <a:pt x="943" y="280"/>
                  </a:lnTo>
                  <a:lnTo>
                    <a:pt x="941" y="280"/>
                  </a:lnTo>
                  <a:lnTo>
                    <a:pt x="941" y="282"/>
                  </a:lnTo>
                  <a:lnTo>
                    <a:pt x="941" y="282"/>
                  </a:lnTo>
                  <a:lnTo>
                    <a:pt x="940" y="280"/>
                  </a:lnTo>
                  <a:lnTo>
                    <a:pt x="940" y="280"/>
                  </a:lnTo>
                  <a:lnTo>
                    <a:pt x="941" y="278"/>
                  </a:lnTo>
                  <a:lnTo>
                    <a:pt x="941" y="278"/>
                  </a:lnTo>
                  <a:lnTo>
                    <a:pt x="940" y="278"/>
                  </a:lnTo>
                  <a:lnTo>
                    <a:pt x="940" y="278"/>
                  </a:lnTo>
                  <a:lnTo>
                    <a:pt x="940" y="278"/>
                  </a:lnTo>
                  <a:lnTo>
                    <a:pt x="940" y="278"/>
                  </a:lnTo>
                  <a:lnTo>
                    <a:pt x="938" y="278"/>
                  </a:lnTo>
                  <a:lnTo>
                    <a:pt x="938" y="276"/>
                  </a:lnTo>
                  <a:lnTo>
                    <a:pt x="938" y="276"/>
                  </a:lnTo>
                  <a:lnTo>
                    <a:pt x="938" y="276"/>
                  </a:lnTo>
                  <a:lnTo>
                    <a:pt x="938" y="275"/>
                  </a:lnTo>
                  <a:lnTo>
                    <a:pt x="936" y="275"/>
                  </a:lnTo>
                  <a:lnTo>
                    <a:pt x="934" y="275"/>
                  </a:lnTo>
                  <a:lnTo>
                    <a:pt x="932" y="275"/>
                  </a:lnTo>
                  <a:lnTo>
                    <a:pt x="931" y="275"/>
                  </a:lnTo>
                  <a:lnTo>
                    <a:pt x="929" y="273"/>
                  </a:lnTo>
                  <a:lnTo>
                    <a:pt x="929" y="273"/>
                  </a:lnTo>
                  <a:lnTo>
                    <a:pt x="929" y="273"/>
                  </a:lnTo>
                  <a:lnTo>
                    <a:pt x="931" y="271"/>
                  </a:lnTo>
                  <a:lnTo>
                    <a:pt x="931" y="271"/>
                  </a:lnTo>
                  <a:lnTo>
                    <a:pt x="931" y="269"/>
                  </a:lnTo>
                  <a:lnTo>
                    <a:pt x="931" y="269"/>
                  </a:lnTo>
                  <a:lnTo>
                    <a:pt x="931" y="269"/>
                  </a:lnTo>
                  <a:lnTo>
                    <a:pt x="931" y="267"/>
                  </a:lnTo>
                  <a:lnTo>
                    <a:pt x="931" y="267"/>
                  </a:lnTo>
                  <a:lnTo>
                    <a:pt x="931" y="267"/>
                  </a:lnTo>
                  <a:lnTo>
                    <a:pt x="931" y="267"/>
                  </a:lnTo>
                  <a:lnTo>
                    <a:pt x="931" y="267"/>
                  </a:lnTo>
                  <a:lnTo>
                    <a:pt x="931" y="265"/>
                  </a:lnTo>
                  <a:lnTo>
                    <a:pt x="932" y="264"/>
                  </a:lnTo>
                  <a:lnTo>
                    <a:pt x="932" y="264"/>
                  </a:lnTo>
                  <a:lnTo>
                    <a:pt x="932" y="262"/>
                  </a:lnTo>
                  <a:lnTo>
                    <a:pt x="934" y="262"/>
                  </a:lnTo>
                  <a:lnTo>
                    <a:pt x="934" y="260"/>
                  </a:lnTo>
                  <a:lnTo>
                    <a:pt x="936" y="260"/>
                  </a:lnTo>
                  <a:lnTo>
                    <a:pt x="936" y="260"/>
                  </a:lnTo>
                  <a:lnTo>
                    <a:pt x="936" y="258"/>
                  </a:lnTo>
                  <a:lnTo>
                    <a:pt x="936" y="258"/>
                  </a:lnTo>
                  <a:lnTo>
                    <a:pt x="936" y="258"/>
                  </a:lnTo>
                  <a:lnTo>
                    <a:pt x="936" y="258"/>
                  </a:lnTo>
                  <a:lnTo>
                    <a:pt x="938" y="256"/>
                  </a:lnTo>
                  <a:lnTo>
                    <a:pt x="938" y="256"/>
                  </a:lnTo>
                  <a:lnTo>
                    <a:pt x="938" y="255"/>
                  </a:lnTo>
                  <a:lnTo>
                    <a:pt x="938" y="253"/>
                  </a:lnTo>
                  <a:lnTo>
                    <a:pt x="938" y="251"/>
                  </a:lnTo>
                  <a:lnTo>
                    <a:pt x="940" y="249"/>
                  </a:lnTo>
                  <a:lnTo>
                    <a:pt x="941" y="247"/>
                  </a:lnTo>
                  <a:lnTo>
                    <a:pt x="941" y="246"/>
                  </a:lnTo>
                  <a:lnTo>
                    <a:pt x="941" y="246"/>
                  </a:lnTo>
                  <a:lnTo>
                    <a:pt x="941" y="244"/>
                  </a:lnTo>
                  <a:lnTo>
                    <a:pt x="941" y="244"/>
                  </a:lnTo>
                  <a:lnTo>
                    <a:pt x="940" y="242"/>
                  </a:lnTo>
                  <a:lnTo>
                    <a:pt x="940" y="242"/>
                  </a:lnTo>
                  <a:lnTo>
                    <a:pt x="938" y="242"/>
                  </a:lnTo>
                  <a:lnTo>
                    <a:pt x="938" y="244"/>
                  </a:lnTo>
                  <a:lnTo>
                    <a:pt x="934" y="242"/>
                  </a:lnTo>
                  <a:lnTo>
                    <a:pt x="934" y="242"/>
                  </a:lnTo>
                  <a:lnTo>
                    <a:pt x="934" y="242"/>
                  </a:lnTo>
                  <a:lnTo>
                    <a:pt x="932" y="242"/>
                  </a:lnTo>
                  <a:lnTo>
                    <a:pt x="934" y="240"/>
                  </a:lnTo>
                  <a:lnTo>
                    <a:pt x="934" y="240"/>
                  </a:lnTo>
                  <a:lnTo>
                    <a:pt x="932" y="238"/>
                  </a:lnTo>
                  <a:lnTo>
                    <a:pt x="932" y="237"/>
                  </a:lnTo>
                  <a:lnTo>
                    <a:pt x="934" y="235"/>
                  </a:lnTo>
                  <a:lnTo>
                    <a:pt x="934" y="233"/>
                  </a:lnTo>
                  <a:lnTo>
                    <a:pt x="934" y="231"/>
                  </a:lnTo>
                  <a:lnTo>
                    <a:pt x="934" y="228"/>
                  </a:lnTo>
                  <a:lnTo>
                    <a:pt x="934" y="228"/>
                  </a:lnTo>
                  <a:lnTo>
                    <a:pt x="934" y="226"/>
                  </a:lnTo>
                  <a:lnTo>
                    <a:pt x="932" y="226"/>
                  </a:lnTo>
                  <a:lnTo>
                    <a:pt x="932" y="226"/>
                  </a:lnTo>
                  <a:lnTo>
                    <a:pt x="932" y="224"/>
                  </a:lnTo>
                  <a:lnTo>
                    <a:pt x="931" y="224"/>
                  </a:lnTo>
                  <a:lnTo>
                    <a:pt x="931" y="224"/>
                  </a:lnTo>
                  <a:lnTo>
                    <a:pt x="932" y="224"/>
                  </a:lnTo>
                  <a:lnTo>
                    <a:pt x="932" y="224"/>
                  </a:lnTo>
                  <a:lnTo>
                    <a:pt x="932" y="222"/>
                  </a:lnTo>
                  <a:lnTo>
                    <a:pt x="931" y="220"/>
                  </a:lnTo>
                  <a:lnTo>
                    <a:pt x="931" y="220"/>
                  </a:lnTo>
                  <a:lnTo>
                    <a:pt x="932" y="219"/>
                  </a:lnTo>
                  <a:lnTo>
                    <a:pt x="932" y="215"/>
                  </a:lnTo>
                  <a:lnTo>
                    <a:pt x="932" y="213"/>
                  </a:lnTo>
                  <a:lnTo>
                    <a:pt x="931" y="211"/>
                  </a:lnTo>
                  <a:lnTo>
                    <a:pt x="929" y="211"/>
                  </a:lnTo>
                  <a:lnTo>
                    <a:pt x="929" y="209"/>
                  </a:lnTo>
                  <a:lnTo>
                    <a:pt x="929" y="208"/>
                  </a:lnTo>
                  <a:lnTo>
                    <a:pt x="927" y="208"/>
                  </a:lnTo>
                  <a:lnTo>
                    <a:pt x="927" y="208"/>
                  </a:lnTo>
                  <a:lnTo>
                    <a:pt x="927" y="206"/>
                  </a:lnTo>
                  <a:lnTo>
                    <a:pt x="927" y="206"/>
                  </a:lnTo>
                  <a:lnTo>
                    <a:pt x="927" y="206"/>
                  </a:lnTo>
                  <a:lnTo>
                    <a:pt x="927" y="206"/>
                  </a:lnTo>
                  <a:lnTo>
                    <a:pt x="927" y="204"/>
                  </a:lnTo>
                  <a:lnTo>
                    <a:pt x="927" y="204"/>
                  </a:lnTo>
                  <a:lnTo>
                    <a:pt x="927" y="204"/>
                  </a:lnTo>
                  <a:lnTo>
                    <a:pt x="925" y="202"/>
                  </a:lnTo>
                  <a:lnTo>
                    <a:pt x="925" y="202"/>
                  </a:lnTo>
                  <a:lnTo>
                    <a:pt x="927" y="202"/>
                  </a:lnTo>
                  <a:lnTo>
                    <a:pt x="927" y="200"/>
                  </a:lnTo>
                  <a:lnTo>
                    <a:pt x="927" y="200"/>
                  </a:lnTo>
                  <a:lnTo>
                    <a:pt x="927" y="199"/>
                  </a:lnTo>
                  <a:lnTo>
                    <a:pt x="927" y="197"/>
                  </a:lnTo>
                  <a:lnTo>
                    <a:pt x="929" y="195"/>
                  </a:lnTo>
                  <a:lnTo>
                    <a:pt x="929" y="193"/>
                  </a:lnTo>
                  <a:lnTo>
                    <a:pt x="927" y="191"/>
                  </a:lnTo>
                  <a:lnTo>
                    <a:pt x="923" y="191"/>
                  </a:lnTo>
                  <a:lnTo>
                    <a:pt x="923" y="190"/>
                  </a:lnTo>
                  <a:lnTo>
                    <a:pt x="923" y="190"/>
                  </a:lnTo>
                  <a:lnTo>
                    <a:pt x="923" y="188"/>
                  </a:lnTo>
                  <a:lnTo>
                    <a:pt x="923" y="188"/>
                  </a:lnTo>
                  <a:lnTo>
                    <a:pt x="921" y="186"/>
                  </a:lnTo>
                  <a:lnTo>
                    <a:pt x="921" y="186"/>
                  </a:lnTo>
                  <a:lnTo>
                    <a:pt x="921" y="184"/>
                  </a:lnTo>
                  <a:lnTo>
                    <a:pt x="921" y="184"/>
                  </a:lnTo>
                  <a:lnTo>
                    <a:pt x="921" y="184"/>
                  </a:lnTo>
                  <a:lnTo>
                    <a:pt x="921" y="182"/>
                  </a:lnTo>
                  <a:lnTo>
                    <a:pt x="921" y="181"/>
                  </a:lnTo>
                  <a:lnTo>
                    <a:pt x="921" y="181"/>
                  </a:lnTo>
                  <a:lnTo>
                    <a:pt x="921" y="181"/>
                  </a:lnTo>
                  <a:lnTo>
                    <a:pt x="920" y="179"/>
                  </a:lnTo>
                  <a:lnTo>
                    <a:pt x="920" y="179"/>
                  </a:lnTo>
                  <a:lnTo>
                    <a:pt x="920" y="177"/>
                  </a:lnTo>
                  <a:lnTo>
                    <a:pt x="921" y="177"/>
                  </a:lnTo>
                  <a:lnTo>
                    <a:pt x="921" y="177"/>
                  </a:lnTo>
                  <a:lnTo>
                    <a:pt x="923" y="177"/>
                  </a:lnTo>
                  <a:lnTo>
                    <a:pt x="923" y="177"/>
                  </a:lnTo>
                  <a:lnTo>
                    <a:pt x="925" y="177"/>
                  </a:lnTo>
                  <a:lnTo>
                    <a:pt x="927" y="177"/>
                  </a:lnTo>
                  <a:lnTo>
                    <a:pt x="929" y="177"/>
                  </a:lnTo>
                  <a:lnTo>
                    <a:pt x="932" y="179"/>
                  </a:lnTo>
                  <a:lnTo>
                    <a:pt x="934" y="179"/>
                  </a:lnTo>
                  <a:lnTo>
                    <a:pt x="934" y="177"/>
                  </a:lnTo>
                  <a:lnTo>
                    <a:pt x="938" y="177"/>
                  </a:lnTo>
                  <a:lnTo>
                    <a:pt x="938" y="175"/>
                  </a:lnTo>
                  <a:lnTo>
                    <a:pt x="940" y="175"/>
                  </a:lnTo>
                  <a:lnTo>
                    <a:pt x="940" y="173"/>
                  </a:lnTo>
                  <a:lnTo>
                    <a:pt x="940" y="172"/>
                  </a:lnTo>
                  <a:lnTo>
                    <a:pt x="940" y="172"/>
                  </a:lnTo>
                  <a:lnTo>
                    <a:pt x="940" y="172"/>
                  </a:lnTo>
                  <a:lnTo>
                    <a:pt x="940" y="172"/>
                  </a:lnTo>
                  <a:lnTo>
                    <a:pt x="940" y="170"/>
                  </a:lnTo>
                  <a:lnTo>
                    <a:pt x="940" y="170"/>
                  </a:lnTo>
                  <a:lnTo>
                    <a:pt x="940" y="168"/>
                  </a:lnTo>
                  <a:lnTo>
                    <a:pt x="940" y="168"/>
                  </a:lnTo>
                  <a:lnTo>
                    <a:pt x="940" y="166"/>
                  </a:lnTo>
                  <a:lnTo>
                    <a:pt x="940" y="166"/>
                  </a:lnTo>
                  <a:lnTo>
                    <a:pt x="941" y="163"/>
                  </a:lnTo>
                  <a:lnTo>
                    <a:pt x="941" y="161"/>
                  </a:lnTo>
                  <a:lnTo>
                    <a:pt x="941" y="161"/>
                  </a:lnTo>
                  <a:lnTo>
                    <a:pt x="941" y="161"/>
                  </a:lnTo>
                  <a:lnTo>
                    <a:pt x="941" y="159"/>
                  </a:lnTo>
                  <a:lnTo>
                    <a:pt x="941" y="157"/>
                  </a:lnTo>
                  <a:lnTo>
                    <a:pt x="947" y="153"/>
                  </a:lnTo>
                  <a:lnTo>
                    <a:pt x="949" y="153"/>
                  </a:lnTo>
                  <a:lnTo>
                    <a:pt x="949" y="153"/>
                  </a:lnTo>
                  <a:lnTo>
                    <a:pt x="950" y="155"/>
                  </a:lnTo>
                  <a:lnTo>
                    <a:pt x="950" y="155"/>
                  </a:lnTo>
                  <a:lnTo>
                    <a:pt x="954" y="157"/>
                  </a:lnTo>
                  <a:lnTo>
                    <a:pt x="956" y="159"/>
                  </a:lnTo>
                  <a:lnTo>
                    <a:pt x="959" y="161"/>
                  </a:lnTo>
                  <a:lnTo>
                    <a:pt x="959" y="161"/>
                  </a:lnTo>
                  <a:lnTo>
                    <a:pt x="958" y="159"/>
                  </a:lnTo>
                  <a:lnTo>
                    <a:pt x="958" y="157"/>
                  </a:lnTo>
                  <a:lnTo>
                    <a:pt x="958" y="155"/>
                  </a:lnTo>
                  <a:lnTo>
                    <a:pt x="954" y="152"/>
                  </a:lnTo>
                  <a:lnTo>
                    <a:pt x="954" y="152"/>
                  </a:lnTo>
                  <a:lnTo>
                    <a:pt x="954" y="152"/>
                  </a:lnTo>
                  <a:lnTo>
                    <a:pt x="952" y="152"/>
                  </a:lnTo>
                  <a:lnTo>
                    <a:pt x="952" y="152"/>
                  </a:lnTo>
                  <a:lnTo>
                    <a:pt x="952" y="152"/>
                  </a:lnTo>
                  <a:lnTo>
                    <a:pt x="950" y="150"/>
                  </a:lnTo>
                  <a:lnTo>
                    <a:pt x="949" y="148"/>
                  </a:lnTo>
                  <a:lnTo>
                    <a:pt x="949" y="148"/>
                  </a:lnTo>
                  <a:lnTo>
                    <a:pt x="949" y="148"/>
                  </a:lnTo>
                  <a:lnTo>
                    <a:pt x="949" y="148"/>
                  </a:lnTo>
                  <a:lnTo>
                    <a:pt x="949" y="148"/>
                  </a:lnTo>
                  <a:lnTo>
                    <a:pt x="947" y="146"/>
                  </a:lnTo>
                  <a:lnTo>
                    <a:pt x="947" y="146"/>
                  </a:lnTo>
                  <a:lnTo>
                    <a:pt x="947" y="146"/>
                  </a:lnTo>
                  <a:lnTo>
                    <a:pt x="947" y="144"/>
                  </a:lnTo>
                  <a:lnTo>
                    <a:pt x="947" y="144"/>
                  </a:lnTo>
                  <a:lnTo>
                    <a:pt x="945" y="143"/>
                  </a:lnTo>
                  <a:lnTo>
                    <a:pt x="941" y="139"/>
                  </a:lnTo>
                  <a:lnTo>
                    <a:pt x="938" y="137"/>
                  </a:lnTo>
                  <a:lnTo>
                    <a:pt x="936" y="135"/>
                  </a:lnTo>
                  <a:lnTo>
                    <a:pt x="934" y="135"/>
                  </a:lnTo>
                  <a:lnTo>
                    <a:pt x="932" y="135"/>
                  </a:lnTo>
                  <a:lnTo>
                    <a:pt x="929" y="135"/>
                  </a:lnTo>
                  <a:lnTo>
                    <a:pt x="927" y="135"/>
                  </a:lnTo>
                  <a:lnTo>
                    <a:pt x="927" y="137"/>
                  </a:lnTo>
                  <a:lnTo>
                    <a:pt x="925" y="137"/>
                  </a:lnTo>
                  <a:lnTo>
                    <a:pt x="925" y="137"/>
                  </a:lnTo>
                  <a:lnTo>
                    <a:pt x="925" y="135"/>
                  </a:lnTo>
                  <a:lnTo>
                    <a:pt x="923" y="135"/>
                  </a:lnTo>
                  <a:lnTo>
                    <a:pt x="923" y="135"/>
                  </a:lnTo>
                  <a:lnTo>
                    <a:pt x="921" y="137"/>
                  </a:lnTo>
                  <a:lnTo>
                    <a:pt x="920" y="137"/>
                  </a:lnTo>
                  <a:lnTo>
                    <a:pt x="914" y="137"/>
                  </a:lnTo>
                  <a:lnTo>
                    <a:pt x="909" y="134"/>
                  </a:lnTo>
                  <a:lnTo>
                    <a:pt x="905" y="132"/>
                  </a:lnTo>
                  <a:lnTo>
                    <a:pt x="902" y="130"/>
                  </a:lnTo>
                  <a:lnTo>
                    <a:pt x="902" y="128"/>
                  </a:lnTo>
                  <a:lnTo>
                    <a:pt x="902" y="128"/>
                  </a:lnTo>
                  <a:lnTo>
                    <a:pt x="905" y="128"/>
                  </a:lnTo>
                  <a:lnTo>
                    <a:pt x="905" y="126"/>
                  </a:lnTo>
                  <a:lnTo>
                    <a:pt x="905" y="126"/>
                  </a:lnTo>
                  <a:lnTo>
                    <a:pt x="903" y="125"/>
                  </a:lnTo>
                  <a:lnTo>
                    <a:pt x="902" y="123"/>
                  </a:lnTo>
                  <a:lnTo>
                    <a:pt x="903" y="123"/>
                  </a:lnTo>
                  <a:lnTo>
                    <a:pt x="903" y="123"/>
                  </a:lnTo>
                  <a:lnTo>
                    <a:pt x="903" y="121"/>
                  </a:lnTo>
                  <a:lnTo>
                    <a:pt x="900" y="117"/>
                  </a:lnTo>
                  <a:lnTo>
                    <a:pt x="900" y="116"/>
                  </a:lnTo>
                  <a:lnTo>
                    <a:pt x="898" y="116"/>
                  </a:lnTo>
                  <a:lnTo>
                    <a:pt x="898" y="114"/>
                  </a:lnTo>
                  <a:lnTo>
                    <a:pt x="900" y="114"/>
                  </a:lnTo>
                  <a:lnTo>
                    <a:pt x="900" y="112"/>
                  </a:lnTo>
                  <a:lnTo>
                    <a:pt x="900" y="110"/>
                  </a:lnTo>
                  <a:lnTo>
                    <a:pt x="900" y="110"/>
                  </a:lnTo>
                  <a:lnTo>
                    <a:pt x="898" y="108"/>
                  </a:lnTo>
                  <a:lnTo>
                    <a:pt x="896" y="108"/>
                  </a:lnTo>
                  <a:lnTo>
                    <a:pt x="896" y="107"/>
                  </a:lnTo>
                  <a:lnTo>
                    <a:pt x="898" y="105"/>
                  </a:lnTo>
                  <a:lnTo>
                    <a:pt x="900" y="105"/>
                  </a:lnTo>
                  <a:lnTo>
                    <a:pt x="902" y="103"/>
                  </a:lnTo>
                  <a:lnTo>
                    <a:pt x="900" y="103"/>
                  </a:lnTo>
                  <a:lnTo>
                    <a:pt x="900" y="103"/>
                  </a:lnTo>
                  <a:lnTo>
                    <a:pt x="900" y="103"/>
                  </a:lnTo>
                  <a:lnTo>
                    <a:pt x="900" y="103"/>
                  </a:lnTo>
                  <a:lnTo>
                    <a:pt x="902" y="103"/>
                  </a:lnTo>
                  <a:lnTo>
                    <a:pt x="902" y="103"/>
                  </a:lnTo>
                  <a:lnTo>
                    <a:pt x="902" y="103"/>
                  </a:lnTo>
                  <a:lnTo>
                    <a:pt x="902" y="101"/>
                  </a:lnTo>
                  <a:lnTo>
                    <a:pt x="902" y="101"/>
                  </a:lnTo>
                  <a:lnTo>
                    <a:pt x="903" y="98"/>
                  </a:lnTo>
                  <a:lnTo>
                    <a:pt x="903" y="96"/>
                  </a:lnTo>
                  <a:lnTo>
                    <a:pt x="903" y="96"/>
                  </a:lnTo>
                  <a:lnTo>
                    <a:pt x="905" y="94"/>
                  </a:lnTo>
                  <a:lnTo>
                    <a:pt x="905" y="94"/>
                  </a:lnTo>
                  <a:lnTo>
                    <a:pt x="905" y="88"/>
                  </a:lnTo>
                  <a:lnTo>
                    <a:pt x="905" y="88"/>
                  </a:lnTo>
                  <a:lnTo>
                    <a:pt x="905" y="87"/>
                  </a:lnTo>
                  <a:lnTo>
                    <a:pt x="902" y="83"/>
                  </a:lnTo>
                  <a:lnTo>
                    <a:pt x="902" y="81"/>
                  </a:lnTo>
                  <a:lnTo>
                    <a:pt x="902" y="81"/>
                  </a:lnTo>
                  <a:lnTo>
                    <a:pt x="902" y="79"/>
                  </a:lnTo>
                  <a:lnTo>
                    <a:pt x="902" y="78"/>
                  </a:lnTo>
                  <a:lnTo>
                    <a:pt x="900" y="78"/>
                  </a:lnTo>
                  <a:lnTo>
                    <a:pt x="900" y="74"/>
                  </a:lnTo>
                  <a:lnTo>
                    <a:pt x="896" y="74"/>
                  </a:lnTo>
                  <a:lnTo>
                    <a:pt x="894" y="72"/>
                  </a:lnTo>
                  <a:lnTo>
                    <a:pt x="893" y="72"/>
                  </a:lnTo>
                  <a:lnTo>
                    <a:pt x="893" y="70"/>
                  </a:lnTo>
                  <a:lnTo>
                    <a:pt x="891" y="69"/>
                  </a:lnTo>
                  <a:lnTo>
                    <a:pt x="891" y="67"/>
                  </a:lnTo>
                  <a:lnTo>
                    <a:pt x="891" y="65"/>
                  </a:lnTo>
                  <a:lnTo>
                    <a:pt x="891" y="63"/>
                  </a:lnTo>
                  <a:lnTo>
                    <a:pt x="891" y="61"/>
                  </a:lnTo>
                  <a:lnTo>
                    <a:pt x="889" y="61"/>
                  </a:lnTo>
                  <a:lnTo>
                    <a:pt x="887" y="60"/>
                  </a:lnTo>
                  <a:lnTo>
                    <a:pt x="887" y="60"/>
                  </a:lnTo>
                  <a:lnTo>
                    <a:pt x="885" y="60"/>
                  </a:lnTo>
                  <a:lnTo>
                    <a:pt x="880" y="61"/>
                  </a:lnTo>
                  <a:lnTo>
                    <a:pt x="880" y="60"/>
                  </a:lnTo>
                  <a:lnTo>
                    <a:pt x="878" y="58"/>
                  </a:lnTo>
                  <a:lnTo>
                    <a:pt x="878" y="56"/>
                  </a:lnTo>
                  <a:lnTo>
                    <a:pt x="876" y="56"/>
                  </a:lnTo>
                  <a:lnTo>
                    <a:pt x="875" y="56"/>
                  </a:lnTo>
                  <a:lnTo>
                    <a:pt x="875" y="56"/>
                  </a:lnTo>
                  <a:lnTo>
                    <a:pt x="876" y="54"/>
                  </a:lnTo>
                  <a:lnTo>
                    <a:pt x="878" y="54"/>
                  </a:lnTo>
                  <a:lnTo>
                    <a:pt x="878" y="52"/>
                  </a:lnTo>
                  <a:lnTo>
                    <a:pt x="878" y="52"/>
                  </a:lnTo>
                  <a:lnTo>
                    <a:pt x="876" y="52"/>
                  </a:lnTo>
                  <a:lnTo>
                    <a:pt x="875" y="52"/>
                  </a:lnTo>
                  <a:lnTo>
                    <a:pt x="873" y="49"/>
                  </a:lnTo>
                  <a:lnTo>
                    <a:pt x="869" y="47"/>
                  </a:lnTo>
                  <a:lnTo>
                    <a:pt x="867" y="47"/>
                  </a:lnTo>
                  <a:lnTo>
                    <a:pt x="867" y="43"/>
                  </a:lnTo>
                  <a:lnTo>
                    <a:pt x="865" y="43"/>
                  </a:lnTo>
                  <a:lnTo>
                    <a:pt x="865" y="43"/>
                  </a:lnTo>
                  <a:lnTo>
                    <a:pt x="865" y="43"/>
                  </a:lnTo>
                  <a:lnTo>
                    <a:pt x="865" y="42"/>
                  </a:lnTo>
                  <a:lnTo>
                    <a:pt x="865" y="42"/>
                  </a:lnTo>
                  <a:lnTo>
                    <a:pt x="864" y="42"/>
                  </a:lnTo>
                  <a:lnTo>
                    <a:pt x="864" y="42"/>
                  </a:lnTo>
                  <a:lnTo>
                    <a:pt x="862" y="40"/>
                  </a:lnTo>
                  <a:lnTo>
                    <a:pt x="862" y="40"/>
                  </a:lnTo>
                  <a:lnTo>
                    <a:pt x="862" y="40"/>
                  </a:lnTo>
                  <a:lnTo>
                    <a:pt x="862" y="40"/>
                  </a:lnTo>
                  <a:lnTo>
                    <a:pt x="860" y="42"/>
                  </a:lnTo>
                  <a:lnTo>
                    <a:pt x="860" y="42"/>
                  </a:lnTo>
                  <a:lnTo>
                    <a:pt x="858" y="40"/>
                  </a:lnTo>
                  <a:lnTo>
                    <a:pt x="856" y="40"/>
                  </a:lnTo>
                  <a:lnTo>
                    <a:pt x="858" y="38"/>
                  </a:lnTo>
                  <a:lnTo>
                    <a:pt x="858" y="38"/>
                  </a:lnTo>
                  <a:lnTo>
                    <a:pt x="858" y="36"/>
                  </a:lnTo>
                  <a:lnTo>
                    <a:pt x="858" y="36"/>
                  </a:lnTo>
                  <a:lnTo>
                    <a:pt x="858" y="36"/>
                  </a:lnTo>
                  <a:lnTo>
                    <a:pt x="860" y="34"/>
                  </a:lnTo>
                  <a:lnTo>
                    <a:pt x="860" y="34"/>
                  </a:lnTo>
                  <a:lnTo>
                    <a:pt x="858" y="34"/>
                  </a:lnTo>
                  <a:lnTo>
                    <a:pt x="851" y="32"/>
                  </a:lnTo>
                  <a:lnTo>
                    <a:pt x="849" y="34"/>
                  </a:lnTo>
                  <a:lnTo>
                    <a:pt x="847" y="34"/>
                  </a:lnTo>
                  <a:lnTo>
                    <a:pt x="847" y="34"/>
                  </a:lnTo>
                  <a:lnTo>
                    <a:pt x="847" y="34"/>
                  </a:lnTo>
                  <a:lnTo>
                    <a:pt x="847" y="34"/>
                  </a:lnTo>
                  <a:lnTo>
                    <a:pt x="846" y="36"/>
                  </a:lnTo>
                  <a:lnTo>
                    <a:pt x="846" y="38"/>
                  </a:lnTo>
                  <a:lnTo>
                    <a:pt x="846" y="40"/>
                  </a:lnTo>
                  <a:lnTo>
                    <a:pt x="844" y="42"/>
                  </a:lnTo>
                  <a:lnTo>
                    <a:pt x="842" y="43"/>
                  </a:lnTo>
                  <a:lnTo>
                    <a:pt x="842" y="43"/>
                  </a:lnTo>
                  <a:lnTo>
                    <a:pt x="842" y="43"/>
                  </a:lnTo>
                  <a:lnTo>
                    <a:pt x="840" y="43"/>
                  </a:lnTo>
                  <a:lnTo>
                    <a:pt x="831" y="40"/>
                  </a:lnTo>
                  <a:lnTo>
                    <a:pt x="829" y="40"/>
                  </a:lnTo>
                  <a:lnTo>
                    <a:pt x="828" y="40"/>
                  </a:lnTo>
                  <a:lnTo>
                    <a:pt x="828" y="40"/>
                  </a:lnTo>
                  <a:lnTo>
                    <a:pt x="826" y="40"/>
                  </a:lnTo>
                  <a:lnTo>
                    <a:pt x="826" y="40"/>
                  </a:lnTo>
                  <a:lnTo>
                    <a:pt x="824" y="40"/>
                  </a:lnTo>
                  <a:lnTo>
                    <a:pt x="824" y="40"/>
                  </a:lnTo>
                  <a:lnTo>
                    <a:pt x="822" y="40"/>
                  </a:lnTo>
                  <a:lnTo>
                    <a:pt x="822" y="40"/>
                  </a:lnTo>
                  <a:lnTo>
                    <a:pt x="822" y="40"/>
                  </a:lnTo>
                  <a:lnTo>
                    <a:pt x="820" y="40"/>
                  </a:lnTo>
                  <a:lnTo>
                    <a:pt x="817" y="40"/>
                  </a:lnTo>
                  <a:lnTo>
                    <a:pt x="815" y="40"/>
                  </a:lnTo>
                  <a:lnTo>
                    <a:pt x="813" y="40"/>
                  </a:lnTo>
                  <a:lnTo>
                    <a:pt x="811" y="42"/>
                  </a:lnTo>
                  <a:lnTo>
                    <a:pt x="810" y="43"/>
                  </a:lnTo>
                  <a:lnTo>
                    <a:pt x="810" y="45"/>
                  </a:lnTo>
                  <a:lnTo>
                    <a:pt x="810" y="43"/>
                  </a:lnTo>
                  <a:lnTo>
                    <a:pt x="806" y="42"/>
                  </a:lnTo>
                  <a:lnTo>
                    <a:pt x="806" y="42"/>
                  </a:lnTo>
                  <a:lnTo>
                    <a:pt x="804" y="42"/>
                  </a:lnTo>
                  <a:lnTo>
                    <a:pt x="804" y="42"/>
                  </a:lnTo>
                  <a:lnTo>
                    <a:pt x="804" y="42"/>
                  </a:lnTo>
                  <a:lnTo>
                    <a:pt x="804" y="42"/>
                  </a:lnTo>
                  <a:lnTo>
                    <a:pt x="804" y="40"/>
                  </a:lnTo>
                  <a:lnTo>
                    <a:pt x="804" y="40"/>
                  </a:lnTo>
                  <a:lnTo>
                    <a:pt x="804" y="40"/>
                  </a:lnTo>
                  <a:lnTo>
                    <a:pt x="802" y="40"/>
                  </a:lnTo>
                  <a:lnTo>
                    <a:pt x="800" y="40"/>
                  </a:lnTo>
                  <a:lnTo>
                    <a:pt x="800" y="40"/>
                  </a:lnTo>
                  <a:lnTo>
                    <a:pt x="795" y="38"/>
                  </a:lnTo>
                  <a:lnTo>
                    <a:pt x="793" y="40"/>
                  </a:lnTo>
                  <a:lnTo>
                    <a:pt x="791" y="42"/>
                  </a:lnTo>
                  <a:lnTo>
                    <a:pt x="790" y="43"/>
                  </a:lnTo>
                  <a:lnTo>
                    <a:pt x="790" y="43"/>
                  </a:lnTo>
                  <a:lnTo>
                    <a:pt x="790" y="45"/>
                  </a:lnTo>
                  <a:lnTo>
                    <a:pt x="790" y="47"/>
                  </a:lnTo>
                  <a:lnTo>
                    <a:pt x="788" y="47"/>
                  </a:lnTo>
                  <a:lnTo>
                    <a:pt x="788" y="47"/>
                  </a:lnTo>
                  <a:lnTo>
                    <a:pt x="786" y="47"/>
                  </a:lnTo>
                  <a:lnTo>
                    <a:pt x="786" y="49"/>
                  </a:lnTo>
                  <a:lnTo>
                    <a:pt x="784" y="49"/>
                  </a:lnTo>
                  <a:lnTo>
                    <a:pt x="782" y="49"/>
                  </a:lnTo>
                  <a:lnTo>
                    <a:pt x="779" y="52"/>
                  </a:lnTo>
                  <a:lnTo>
                    <a:pt x="777" y="52"/>
                  </a:lnTo>
                  <a:lnTo>
                    <a:pt x="775" y="52"/>
                  </a:lnTo>
                  <a:lnTo>
                    <a:pt x="775" y="54"/>
                  </a:lnTo>
                  <a:lnTo>
                    <a:pt x="773" y="54"/>
                  </a:lnTo>
                  <a:lnTo>
                    <a:pt x="772" y="56"/>
                  </a:lnTo>
                  <a:lnTo>
                    <a:pt x="772" y="58"/>
                  </a:lnTo>
                  <a:lnTo>
                    <a:pt x="770" y="58"/>
                  </a:lnTo>
                  <a:lnTo>
                    <a:pt x="768" y="58"/>
                  </a:lnTo>
                  <a:lnTo>
                    <a:pt x="768" y="58"/>
                  </a:lnTo>
                  <a:lnTo>
                    <a:pt x="766" y="58"/>
                  </a:lnTo>
                  <a:lnTo>
                    <a:pt x="764" y="60"/>
                  </a:lnTo>
                  <a:lnTo>
                    <a:pt x="763" y="60"/>
                  </a:lnTo>
                  <a:lnTo>
                    <a:pt x="761" y="60"/>
                  </a:lnTo>
                  <a:lnTo>
                    <a:pt x="761" y="60"/>
                  </a:lnTo>
                  <a:lnTo>
                    <a:pt x="761" y="60"/>
                  </a:lnTo>
                  <a:lnTo>
                    <a:pt x="757" y="61"/>
                  </a:lnTo>
                  <a:lnTo>
                    <a:pt x="754" y="65"/>
                  </a:lnTo>
                  <a:lnTo>
                    <a:pt x="754" y="67"/>
                  </a:lnTo>
                  <a:lnTo>
                    <a:pt x="752" y="67"/>
                  </a:lnTo>
                  <a:lnTo>
                    <a:pt x="750" y="67"/>
                  </a:lnTo>
                  <a:lnTo>
                    <a:pt x="750" y="67"/>
                  </a:lnTo>
                  <a:lnTo>
                    <a:pt x="748" y="69"/>
                  </a:lnTo>
                  <a:lnTo>
                    <a:pt x="746" y="70"/>
                  </a:lnTo>
                  <a:lnTo>
                    <a:pt x="744" y="70"/>
                  </a:lnTo>
                  <a:lnTo>
                    <a:pt x="743" y="70"/>
                  </a:lnTo>
                  <a:lnTo>
                    <a:pt x="743" y="69"/>
                  </a:lnTo>
                  <a:lnTo>
                    <a:pt x="734" y="74"/>
                  </a:lnTo>
                  <a:lnTo>
                    <a:pt x="732" y="76"/>
                  </a:lnTo>
                  <a:lnTo>
                    <a:pt x="730" y="76"/>
                  </a:lnTo>
                  <a:lnTo>
                    <a:pt x="728" y="76"/>
                  </a:lnTo>
                  <a:lnTo>
                    <a:pt x="726" y="78"/>
                  </a:lnTo>
                  <a:lnTo>
                    <a:pt x="726" y="78"/>
                  </a:lnTo>
                  <a:lnTo>
                    <a:pt x="725" y="78"/>
                  </a:lnTo>
                  <a:lnTo>
                    <a:pt x="723" y="78"/>
                  </a:lnTo>
                  <a:lnTo>
                    <a:pt x="721" y="76"/>
                  </a:lnTo>
                  <a:lnTo>
                    <a:pt x="719" y="74"/>
                  </a:lnTo>
                  <a:lnTo>
                    <a:pt x="717" y="74"/>
                  </a:lnTo>
                  <a:lnTo>
                    <a:pt x="714" y="74"/>
                  </a:lnTo>
                  <a:lnTo>
                    <a:pt x="714" y="76"/>
                  </a:lnTo>
                  <a:lnTo>
                    <a:pt x="712" y="76"/>
                  </a:lnTo>
                  <a:lnTo>
                    <a:pt x="712" y="74"/>
                  </a:lnTo>
                  <a:lnTo>
                    <a:pt x="708" y="72"/>
                  </a:lnTo>
                  <a:lnTo>
                    <a:pt x="708" y="72"/>
                  </a:lnTo>
                  <a:lnTo>
                    <a:pt x="707" y="72"/>
                  </a:lnTo>
                  <a:lnTo>
                    <a:pt x="707" y="72"/>
                  </a:lnTo>
                  <a:lnTo>
                    <a:pt x="705" y="70"/>
                  </a:lnTo>
                  <a:lnTo>
                    <a:pt x="705" y="72"/>
                  </a:lnTo>
                  <a:lnTo>
                    <a:pt x="703" y="72"/>
                  </a:lnTo>
                  <a:lnTo>
                    <a:pt x="701" y="72"/>
                  </a:lnTo>
                  <a:lnTo>
                    <a:pt x="699" y="72"/>
                  </a:lnTo>
                  <a:lnTo>
                    <a:pt x="698" y="70"/>
                  </a:lnTo>
                  <a:lnTo>
                    <a:pt x="696" y="69"/>
                  </a:lnTo>
                  <a:lnTo>
                    <a:pt x="694" y="67"/>
                  </a:lnTo>
                  <a:lnTo>
                    <a:pt x="694" y="65"/>
                  </a:lnTo>
                  <a:lnTo>
                    <a:pt x="690" y="65"/>
                  </a:lnTo>
                  <a:lnTo>
                    <a:pt x="690" y="65"/>
                  </a:lnTo>
                  <a:lnTo>
                    <a:pt x="689" y="65"/>
                  </a:lnTo>
                  <a:lnTo>
                    <a:pt x="689" y="65"/>
                  </a:lnTo>
                  <a:lnTo>
                    <a:pt x="689" y="65"/>
                  </a:lnTo>
                  <a:lnTo>
                    <a:pt x="687" y="67"/>
                  </a:lnTo>
                  <a:lnTo>
                    <a:pt x="685" y="67"/>
                  </a:lnTo>
                  <a:lnTo>
                    <a:pt x="685" y="69"/>
                  </a:lnTo>
                  <a:lnTo>
                    <a:pt x="683" y="69"/>
                  </a:lnTo>
                  <a:lnTo>
                    <a:pt x="681" y="69"/>
                  </a:lnTo>
                  <a:lnTo>
                    <a:pt x="681" y="69"/>
                  </a:lnTo>
                  <a:lnTo>
                    <a:pt x="679" y="67"/>
                  </a:lnTo>
                  <a:lnTo>
                    <a:pt x="678" y="67"/>
                  </a:lnTo>
                  <a:lnTo>
                    <a:pt x="678" y="67"/>
                  </a:lnTo>
                  <a:lnTo>
                    <a:pt x="676" y="67"/>
                  </a:lnTo>
                  <a:lnTo>
                    <a:pt x="676" y="69"/>
                  </a:lnTo>
                  <a:lnTo>
                    <a:pt x="674" y="69"/>
                  </a:lnTo>
                  <a:lnTo>
                    <a:pt x="670" y="69"/>
                  </a:lnTo>
                  <a:lnTo>
                    <a:pt x="665" y="70"/>
                  </a:lnTo>
                  <a:lnTo>
                    <a:pt x="663" y="70"/>
                  </a:lnTo>
                  <a:lnTo>
                    <a:pt x="663" y="70"/>
                  </a:lnTo>
                  <a:lnTo>
                    <a:pt x="661" y="70"/>
                  </a:lnTo>
                  <a:lnTo>
                    <a:pt x="660" y="72"/>
                  </a:lnTo>
                  <a:lnTo>
                    <a:pt x="658" y="72"/>
                  </a:lnTo>
                  <a:lnTo>
                    <a:pt x="658" y="72"/>
                  </a:lnTo>
                  <a:lnTo>
                    <a:pt x="658" y="72"/>
                  </a:lnTo>
                  <a:lnTo>
                    <a:pt x="656" y="74"/>
                  </a:lnTo>
                  <a:lnTo>
                    <a:pt x="656" y="74"/>
                  </a:lnTo>
                  <a:lnTo>
                    <a:pt x="656" y="74"/>
                  </a:lnTo>
                  <a:lnTo>
                    <a:pt x="654" y="76"/>
                  </a:lnTo>
                  <a:lnTo>
                    <a:pt x="654" y="76"/>
                  </a:lnTo>
                  <a:lnTo>
                    <a:pt x="654" y="76"/>
                  </a:lnTo>
                  <a:lnTo>
                    <a:pt x="652" y="76"/>
                  </a:lnTo>
                  <a:lnTo>
                    <a:pt x="652" y="76"/>
                  </a:lnTo>
                  <a:lnTo>
                    <a:pt x="652" y="76"/>
                  </a:lnTo>
                  <a:lnTo>
                    <a:pt x="651" y="74"/>
                  </a:lnTo>
                  <a:lnTo>
                    <a:pt x="651" y="74"/>
                  </a:lnTo>
                  <a:lnTo>
                    <a:pt x="651" y="74"/>
                  </a:lnTo>
                  <a:lnTo>
                    <a:pt x="649" y="74"/>
                  </a:lnTo>
                  <a:lnTo>
                    <a:pt x="649" y="74"/>
                  </a:lnTo>
                  <a:lnTo>
                    <a:pt x="647" y="76"/>
                  </a:lnTo>
                  <a:lnTo>
                    <a:pt x="645" y="78"/>
                  </a:lnTo>
                  <a:lnTo>
                    <a:pt x="642" y="78"/>
                  </a:lnTo>
                  <a:lnTo>
                    <a:pt x="642" y="78"/>
                  </a:lnTo>
                  <a:lnTo>
                    <a:pt x="640" y="78"/>
                  </a:lnTo>
                  <a:lnTo>
                    <a:pt x="638" y="78"/>
                  </a:lnTo>
                  <a:lnTo>
                    <a:pt x="636" y="78"/>
                  </a:lnTo>
                  <a:lnTo>
                    <a:pt x="634" y="78"/>
                  </a:lnTo>
                  <a:lnTo>
                    <a:pt x="633" y="76"/>
                  </a:lnTo>
                  <a:lnTo>
                    <a:pt x="633" y="76"/>
                  </a:lnTo>
                  <a:lnTo>
                    <a:pt x="629" y="76"/>
                  </a:lnTo>
                  <a:lnTo>
                    <a:pt x="629" y="76"/>
                  </a:lnTo>
                  <a:lnTo>
                    <a:pt x="627" y="76"/>
                  </a:lnTo>
                  <a:lnTo>
                    <a:pt x="624" y="76"/>
                  </a:lnTo>
                  <a:lnTo>
                    <a:pt x="618" y="72"/>
                  </a:lnTo>
                  <a:lnTo>
                    <a:pt x="614" y="72"/>
                  </a:lnTo>
                  <a:lnTo>
                    <a:pt x="613" y="74"/>
                  </a:lnTo>
                  <a:lnTo>
                    <a:pt x="613" y="72"/>
                  </a:lnTo>
                  <a:lnTo>
                    <a:pt x="613" y="72"/>
                  </a:lnTo>
                  <a:lnTo>
                    <a:pt x="611" y="70"/>
                  </a:lnTo>
                  <a:lnTo>
                    <a:pt x="609" y="70"/>
                  </a:lnTo>
                  <a:lnTo>
                    <a:pt x="607" y="69"/>
                  </a:lnTo>
                  <a:lnTo>
                    <a:pt x="607" y="65"/>
                  </a:lnTo>
                  <a:lnTo>
                    <a:pt x="605" y="65"/>
                  </a:lnTo>
                  <a:lnTo>
                    <a:pt x="605" y="63"/>
                  </a:lnTo>
                  <a:lnTo>
                    <a:pt x="605" y="65"/>
                  </a:lnTo>
                  <a:lnTo>
                    <a:pt x="604" y="65"/>
                  </a:lnTo>
                  <a:lnTo>
                    <a:pt x="604" y="65"/>
                  </a:lnTo>
                  <a:lnTo>
                    <a:pt x="604" y="63"/>
                  </a:lnTo>
                  <a:lnTo>
                    <a:pt x="602" y="63"/>
                  </a:lnTo>
                  <a:lnTo>
                    <a:pt x="602" y="65"/>
                  </a:lnTo>
                  <a:lnTo>
                    <a:pt x="600" y="65"/>
                  </a:lnTo>
                  <a:lnTo>
                    <a:pt x="600" y="67"/>
                  </a:lnTo>
                  <a:lnTo>
                    <a:pt x="600" y="69"/>
                  </a:lnTo>
                  <a:lnTo>
                    <a:pt x="598" y="69"/>
                  </a:lnTo>
                  <a:lnTo>
                    <a:pt x="598" y="69"/>
                  </a:lnTo>
                  <a:lnTo>
                    <a:pt x="598" y="70"/>
                  </a:lnTo>
                  <a:lnTo>
                    <a:pt x="598" y="70"/>
                  </a:lnTo>
                  <a:lnTo>
                    <a:pt x="596" y="70"/>
                  </a:lnTo>
                  <a:lnTo>
                    <a:pt x="595" y="70"/>
                  </a:lnTo>
                  <a:lnTo>
                    <a:pt x="593" y="70"/>
                  </a:lnTo>
                  <a:lnTo>
                    <a:pt x="593" y="69"/>
                  </a:lnTo>
                  <a:lnTo>
                    <a:pt x="593" y="69"/>
                  </a:lnTo>
                  <a:lnTo>
                    <a:pt x="591" y="67"/>
                  </a:lnTo>
                  <a:lnTo>
                    <a:pt x="589" y="67"/>
                  </a:lnTo>
                  <a:lnTo>
                    <a:pt x="587" y="65"/>
                  </a:lnTo>
                  <a:lnTo>
                    <a:pt x="587" y="65"/>
                  </a:lnTo>
                  <a:lnTo>
                    <a:pt x="586" y="65"/>
                  </a:lnTo>
                  <a:lnTo>
                    <a:pt x="586" y="65"/>
                  </a:lnTo>
                  <a:lnTo>
                    <a:pt x="584" y="65"/>
                  </a:lnTo>
                  <a:lnTo>
                    <a:pt x="584" y="63"/>
                  </a:lnTo>
                  <a:lnTo>
                    <a:pt x="582" y="63"/>
                  </a:lnTo>
                  <a:lnTo>
                    <a:pt x="575" y="63"/>
                  </a:lnTo>
                  <a:lnTo>
                    <a:pt x="575" y="61"/>
                  </a:lnTo>
                  <a:lnTo>
                    <a:pt x="573" y="61"/>
                  </a:lnTo>
                  <a:lnTo>
                    <a:pt x="571" y="61"/>
                  </a:lnTo>
                  <a:lnTo>
                    <a:pt x="571" y="60"/>
                  </a:lnTo>
                  <a:lnTo>
                    <a:pt x="569" y="60"/>
                  </a:lnTo>
                  <a:lnTo>
                    <a:pt x="569" y="56"/>
                  </a:lnTo>
                  <a:lnTo>
                    <a:pt x="569" y="54"/>
                  </a:lnTo>
                  <a:lnTo>
                    <a:pt x="568" y="52"/>
                  </a:lnTo>
                  <a:lnTo>
                    <a:pt x="560" y="49"/>
                  </a:lnTo>
                  <a:lnTo>
                    <a:pt x="557" y="49"/>
                  </a:lnTo>
                  <a:lnTo>
                    <a:pt x="551" y="49"/>
                  </a:lnTo>
                  <a:lnTo>
                    <a:pt x="551" y="49"/>
                  </a:lnTo>
                  <a:lnTo>
                    <a:pt x="549" y="47"/>
                  </a:lnTo>
                  <a:lnTo>
                    <a:pt x="549" y="47"/>
                  </a:lnTo>
                  <a:lnTo>
                    <a:pt x="549" y="49"/>
                  </a:lnTo>
                  <a:lnTo>
                    <a:pt x="549" y="49"/>
                  </a:lnTo>
                  <a:lnTo>
                    <a:pt x="548" y="49"/>
                  </a:lnTo>
                  <a:lnTo>
                    <a:pt x="548" y="51"/>
                  </a:lnTo>
                  <a:lnTo>
                    <a:pt x="548" y="51"/>
                  </a:lnTo>
                  <a:lnTo>
                    <a:pt x="548" y="51"/>
                  </a:lnTo>
                  <a:lnTo>
                    <a:pt x="548" y="52"/>
                  </a:lnTo>
                  <a:lnTo>
                    <a:pt x="548" y="52"/>
                  </a:lnTo>
                  <a:lnTo>
                    <a:pt x="544" y="54"/>
                  </a:lnTo>
                  <a:lnTo>
                    <a:pt x="542" y="56"/>
                  </a:lnTo>
                  <a:lnTo>
                    <a:pt x="540" y="56"/>
                  </a:lnTo>
                  <a:lnTo>
                    <a:pt x="540" y="56"/>
                  </a:lnTo>
                  <a:lnTo>
                    <a:pt x="540" y="56"/>
                  </a:lnTo>
                  <a:lnTo>
                    <a:pt x="539" y="56"/>
                  </a:lnTo>
                  <a:lnTo>
                    <a:pt x="539" y="56"/>
                  </a:lnTo>
                  <a:lnTo>
                    <a:pt x="539" y="56"/>
                  </a:lnTo>
                  <a:lnTo>
                    <a:pt x="537" y="54"/>
                  </a:lnTo>
                  <a:lnTo>
                    <a:pt x="537" y="54"/>
                  </a:lnTo>
                  <a:lnTo>
                    <a:pt x="537" y="54"/>
                  </a:lnTo>
                  <a:lnTo>
                    <a:pt x="537" y="54"/>
                  </a:lnTo>
                  <a:lnTo>
                    <a:pt x="535" y="52"/>
                  </a:lnTo>
                  <a:lnTo>
                    <a:pt x="535" y="52"/>
                  </a:lnTo>
                  <a:lnTo>
                    <a:pt x="535" y="52"/>
                  </a:lnTo>
                  <a:lnTo>
                    <a:pt x="535" y="51"/>
                  </a:lnTo>
                  <a:lnTo>
                    <a:pt x="535" y="51"/>
                  </a:lnTo>
                  <a:lnTo>
                    <a:pt x="533" y="51"/>
                  </a:lnTo>
                  <a:lnTo>
                    <a:pt x="531" y="49"/>
                  </a:lnTo>
                  <a:lnTo>
                    <a:pt x="530" y="49"/>
                  </a:lnTo>
                  <a:lnTo>
                    <a:pt x="528" y="45"/>
                  </a:lnTo>
                  <a:lnTo>
                    <a:pt x="528" y="45"/>
                  </a:lnTo>
                  <a:lnTo>
                    <a:pt x="524" y="42"/>
                  </a:lnTo>
                  <a:lnTo>
                    <a:pt x="524" y="40"/>
                  </a:lnTo>
                  <a:lnTo>
                    <a:pt x="524" y="40"/>
                  </a:lnTo>
                  <a:lnTo>
                    <a:pt x="524" y="38"/>
                  </a:lnTo>
                  <a:lnTo>
                    <a:pt x="524" y="38"/>
                  </a:lnTo>
                  <a:lnTo>
                    <a:pt x="524" y="36"/>
                  </a:lnTo>
                  <a:lnTo>
                    <a:pt x="524" y="36"/>
                  </a:lnTo>
                  <a:lnTo>
                    <a:pt x="524" y="32"/>
                  </a:lnTo>
                  <a:lnTo>
                    <a:pt x="524" y="31"/>
                  </a:lnTo>
                  <a:lnTo>
                    <a:pt x="521" y="25"/>
                  </a:lnTo>
                  <a:lnTo>
                    <a:pt x="521" y="25"/>
                  </a:lnTo>
                  <a:lnTo>
                    <a:pt x="521" y="27"/>
                  </a:lnTo>
                  <a:lnTo>
                    <a:pt x="517" y="23"/>
                  </a:lnTo>
                  <a:lnTo>
                    <a:pt x="517" y="23"/>
                  </a:lnTo>
                  <a:lnTo>
                    <a:pt x="517" y="25"/>
                  </a:lnTo>
                  <a:lnTo>
                    <a:pt x="515" y="25"/>
                  </a:lnTo>
                  <a:lnTo>
                    <a:pt x="515" y="27"/>
                  </a:lnTo>
                  <a:lnTo>
                    <a:pt x="515" y="27"/>
                  </a:lnTo>
                  <a:lnTo>
                    <a:pt x="515" y="29"/>
                  </a:lnTo>
                  <a:lnTo>
                    <a:pt x="513" y="29"/>
                  </a:lnTo>
                  <a:lnTo>
                    <a:pt x="513" y="29"/>
                  </a:lnTo>
                  <a:lnTo>
                    <a:pt x="515" y="27"/>
                  </a:lnTo>
                  <a:lnTo>
                    <a:pt x="515" y="25"/>
                  </a:lnTo>
                  <a:lnTo>
                    <a:pt x="515" y="25"/>
                  </a:lnTo>
                  <a:lnTo>
                    <a:pt x="515" y="25"/>
                  </a:lnTo>
                  <a:lnTo>
                    <a:pt x="515" y="23"/>
                  </a:lnTo>
                  <a:lnTo>
                    <a:pt x="517" y="23"/>
                  </a:lnTo>
                  <a:lnTo>
                    <a:pt x="517" y="23"/>
                  </a:lnTo>
                  <a:lnTo>
                    <a:pt x="515" y="23"/>
                  </a:lnTo>
                  <a:lnTo>
                    <a:pt x="513" y="25"/>
                  </a:lnTo>
                  <a:lnTo>
                    <a:pt x="512" y="25"/>
                  </a:lnTo>
                  <a:lnTo>
                    <a:pt x="510" y="25"/>
                  </a:lnTo>
                  <a:lnTo>
                    <a:pt x="506" y="29"/>
                  </a:lnTo>
                  <a:lnTo>
                    <a:pt x="503" y="29"/>
                  </a:lnTo>
                  <a:lnTo>
                    <a:pt x="501" y="31"/>
                  </a:lnTo>
                  <a:lnTo>
                    <a:pt x="499" y="31"/>
                  </a:lnTo>
                  <a:lnTo>
                    <a:pt x="497" y="31"/>
                  </a:lnTo>
                  <a:lnTo>
                    <a:pt x="495" y="31"/>
                  </a:lnTo>
                  <a:lnTo>
                    <a:pt x="493" y="29"/>
                  </a:lnTo>
                  <a:lnTo>
                    <a:pt x="490" y="29"/>
                  </a:lnTo>
                  <a:lnTo>
                    <a:pt x="490" y="27"/>
                  </a:lnTo>
                  <a:lnTo>
                    <a:pt x="488" y="27"/>
                  </a:lnTo>
                  <a:lnTo>
                    <a:pt x="486" y="25"/>
                  </a:lnTo>
                  <a:lnTo>
                    <a:pt x="483" y="25"/>
                  </a:lnTo>
                  <a:lnTo>
                    <a:pt x="483" y="23"/>
                  </a:lnTo>
                  <a:lnTo>
                    <a:pt x="481" y="22"/>
                  </a:lnTo>
                  <a:lnTo>
                    <a:pt x="479" y="22"/>
                  </a:lnTo>
                  <a:lnTo>
                    <a:pt x="479" y="22"/>
                  </a:lnTo>
                  <a:lnTo>
                    <a:pt x="479" y="20"/>
                  </a:lnTo>
                  <a:lnTo>
                    <a:pt x="477" y="18"/>
                  </a:lnTo>
                  <a:lnTo>
                    <a:pt x="479" y="18"/>
                  </a:lnTo>
                  <a:lnTo>
                    <a:pt x="479" y="18"/>
                  </a:lnTo>
                  <a:lnTo>
                    <a:pt x="475" y="16"/>
                  </a:lnTo>
                  <a:lnTo>
                    <a:pt x="475" y="14"/>
                  </a:lnTo>
                  <a:lnTo>
                    <a:pt x="474" y="11"/>
                  </a:lnTo>
                  <a:lnTo>
                    <a:pt x="474" y="11"/>
                  </a:lnTo>
                  <a:lnTo>
                    <a:pt x="474" y="9"/>
                  </a:lnTo>
                  <a:lnTo>
                    <a:pt x="474" y="7"/>
                  </a:lnTo>
                  <a:lnTo>
                    <a:pt x="474" y="7"/>
                  </a:lnTo>
                  <a:lnTo>
                    <a:pt x="474" y="5"/>
                  </a:lnTo>
                  <a:lnTo>
                    <a:pt x="475" y="4"/>
                  </a:lnTo>
                  <a:lnTo>
                    <a:pt x="477" y="4"/>
                  </a:lnTo>
                  <a:lnTo>
                    <a:pt x="479" y="5"/>
                  </a:lnTo>
                  <a:lnTo>
                    <a:pt x="479" y="4"/>
                  </a:lnTo>
                  <a:lnTo>
                    <a:pt x="477" y="4"/>
                  </a:lnTo>
                  <a:lnTo>
                    <a:pt x="477" y="4"/>
                  </a:lnTo>
                  <a:lnTo>
                    <a:pt x="477" y="4"/>
                  </a:lnTo>
                  <a:lnTo>
                    <a:pt x="475" y="4"/>
                  </a:lnTo>
                  <a:lnTo>
                    <a:pt x="475" y="4"/>
                  </a:lnTo>
                  <a:lnTo>
                    <a:pt x="475" y="4"/>
                  </a:lnTo>
                  <a:lnTo>
                    <a:pt x="474" y="4"/>
                  </a:lnTo>
                  <a:lnTo>
                    <a:pt x="472" y="4"/>
                  </a:lnTo>
                  <a:lnTo>
                    <a:pt x="470" y="2"/>
                  </a:lnTo>
                  <a:lnTo>
                    <a:pt x="470" y="2"/>
                  </a:lnTo>
                  <a:lnTo>
                    <a:pt x="470" y="2"/>
                  </a:lnTo>
                  <a:lnTo>
                    <a:pt x="470" y="2"/>
                  </a:lnTo>
                  <a:lnTo>
                    <a:pt x="470" y="0"/>
                  </a:lnTo>
                  <a:lnTo>
                    <a:pt x="470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466" y="0"/>
                  </a:lnTo>
                  <a:lnTo>
                    <a:pt x="466" y="0"/>
                  </a:lnTo>
                  <a:lnTo>
                    <a:pt x="465" y="2"/>
                  </a:lnTo>
                  <a:lnTo>
                    <a:pt x="465" y="4"/>
                  </a:lnTo>
                  <a:lnTo>
                    <a:pt x="463" y="5"/>
                  </a:lnTo>
                  <a:lnTo>
                    <a:pt x="461" y="7"/>
                  </a:lnTo>
                  <a:lnTo>
                    <a:pt x="459" y="7"/>
                  </a:lnTo>
                  <a:lnTo>
                    <a:pt x="457" y="9"/>
                  </a:lnTo>
                  <a:lnTo>
                    <a:pt x="456" y="9"/>
                  </a:lnTo>
                  <a:lnTo>
                    <a:pt x="454" y="9"/>
                  </a:lnTo>
                  <a:lnTo>
                    <a:pt x="447" y="9"/>
                  </a:lnTo>
                  <a:lnTo>
                    <a:pt x="445" y="9"/>
                  </a:lnTo>
                  <a:lnTo>
                    <a:pt x="443" y="7"/>
                  </a:lnTo>
                  <a:lnTo>
                    <a:pt x="443" y="7"/>
                  </a:lnTo>
                  <a:lnTo>
                    <a:pt x="441" y="7"/>
                  </a:lnTo>
                  <a:lnTo>
                    <a:pt x="436" y="9"/>
                  </a:lnTo>
                  <a:lnTo>
                    <a:pt x="418" y="7"/>
                  </a:lnTo>
                  <a:lnTo>
                    <a:pt x="412" y="7"/>
                  </a:lnTo>
                  <a:lnTo>
                    <a:pt x="410" y="7"/>
                  </a:lnTo>
                  <a:lnTo>
                    <a:pt x="410" y="7"/>
                  </a:lnTo>
                  <a:lnTo>
                    <a:pt x="400" y="5"/>
                  </a:lnTo>
                  <a:lnTo>
                    <a:pt x="396" y="5"/>
                  </a:lnTo>
                  <a:lnTo>
                    <a:pt x="396" y="5"/>
                  </a:lnTo>
                  <a:lnTo>
                    <a:pt x="391" y="5"/>
                  </a:lnTo>
                  <a:lnTo>
                    <a:pt x="387" y="4"/>
                  </a:lnTo>
                  <a:lnTo>
                    <a:pt x="385" y="4"/>
                  </a:lnTo>
                  <a:lnTo>
                    <a:pt x="376" y="9"/>
                  </a:lnTo>
                  <a:lnTo>
                    <a:pt x="369" y="11"/>
                  </a:lnTo>
                  <a:lnTo>
                    <a:pt x="367" y="13"/>
                  </a:lnTo>
                  <a:lnTo>
                    <a:pt x="365" y="14"/>
                  </a:lnTo>
                  <a:lnTo>
                    <a:pt x="362" y="14"/>
                  </a:lnTo>
                  <a:lnTo>
                    <a:pt x="360" y="14"/>
                  </a:lnTo>
                  <a:lnTo>
                    <a:pt x="360" y="14"/>
                  </a:lnTo>
                  <a:lnTo>
                    <a:pt x="358" y="14"/>
                  </a:lnTo>
                  <a:lnTo>
                    <a:pt x="356" y="14"/>
                  </a:lnTo>
                  <a:lnTo>
                    <a:pt x="356" y="14"/>
                  </a:lnTo>
                  <a:lnTo>
                    <a:pt x="354" y="16"/>
                  </a:lnTo>
                  <a:lnTo>
                    <a:pt x="353" y="16"/>
                  </a:lnTo>
                  <a:lnTo>
                    <a:pt x="351" y="16"/>
                  </a:lnTo>
                  <a:lnTo>
                    <a:pt x="351" y="16"/>
                  </a:lnTo>
                  <a:lnTo>
                    <a:pt x="349" y="16"/>
                  </a:lnTo>
                  <a:lnTo>
                    <a:pt x="347" y="18"/>
                  </a:lnTo>
                  <a:lnTo>
                    <a:pt x="347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4" y="18"/>
                  </a:lnTo>
                  <a:lnTo>
                    <a:pt x="340" y="20"/>
                  </a:lnTo>
                  <a:lnTo>
                    <a:pt x="340" y="22"/>
                  </a:lnTo>
                  <a:lnTo>
                    <a:pt x="338" y="23"/>
                  </a:lnTo>
                  <a:lnTo>
                    <a:pt x="338" y="23"/>
                  </a:lnTo>
                  <a:lnTo>
                    <a:pt x="338" y="23"/>
                  </a:lnTo>
                  <a:lnTo>
                    <a:pt x="338" y="22"/>
                  </a:lnTo>
                  <a:lnTo>
                    <a:pt x="336" y="22"/>
                  </a:lnTo>
                  <a:lnTo>
                    <a:pt x="336" y="22"/>
                  </a:lnTo>
                  <a:lnTo>
                    <a:pt x="336" y="22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3" y="23"/>
                  </a:lnTo>
                  <a:lnTo>
                    <a:pt x="331" y="25"/>
                  </a:lnTo>
                  <a:lnTo>
                    <a:pt x="331" y="25"/>
                  </a:lnTo>
                  <a:lnTo>
                    <a:pt x="331" y="27"/>
                  </a:lnTo>
                  <a:lnTo>
                    <a:pt x="327" y="31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8" y="36"/>
                  </a:lnTo>
                  <a:lnTo>
                    <a:pt x="311" y="40"/>
                  </a:lnTo>
                  <a:lnTo>
                    <a:pt x="300" y="45"/>
                  </a:lnTo>
                  <a:lnTo>
                    <a:pt x="293" y="49"/>
                  </a:lnTo>
                  <a:lnTo>
                    <a:pt x="293" y="49"/>
                  </a:lnTo>
                  <a:lnTo>
                    <a:pt x="293" y="49"/>
                  </a:lnTo>
                  <a:lnTo>
                    <a:pt x="291" y="51"/>
                  </a:lnTo>
                  <a:lnTo>
                    <a:pt x="291" y="51"/>
                  </a:lnTo>
                  <a:lnTo>
                    <a:pt x="289" y="51"/>
                  </a:lnTo>
                  <a:lnTo>
                    <a:pt x="288" y="51"/>
                  </a:lnTo>
                  <a:lnTo>
                    <a:pt x="288" y="52"/>
                  </a:lnTo>
                  <a:lnTo>
                    <a:pt x="288" y="52"/>
                  </a:lnTo>
                  <a:lnTo>
                    <a:pt x="289" y="54"/>
                  </a:lnTo>
                  <a:lnTo>
                    <a:pt x="289" y="54"/>
                  </a:lnTo>
                  <a:lnTo>
                    <a:pt x="289" y="54"/>
                  </a:lnTo>
                  <a:lnTo>
                    <a:pt x="288" y="56"/>
                  </a:lnTo>
                  <a:lnTo>
                    <a:pt x="288" y="56"/>
                  </a:lnTo>
                  <a:lnTo>
                    <a:pt x="288" y="58"/>
                  </a:lnTo>
                  <a:lnTo>
                    <a:pt x="288" y="60"/>
                  </a:lnTo>
                  <a:lnTo>
                    <a:pt x="288" y="60"/>
                  </a:lnTo>
                  <a:lnTo>
                    <a:pt x="288" y="61"/>
                  </a:lnTo>
                  <a:lnTo>
                    <a:pt x="284" y="63"/>
                  </a:lnTo>
                  <a:lnTo>
                    <a:pt x="282" y="65"/>
                  </a:lnTo>
                  <a:lnTo>
                    <a:pt x="280" y="65"/>
                  </a:lnTo>
                  <a:lnTo>
                    <a:pt x="280" y="65"/>
                  </a:lnTo>
                  <a:lnTo>
                    <a:pt x="280" y="65"/>
                  </a:lnTo>
                  <a:lnTo>
                    <a:pt x="280" y="67"/>
                  </a:lnTo>
                  <a:lnTo>
                    <a:pt x="280" y="67"/>
                  </a:lnTo>
                  <a:lnTo>
                    <a:pt x="279" y="67"/>
                  </a:lnTo>
                  <a:lnTo>
                    <a:pt x="279" y="67"/>
                  </a:lnTo>
                  <a:lnTo>
                    <a:pt x="279" y="65"/>
                  </a:lnTo>
                  <a:lnTo>
                    <a:pt x="277" y="67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5" y="65"/>
                  </a:lnTo>
                  <a:lnTo>
                    <a:pt x="273" y="67"/>
                  </a:lnTo>
                  <a:lnTo>
                    <a:pt x="273" y="67"/>
                  </a:lnTo>
                  <a:lnTo>
                    <a:pt x="261" y="67"/>
                  </a:lnTo>
                  <a:lnTo>
                    <a:pt x="255" y="67"/>
                  </a:lnTo>
                  <a:lnTo>
                    <a:pt x="255" y="65"/>
                  </a:lnTo>
                  <a:lnTo>
                    <a:pt x="253" y="65"/>
                  </a:lnTo>
                  <a:lnTo>
                    <a:pt x="237" y="60"/>
                  </a:lnTo>
                  <a:lnTo>
                    <a:pt x="235" y="60"/>
                  </a:lnTo>
                  <a:lnTo>
                    <a:pt x="233" y="58"/>
                  </a:lnTo>
                  <a:lnTo>
                    <a:pt x="232" y="58"/>
                  </a:lnTo>
                  <a:lnTo>
                    <a:pt x="232" y="58"/>
                  </a:lnTo>
                  <a:lnTo>
                    <a:pt x="232" y="60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0" y="60"/>
                  </a:lnTo>
                  <a:lnTo>
                    <a:pt x="230" y="61"/>
                  </a:lnTo>
                  <a:lnTo>
                    <a:pt x="228" y="61"/>
                  </a:lnTo>
                  <a:lnTo>
                    <a:pt x="228" y="61"/>
                  </a:lnTo>
                  <a:lnTo>
                    <a:pt x="226" y="63"/>
                  </a:lnTo>
                  <a:lnTo>
                    <a:pt x="226" y="63"/>
                  </a:lnTo>
                  <a:lnTo>
                    <a:pt x="224" y="63"/>
                  </a:lnTo>
                  <a:lnTo>
                    <a:pt x="212" y="63"/>
                  </a:lnTo>
                  <a:lnTo>
                    <a:pt x="199" y="61"/>
                  </a:lnTo>
                  <a:lnTo>
                    <a:pt x="188" y="58"/>
                  </a:lnTo>
                  <a:lnTo>
                    <a:pt x="179" y="56"/>
                  </a:lnTo>
                  <a:lnTo>
                    <a:pt x="179" y="56"/>
                  </a:lnTo>
                  <a:lnTo>
                    <a:pt x="177" y="58"/>
                  </a:lnTo>
                  <a:lnTo>
                    <a:pt x="177" y="58"/>
                  </a:lnTo>
                  <a:lnTo>
                    <a:pt x="176" y="58"/>
                  </a:lnTo>
                  <a:lnTo>
                    <a:pt x="174" y="58"/>
                  </a:lnTo>
                  <a:lnTo>
                    <a:pt x="172" y="60"/>
                  </a:lnTo>
                  <a:lnTo>
                    <a:pt x="172" y="61"/>
                  </a:lnTo>
                  <a:lnTo>
                    <a:pt x="172" y="63"/>
                  </a:lnTo>
                  <a:lnTo>
                    <a:pt x="172" y="63"/>
                  </a:lnTo>
                  <a:lnTo>
                    <a:pt x="172" y="65"/>
                  </a:lnTo>
                  <a:lnTo>
                    <a:pt x="170" y="67"/>
                  </a:lnTo>
                  <a:lnTo>
                    <a:pt x="170" y="69"/>
                  </a:lnTo>
                  <a:lnTo>
                    <a:pt x="168" y="70"/>
                  </a:lnTo>
                  <a:lnTo>
                    <a:pt x="168" y="70"/>
                  </a:lnTo>
                  <a:lnTo>
                    <a:pt x="168" y="70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70" y="72"/>
                  </a:lnTo>
                  <a:lnTo>
                    <a:pt x="170" y="74"/>
                  </a:lnTo>
                  <a:lnTo>
                    <a:pt x="170" y="74"/>
                  </a:lnTo>
                  <a:lnTo>
                    <a:pt x="170" y="74"/>
                  </a:lnTo>
                  <a:lnTo>
                    <a:pt x="170" y="74"/>
                  </a:lnTo>
                  <a:lnTo>
                    <a:pt x="172" y="76"/>
                  </a:lnTo>
                  <a:lnTo>
                    <a:pt x="174" y="76"/>
                  </a:lnTo>
                  <a:lnTo>
                    <a:pt x="174" y="78"/>
                  </a:lnTo>
                  <a:lnTo>
                    <a:pt x="176" y="78"/>
                  </a:lnTo>
                  <a:lnTo>
                    <a:pt x="177" y="79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3" y="83"/>
                  </a:lnTo>
                  <a:lnTo>
                    <a:pt x="183" y="83"/>
                  </a:lnTo>
                  <a:lnTo>
                    <a:pt x="183" y="83"/>
                  </a:lnTo>
                  <a:lnTo>
                    <a:pt x="183" y="83"/>
                  </a:lnTo>
                  <a:lnTo>
                    <a:pt x="183" y="83"/>
                  </a:lnTo>
                  <a:lnTo>
                    <a:pt x="183" y="83"/>
                  </a:lnTo>
                  <a:lnTo>
                    <a:pt x="181" y="83"/>
                  </a:lnTo>
                  <a:lnTo>
                    <a:pt x="181" y="83"/>
                  </a:lnTo>
                  <a:lnTo>
                    <a:pt x="181" y="85"/>
                  </a:lnTo>
                  <a:lnTo>
                    <a:pt x="181" y="85"/>
                  </a:lnTo>
                  <a:lnTo>
                    <a:pt x="181" y="85"/>
                  </a:lnTo>
                  <a:lnTo>
                    <a:pt x="181" y="85"/>
                  </a:lnTo>
                  <a:lnTo>
                    <a:pt x="183" y="85"/>
                  </a:lnTo>
                  <a:lnTo>
                    <a:pt x="183" y="85"/>
                  </a:lnTo>
                  <a:lnTo>
                    <a:pt x="183" y="83"/>
                  </a:lnTo>
                  <a:lnTo>
                    <a:pt x="183" y="85"/>
                  </a:lnTo>
                  <a:lnTo>
                    <a:pt x="183" y="83"/>
                  </a:lnTo>
                  <a:lnTo>
                    <a:pt x="185" y="85"/>
                  </a:lnTo>
                  <a:lnTo>
                    <a:pt x="185" y="85"/>
                  </a:lnTo>
                  <a:lnTo>
                    <a:pt x="185" y="85"/>
                  </a:lnTo>
                  <a:lnTo>
                    <a:pt x="185" y="85"/>
                  </a:lnTo>
                  <a:lnTo>
                    <a:pt x="185" y="87"/>
                  </a:lnTo>
                  <a:lnTo>
                    <a:pt x="185" y="87"/>
                  </a:lnTo>
                  <a:lnTo>
                    <a:pt x="185" y="87"/>
                  </a:lnTo>
                  <a:lnTo>
                    <a:pt x="185" y="87"/>
                  </a:lnTo>
                  <a:lnTo>
                    <a:pt x="185" y="87"/>
                  </a:lnTo>
                  <a:lnTo>
                    <a:pt x="185" y="87"/>
                  </a:lnTo>
                  <a:lnTo>
                    <a:pt x="185" y="87"/>
                  </a:lnTo>
                  <a:lnTo>
                    <a:pt x="186" y="88"/>
                  </a:lnTo>
                  <a:lnTo>
                    <a:pt x="186" y="88"/>
                  </a:lnTo>
                  <a:lnTo>
                    <a:pt x="188" y="88"/>
                  </a:lnTo>
                  <a:lnTo>
                    <a:pt x="188" y="87"/>
                  </a:lnTo>
                  <a:lnTo>
                    <a:pt x="190" y="87"/>
                  </a:lnTo>
                  <a:lnTo>
                    <a:pt x="201" y="87"/>
                  </a:lnTo>
                  <a:lnTo>
                    <a:pt x="203" y="87"/>
                  </a:lnTo>
                  <a:lnTo>
                    <a:pt x="205" y="87"/>
                  </a:lnTo>
                  <a:lnTo>
                    <a:pt x="205" y="87"/>
                  </a:lnTo>
                  <a:lnTo>
                    <a:pt x="205" y="88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12" y="88"/>
                  </a:lnTo>
                  <a:lnTo>
                    <a:pt x="214" y="88"/>
                  </a:lnTo>
                  <a:lnTo>
                    <a:pt x="215" y="90"/>
                  </a:lnTo>
                  <a:lnTo>
                    <a:pt x="214" y="90"/>
                  </a:lnTo>
                  <a:lnTo>
                    <a:pt x="214" y="90"/>
                  </a:lnTo>
                  <a:lnTo>
                    <a:pt x="212" y="90"/>
                  </a:lnTo>
                  <a:lnTo>
                    <a:pt x="206" y="90"/>
                  </a:lnTo>
                  <a:lnTo>
                    <a:pt x="196" y="92"/>
                  </a:lnTo>
                  <a:lnTo>
                    <a:pt x="196" y="92"/>
                  </a:lnTo>
                  <a:lnTo>
                    <a:pt x="196" y="92"/>
                  </a:lnTo>
                  <a:lnTo>
                    <a:pt x="194" y="90"/>
                  </a:lnTo>
                  <a:lnTo>
                    <a:pt x="194" y="90"/>
                  </a:lnTo>
                  <a:lnTo>
                    <a:pt x="194" y="90"/>
                  </a:lnTo>
                  <a:lnTo>
                    <a:pt x="192" y="90"/>
                  </a:lnTo>
                  <a:lnTo>
                    <a:pt x="192" y="90"/>
                  </a:lnTo>
                  <a:lnTo>
                    <a:pt x="192" y="90"/>
                  </a:lnTo>
                  <a:lnTo>
                    <a:pt x="192" y="92"/>
                  </a:lnTo>
                  <a:lnTo>
                    <a:pt x="192" y="92"/>
                  </a:lnTo>
                  <a:lnTo>
                    <a:pt x="190" y="92"/>
                  </a:lnTo>
                  <a:lnTo>
                    <a:pt x="190" y="92"/>
                  </a:lnTo>
                  <a:lnTo>
                    <a:pt x="190" y="92"/>
                  </a:lnTo>
                  <a:lnTo>
                    <a:pt x="188" y="94"/>
                  </a:lnTo>
                  <a:lnTo>
                    <a:pt x="188" y="92"/>
                  </a:lnTo>
                  <a:lnTo>
                    <a:pt x="188" y="92"/>
                  </a:lnTo>
                  <a:lnTo>
                    <a:pt x="188" y="92"/>
                  </a:lnTo>
                  <a:lnTo>
                    <a:pt x="186" y="92"/>
                  </a:lnTo>
                  <a:lnTo>
                    <a:pt x="186" y="92"/>
                  </a:lnTo>
                  <a:lnTo>
                    <a:pt x="185" y="94"/>
                  </a:lnTo>
                  <a:lnTo>
                    <a:pt x="183" y="94"/>
                  </a:lnTo>
                  <a:lnTo>
                    <a:pt x="167" y="96"/>
                  </a:lnTo>
                  <a:lnTo>
                    <a:pt x="167" y="96"/>
                  </a:lnTo>
                  <a:lnTo>
                    <a:pt x="165" y="98"/>
                  </a:lnTo>
                  <a:lnTo>
                    <a:pt x="163" y="99"/>
                  </a:lnTo>
                  <a:lnTo>
                    <a:pt x="159" y="101"/>
                  </a:lnTo>
                  <a:lnTo>
                    <a:pt x="158" y="101"/>
                  </a:lnTo>
                  <a:lnTo>
                    <a:pt x="156" y="103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8"/>
                  </a:lnTo>
                  <a:lnTo>
                    <a:pt x="167" y="108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72" y="107"/>
                  </a:lnTo>
                  <a:lnTo>
                    <a:pt x="172" y="107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6" y="110"/>
                  </a:lnTo>
                  <a:lnTo>
                    <a:pt x="176" y="110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2" y="110"/>
                  </a:lnTo>
                  <a:lnTo>
                    <a:pt x="172" y="110"/>
                  </a:lnTo>
                  <a:lnTo>
                    <a:pt x="172" y="112"/>
                  </a:lnTo>
                  <a:lnTo>
                    <a:pt x="172" y="114"/>
                  </a:lnTo>
                  <a:lnTo>
                    <a:pt x="170" y="114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5" y="114"/>
                  </a:lnTo>
                  <a:lnTo>
                    <a:pt x="163" y="114"/>
                  </a:lnTo>
                  <a:lnTo>
                    <a:pt x="163" y="112"/>
                  </a:lnTo>
                  <a:lnTo>
                    <a:pt x="161" y="112"/>
                  </a:lnTo>
                  <a:lnTo>
                    <a:pt x="159" y="112"/>
                  </a:lnTo>
                  <a:lnTo>
                    <a:pt x="158" y="112"/>
                  </a:lnTo>
                  <a:lnTo>
                    <a:pt x="156" y="112"/>
                  </a:lnTo>
                  <a:lnTo>
                    <a:pt x="156" y="112"/>
                  </a:lnTo>
                  <a:lnTo>
                    <a:pt x="156" y="112"/>
                  </a:lnTo>
                  <a:lnTo>
                    <a:pt x="152" y="114"/>
                  </a:lnTo>
                  <a:lnTo>
                    <a:pt x="152" y="114"/>
                  </a:lnTo>
                  <a:lnTo>
                    <a:pt x="150" y="114"/>
                  </a:lnTo>
                  <a:lnTo>
                    <a:pt x="150" y="114"/>
                  </a:lnTo>
                  <a:lnTo>
                    <a:pt x="150" y="114"/>
                  </a:lnTo>
                  <a:lnTo>
                    <a:pt x="150" y="114"/>
                  </a:lnTo>
                  <a:lnTo>
                    <a:pt x="150" y="114"/>
                  </a:lnTo>
                  <a:lnTo>
                    <a:pt x="150" y="114"/>
                  </a:lnTo>
                  <a:lnTo>
                    <a:pt x="147" y="114"/>
                  </a:lnTo>
                  <a:lnTo>
                    <a:pt x="145" y="112"/>
                  </a:lnTo>
                  <a:lnTo>
                    <a:pt x="143" y="112"/>
                  </a:lnTo>
                  <a:lnTo>
                    <a:pt x="141" y="114"/>
                  </a:lnTo>
                  <a:lnTo>
                    <a:pt x="141" y="112"/>
                  </a:lnTo>
                  <a:lnTo>
                    <a:pt x="141" y="112"/>
                  </a:lnTo>
                  <a:lnTo>
                    <a:pt x="141" y="112"/>
                  </a:lnTo>
                  <a:lnTo>
                    <a:pt x="143" y="112"/>
                  </a:lnTo>
                  <a:lnTo>
                    <a:pt x="138" y="112"/>
                  </a:lnTo>
                  <a:lnTo>
                    <a:pt x="136" y="112"/>
                  </a:lnTo>
                  <a:lnTo>
                    <a:pt x="123" y="112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12" y="114"/>
                  </a:lnTo>
                  <a:lnTo>
                    <a:pt x="112" y="112"/>
                  </a:lnTo>
                  <a:lnTo>
                    <a:pt x="114" y="110"/>
                  </a:lnTo>
                  <a:lnTo>
                    <a:pt x="118" y="108"/>
                  </a:lnTo>
                  <a:lnTo>
                    <a:pt x="120" y="107"/>
                  </a:lnTo>
                  <a:lnTo>
                    <a:pt x="118" y="107"/>
                  </a:lnTo>
                  <a:lnTo>
                    <a:pt x="116" y="105"/>
                  </a:lnTo>
                  <a:lnTo>
                    <a:pt x="109" y="103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7" y="105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3" y="103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2" y="105"/>
                  </a:lnTo>
                  <a:lnTo>
                    <a:pt x="102" y="105"/>
                  </a:lnTo>
                  <a:lnTo>
                    <a:pt x="103" y="107"/>
                  </a:lnTo>
                  <a:lnTo>
                    <a:pt x="103" y="108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7" y="110"/>
                  </a:lnTo>
                  <a:lnTo>
                    <a:pt x="107" y="110"/>
                  </a:lnTo>
                  <a:lnTo>
                    <a:pt x="107" y="110"/>
                  </a:lnTo>
                  <a:lnTo>
                    <a:pt x="107" y="110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9" y="112"/>
                  </a:lnTo>
                  <a:lnTo>
                    <a:pt x="111" y="112"/>
                  </a:lnTo>
                  <a:lnTo>
                    <a:pt x="112" y="112"/>
                  </a:lnTo>
                  <a:lnTo>
                    <a:pt x="111" y="114"/>
                  </a:lnTo>
                  <a:lnTo>
                    <a:pt x="109" y="116"/>
                  </a:lnTo>
                  <a:lnTo>
                    <a:pt x="107" y="117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3" y="117"/>
                  </a:lnTo>
                  <a:lnTo>
                    <a:pt x="102" y="117"/>
                  </a:lnTo>
                  <a:lnTo>
                    <a:pt x="102" y="117"/>
                  </a:lnTo>
                  <a:lnTo>
                    <a:pt x="100" y="117"/>
                  </a:lnTo>
                  <a:lnTo>
                    <a:pt x="98" y="116"/>
                  </a:lnTo>
                  <a:lnTo>
                    <a:pt x="98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4" y="117"/>
                  </a:lnTo>
                  <a:lnTo>
                    <a:pt x="91" y="117"/>
                  </a:lnTo>
                  <a:lnTo>
                    <a:pt x="87" y="116"/>
                  </a:lnTo>
                  <a:lnTo>
                    <a:pt x="85" y="114"/>
                  </a:lnTo>
                  <a:lnTo>
                    <a:pt x="82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0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82" y="107"/>
                  </a:lnTo>
                  <a:lnTo>
                    <a:pt x="82" y="107"/>
                  </a:lnTo>
                  <a:lnTo>
                    <a:pt x="80" y="108"/>
                  </a:lnTo>
                  <a:lnTo>
                    <a:pt x="78" y="108"/>
                  </a:lnTo>
                  <a:lnTo>
                    <a:pt x="76" y="108"/>
                  </a:lnTo>
                  <a:lnTo>
                    <a:pt x="75" y="108"/>
                  </a:lnTo>
                  <a:lnTo>
                    <a:pt x="73" y="108"/>
                  </a:lnTo>
                  <a:lnTo>
                    <a:pt x="71" y="110"/>
                  </a:lnTo>
                  <a:lnTo>
                    <a:pt x="69" y="112"/>
                  </a:lnTo>
                  <a:lnTo>
                    <a:pt x="69" y="112"/>
                  </a:lnTo>
                  <a:lnTo>
                    <a:pt x="67" y="112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2" y="112"/>
                  </a:lnTo>
                  <a:lnTo>
                    <a:pt x="60" y="112"/>
                  </a:lnTo>
                  <a:lnTo>
                    <a:pt x="56" y="112"/>
                  </a:lnTo>
                  <a:lnTo>
                    <a:pt x="55" y="112"/>
                  </a:lnTo>
                  <a:lnTo>
                    <a:pt x="53" y="112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6" y="119"/>
                  </a:lnTo>
                  <a:lnTo>
                    <a:pt x="46" y="121"/>
                  </a:lnTo>
                  <a:lnTo>
                    <a:pt x="44" y="123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0" y="125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30"/>
                  </a:lnTo>
                  <a:lnTo>
                    <a:pt x="37" y="130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5" y="135"/>
                  </a:lnTo>
                  <a:lnTo>
                    <a:pt x="33" y="137"/>
                  </a:lnTo>
                  <a:lnTo>
                    <a:pt x="33" y="137"/>
                  </a:lnTo>
                  <a:lnTo>
                    <a:pt x="31" y="137"/>
                  </a:lnTo>
                  <a:lnTo>
                    <a:pt x="31" y="139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6" y="139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26" y="144"/>
                  </a:lnTo>
                  <a:lnTo>
                    <a:pt x="26" y="144"/>
                  </a:lnTo>
                  <a:lnTo>
                    <a:pt x="26" y="148"/>
                  </a:lnTo>
                  <a:lnTo>
                    <a:pt x="24" y="148"/>
                  </a:lnTo>
                  <a:lnTo>
                    <a:pt x="26" y="148"/>
                  </a:lnTo>
                  <a:lnTo>
                    <a:pt x="26" y="150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3"/>
                  </a:lnTo>
                  <a:lnTo>
                    <a:pt x="26" y="153"/>
                  </a:lnTo>
                  <a:lnTo>
                    <a:pt x="24" y="153"/>
                  </a:lnTo>
                  <a:lnTo>
                    <a:pt x="24" y="153"/>
                  </a:lnTo>
                  <a:lnTo>
                    <a:pt x="24" y="155"/>
                  </a:lnTo>
                  <a:lnTo>
                    <a:pt x="26" y="157"/>
                  </a:lnTo>
                  <a:lnTo>
                    <a:pt x="26" y="157"/>
                  </a:lnTo>
                  <a:lnTo>
                    <a:pt x="26" y="161"/>
                  </a:lnTo>
                  <a:lnTo>
                    <a:pt x="26" y="163"/>
                  </a:lnTo>
                  <a:lnTo>
                    <a:pt x="24" y="164"/>
                  </a:lnTo>
                  <a:lnTo>
                    <a:pt x="22" y="168"/>
                  </a:lnTo>
                  <a:lnTo>
                    <a:pt x="22" y="170"/>
                  </a:lnTo>
                  <a:lnTo>
                    <a:pt x="22" y="172"/>
                  </a:lnTo>
                  <a:lnTo>
                    <a:pt x="24" y="173"/>
                  </a:lnTo>
                  <a:lnTo>
                    <a:pt x="26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3" y="172"/>
                  </a:lnTo>
                  <a:lnTo>
                    <a:pt x="33" y="172"/>
                  </a:lnTo>
                  <a:lnTo>
                    <a:pt x="35" y="172"/>
                  </a:lnTo>
                  <a:lnTo>
                    <a:pt x="37" y="172"/>
                  </a:lnTo>
                  <a:lnTo>
                    <a:pt x="37" y="172"/>
                  </a:lnTo>
                  <a:lnTo>
                    <a:pt x="38" y="170"/>
                  </a:lnTo>
                  <a:lnTo>
                    <a:pt x="38" y="170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51" y="168"/>
                  </a:lnTo>
                  <a:lnTo>
                    <a:pt x="58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2" y="166"/>
                  </a:lnTo>
                  <a:lnTo>
                    <a:pt x="62" y="164"/>
                  </a:lnTo>
                  <a:lnTo>
                    <a:pt x="64" y="164"/>
                  </a:lnTo>
                  <a:lnTo>
                    <a:pt x="66" y="166"/>
                  </a:lnTo>
                  <a:lnTo>
                    <a:pt x="66" y="166"/>
                  </a:lnTo>
                  <a:lnTo>
                    <a:pt x="66" y="168"/>
                  </a:lnTo>
                  <a:lnTo>
                    <a:pt x="64" y="170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2" y="172"/>
                  </a:lnTo>
                  <a:lnTo>
                    <a:pt x="60" y="173"/>
                  </a:lnTo>
                  <a:lnTo>
                    <a:pt x="60" y="173"/>
                  </a:lnTo>
                  <a:lnTo>
                    <a:pt x="60" y="173"/>
                  </a:lnTo>
                  <a:lnTo>
                    <a:pt x="60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7"/>
                  </a:lnTo>
                  <a:lnTo>
                    <a:pt x="58" y="177"/>
                  </a:lnTo>
                  <a:lnTo>
                    <a:pt x="58" y="177"/>
                  </a:lnTo>
                  <a:lnTo>
                    <a:pt x="53" y="181"/>
                  </a:lnTo>
                  <a:lnTo>
                    <a:pt x="53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4"/>
                  </a:lnTo>
                  <a:lnTo>
                    <a:pt x="47" y="184"/>
                  </a:lnTo>
                  <a:lnTo>
                    <a:pt x="49" y="186"/>
                  </a:lnTo>
                  <a:lnTo>
                    <a:pt x="51" y="186"/>
                  </a:lnTo>
                  <a:lnTo>
                    <a:pt x="53" y="186"/>
                  </a:lnTo>
                  <a:lnTo>
                    <a:pt x="53" y="186"/>
                  </a:lnTo>
                  <a:lnTo>
                    <a:pt x="55" y="186"/>
                  </a:lnTo>
                  <a:lnTo>
                    <a:pt x="55" y="188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5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60" y="195"/>
                  </a:lnTo>
                  <a:lnTo>
                    <a:pt x="62" y="197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8" y="204"/>
                  </a:lnTo>
                  <a:lnTo>
                    <a:pt x="58" y="206"/>
                  </a:lnTo>
                  <a:lnTo>
                    <a:pt x="58" y="206"/>
                  </a:lnTo>
                  <a:lnTo>
                    <a:pt x="60" y="206"/>
                  </a:lnTo>
                  <a:lnTo>
                    <a:pt x="60" y="208"/>
                  </a:lnTo>
                  <a:lnTo>
                    <a:pt x="62" y="208"/>
                  </a:lnTo>
                  <a:lnTo>
                    <a:pt x="62" y="208"/>
                  </a:lnTo>
                  <a:lnTo>
                    <a:pt x="64" y="208"/>
                  </a:lnTo>
                  <a:lnTo>
                    <a:pt x="64" y="206"/>
                  </a:lnTo>
                  <a:lnTo>
                    <a:pt x="64" y="208"/>
                  </a:lnTo>
                  <a:lnTo>
                    <a:pt x="66" y="208"/>
                  </a:lnTo>
                  <a:lnTo>
                    <a:pt x="66" y="206"/>
                  </a:lnTo>
                  <a:lnTo>
                    <a:pt x="66" y="206"/>
                  </a:lnTo>
                  <a:lnTo>
                    <a:pt x="66" y="206"/>
                  </a:lnTo>
                  <a:lnTo>
                    <a:pt x="67" y="208"/>
                  </a:lnTo>
                  <a:lnTo>
                    <a:pt x="67" y="208"/>
                  </a:lnTo>
                  <a:lnTo>
                    <a:pt x="67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6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69" y="209"/>
                  </a:lnTo>
                  <a:lnTo>
                    <a:pt x="71" y="209"/>
                  </a:lnTo>
                  <a:lnTo>
                    <a:pt x="71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3"/>
                  </a:lnTo>
                  <a:lnTo>
                    <a:pt x="66" y="213"/>
                  </a:lnTo>
                  <a:lnTo>
                    <a:pt x="67" y="215"/>
                  </a:lnTo>
                  <a:lnTo>
                    <a:pt x="66" y="215"/>
                  </a:lnTo>
                  <a:lnTo>
                    <a:pt x="66" y="215"/>
                  </a:lnTo>
                  <a:lnTo>
                    <a:pt x="66" y="213"/>
                  </a:lnTo>
                  <a:lnTo>
                    <a:pt x="62" y="215"/>
                  </a:lnTo>
                  <a:lnTo>
                    <a:pt x="64" y="215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2" y="219"/>
                  </a:lnTo>
                  <a:lnTo>
                    <a:pt x="64" y="220"/>
                  </a:lnTo>
                  <a:lnTo>
                    <a:pt x="62" y="220"/>
                  </a:lnTo>
                  <a:lnTo>
                    <a:pt x="62" y="219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8" y="219"/>
                  </a:lnTo>
                  <a:lnTo>
                    <a:pt x="58" y="219"/>
                  </a:lnTo>
                  <a:lnTo>
                    <a:pt x="56" y="219"/>
                  </a:lnTo>
                  <a:lnTo>
                    <a:pt x="55" y="220"/>
                  </a:lnTo>
                  <a:lnTo>
                    <a:pt x="55" y="220"/>
                  </a:lnTo>
                  <a:lnTo>
                    <a:pt x="55" y="222"/>
                  </a:lnTo>
                  <a:lnTo>
                    <a:pt x="55" y="222"/>
                  </a:lnTo>
                  <a:lnTo>
                    <a:pt x="55" y="224"/>
                  </a:lnTo>
                  <a:lnTo>
                    <a:pt x="55" y="224"/>
                  </a:lnTo>
                  <a:lnTo>
                    <a:pt x="55" y="224"/>
                  </a:lnTo>
                  <a:lnTo>
                    <a:pt x="55" y="224"/>
                  </a:lnTo>
                  <a:lnTo>
                    <a:pt x="55" y="224"/>
                  </a:lnTo>
                  <a:lnTo>
                    <a:pt x="55" y="226"/>
                  </a:lnTo>
                  <a:lnTo>
                    <a:pt x="55" y="226"/>
                  </a:lnTo>
                  <a:lnTo>
                    <a:pt x="56" y="226"/>
                  </a:lnTo>
                  <a:lnTo>
                    <a:pt x="56" y="226"/>
                  </a:lnTo>
                  <a:lnTo>
                    <a:pt x="56" y="228"/>
                  </a:lnTo>
                  <a:lnTo>
                    <a:pt x="55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8" y="228"/>
                  </a:lnTo>
                  <a:lnTo>
                    <a:pt x="58" y="228"/>
                  </a:lnTo>
                  <a:lnTo>
                    <a:pt x="58" y="228"/>
                  </a:lnTo>
                  <a:lnTo>
                    <a:pt x="58" y="228"/>
                  </a:lnTo>
                  <a:lnTo>
                    <a:pt x="58" y="228"/>
                  </a:lnTo>
                  <a:lnTo>
                    <a:pt x="60" y="228"/>
                  </a:lnTo>
                  <a:lnTo>
                    <a:pt x="60" y="228"/>
                  </a:lnTo>
                  <a:lnTo>
                    <a:pt x="60" y="229"/>
                  </a:lnTo>
                  <a:lnTo>
                    <a:pt x="60" y="231"/>
                  </a:lnTo>
                  <a:lnTo>
                    <a:pt x="60" y="231"/>
                  </a:lnTo>
                  <a:lnTo>
                    <a:pt x="60" y="231"/>
                  </a:lnTo>
                  <a:lnTo>
                    <a:pt x="62" y="233"/>
                  </a:lnTo>
                  <a:lnTo>
                    <a:pt x="62" y="233"/>
                  </a:lnTo>
                  <a:lnTo>
                    <a:pt x="62" y="233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0" y="233"/>
                  </a:lnTo>
                  <a:lnTo>
                    <a:pt x="60" y="233"/>
                  </a:lnTo>
                  <a:lnTo>
                    <a:pt x="58" y="231"/>
                  </a:lnTo>
                  <a:lnTo>
                    <a:pt x="58" y="233"/>
                  </a:lnTo>
                  <a:lnTo>
                    <a:pt x="60" y="233"/>
                  </a:lnTo>
                  <a:lnTo>
                    <a:pt x="60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4" y="237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9" y="237"/>
                  </a:lnTo>
                  <a:lnTo>
                    <a:pt x="71" y="237"/>
                  </a:lnTo>
                  <a:lnTo>
                    <a:pt x="71" y="238"/>
                  </a:lnTo>
                  <a:lnTo>
                    <a:pt x="73" y="237"/>
                  </a:lnTo>
                  <a:lnTo>
                    <a:pt x="75" y="237"/>
                  </a:lnTo>
                  <a:lnTo>
                    <a:pt x="75" y="237"/>
                  </a:lnTo>
                  <a:lnTo>
                    <a:pt x="75" y="238"/>
                  </a:lnTo>
                  <a:lnTo>
                    <a:pt x="75" y="237"/>
                  </a:lnTo>
                  <a:lnTo>
                    <a:pt x="76" y="237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5" y="238"/>
                  </a:lnTo>
                  <a:lnTo>
                    <a:pt x="73" y="240"/>
                  </a:lnTo>
                  <a:lnTo>
                    <a:pt x="73" y="240"/>
                  </a:lnTo>
                  <a:lnTo>
                    <a:pt x="71" y="240"/>
                  </a:lnTo>
                  <a:lnTo>
                    <a:pt x="71" y="240"/>
                  </a:lnTo>
                  <a:lnTo>
                    <a:pt x="71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7" y="240"/>
                  </a:lnTo>
                  <a:lnTo>
                    <a:pt x="67" y="240"/>
                  </a:lnTo>
                  <a:lnTo>
                    <a:pt x="67" y="242"/>
                  </a:lnTo>
                  <a:lnTo>
                    <a:pt x="64" y="242"/>
                  </a:lnTo>
                  <a:lnTo>
                    <a:pt x="60" y="242"/>
                  </a:lnTo>
                  <a:lnTo>
                    <a:pt x="60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6" y="244"/>
                  </a:lnTo>
                  <a:lnTo>
                    <a:pt x="56" y="244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38"/>
                  </a:lnTo>
                  <a:lnTo>
                    <a:pt x="55" y="238"/>
                  </a:lnTo>
                  <a:lnTo>
                    <a:pt x="55" y="238"/>
                  </a:lnTo>
                  <a:lnTo>
                    <a:pt x="53" y="238"/>
                  </a:lnTo>
                  <a:lnTo>
                    <a:pt x="53" y="240"/>
                  </a:lnTo>
                  <a:lnTo>
                    <a:pt x="51" y="240"/>
                  </a:lnTo>
                  <a:lnTo>
                    <a:pt x="51" y="242"/>
                  </a:lnTo>
                  <a:lnTo>
                    <a:pt x="51" y="244"/>
                  </a:lnTo>
                  <a:lnTo>
                    <a:pt x="53" y="246"/>
                  </a:lnTo>
                  <a:lnTo>
                    <a:pt x="53" y="246"/>
                  </a:lnTo>
                  <a:lnTo>
                    <a:pt x="53" y="246"/>
                  </a:lnTo>
                  <a:lnTo>
                    <a:pt x="51" y="247"/>
                  </a:lnTo>
                  <a:lnTo>
                    <a:pt x="51" y="246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7" y="240"/>
                  </a:lnTo>
                  <a:lnTo>
                    <a:pt x="47" y="238"/>
                  </a:lnTo>
                  <a:lnTo>
                    <a:pt x="47" y="238"/>
                  </a:lnTo>
                  <a:lnTo>
                    <a:pt x="47" y="237"/>
                  </a:lnTo>
                  <a:lnTo>
                    <a:pt x="47" y="237"/>
                  </a:lnTo>
                  <a:lnTo>
                    <a:pt x="47" y="237"/>
                  </a:lnTo>
                  <a:lnTo>
                    <a:pt x="49" y="237"/>
                  </a:lnTo>
                  <a:lnTo>
                    <a:pt x="49" y="237"/>
                  </a:lnTo>
                  <a:lnTo>
                    <a:pt x="49" y="237"/>
                  </a:lnTo>
                  <a:lnTo>
                    <a:pt x="49" y="237"/>
                  </a:lnTo>
                  <a:lnTo>
                    <a:pt x="49" y="237"/>
                  </a:lnTo>
                  <a:lnTo>
                    <a:pt x="49" y="237"/>
                  </a:lnTo>
                  <a:lnTo>
                    <a:pt x="49" y="237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9" y="233"/>
                  </a:lnTo>
                  <a:lnTo>
                    <a:pt x="49" y="233"/>
                  </a:lnTo>
                  <a:lnTo>
                    <a:pt x="49" y="233"/>
                  </a:lnTo>
                  <a:lnTo>
                    <a:pt x="47" y="233"/>
                  </a:lnTo>
                  <a:lnTo>
                    <a:pt x="47" y="231"/>
                  </a:lnTo>
                  <a:lnTo>
                    <a:pt x="46" y="229"/>
                  </a:lnTo>
                  <a:lnTo>
                    <a:pt x="46" y="228"/>
                  </a:lnTo>
                  <a:lnTo>
                    <a:pt x="46" y="226"/>
                  </a:lnTo>
                  <a:lnTo>
                    <a:pt x="44" y="224"/>
                  </a:lnTo>
                  <a:lnTo>
                    <a:pt x="42" y="224"/>
                  </a:lnTo>
                  <a:lnTo>
                    <a:pt x="40" y="224"/>
                  </a:lnTo>
                  <a:lnTo>
                    <a:pt x="40" y="224"/>
                  </a:lnTo>
                  <a:lnTo>
                    <a:pt x="38" y="224"/>
                  </a:lnTo>
                  <a:lnTo>
                    <a:pt x="38" y="224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35" y="224"/>
                  </a:lnTo>
                  <a:lnTo>
                    <a:pt x="35" y="226"/>
                  </a:lnTo>
                  <a:lnTo>
                    <a:pt x="35" y="226"/>
                  </a:lnTo>
                  <a:lnTo>
                    <a:pt x="35" y="228"/>
                  </a:lnTo>
                  <a:lnTo>
                    <a:pt x="37" y="229"/>
                  </a:lnTo>
                  <a:lnTo>
                    <a:pt x="37" y="229"/>
                  </a:lnTo>
                  <a:lnTo>
                    <a:pt x="37" y="229"/>
                  </a:lnTo>
                  <a:lnTo>
                    <a:pt x="37" y="231"/>
                  </a:lnTo>
                  <a:lnTo>
                    <a:pt x="37" y="233"/>
                  </a:lnTo>
                  <a:lnTo>
                    <a:pt x="37" y="233"/>
                  </a:lnTo>
                  <a:lnTo>
                    <a:pt x="38" y="235"/>
                  </a:lnTo>
                  <a:lnTo>
                    <a:pt x="38" y="235"/>
                  </a:lnTo>
                  <a:lnTo>
                    <a:pt x="38" y="237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8" y="238"/>
                  </a:lnTo>
                  <a:lnTo>
                    <a:pt x="38" y="237"/>
                  </a:lnTo>
                  <a:lnTo>
                    <a:pt x="38" y="237"/>
                  </a:lnTo>
                  <a:lnTo>
                    <a:pt x="40" y="237"/>
                  </a:lnTo>
                  <a:lnTo>
                    <a:pt x="40" y="237"/>
                  </a:lnTo>
                  <a:lnTo>
                    <a:pt x="40" y="237"/>
                  </a:lnTo>
                  <a:lnTo>
                    <a:pt x="42" y="237"/>
                  </a:lnTo>
                  <a:lnTo>
                    <a:pt x="42" y="238"/>
                  </a:lnTo>
                  <a:lnTo>
                    <a:pt x="44" y="238"/>
                  </a:lnTo>
                  <a:lnTo>
                    <a:pt x="42" y="240"/>
                  </a:lnTo>
                  <a:lnTo>
                    <a:pt x="42" y="240"/>
                  </a:lnTo>
                  <a:lnTo>
                    <a:pt x="42" y="240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2" y="240"/>
                  </a:lnTo>
                  <a:lnTo>
                    <a:pt x="42" y="242"/>
                  </a:lnTo>
                  <a:lnTo>
                    <a:pt x="42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38" y="244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7" y="244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3" y="242"/>
                  </a:lnTo>
                  <a:lnTo>
                    <a:pt x="33" y="242"/>
                  </a:lnTo>
                  <a:lnTo>
                    <a:pt x="33" y="242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42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1" y="246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29" y="247"/>
                  </a:lnTo>
                  <a:lnTo>
                    <a:pt x="29" y="249"/>
                  </a:lnTo>
                  <a:lnTo>
                    <a:pt x="29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7" y="251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8" y="251"/>
                  </a:lnTo>
                  <a:lnTo>
                    <a:pt x="38" y="251"/>
                  </a:lnTo>
                  <a:lnTo>
                    <a:pt x="37" y="251"/>
                  </a:lnTo>
                  <a:lnTo>
                    <a:pt x="37" y="253"/>
                  </a:lnTo>
                  <a:lnTo>
                    <a:pt x="38" y="253"/>
                  </a:lnTo>
                  <a:lnTo>
                    <a:pt x="38" y="253"/>
                  </a:lnTo>
                  <a:lnTo>
                    <a:pt x="38" y="253"/>
                  </a:lnTo>
                  <a:lnTo>
                    <a:pt x="38" y="253"/>
                  </a:lnTo>
                  <a:lnTo>
                    <a:pt x="38" y="253"/>
                  </a:lnTo>
                  <a:lnTo>
                    <a:pt x="40" y="253"/>
                  </a:lnTo>
                  <a:lnTo>
                    <a:pt x="42" y="255"/>
                  </a:lnTo>
                  <a:lnTo>
                    <a:pt x="42" y="255"/>
                  </a:lnTo>
                  <a:lnTo>
                    <a:pt x="44" y="255"/>
                  </a:lnTo>
                  <a:lnTo>
                    <a:pt x="44" y="256"/>
                  </a:lnTo>
                  <a:lnTo>
                    <a:pt x="44" y="256"/>
                  </a:lnTo>
                  <a:lnTo>
                    <a:pt x="44" y="256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6" y="256"/>
                  </a:lnTo>
                  <a:lnTo>
                    <a:pt x="47" y="258"/>
                  </a:lnTo>
                  <a:lnTo>
                    <a:pt x="47" y="260"/>
                  </a:lnTo>
                  <a:lnTo>
                    <a:pt x="47" y="260"/>
                  </a:lnTo>
                  <a:lnTo>
                    <a:pt x="47" y="260"/>
                  </a:lnTo>
                  <a:lnTo>
                    <a:pt x="49" y="258"/>
                  </a:lnTo>
                  <a:lnTo>
                    <a:pt x="49" y="258"/>
                  </a:lnTo>
                  <a:lnTo>
                    <a:pt x="47" y="256"/>
                  </a:lnTo>
                  <a:lnTo>
                    <a:pt x="49" y="256"/>
                  </a:lnTo>
                  <a:lnTo>
                    <a:pt x="49" y="256"/>
                  </a:lnTo>
                  <a:lnTo>
                    <a:pt x="49" y="256"/>
                  </a:lnTo>
                  <a:lnTo>
                    <a:pt x="49" y="258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53" y="253"/>
                  </a:lnTo>
                  <a:lnTo>
                    <a:pt x="55" y="253"/>
                  </a:lnTo>
                  <a:lnTo>
                    <a:pt x="55" y="253"/>
                  </a:lnTo>
                  <a:lnTo>
                    <a:pt x="56" y="253"/>
                  </a:lnTo>
                  <a:lnTo>
                    <a:pt x="56" y="253"/>
                  </a:lnTo>
                  <a:lnTo>
                    <a:pt x="56" y="255"/>
                  </a:lnTo>
                  <a:lnTo>
                    <a:pt x="56" y="256"/>
                  </a:lnTo>
                  <a:lnTo>
                    <a:pt x="58" y="255"/>
                  </a:lnTo>
                  <a:lnTo>
                    <a:pt x="58" y="256"/>
                  </a:lnTo>
                  <a:lnTo>
                    <a:pt x="58" y="256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2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9" y="264"/>
                  </a:lnTo>
                  <a:lnTo>
                    <a:pt x="71" y="264"/>
                  </a:lnTo>
                  <a:lnTo>
                    <a:pt x="71" y="264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5" y="267"/>
                  </a:lnTo>
                  <a:lnTo>
                    <a:pt x="75" y="267"/>
                  </a:lnTo>
                  <a:lnTo>
                    <a:pt x="76" y="267"/>
                  </a:lnTo>
                  <a:lnTo>
                    <a:pt x="78" y="267"/>
                  </a:lnTo>
                  <a:lnTo>
                    <a:pt x="80" y="267"/>
                  </a:lnTo>
                  <a:lnTo>
                    <a:pt x="82" y="269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82" y="273"/>
                  </a:lnTo>
                  <a:lnTo>
                    <a:pt x="82" y="273"/>
                  </a:lnTo>
                  <a:lnTo>
                    <a:pt x="82" y="273"/>
                  </a:lnTo>
                  <a:lnTo>
                    <a:pt x="82" y="273"/>
                  </a:lnTo>
                  <a:lnTo>
                    <a:pt x="80" y="275"/>
                  </a:lnTo>
                  <a:lnTo>
                    <a:pt x="80" y="275"/>
                  </a:lnTo>
                  <a:lnTo>
                    <a:pt x="80" y="275"/>
                  </a:lnTo>
                  <a:lnTo>
                    <a:pt x="80" y="276"/>
                  </a:lnTo>
                  <a:lnTo>
                    <a:pt x="80" y="276"/>
                  </a:lnTo>
                  <a:lnTo>
                    <a:pt x="80" y="278"/>
                  </a:lnTo>
                  <a:lnTo>
                    <a:pt x="82" y="278"/>
                  </a:lnTo>
                  <a:lnTo>
                    <a:pt x="82" y="278"/>
                  </a:lnTo>
                  <a:lnTo>
                    <a:pt x="82" y="280"/>
                  </a:lnTo>
                  <a:lnTo>
                    <a:pt x="80" y="282"/>
                  </a:lnTo>
                  <a:lnTo>
                    <a:pt x="80" y="282"/>
                  </a:lnTo>
                  <a:lnTo>
                    <a:pt x="80" y="284"/>
                  </a:lnTo>
                  <a:lnTo>
                    <a:pt x="78" y="284"/>
                  </a:lnTo>
                  <a:lnTo>
                    <a:pt x="75" y="285"/>
                  </a:lnTo>
                  <a:lnTo>
                    <a:pt x="73" y="285"/>
                  </a:lnTo>
                  <a:lnTo>
                    <a:pt x="69" y="285"/>
                  </a:lnTo>
                  <a:lnTo>
                    <a:pt x="69" y="285"/>
                  </a:lnTo>
                  <a:lnTo>
                    <a:pt x="69" y="287"/>
                  </a:lnTo>
                  <a:lnTo>
                    <a:pt x="71" y="289"/>
                  </a:lnTo>
                  <a:lnTo>
                    <a:pt x="75" y="289"/>
                  </a:lnTo>
                  <a:lnTo>
                    <a:pt x="78" y="291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8" y="294"/>
                  </a:lnTo>
                  <a:lnTo>
                    <a:pt x="78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6"/>
                  </a:lnTo>
                  <a:lnTo>
                    <a:pt x="78" y="296"/>
                  </a:lnTo>
                  <a:lnTo>
                    <a:pt x="76" y="296"/>
                  </a:lnTo>
                  <a:lnTo>
                    <a:pt x="78" y="296"/>
                  </a:lnTo>
                  <a:lnTo>
                    <a:pt x="76" y="298"/>
                  </a:lnTo>
                  <a:lnTo>
                    <a:pt x="76" y="298"/>
                  </a:lnTo>
                  <a:lnTo>
                    <a:pt x="76" y="300"/>
                  </a:lnTo>
                  <a:lnTo>
                    <a:pt x="76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78" y="302"/>
                  </a:lnTo>
                  <a:lnTo>
                    <a:pt x="80" y="303"/>
                  </a:lnTo>
                  <a:lnTo>
                    <a:pt x="80" y="303"/>
                  </a:lnTo>
                  <a:lnTo>
                    <a:pt x="78" y="303"/>
                  </a:lnTo>
                  <a:lnTo>
                    <a:pt x="78" y="303"/>
                  </a:lnTo>
                  <a:lnTo>
                    <a:pt x="78" y="305"/>
                  </a:lnTo>
                  <a:lnTo>
                    <a:pt x="78" y="305"/>
                  </a:lnTo>
                  <a:lnTo>
                    <a:pt x="78" y="307"/>
                  </a:lnTo>
                  <a:lnTo>
                    <a:pt x="78" y="307"/>
                  </a:lnTo>
                  <a:lnTo>
                    <a:pt x="78" y="307"/>
                  </a:lnTo>
                  <a:lnTo>
                    <a:pt x="78" y="307"/>
                  </a:lnTo>
                  <a:lnTo>
                    <a:pt x="78" y="307"/>
                  </a:lnTo>
                  <a:lnTo>
                    <a:pt x="78" y="307"/>
                  </a:lnTo>
                  <a:lnTo>
                    <a:pt x="78" y="307"/>
                  </a:lnTo>
                  <a:lnTo>
                    <a:pt x="78" y="307"/>
                  </a:lnTo>
                  <a:lnTo>
                    <a:pt x="78" y="307"/>
                  </a:lnTo>
                  <a:lnTo>
                    <a:pt x="80" y="307"/>
                  </a:lnTo>
                  <a:lnTo>
                    <a:pt x="80" y="307"/>
                  </a:lnTo>
                  <a:lnTo>
                    <a:pt x="80" y="307"/>
                  </a:lnTo>
                  <a:lnTo>
                    <a:pt x="80" y="309"/>
                  </a:lnTo>
                  <a:lnTo>
                    <a:pt x="80" y="307"/>
                  </a:lnTo>
                  <a:lnTo>
                    <a:pt x="82" y="307"/>
                  </a:lnTo>
                  <a:lnTo>
                    <a:pt x="84" y="307"/>
                  </a:lnTo>
                  <a:lnTo>
                    <a:pt x="85" y="307"/>
                  </a:lnTo>
                  <a:lnTo>
                    <a:pt x="84" y="307"/>
                  </a:lnTo>
                  <a:lnTo>
                    <a:pt x="84" y="305"/>
                  </a:lnTo>
                  <a:lnTo>
                    <a:pt x="85" y="305"/>
                  </a:lnTo>
                  <a:lnTo>
                    <a:pt x="85" y="305"/>
                  </a:lnTo>
                  <a:lnTo>
                    <a:pt x="85" y="305"/>
                  </a:lnTo>
                  <a:lnTo>
                    <a:pt x="87" y="303"/>
                  </a:lnTo>
                  <a:lnTo>
                    <a:pt x="87" y="303"/>
                  </a:lnTo>
                  <a:lnTo>
                    <a:pt x="87" y="303"/>
                  </a:lnTo>
                  <a:lnTo>
                    <a:pt x="89" y="303"/>
                  </a:lnTo>
                  <a:lnTo>
                    <a:pt x="89" y="303"/>
                  </a:lnTo>
                  <a:lnTo>
                    <a:pt x="89" y="305"/>
                  </a:lnTo>
                  <a:lnTo>
                    <a:pt x="89" y="305"/>
                  </a:lnTo>
                  <a:lnTo>
                    <a:pt x="87" y="307"/>
                  </a:lnTo>
                  <a:lnTo>
                    <a:pt x="87" y="307"/>
                  </a:lnTo>
                  <a:lnTo>
                    <a:pt x="87" y="309"/>
                  </a:lnTo>
                  <a:lnTo>
                    <a:pt x="89" y="311"/>
                  </a:lnTo>
                  <a:lnTo>
                    <a:pt x="91" y="311"/>
                  </a:lnTo>
                  <a:lnTo>
                    <a:pt x="91" y="309"/>
                  </a:lnTo>
                  <a:lnTo>
                    <a:pt x="91" y="307"/>
                  </a:lnTo>
                  <a:lnTo>
                    <a:pt x="93" y="307"/>
                  </a:lnTo>
                  <a:lnTo>
                    <a:pt x="93" y="309"/>
                  </a:lnTo>
                  <a:lnTo>
                    <a:pt x="93" y="309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1" y="312"/>
                  </a:lnTo>
                  <a:lnTo>
                    <a:pt x="91" y="312"/>
                  </a:lnTo>
                  <a:lnTo>
                    <a:pt x="91" y="312"/>
                  </a:lnTo>
                  <a:lnTo>
                    <a:pt x="91" y="314"/>
                  </a:lnTo>
                  <a:lnTo>
                    <a:pt x="91" y="312"/>
                  </a:lnTo>
                  <a:lnTo>
                    <a:pt x="93" y="312"/>
                  </a:lnTo>
                  <a:lnTo>
                    <a:pt x="93" y="312"/>
                  </a:lnTo>
                  <a:lnTo>
                    <a:pt x="93" y="312"/>
                  </a:lnTo>
                  <a:lnTo>
                    <a:pt x="94" y="312"/>
                  </a:lnTo>
                  <a:lnTo>
                    <a:pt x="94" y="314"/>
                  </a:lnTo>
                  <a:lnTo>
                    <a:pt x="93" y="314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4" y="314"/>
                  </a:lnTo>
                  <a:lnTo>
                    <a:pt x="94" y="312"/>
                  </a:lnTo>
                  <a:lnTo>
                    <a:pt x="96" y="312"/>
                  </a:lnTo>
                  <a:lnTo>
                    <a:pt x="96" y="312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8" y="312"/>
                  </a:lnTo>
                  <a:lnTo>
                    <a:pt x="98" y="314"/>
                  </a:lnTo>
                  <a:lnTo>
                    <a:pt x="98" y="314"/>
                  </a:lnTo>
                  <a:lnTo>
                    <a:pt x="98" y="314"/>
                  </a:lnTo>
                  <a:lnTo>
                    <a:pt x="98" y="314"/>
                  </a:lnTo>
                  <a:lnTo>
                    <a:pt x="98" y="316"/>
                  </a:lnTo>
                  <a:lnTo>
                    <a:pt x="98" y="316"/>
                  </a:lnTo>
                  <a:lnTo>
                    <a:pt x="98" y="316"/>
                  </a:lnTo>
                  <a:lnTo>
                    <a:pt x="98" y="318"/>
                  </a:lnTo>
                  <a:lnTo>
                    <a:pt x="98" y="318"/>
                  </a:lnTo>
                  <a:lnTo>
                    <a:pt x="96" y="318"/>
                  </a:lnTo>
                  <a:lnTo>
                    <a:pt x="98" y="316"/>
                  </a:lnTo>
                  <a:lnTo>
                    <a:pt x="96" y="316"/>
                  </a:lnTo>
                  <a:lnTo>
                    <a:pt x="94" y="318"/>
                  </a:lnTo>
                  <a:lnTo>
                    <a:pt x="94" y="318"/>
                  </a:lnTo>
                  <a:lnTo>
                    <a:pt x="94" y="318"/>
                  </a:lnTo>
                  <a:lnTo>
                    <a:pt x="94" y="320"/>
                  </a:lnTo>
                  <a:lnTo>
                    <a:pt x="96" y="321"/>
                  </a:lnTo>
                  <a:lnTo>
                    <a:pt x="96" y="321"/>
                  </a:lnTo>
                  <a:lnTo>
                    <a:pt x="96" y="321"/>
                  </a:lnTo>
                  <a:lnTo>
                    <a:pt x="96" y="320"/>
                  </a:lnTo>
                  <a:lnTo>
                    <a:pt x="96" y="321"/>
                  </a:lnTo>
                  <a:lnTo>
                    <a:pt x="96" y="321"/>
                  </a:lnTo>
                  <a:lnTo>
                    <a:pt x="94" y="321"/>
                  </a:lnTo>
                  <a:lnTo>
                    <a:pt x="94" y="321"/>
                  </a:lnTo>
                  <a:lnTo>
                    <a:pt x="94" y="321"/>
                  </a:lnTo>
                  <a:lnTo>
                    <a:pt x="93" y="323"/>
                  </a:lnTo>
                  <a:lnTo>
                    <a:pt x="91" y="323"/>
                  </a:lnTo>
                  <a:lnTo>
                    <a:pt x="91" y="323"/>
                  </a:lnTo>
                  <a:lnTo>
                    <a:pt x="91" y="323"/>
                  </a:lnTo>
                  <a:lnTo>
                    <a:pt x="89" y="321"/>
                  </a:lnTo>
                  <a:lnTo>
                    <a:pt x="89" y="321"/>
                  </a:lnTo>
                  <a:lnTo>
                    <a:pt x="89" y="321"/>
                  </a:lnTo>
                  <a:lnTo>
                    <a:pt x="89" y="321"/>
                  </a:lnTo>
                  <a:lnTo>
                    <a:pt x="89" y="321"/>
                  </a:lnTo>
                  <a:lnTo>
                    <a:pt x="89" y="321"/>
                  </a:lnTo>
                  <a:lnTo>
                    <a:pt x="89" y="321"/>
                  </a:lnTo>
                  <a:lnTo>
                    <a:pt x="89" y="321"/>
                  </a:lnTo>
                  <a:lnTo>
                    <a:pt x="87" y="321"/>
                  </a:lnTo>
                  <a:lnTo>
                    <a:pt x="87" y="321"/>
                  </a:lnTo>
                  <a:lnTo>
                    <a:pt x="87" y="321"/>
                  </a:lnTo>
                  <a:lnTo>
                    <a:pt x="87" y="321"/>
                  </a:lnTo>
                  <a:lnTo>
                    <a:pt x="87" y="320"/>
                  </a:lnTo>
                  <a:lnTo>
                    <a:pt x="87" y="320"/>
                  </a:lnTo>
                  <a:lnTo>
                    <a:pt x="87" y="320"/>
                  </a:lnTo>
                  <a:lnTo>
                    <a:pt x="87" y="320"/>
                  </a:lnTo>
                  <a:lnTo>
                    <a:pt x="87" y="320"/>
                  </a:lnTo>
                  <a:lnTo>
                    <a:pt x="87" y="320"/>
                  </a:lnTo>
                  <a:lnTo>
                    <a:pt x="85" y="320"/>
                  </a:lnTo>
                  <a:lnTo>
                    <a:pt x="85" y="320"/>
                  </a:lnTo>
                  <a:lnTo>
                    <a:pt x="85" y="321"/>
                  </a:lnTo>
                  <a:lnTo>
                    <a:pt x="85" y="321"/>
                  </a:lnTo>
                  <a:lnTo>
                    <a:pt x="85" y="320"/>
                  </a:lnTo>
                  <a:lnTo>
                    <a:pt x="85" y="320"/>
                  </a:lnTo>
                  <a:lnTo>
                    <a:pt x="85" y="320"/>
                  </a:lnTo>
                  <a:lnTo>
                    <a:pt x="84" y="320"/>
                  </a:lnTo>
                  <a:lnTo>
                    <a:pt x="84" y="320"/>
                  </a:lnTo>
                  <a:lnTo>
                    <a:pt x="84" y="320"/>
                  </a:lnTo>
                  <a:lnTo>
                    <a:pt x="84" y="321"/>
                  </a:lnTo>
                  <a:lnTo>
                    <a:pt x="84" y="321"/>
                  </a:lnTo>
                  <a:lnTo>
                    <a:pt x="84" y="321"/>
                  </a:lnTo>
                  <a:lnTo>
                    <a:pt x="82" y="321"/>
                  </a:lnTo>
                  <a:lnTo>
                    <a:pt x="82" y="321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82" y="321"/>
                  </a:lnTo>
                  <a:lnTo>
                    <a:pt x="82" y="321"/>
                  </a:lnTo>
                  <a:lnTo>
                    <a:pt x="82" y="321"/>
                  </a:lnTo>
                  <a:lnTo>
                    <a:pt x="82" y="321"/>
                  </a:lnTo>
                  <a:lnTo>
                    <a:pt x="82" y="321"/>
                  </a:lnTo>
                  <a:lnTo>
                    <a:pt x="82" y="323"/>
                  </a:lnTo>
                  <a:lnTo>
                    <a:pt x="82" y="323"/>
                  </a:lnTo>
                  <a:lnTo>
                    <a:pt x="80" y="323"/>
                  </a:lnTo>
                  <a:lnTo>
                    <a:pt x="80" y="323"/>
                  </a:lnTo>
                  <a:lnTo>
                    <a:pt x="80" y="325"/>
                  </a:lnTo>
                  <a:lnTo>
                    <a:pt x="80" y="327"/>
                  </a:lnTo>
                  <a:lnTo>
                    <a:pt x="80" y="327"/>
                  </a:lnTo>
                  <a:lnTo>
                    <a:pt x="80" y="329"/>
                  </a:lnTo>
                  <a:lnTo>
                    <a:pt x="80" y="329"/>
                  </a:lnTo>
                  <a:lnTo>
                    <a:pt x="80" y="331"/>
                  </a:lnTo>
                  <a:lnTo>
                    <a:pt x="82" y="331"/>
                  </a:lnTo>
                  <a:lnTo>
                    <a:pt x="82" y="331"/>
                  </a:lnTo>
                  <a:lnTo>
                    <a:pt x="82" y="332"/>
                  </a:lnTo>
                  <a:lnTo>
                    <a:pt x="82" y="332"/>
                  </a:lnTo>
                  <a:lnTo>
                    <a:pt x="84" y="332"/>
                  </a:lnTo>
                  <a:lnTo>
                    <a:pt x="84" y="332"/>
                  </a:lnTo>
                  <a:lnTo>
                    <a:pt x="84" y="332"/>
                  </a:lnTo>
                  <a:lnTo>
                    <a:pt x="84" y="331"/>
                  </a:lnTo>
                  <a:lnTo>
                    <a:pt x="84" y="331"/>
                  </a:lnTo>
                  <a:lnTo>
                    <a:pt x="84" y="331"/>
                  </a:lnTo>
                  <a:lnTo>
                    <a:pt x="85" y="329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85" y="329"/>
                  </a:lnTo>
                  <a:lnTo>
                    <a:pt x="85" y="327"/>
                  </a:lnTo>
                  <a:lnTo>
                    <a:pt x="87" y="327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87" y="327"/>
                  </a:lnTo>
                  <a:lnTo>
                    <a:pt x="87" y="327"/>
                  </a:lnTo>
                  <a:lnTo>
                    <a:pt x="87" y="327"/>
                  </a:lnTo>
                  <a:lnTo>
                    <a:pt x="89" y="329"/>
                  </a:lnTo>
                  <a:lnTo>
                    <a:pt x="89" y="327"/>
                  </a:lnTo>
                  <a:lnTo>
                    <a:pt x="89" y="327"/>
                  </a:lnTo>
                  <a:lnTo>
                    <a:pt x="91" y="327"/>
                  </a:lnTo>
                  <a:lnTo>
                    <a:pt x="91" y="329"/>
                  </a:lnTo>
                  <a:lnTo>
                    <a:pt x="91" y="329"/>
                  </a:lnTo>
                  <a:lnTo>
                    <a:pt x="93" y="331"/>
                  </a:lnTo>
                  <a:lnTo>
                    <a:pt x="94" y="329"/>
                  </a:lnTo>
                  <a:lnTo>
                    <a:pt x="94" y="331"/>
                  </a:lnTo>
                  <a:lnTo>
                    <a:pt x="94" y="331"/>
                  </a:lnTo>
                  <a:lnTo>
                    <a:pt x="96" y="331"/>
                  </a:lnTo>
                  <a:lnTo>
                    <a:pt x="96" y="329"/>
                  </a:lnTo>
                  <a:lnTo>
                    <a:pt x="98" y="329"/>
                  </a:lnTo>
                  <a:lnTo>
                    <a:pt x="98" y="331"/>
                  </a:lnTo>
                  <a:lnTo>
                    <a:pt x="100" y="331"/>
                  </a:lnTo>
                  <a:lnTo>
                    <a:pt x="100" y="329"/>
                  </a:lnTo>
                  <a:lnTo>
                    <a:pt x="102" y="329"/>
                  </a:lnTo>
                  <a:lnTo>
                    <a:pt x="103" y="329"/>
                  </a:lnTo>
                  <a:lnTo>
                    <a:pt x="105" y="329"/>
                  </a:lnTo>
                  <a:lnTo>
                    <a:pt x="105" y="329"/>
                  </a:lnTo>
                  <a:lnTo>
                    <a:pt x="105" y="329"/>
                  </a:lnTo>
                  <a:lnTo>
                    <a:pt x="107" y="329"/>
                  </a:lnTo>
                  <a:lnTo>
                    <a:pt x="107" y="329"/>
                  </a:lnTo>
                  <a:lnTo>
                    <a:pt x="107" y="329"/>
                  </a:lnTo>
                  <a:lnTo>
                    <a:pt x="107" y="329"/>
                  </a:lnTo>
                  <a:lnTo>
                    <a:pt x="107" y="329"/>
                  </a:lnTo>
                  <a:lnTo>
                    <a:pt x="109" y="329"/>
                  </a:lnTo>
                  <a:lnTo>
                    <a:pt x="112" y="327"/>
                  </a:lnTo>
                  <a:lnTo>
                    <a:pt x="114" y="327"/>
                  </a:lnTo>
                  <a:lnTo>
                    <a:pt x="114" y="327"/>
                  </a:lnTo>
                  <a:lnTo>
                    <a:pt x="116" y="327"/>
                  </a:lnTo>
                  <a:lnTo>
                    <a:pt x="116" y="327"/>
                  </a:lnTo>
                  <a:lnTo>
                    <a:pt x="116" y="327"/>
                  </a:lnTo>
                  <a:lnTo>
                    <a:pt x="118" y="327"/>
                  </a:lnTo>
                  <a:lnTo>
                    <a:pt x="123" y="327"/>
                  </a:lnTo>
                  <a:lnTo>
                    <a:pt x="123" y="329"/>
                  </a:lnTo>
                  <a:lnTo>
                    <a:pt x="123" y="327"/>
                  </a:lnTo>
                  <a:lnTo>
                    <a:pt x="123" y="327"/>
                  </a:lnTo>
                  <a:lnTo>
                    <a:pt x="125" y="327"/>
                  </a:lnTo>
                  <a:lnTo>
                    <a:pt x="127" y="327"/>
                  </a:lnTo>
                  <a:lnTo>
                    <a:pt x="132" y="325"/>
                  </a:lnTo>
                  <a:lnTo>
                    <a:pt x="134" y="327"/>
                  </a:lnTo>
                  <a:lnTo>
                    <a:pt x="134" y="327"/>
                  </a:lnTo>
                  <a:lnTo>
                    <a:pt x="134" y="327"/>
                  </a:lnTo>
                  <a:lnTo>
                    <a:pt x="134" y="327"/>
                  </a:lnTo>
                  <a:lnTo>
                    <a:pt x="132" y="327"/>
                  </a:lnTo>
                  <a:lnTo>
                    <a:pt x="131" y="329"/>
                  </a:lnTo>
                  <a:lnTo>
                    <a:pt x="131" y="329"/>
                  </a:lnTo>
                  <a:lnTo>
                    <a:pt x="131" y="331"/>
                  </a:lnTo>
                  <a:lnTo>
                    <a:pt x="129" y="331"/>
                  </a:lnTo>
                  <a:lnTo>
                    <a:pt x="129" y="329"/>
                  </a:lnTo>
                  <a:lnTo>
                    <a:pt x="129" y="331"/>
                  </a:lnTo>
                  <a:lnTo>
                    <a:pt x="129" y="331"/>
                  </a:lnTo>
                  <a:lnTo>
                    <a:pt x="129" y="331"/>
                  </a:lnTo>
                  <a:lnTo>
                    <a:pt x="129" y="331"/>
                  </a:lnTo>
                  <a:lnTo>
                    <a:pt x="129" y="331"/>
                  </a:lnTo>
                  <a:lnTo>
                    <a:pt x="127" y="332"/>
                  </a:lnTo>
                  <a:lnTo>
                    <a:pt x="127" y="332"/>
                  </a:lnTo>
                  <a:lnTo>
                    <a:pt x="127" y="332"/>
                  </a:lnTo>
                  <a:lnTo>
                    <a:pt x="127" y="332"/>
                  </a:lnTo>
                  <a:lnTo>
                    <a:pt x="125" y="332"/>
                  </a:lnTo>
                  <a:lnTo>
                    <a:pt x="125" y="332"/>
                  </a:lnTo>
                  <a:lnTo>
                    <a:pt x="127" y="332"/>
                  </a:lnTo>
                  <a:lnTo>
                    <a:pt x="127" y="334"/>
                  </a:lnTo>
                  <a:lnTo>
                    <a:pt x="127" y="334"/>
                  </a:lnTo>
                  <a:lnTo>
                    <a:pt x="127" y="334"/>
                  </a:lnTo>
                  <a:lnTo>
                    <a:pt x="127" y="334"/>
                  </a:lnTo>
                  <a:lnTo>
                    <a:pt x="127" y="334"/>
                  </a:lnTo>
                  <a:lnTo>
                    <a:pt x="127" y="334"/>
                  </a:lnTo>
                  <a:lnTo>
                    <a:pt x="127" y="334"/>
                  </a:lnTo>
                  <a:lnTo>
                    <a:pt x="125" y="334"/>
                  </a:lnTo>
                  <a:lnTo>
                    <a:pt x="125" y="334"/>
                  </a:lnTo>
                  <a:lnTo>
                    <a:pt x="125" y="334"/>
                  </a:lnTo>
                  <a:lnTo>
                    <a:pt x="125" y="334"/>
                  </a:lnTo>
                  <a:lnTo>
                    <a:pt x="123" y="332"/>
                  </a:lnTo>
                  <a:lnTo>
                    <a:pt x="123" y="334"/>
                  </a:lnTo>
                  <a:lnTo>
                    <a:pt x="123" y="334"/>
                  </a:lnTo>
                  <a:lnTo>
                    <a:pt x="123" y="332"/>
                  </a:lnTo>
                  <a:lnTo>
                    <a:pt x="123" y="332"/>
                  </a:lnTo>
                  <a:lnTo>
                    <a:pt x="121" y="332"/>
                  </a:lnTo>
                  <a:lnTo>
                    <a:pt x="121" y="334"/>
                  </a:lnTo>
                  <a:lnTo>
                    <a:pt x="121" y="332"/>
                  </a:lnTo>
                  <a:lnTo>
                    <a:pt x="121" y="332"/>
                  </a:lnTo>
                  <a:lnTo>
                    <a:pt x="120" y="332"/>
                  </a:lnTo>
                  <a:lnTo>
                    <a:pt x="120" y="334"/>
                  </a:lnTo>
                  <a:lnTo>
                    <a:pt x="121" y="334"/>
                  </a:lnTo>
                  <a:lnTo>
                    <a:pt x="121" y="334"/>
                  </a:lnTo>
                  <a:lnTo>
                    <a:pt x="120" y="334"/>
                  </a:lnTo>
                  <a:lnTo>
                    <a:pt x="120" y="334"/>
                  </a:lnTo>
                  <a:lnTo>
                    <a:pt x="120" y="334"/>
                  </a:lnTo>
                  <a:lnTo>
                    <a:pt x="120" y="334"/>
                  </a:lnTo>
                  <a:lnTo>
                    <a:pt x="120" y="334"/>
                  </a:lnTo>
                  <a:lnTo>
                    <a:pt x="120" y="334"/>
                  </a:lnTo>
                  <a:lnTo>
                    <a:pt x="120" y="334"/>
                  </a:lnTo>
                  <a:lnTo>
                    <a:pt x="120" y="336"/>
                  </a:lnTo>
                  <a:lnTo>
                    <a:pt x="120" y="334"/>
                  </a:lnTo>
                  <a:lnTo>
                    <a:pt x="120" y="336"/>
                  </a:lnTo>
                  <a:lnTo>
                    <a:pt x="120" y="336"/>
                  </a:lnTo>
                  <a:lnTo>
                    <a:pt x="121" y="336"/>
                  </a:lnTo>
                  <a:lnTo>
                    <a:pt x="121" y="338"/>
                  </a:lnTo>
                  <a:lnTo>
                    <a:pt x="120" y="338"/>
                  </a:lnTo>
                  <a:lnTo>
                    <a:pt x="120" y="338"/>
                  </a:lnTo>
                  <a:lnTo>
                    <a:pt x="120" y="338"/>
                  </a:lnTo>
                  <a:lnTo>
                    <a:pt x="120" y="338"/>
                  </a:lnTo>
                  <a:lnTo>
                    <a:pt x="118" y="338"/>
                  </a:lnTo>
                  <a:lnTo>
                    <a:pt x="118" y="338"/>
                  </a:lnTo>
                  <a:lnTo>
                    <a:pt x="118" y="338"/>
                  </a:lnTo>
                  <a:lnTo>
                    <a:pt x="118" y="338"/>
                  </a:lnTo>
                  <a:lnTo>
                    <a:pt x="120" y="338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18" y="340"/>
                  </a:lnTo>
                  <a:lnTo>
                    <a:pt x="118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1" y="341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0" y="343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6" y="341"/>
                  </a:lnTo>
                  <a:lnTo>
                    <a:pt x="114" y="341"/>
                  </a:lnTo>
                  <a:lnTo>
                    <a:pt x="114" y="341"/>
                  </a:lnTo>
                  <a:lnTo>
                    <a:pt x="112" y="341"/>
                  </a:lnTo>
                  <a:lnTo>
                    <a:pt x="112" y="341"/>
                  </a:lnTo>
                  <a:lnTo>
                    <a:pt x="112" y="341"/>
                  </a:lnTo>
                  <a:lnTo>
                    <a:pt x="107" y="341"/>
                  </a:lnTo>
                  <a:lnTo>
                    <a:pt x="107" y="341"/>
                  </a:lnTo>
                  <a:lnTo>
                    <a:pt x="105" y="343"/>
                  </a:lnTo>
                  <a:lnTo>
                    <a:pt x="105" y="343"/>
                  </a:lnTo>
                  <a:lnTo>
                    <a:pt x="105" y="343"/>
                  </a:lnTo>
                  <a:lnTo>
                    <a:pt x="103" y="343"/>
                  </a:lnTo>
                  <a:lnTo>
                    <a:pt x="103" y="343"/>
                  </a:lnTo>
                  <a:lnTo>
                    <a:pt x="102" y="343"/>
                  </a:lnTo>
                  <a:lnTo>
                    <a:pt x="100" y="341"/>
                  </a:lnTo>
                  <a:lnTo>
                    <a:pt x="100" y="341"/>
                  </a:lnTo>
                  <a:lnTo>
                    <a:pt x="98" y="341"/>
                  </a:lnTo>
                  <a:lnTo>
                    <a:pt x="98" y="343"/>
                  </a:lnTo>
                  <a:lnTo>
                    <a:pt x="98" y="343"/>
                  </a:lnTo>
                  <a:lnTo>
                    <a:pt x="98" y="343"/>
                  </a:lnTo>
                  <a:lnTo>
                    <a:pt x="96" y="343"/>
                  </a:lnTo>
                  <a:lnTo>
                    <a:pt x="93" y="345"/>
                  </a:lnTo>
                  <a:lnTo>
                    <a:pt x="91" y="345"/>
                  </a:lnTo>
                  <a:lnTo>
                    <a:pt x="91" y="345"/>
                  </a:lnTo>
                  <a:lnTo>
                    <a:pt x="89" y="345"/>
                  </a:lnTo>
                  <a:lnTo>
                    <a:pt x="89" y="345"/>
                  </a:lnTo>
                  <a:lnTo>
                    <a:pt x="89" y="347"/>
                  </a:lnTo>
                  <a:lnTo>
                    <a:pt x="89" y="347"/>
                  </a:lnTo>
                  <a:lnTo>
                    <a:pt x="87" y="347"/>
                  </a:lnTo>
                  <a:lnTo>
                    <a:pt x="87" y="347"/>
                  </a:lnTo>
                  <a:lnTo>
                    <a:pt x="87" y="347"/>
                  </a:lnTo>
                  <a:lnTo>
                    <a:pt x="85" y="347"/>
                  </a:lnTo>
                  <a:lnTo>
                    <a:pt x="85" y="347"/>
                  </a:lnTo>
                  <a:lnTo>
                    <a:pt x="85" y="347"/>
                  </a:lnTo>
                  <a:lnTo>
                    <a:pt x="87" y="349"/>
                  </a:lnTo>
                  <a:lnTo>
                    <a:pt x="87" y="349"/>
                  </a:lnTo>
                  <a:lnTo>
                    <a:pt x="85" y="349"/>
                  </a:lnTo>
                  <a:lnTo>
                    <a:pt x="85" y="349"/>
                  </a:lnTo>
                  <a:lnTo>
                    <a:pt x="87" y="349"/>
                  </a:lnTo>
                  <a:lnTo>
                    <a:pt x="87" y="349"/>
                  </a:lnTo>
                  <a:lnTo>
                    <a:pt x="87" y="349"/>
                  </a:lnTo>
                  <a:lnTo>
                    <a:pt x="87" y="349"/>
                  </a:lnTo>
                  <a:lnTo>
                    <a:pt x="87" y="349"/>
                  </a:lnTo>
                  <a:lnTo>
                    <a:pt x="87" y="349"/>
                  </a:lnTo>
                  <a:lnTo>
                    <a:pt x="87" y="350"/>
                  </a:lnTo>
                  <a:lnTo>
                    <a:pt x="89" y="350"/>
                  </a:lnTo>
                  <a:lnTo>
                    <a:pt x="89" y="350"/>
                  </a:lnTo>
                  <a:lnTo>
                    <a:pt x="91" y="350"/>
                  </a:lnTo>
                  <a:lnTo>
                    <a:pt x="91" y="350"/>
                  </a:lnTo>
                  <a:lnTo>
                    <a:pt x="91" y="350"/>
                  </a:lnTo>
                  <a:lnTo>
                    <a:pt x="91" y="350"/>
                  </a:lnTo>
                  <a:lnTo>
                    <a:pt x="93" y="350"/>
                  </a:lnTo>
                  <a:lnTo>
                    <a:pt x="93" y="350"/>
                  </a:lnTo>
                  <a:lnTo>
                    <a:pt x="93" y="350"/>
                  </a:lnTo>
                  <a:lnTo>
                    <a:pt x="96" y="349"/>
                  </a:lnTo>
                  <a:lnTo>
                    <a:pt x="96" y="349"/>
                  </a:lnTo>
                  <a:lnTo>
                    <a:pt x="96" y="349"/>
                  </a:lnTo>
                  <a:lnTo>
                    <a:pt x="98" y="349"/>
                  </a:lnTo>
                  <a:lnTo>
                    <a:pt x="98" y="349"/>
                  </a:lnTo>
                  <a:lnTo>
                    <a:pt x="98" y="349"/>
                  </a:lnTo>
                  <a:lnTo>
                    <a:pt x="100" y="350"/>
                  </a:lnTo>
                  <a:lnTo>
                    <a:pt x="102" y="350"/>
                  </a:lnTo>
                  <a:lnTo>
                    <a:pt x="102" y="349"/>
                  </a:lnTo>
                  <a:lnTo>
                    <a:pt x="102" y="347"/>
                  </a:lnTo>
                  <a:lnTo>
                    <a:pt x="102" y="347"/>
                  </a:lnTo>
                  <a:lnTo>
                    <a:pt x="102" y="347"/>
                  </a:lnTo>
                  <a:lnTo>
                    <a:pt x="103" y="345"/>
                  </a:lnTo>
                  <a:lnTo>
                    <a:pt x="103" y="345"/>
                  </a:lnTo>
                  <a:lnTo>
                    <a:pt x="105" y="343"/>
                  </a:lnTo>
                  <a:lnTo>
                    <a:pt x="105" y="345"/>
                  </a:lnTo>
                  <a:lnTo>
                    <a:pt x="105" y="345"/>
                  </a:lnTo>
                  <a:lnTo>
                    <a:pt x="107" y="345"/>
                  </a:lnTo>
                  <a:lnTo>
                    <a:pt x="107" y="343"/>
                  </a:lnTo>
                  <a:lnTo>
                    <a:pt x="107" y="345"/>
                  </a:lnTo>
                  <a:lnTo>
                    <a:pt x="109" y="343"/>
                  </a:lnTo>
                  <a:lnTo>
                    <a:pt x="109" y="345"/>
                  </a:lnTo>
                  <a:lnTo>
                    <a:pt x="111" y="345"/>
                  </a:lnTo>
                  <a:lnTo>
                    <a:pt x="111" y="345"/>
                  </a:lnTo>
                  <a:lnTo>
                    <a:pt x="111" y="345"/>
                  </a:lnTo>
                  <a:lnTo>
                    <a:pt x="111" y="345"/>
                  </a:lnTo>
                  <a:lnTo>
                    <a:pt x="112" y="345"/>
                  </a:lnTo>
                  <a:lnTo>
                    <a:pt x="112" y="345"/>
                  </a:lnTo>
                  <a:lnTo>
                    <a:pt x="112" y="345"/>
                  </a:lnTo>
                  <a:lnTo>
                    <a:pt x="112" y="345"/>
                  </a:lnTo>
                  <a:lnTo>
                    <a:pt x="112" y="345"/>
                  </a:lnTo>
                  <a:lnTo>
                    <a:pt x="114" y="345"/>
                  </a:lnTo>
                  <a:lnTo>
                    <a:pt x="114" y="345"/>
                  </a:lnTo>
                  <a:lnTo>
                    <a:pt x="114" y="345"/>
                  </a:lnTo>
                  <a:lnTo>
                    <a:pt x="114" y="345"/>
                  </a:lnTo>
                  <a:lnTo>
                    <a:pt x="116" y="345"/>
                  </a:lnTo>
                  <a:lnTo>
                    <a:pt x="116" y="345"/>
                  </a:lnTo>
                  <a:lnTo>
                    <a:pt x="116" y="345"/>
                  </a:lnTo>
                  <a:lnTo>
                    <a:pt x="116" y="345"/>
                  </a:lnTo>
                  <a:lnTo>
                    <a:pt x="120" y="343"/>
                  </a:lnTo>
                  <a:lnTo>
                    <a:pt x="120" y="343"/>
                  </a:lnTo>
                  <a:lnTo>
                    <a:pt x="120" y="343"/>
                  </a:lnTo>
                  <a:lnTo>
                    <a:pt x="120" y="343"/>
                  </a:lnTo>
                  <a:lnTo>
                    <a:pt x="121" y="343"/>
                  </a:lnTo>
                  <a:lnTo>
                    <a:pt x="121" y="341"/>
                  </a:lnTo>
                  <a:lnTo>
                    <a:pt x="123" y="341"/>
                  </a:lnTo>
                  <a:lnTo>
                    <a:pt x="123" y="341"/>
                  </a:lnTo>
                  <a:lnTo>
                    <a:pt x="123" y="341"/>
                  </a:lnTo>
                  <a:lnTo>
                    <a:pt x="123" y="341"/>
                  </a:lnTo>
                  <a:lnTo>
                    <a:pt x="123" y="343"/>
                  </a:lnTo>
                  <a:lnTo>
                    <a:pt x="125" y="345"/>
                  </a:lnTo>
                  <a:lnTo>
                    <a:pt x="123" y="343"/>
                  </a:lnTo>
                  <a:lnTo>
                    <a:pt x="123" y="343"/>
                  </a:lnTo>
                  <a:lnTo>
                    <a:pt x="123" y="343"/>
                  </a:lnTo>
                  <a:lnTo>
                    <a:pt x="123" y="343"/>
                  </a:lnTo>
                  <a:lnTo>
                    <a:pt x="123" y="345"/>
                  </a:lnTo>
                  <a:lnTo>
                    <a:pt x="121" y="345"/>
                  </a:lnTo>
                  <a:lnTo>
                    <a:pt x="121" y="345"/>
                  </a:lnTo>
                  <a:lnTo>
                    <a:pt x="121" y="345"/>
                  </a:lnTo>
                  <a:lnTo>
                    <a:pt x="123" y="345"/>
                  </a:lnTo>
                  <a:lnTo>
                    <a:pt x="123" y="345"/>
                  </a:lnTo>
                  <a:lnTo>
                    <a:pt x="123" y="347"/>
                  </a:lnTo>
                  <a:lnTo>
                    <a:pt x="123" y="347"/>
                  </a:lnTo>
                  <a:lnTo>
                    <a:pt x="121" y="347"/>
                  </a:lnTo>
                  <a:lnTo>
                    <a:pt x="121" y="347"/>
                  </a:lnTo>
                  <a:lnTo>
                    <a:pt x="121" y="347"/>
                  </a:lnTo>
                  <a:lnTo>
                    <a:pt x="120" y="347"/>
                  </a:lnTo>
                  <a:lnTo>
                    <a:pt x="120" y="347"/>
                  </a:lnTo>
                  <a:lnTo>
                    <a:pt x="120" y="347"/>
                  </a:lnTo>
                  <a:lnTo>
                    <a:pt x="120" y="347"/>
                  </a:lnTo>
                  <a:lnTo>
                    <a:pt x="120" y="347"/>
                  </a:lnTo>
                  <a:lnTo>
                    <a:pt x="120" y="347"/>
                  </a:lnTo>
                  <a:lnTo>
                    <a:pt x="118" y="347"/>
                  </a:lnTo>
                  <a:lnTo>
                    <a:pt x="118" y="349"/>
                  </a:lnTo>
                  <a:lnTo>
                    <a:pt x="116" y="349"/>
                  </a:lnTo>
                  <a:lnTo>
                    <a:pt x="116" y="349"/>
                  </a:lnTo>
                  <a:lnTo>
                    <a:pt x="116" y="349"/>
                  </a:lnTo>
                  <a:lnTo>
                    <a:pt x="116" y="349"/>
                  </a:lnTo>
                  <a:lnTo>
                    <a:pt x="118" y="349"/>
                  </a:lnTo>
                  <a:lnTo>
                    <a:pt x="118" y="349"/>
                  </a:lnTo>
                  <a:lnTo>
                    <a:pt x="118" y="349"/>
                  </a:lnTo>
                  <a:lnTo>
                    <a:pt x="120" y="350"/>
                  </a:lnTo>
                  <a:lnTo>
                    <a:pt x="120" y="350"/>
                  </a:lnTo>
                  <a:lnTo>
                    <a:pt x="120" y="349"/>
                  </a:lnTo>
                  <a:lnTo>
                    <a:pt x="120" y="349"/>
                  </a:lnTo>
                  <a:lnTo>
                    <a:pt x="120" y="349"/>
                  </a:lnTo>
                  <a:lnTo>
                    <a:pt x="120" y="349"/>
                  </a:lnTo>
                  <a:lnTo>
                    <a:pt x="121" y="349"/>
                  </a:lnTo>
                  <a:lnTo>
                    <a:pt x="121" y="350"/>
                  </a:lnTo>
                  <a:lnTo>
                    <a:pt x="121" y="350"/>
                  </a:lnTo>
                  <a:lnTo>
                    <a:pt x="120" y="352"/>
                  </a:lnTo>
                  <a:lnTo>
                    <a:pt x="120" y="352"/>
                  </a:lnTo>
                  <a:lnTo>
                    <a:pt x="121" y="352"/>
                  </a:lnTo>
                  <a:lnTo>
                    <a:pt x="121" y="350"/>
                  </a:lnTo>
                  <a:lnTo>
                    <a:pt x="121" y="352"/>
                  </a:lnTo>
                  <a:lnTo>
                    <a:pt x="121" y="352"/>
                  </a:lnTo>
                  <a:lnTo>
                    <a:pt x="121" y="352"/>
                  </a:lnTo>
                  <a:lnTo>
                    <a:pt x="121" y="354"/>
                  </a:lnTo>
                  <a:lnTo>
                    <a:pt x="120" y="354"/>
                  </a:lnTo>
                  <a:lnTo>
                    <a:pt x="116" y="354"/>
                  </a:lnTo>
                  <a:lnTo>
                    <a:pt x="116" y="354"/>
                  </a:lnTo>
                  <a:lnTo>
                    <a:pt x="116" y="354"/>
                  </a:lnTo>
                  <a:lnTo>
                    <a:pt x="116" y="354"/>
                  </a:lnTo>
                  <a:lnTo>
                    <a:pt x="116" y="354"/>
                  </a:lnTo>
                  <a:lnTo>
                    <a:pt x="116" y="356"/>
                  </a:lnTo>
                  <a:lnTo>
                    <a:pt x="116" y="356"/>
                  </a:lnTo>
                  <a:lnTo>
                    <a:pt x="116" y="356"/>
                  </a:lnTo>
                  <a:lnTo>
                    <a:pt x="118" y="356"/>
                  </a:lnTo>
                  <a:lnTo>
                    <a:pt x="118" y="356"/>
                  </a:lnTo>
                  <a:lnTo>
                    <a:pt x="118" y="356"/>
                  </a:lnTo>
                  <a:lnTo>
                    <a:pt x="120" y="356"/>
                  </a:lnTo>
                  <a:lnTo>
                    <a:pt x="120" y="356"/>
                  </a:lnTo>
                  <a:lnTo>
                    <a:pt x="120" y="356"/>
                  </a:lnTo>
                  <a:lnTo>
                    <a:pt x="120" y="356"/>
                  </a:lnTo>
                  <a:lnTo>
                    <a:pt x="120" y="356"/>
                  </a:lnTo>
                  <a:lnTo>
                    <a:pt x="120" y="356"/>
                  </a:lnTo>
                  <a:lnTo>
                    <a:pt x="120" y="356"/>
                  </a:lnTo>
                  <a:lnTo>
                    <a:pt x="120" y="356"/>
                  </a:lnTo>
                  <a:lnTo>
                    <a:pt x="121" y="354"/>
                  </a:lnTo>
                  <a:lnTo>
                    <a:pt x="121" y="354"/>
                  </a:lnTo>
                  <a:lnTo>
                    <a:pt x="121" y="354"/>
                  </a:lnTo>
                  <a:lnTo>
                    <a:pt x="121" y="354"/>
                  </a:lnTo>
                  <a:lnTo>
                    <a:pt x="123" y="354"/>
                  </a:lnTo>
                  <a:lnTo>
                    <a:pt x="125" y="352"/>
                  </a:lnTo>
                  <a:lnTo>
                    <a:pt x="125" y="350"/>
                  </a:lnTo>
                  <a:lnTo>
                    <a:pt x="127" y="350"/>
                  </a:lnTo>
                  <a:lnTo>
                    <a:pt x="127" y="349"/>
                  </a:lnTo>
                  <a:lnTo>
                    <a:pt x="129" y="349"/>
                  </a:lnTo>
                  <a:lnTo>
                    <a:pt x="129" y="347"/>
                  </a:lnTo>
                  <a:lnTo>
                    <a:pt x="129" y="347"/>
                  </a:lnTo>
                  <a:lnTo>
                    <a:pt x="129" y="347"/>
                  </a:lnTo>
                  <a:lnTo>
                    <a:pt x="129" y="347"/>
                  </a:lnTo>
                  <a:lnTo>
                    <a:pt x="129" y="347"/>
                  </a:lnTo>
                  <a:lnTo>
                    <a:pt x="129" y="347"/>
                  </a:lnTo>
                  <a:lnTo>
                    <a:pt x="129" y="347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1" y="347"/>
                  </a:lnTo>
                  <a:lnTo>
                    <a:pt x="132" y="347"/>
                  </a:lnTo>
                  <a:lnTo>
                    <a:pt x="132" y="347"/>
                  </a:lnTo>
                  <a:lnTo>
                    <a:pt x="132" y="345"/>
                  </a:lnTo>
                  <a:lnTo>
                    <a:pt x="131" y="343"/>
                  </a:lnTo>
                  <a:lnTo>
                    <a:pt x="131" y="343"/>
                  </a:lnTo>
                  <a:lnTo>
                    <a:pt x="131" y="341"/>
                  </a:lnTo>
                  <a:lnTo>
                    <a:pt x="131" y="341"/>
                  </a:lnTo>
                  <a:lnTo>
                    <a:pt x="131" y="340"/>
                  </a:lnTo>
                  <a:lnTo>
                    <a:pt x="131" y="340"/>
                  </a:lnTo>
                  <a:lnTo>
                    <a:pt x="132" y="338"/>
                  </a:lnTo>
                  <a:lnTo>
                    <a:pt x="132" y="340"/>
                  </a:lnTo>
                  <a:lnTo>
                    <a:pt x="132" y="340"/>
                  </a:lnTo>
                  <a:lnTo>
                    <a:pt x="134" y="340"/>
                  </a:lnTo>
                  <a:lnTo>
                    <a:pt x="134" y="340"/>
                  </a:lnTo>
                  <a:lnTo>
                    <a:pt x="132" y="340"/>
                  </a:lnTo>
                  <a:lnTo>
                    <a:pt x="132" y="341"/>
                  </a:lnTo>
                  <a:lnTo>
                    <a:pt x="132" y="341"/>
                  </a:lnTo>
                  <a:lnTo>
                    <a:pt x="132" y="341"/>
                  </a:lnTo>
                  <a:lnTo>
                    <a:pt x="132" y="341"/>
                  </a:lnTo>
                  <a:lnTo>
                    <a:pt x="134" y="341"/>
                  </a:lnTo>
                  <a:lnTo>
                    <a:pt x="134" y="341"/>
                  </a:lnTo>
                  <a:lnTo>
                    <a:pt x="134" y="341"/>
                  </a:lnTo>
                  <a:lnTo>
                    <a:pt x="134" y="341"/>
                  </a:lnTo>
                  <a:lnTo>
                    <a:pt x="134" y="341"/>
                  </a:lnTo>
                  <a:lnTo>
                    <a:pt x="136" y="343"/>
                  </a:lnTo>
                  <a:lnTo>
                    <a:pt x="138" y="341"/>
                  </a:lnTo>
                  <a:lnTo>
                    <a:pt x="138" y="341"/>
                  </a:lnTo>
                  <a:lnTo>
                    <a:pt x="138" y="341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38" y="340"/>
                  </a:lnTo>
                  <a:lnTo>
                    <a:pt x="138" y="340"/>
                  </a:lnTo>
                  <a:lnTo>
                    <a:pt x="138" y="340"/>
                  </a:lnTo>
                  <a:lnTo>
                    <a:pt x="138" y="340"/>
                  </a:lnTo>
                  <a:lnTo>
                    <a:pt x="136" y="338"/>
                  </a:lnTo>
                  <a:lnTo>
                    <a:pt x="136" y="338"/>
                  </a:lnTo>
                  <a:lnTo>
                    <a:pt x="138" y="338"/>
                  </a:lnTo>
                  <a:lnTo>
                    <a:pt x="140" y="338"/>
                  </a:lnTo>
                  <a:lnTo>
                    <a:pt x="140" y="338"/>
                  </a:lnTo>
                  <a:lnTo>
                    <a:pt x="140" y="338"/>
                  </a:lnTo>
                  <a:lnTo>
                    <a:pt x="140" y="336"/>
                  </a:lnTo>
                  <a:lnTo>
                    <a:pt x="141" y="336"/>
                  </a:lnTo>
                  <a:lnTo>
                    <a:pt x="141" y="336"/>
                  </a:lnTo>
                  <a:lnTo>
                    <a:pt x="141" y="338"/>
                  </a:lnTo>
                  <a:lnTo>
                    <a:pt x="141" y="338"/>
                  </a:lnTo>
                  <a:lnTo>
                    <a:pt x="141" y="338"/>
                  </a:lnTo>
                  <a:lnTo>
                    <a:pt x="141" y="338"/>
                  </a:lnTo>
                  <a:lnTo>
                    <a:pt x="141" y="338"/>
                  </a:lnTo>
                  <a:lnTo>
                    <a:pt x="141" y="338"/>
                  </a:lnTo>
                  <a:lnTo>
                    <a:pt x="141" y="338"/>
                  </a:lnTo>
                  <a:lnTo>
                    <a:pt x="141" y="338"/>
                  </a:lnTo>
                  <a:lnTo>
                    <a:pt x="141" y="340"/>
                  </a:lnTo>
                  <a:lnTo>
                    <a:pt x="141" y="340"/>
                  </a:lnTo>
                  <a:lnTo>
                    <a:pt x="141" y="341"/>
                  </a:lnTo>
                  <a:lnTo>
                    <a:pt x="143" y="341"/>
                  </a:lnTo>
                  <a:lnTo>
                    <a:pt x="143" y="341"/>
                  </a:lnTo>
                  <a:lnTo>
                    <a:pt x="143" y="341"/>
                  </a:lnTo>
                  <a:lnTo>
                    <a:pt x="143" y="341"/>
                  </a:lnTo>
                  <a:lnTo>
                    <a:pt x="143" y="341"/>
                  </a:lnTo>
                  <a:lnTo>
                    <a:pt x="143" y="341"/>
                  </a:lnTo>
                  <a:lnTo>
                    <a:pt x="145" y="343"/>
                  </a:lnTo>
                  <a:lnTo>
                    <a:pt x="145" y="341"/>
                  </a:lnTo>
                  <a:lnTo>
                    <a:pt x="145" y="340"/>
                  </a:lnTo>
                  <a:lnTo>
                    <a:pt x="147" y="340"/>
                  </a:lnTo>
                  <a:lnTo>
                    <a:pt x="147" y="341"/>
                  </a:lnTo>
                  <a:lnTo>
                    <a:pt x="147" y="341"/>
                  </a:lnTo>
                  <a:lnTo>
                    <a:pt x="147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1"/>
                  </a:lnTo>
                  <a:lnTo>
                    <a:pt x="149" y="343"/>
                  </a:lnTo>
                  <a:lnTo>
                    <a:pt x="149" y="343"/>
                  </a:lnTo>
                  <a:lnTo>
                    <a:pt x="149" y="345"/>
                  </a:lnTo>
                  <a:lnTo>
                    <a:pt x="149" y="345"/>
                  </a:lnTo>
                  <a:lnTo>
                    <a:pt x="149" y="347"/>
                  </a:lnTo>
                  <a:lnTo>
                    <a:pt x="149" y="349"/>
                  </a:lnTo>
                  <a:lnTo>
                    <a:pt x="150" y="347"/>
                  </a:lnTo>
                  <a:lnTo>
                    <a:pt x="150" y="347"/>
                  </a:lnTo>
                  <a:lnTo>
                    <a:pt x="150" y="347"/>
                  </a:lnTo>
                  <a:lnTo>
                    <a:pt x="150" y="349"/>
                  </a:lnTo>
                  <a:lnTo>
                    <a:pt x="152" y="349"/>
                  </a:lnTo>
                  <a:lnTo>
                    <a:pt x="152" y="347"/>
                  </a:lnTo>
                  <a:lnTo>
                    <a:pt x="156" y="349"/>
                  </a:lnTo>
                  <a:lnTo>
                    <a:pt x="158" y="349"/>
                  </a:lnTo>
                  <a:lnTo>
                    <a:pt x="158" y="350"/>
                  </a:lnTo>
                  <a:lnTo>
                    <a:pt x="158" y="350"/>
                  </a:lnTo>
                  <a:lnTo>
                    <a:pt x="159" y="350"/>
                  </a:lnTo>
                  <a:lnTo>
                    <a:pt x="159" y="350"/>
                  </a:lnTo>
                  <a:lnTo>
                    <a:pt x="159" y="352"/>
                  </a:lnTo>
                  <a:lnTo>
                    <a:pt x="159" y="352"/>
                  </a:lnTo>
                  <a:lnTo>
                    <a:pt x="159" y="352"/>
                  </a:lnTo>
                  <a:lnTo>
                    <a:pt x="159" y="352"/>
                  </a:lnTo>
                  <a:lnTo>
                    <a:pt x="159" y="354"/>
                  </a:lnTo>
                  <a:lnTo>
                    <a:pt x="159" y="354"/>
                  </a:lnTo>
                  <a:lnTo>
                    <a:pt x="159" y="354"/>
                  </a:lnTo>
                  <a:lnTo>
                    <a:pt x="161" y="354"/>
                  </a:lnTo>
                  <a:lnTo>
                    <a:pt x="161" y="354"/>
                  </a:lnTo>
                  <a:lnTo>
                    <a:pt x="161" y="352"/>
                  </a:lnTo>
                  <a:lnTo>
                    <a:pt x="161" y="352"/>
                  </a:lnTo>
                  <a:lnTo>
                    <a:pt x="163" y="352"/>
                  </a:lnTo>
                  <a:lnTo>
                    <a:pt x="163" y="350"/>
                  </a:lnTo>
                  <a:lnTo>
                    <a:pt x="163" y="350"/>
                  </a:lnTo>
                  <a:lnTo>
                    <a:pt x="163" y="350"/>
                  </a:lnTo>
                  <a:lnTo>
                    <a:pt x="163" y="350"/>
                  </a:lnTo>
                  <a:lnTo>
                    <a:pt x="161" y="352"/>
                  </a:lnTo>
                  <a:lnTo>
                    <a:pt x="161" y="352"/>
                  </a:lnTo>
                  <a:lnTo>
                    <a:pt x="161" y="352"/>
                  </a:lnTo>
                  <a:lnTo>
                    <a:pt x="161" y="352"/>
                  </a:lnTo>
                  <a:lnTo>
                    <a:pt x="161" y="352"/>
                  </a:lnTo>
                  <a:lnTo>
                    <a:pt x="161" y="350"/>
                  </a:lnTo>
                  <a:lnTo>
                    <a:pt x="161" y="350"/>
                  </a:lnTo>
                  <a:lnTo>
                    <a:pt x="161" y="350"/>
                  </a:lnTo>
                  <a:lnTo>
                    <a:pt x="161" y="350"/>
                  </a:lnTo>
                  <a:lnTo>
                    <a:pt x="161" y="350"/>
                  </a:lnTo>
                  <a:lnTo>
                    <a:pt x="161" y="349"/>
                  </a:lnTo>
                  <a:lnTo>
                    <a:pt x="161" y="349"/>
                  </a:lnTo>
                  <a:lnTo>
                    <a:pt x="161" y="349"/>
                  </a:lnTo>
                  <a:lnTo>
                    <a:pt x="161" y="349"/>
                  </a:lnTo>
                  <a:lnTo>
                    <a:pt x="161" y="349"/>
                  </a:lnTo>
                  <a:lnTo>
                    <a:pt x="163" y="349"/>
                  </a:lnTo>
                  <a:lnTo>
                    <a:pt x="163" y="347"/>
                  </a:lnTo>
                  <a:lnTo>
                    <a:pt x="163" y="347"/>
                  </a:lnTo>
                  <a:lnTo>
                    <a:pt x="163" y="347"/>
                  </a:lnTo>
                  <a:lnTo>
                    <a:pt x="163" y="347"/>
                  </a:lnTo>
                  <a:lnTo>
                    <a:pt x="165" y="345"/>
                  </a:lnTo>
                  <a:lnTo>
                    <a:pt x="165" y="345"/>
                  </a:lnTo>
                  <a:lnTo>
                    <a:pt x="165" y="345"/>
                  </a:lnTo>
                  <a:lnTo>
                    <a:pt x="167" y="347"/>
                  </a:lnTo>
                  <a:lnTo>
                    <a:pt x="170" y="349"/>
                  </a:lnTo>
                  <a:lnTo>
                    <a:pt x="172" y="350"/>
                  </a:lnTo>
                  <a:lnTo>
                    <a:pt x="174" y="350"/>
                  </a:lnTo>
                  <a:lnTo>
                    <a:pt x="174" y="350"/>
                  </a:lnTo>
                  <a:lnTo>
                    <a:pt x="174" y="352"/>
                  </a:lnTo>
                  <a:lnTo>
                    <a:pt x="174" y="352"/>
                  </a:lnTo>
                  <a:lnTo>
                    <a:pt x="174" y="352"/>
                  </a:lnTo>
                  <a:lnTo>
                    <a:pt x="172" y="352"/>
                  </a:lnTo>
                  <a:lnTo>
                    <a:pt x="172" y="352"/>
                  </a:lnTo>
                  <a:lnTo>
                    <a:pt x="172" y="352"/>
                  </a:lnTo>
                  <a:lnTo>
                    <a:pt x="172" y="352"/>
                  </a:lnTo>
                  <a:lnTo>
                    <a:pt x="172" y="352"/>
                  </a:lnTo>
                  <a:lnTo>
                    <a:pt x="172" y="352"/>
                  </a:lnTo>
                  <a:lnTo>
                    <a:pt x="170" y="354"/>
                  </a:lnTo>
                  <a:lnTo>
                    <a:pt x="170" y="352"/>
                  </a:lnTo>
                  <a:lnTo>
                    <a:pt x="170" y="354"/>
                  </a:lnTo>
                  <a:lnTo>
                    <a:pt x="168" y="354"/>
                  </a:lnTo>
                  <a:lnTo>
                    <a:pt x="168" y="354"/>
                  </a:lnTo>
                  <a:lnTo>
                    <a:pt x="170" y="356"/>
                  </a:lnTo>
                  <a:lnTo>
                    <a:pt x="170" y="356"/>
                  </a:lnTo>
                  <a:lnTo>
                    <a:pt x="170" y="358"/>
                  </a:lnTo>
                  <a:lnTo>
                    <a:pt x="168" y="358"/>
                  </a:lnTo>
                  <a:lnTo>
                    <a:pt x="170" y="358"/>
                  </a:lnTo>
                  <a:lnTo>
                    <a:pt x="172" y="356"/>
                  </a:lnTo>
                  <a:lnTo>
                    <a:pt x="172" y="358"/>
                  </a:lnTo>
                  <a:lnTo>
                    <a:pt x="174" y="358"/>
                  </a:lnTo>
                  <a:lnTo>
                    <a:pt x="174" y="358"/>
                  </a:lnTo>
                  <a:lnTo>
                    <a:pt x="174" y="358"/>
                  </a:lnTo>
                  <a:lnTo>
                    <a:pt x="174" y="359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2" y="361"/>
                  </a:lnTo>
                  <a:lnTo>
                    <a:pt x="172" y="361"/>
                  </a:lnTo>
                  <a:lnTo>
                    <a:pt x="174" y="363"/>
                  </a:lnTo>
                  <a:lnTo>
                    <a:pt x="174" y="363"/>
                  </a:lnTo>
                  <a:lnTo>
                    <a:pt x="174" y="365"/>
                  </a:lnTo>
                  <a:lnTo>
                    <a:pt x="174" y="365"/>
                  </a:lnTo>
                  <a:lnTo>
                    <a:pt x="174" y="365"/>
                  </a:lnTo>
                  <a:lnTo>
                    <a:pt x="174" y="365"/>
                  </a:lnTo>
                  <a:lnTo>
                    <a:pt x="174" y="365"/>
                  </a:lnTo>
                  <a:lnTo>
                    <a:pt x="174" y="365"/>
                  </a:lnTo>
                  <a:lnTo>
                    <a:pt x="174" y="367"/>
                  </a:lnTo>
                  <a:lnTo>
                    <a:pt x="174" y="367"/>
                  </a:lnTo>
                  <a:lnTo>
                    <a:pt x="174" y="367"/>
                  </a:lnTo>
                  <a:lnTo>
                    <a:pt x="172" y="367"/>
                  </a:lnTo>
                  <a:lnTo>
                    <a:pt x="174" y="367"/>
                  </a:lnTo>
                  <a:lnTo>
                    <a:pt x="174" y="367"/>
                  </a:lnTo>
                  <a:lnTo>
                    <a:pt x="174" y="367"/>
                  </a:lnTo>
                  <a:lnTo>
                    <a:pt x="174" y="368"/>
                  </a:lnTo>
                  <a:lnTo>
                    <a:pt x="176" y="368"/>
                  </a:lnTo>
                  <a:lnTo>
                    <a:pt x="176" y="368"/>
                  </a:lnTo>
                  <a:lnTo>
                    <a:pt x="176" y="368"/>
                  </a:lnTo>
                  <a:lnTo>
                    <a:pt x="176" y="368"/>
                  </a:lnTo>
                  <a:lnTo>
                    <a:pt x="176" y="370"/>
                  </a:lnTo>
                  <a:lnTo>
                    <a:pt x="176" y="368"/>
                  </a:lnTo>
                  <a:lnTo>
                    <a:pt x="177" y="370"/>
                  </a:lnTo>
                  <a:lnTo>
                    <a:pt x="179" y="370"/>
                  </a:lnTo>
                  <a:lnTo>
                    <a:pt x="181" y="372"/>
                  </a:lnTo>
                  <a:lnTo>
                    <a:pt x="181" y="372"/>
                  </a:lnTo>
                  <a:lnTo>
                    <a:pt x="181" y="374"/>
                  </a:lnTo>
                  <a:lnTo>
                    <a:pt x="185" y="376"/>
                  </a:lnTo>
                  <a:lnTo>
                    <a:pt x="185" y="376"/>
                  </a:lnTo>
                  <a:lnTo>
                    <a:pt x="185" y="376"/>
                  </a:lnTo>
                  <a:lnTo>
                    <a:pt x="185" y="376"/>
                  </a:lnTo>
                  <a:lnTo>
                    <a:pt x="185" y="377"/>
                  </a:lnTo>
                  <a:lnTo>
                    <a:pt x="186" y="377"/>
                  </a:lnTo>
                  <a:lnTo>
                    <a:pt x="186" y="376"/>
                  </a:lnTo>
                  <a:lnTo>
                    <a:pt x="186" y="376"/>
                  </a:lnTo>
                  <a:lnTo>
                    <a:pt x="186" y="376"/>
                  </a:lnTo>
                  <a:lnTo>
                    <a:pt x="186" y="376"/>
                  </a:lnTo>
                  <a:lnTo>
                    <a:pt x="186" y="376"/>
                  </a:lnTo>
                  <a:lnTo>
                    <a:pt x="186" y="376"/>
                  </a:lnTo>
                  <a:lnTo>
                    <a:pt x="188" y="374"/>
                  </a:lnTo>
                  <a:lnTo>
                    <a:pt x="188" y="374"/>
                  </a:lnTo>
                  <a:lnTo>
                    <a:pt x="188" y="376"/>
                  </a:lnTo>
                  <a:lnTo>
                    <a:pt x="188" y="376"/>
                  </a:lnTo>
                  <a:lnTo>
                    <a:pt x="188" y="374"/>
                  </a:lnTo>
                  <a:lnTo>
                    <a:pt x="188" y="376"/>
                  </a:lnTo>
                  <a:lnTo>
                    <a:pt x="188" y="377"/>
                  </a:lnTo>
                  <a:lnTo>
                    <a:pt x="190" y="376"/>
                  </a:lnTo>
                  <a:lnTo>
                    <a:pt x="192" y="377"/>
                  </a:lnTo>
                  <a:lnTo>
                    <a:pt x="194" y="379"/>
                  </a:lnTo>
                  <a:lnTo>
                    <a:pt x="197" y="377"/>
                  </a:lnTo>
                  <a:lnTo>
                    <a:pt x="199" y="379"/>
                  </a:lnTo>
                  <a:lnTo>
                    <a:pt x="199" y="379"/>
                  </a:lnTo>
                  <a:lnTo>
                    <a:pt x="197" y="379"/>
                  </a:lnTo>
                  <a:lnTo>
                    <a:pt x="197" y="379"/>
                  </a:lnTo>
                  <a:lnTo>
                    <a:pt x="197" y="379"/>
                  </a:lnTo>
                  <a:lnTo>
                    <a:pt x="197" y="379"/>
                  </a:lnTo>
                  <a:lnTo>
                    <a:pt x="199" y="379"/>
                  </a:lnTo>
                  <a:lnTo>
                    <a:pt x="201" y="379"/>
                  </a:lnTo>
                  <a:lnTo>
                    <a:pt x="201" y="379"/>
                  </a:lnTo>
                  <a:lnTo>
                    <a:pt x="199" y="381"/>
                  </a:lnTo>
                  <a:lnTo>
                    <a:pt x="199" y="379"/>
                  </a:lnTo>
                  <a:lnTo>
                    <a:pt x="199" y="381"/>
                  </a:lnTo>
                  <a:lnTo>
                    <a:pt x="201" y="383"/>
                  </a:lnTo>
                  <a:lnTo>
                    <a:pt x="201" y="383"/>
                  </a:lnTo>
                  <a:lnTo>
                    <a:pt x="203" y="383"/>
                  </a:lnTo>
                  <a:lnTo>
                    <a:pt x="203" y="383"/>
                  </a:lnTo>
                  <a:lnTo>
                    <a:pt x="203" y="383"/>
                  </a:lnTo>
                  <a:lnTo>
                    <a:pt x="203" y="381"/>
                  </a:lnTo>
                  <a:lnTo>
                    <a:pt x="203" y="381"/>
                  </a:lnTo>
                  <a:lnTo>
                    <a:pt x="203" y="381"/>
                  </a:lnTo>
                  <a:lnTo>
                    <a:pt x="205" y="381"/>
                  </a:lnTo>
                  <a:lnTo>
                    <a:pt x="205" y="381"/>
                  </a:lnTo>
                  <a:lnTo>
                    <a:pt x="205" y="381"/>
                  </a:lnTo>
                  <a:lnTo>
                    <a:pt x="206" y="381"/>
                  </a:lnTo>
                  <a:lnTo>
                    <a:pt x="206" y="381"/>
                  </a:lnTo>
                  <a:lnTo>
                    <a:pt x="206" y="381"/>
                  </a:lnTo>
                  <a:lnTo>
                    <a:pt x="206" y="381"/>
                  </a:lnTo>
                  <a:lnTo>
                    <a:pt x="206" y="381"/>
                  </a:lnTo>
                  <a:lnTo>
                    <a:pt x="206" y="381"/>
                  </a:lnTo>
                  <a:lnTo>
                    <a:pt x="206" y="383"/>
                  </a:lnTo>
                  <a:lnTo>
                    <a:pt x="206" y="383"/>
                  </a:lnTo>
                  <a:lnTo>
                    <a:pt x="206" y="383"/>
                  </a:lnTo>
                  <a:lnTo>
                    <a:pt x="206" y="383"/>
                  </a:lnTo>
                  <a:lnTo>
                    <a:pt x="208" y="383"/>
                  </a:lnTo>
                  <a:lnTo>
                    <a:pt x="208" y="381"/>
                  </a:lnTo>
                  <a:lnTo>
                    <a:pt x="210" y="381"/>
                  </a:lnTo>
                  <a:lnTo>
                    <a:pt x="208" y="381"/>
                  </a:lnTo>
                  <a:lnTo>
                    <a:pt x="208" y="381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0" y="379"/>
                  </a:lnTo>
                  <a:lnTo>
                    <a:pt x="212" y="379"/>
                  </a:lnTo>
                  <a:lnTo>
                    <a:pt x="214" y="379"/>
                  </a:lnTo>
                  <a:lnTo>
                    <a:pt x="214" y="377"/>
                  </a:lnTo>
                  <a:lnTo>
                    <a:pt x="214" y="377"/>
                  </a:lnTo>
                  <a:lnTo>
                    <a:pt x="214" y="377"/>
                  </a:lnTo>
                  <a:lnTo>
                    <a:pt x="215" y="377"/>
                  </a:lnTo>
                  <a:lnTo>
                    <a:pt x="215" y="377"/>
                  </a:lnTo>
                  <a:lnTo>
                    <a:pt x="215" y="377"/>
                  </a:lnTo>
                  <a:lnTo>
                    <a:pt x="217" y="377"/>
                  </a:lnTo>
                  <a:lnTo>
                    <a:pt x="217" y="377"/>
                  </a:lnTo>
                  <a:lnTo>
                    <a:pt x="221" y="376"/>
                  </a:lnTo>
                  <a:lnTo>
                    <a:pt x="221" y="376"/>
                  </a:lnTo>
                  <a:lnTo>
                    <a:pt x="219" y="376"/>
                  </a:lnTo>
                  <a:lnTo>
                    <a:pt x="221" y="376"/>
                  </a:lnTo>
                  <a:lnTo>
                    <a:pt x="221" y="376"/>
                  </a:lnTo>
                  <a:lnTo>
                    <a:pt x="221" y="376"/>
                  </a:lnTo>
                  <a:lnTo>
                    <a:pt x="221" y="376"/>
                  </a:lnTo>
                  <a:lnTo>
                    <a:pt x="224" y="376"/>
                  </a:lnTo>
                  <a:lnTo>
                    <a:pt x="224" y="376"/>
                  </a:lnTo>
                  <a:lnTo>
                    <a:pt x="224" y="376"/>
                  </a:lnTo>
                  <a:lnTo>
                    <a:pt x="224" y="376"/>
                  </a:lnTo>
                  <a:lnTo>
                    <a:pt x="224" y="376"/>
                  </a:lnTo>
                  <a:lnTo>
                    <a:pt x="224" y="374"/>
                  </a:lnTo>
                  <a:lnTo>
                    <a:pt x="224" y="376"/>
                  </a:lnTo>
                  <a:lnTo>
                    <a:pt x="224" y="376"/>
                  </a:lnTo>
                  <a:lnTo>
                    <a:pt x="224" y="376"/>
                  </a:lnTo>
                  <a:lnTo>
                    <a:pt x="224" y="374"/>
                  </a:lnTo>
                  <a:lnTo>
                    <a:pt x="226" y="374"/>
                  </a:lnTo>
                  <a:lnTo>
                    <a:pt x="226" y="372"/>
                  </a:lnTo>
                  <a:lnTo>
                    <a:pt x="230" y="372"/>
                  </a:lnTo>
                  <a:lnTo>
                    <a:pt x="232" y="372"/>
                  </a:lnTo>
                  <a:lnTo>
                    <a:pt x="235" y="374"/>
                  </a:lnTo>
                  <a:lnTo>
                    <a:pt x="237" y="374"/>
                  </a:lnTo>
                  <a:lnTo>
                    <a:pt x="237" y="374"/>
                  </a:lnTo>
                  <a:lnTo>
                    <a:pt x="239" y="376"/>
                  </a:lnTo>
                  <a:lnTo>
                    <a:pt x="237" y="379"/>
                  </a:lnTo>
                  <a:lnTo>
                    <a:pt x="239" y="377"/>
                  </a:lnTo>
                  <a:lnTo>
                    <a:pt x="241" y="376"/>
                  </a:lnTo>
                  <a:lnTo>
                    <a:pt x="241" y="376"/>
                  </a:lnTo>
                  <a:lnTo>
                    <a:pt x="241" y="374"/>
                  </a:lnTo>
                  <a:lnTo>
                    <a:pt x="242" y="374"/>
                  </a:lnTo>
                  <a:lnTo>
                    <a:pt x="242" y="374"/>
                  </a:lnTo>
                  <a:lnTo>
                    <a:pt x="242" y="374"/>
                  </a:lnTo>
                  <a:lnTo>
                    <a:pt x="242" y="374"/>
                  </a:lnTo>
                  <a:lnTo>
                    <a:pt x="242" y="374"/>
                  </a:lnTo>
                  <a:lnTo>
                    <a:pt x="242" y="374"/>
                  </a:lnTo>
                  <a:lnTo>
                    <a:pt x="241" y="374"/>
                  </a:lnTo>
                  <a:lnTo>
                    <a:pt x="242" y="372"/>
                  </a:lnTo>
                  <a:lnTo>
                    <a:pt x="242" y="370"/>
                  </a:lnTo>
                  <a:lnTo>
                    <a:pt x="244" y="370"/>
                  </a:lnTo>
                  <a:lnTo>
                    <a:pt x="242" y="370"/>
                  </a:lnTo>
                  <a:lnTo>
                    <a:pt x="242" y="368"/>
                  </a:lnTo>
                  <a:lnTo>
                    <a:pt x="242" y="368"/>
                  </a:lnTo>
                  <a:lnTo>
                    <a:pt x="242" y="367"/>
                  </a:lnTo>
                  <a:lnTo>
                    <a:pt x="242" y="367"/>
                  </a:lnTo>
                  <a:lnTo>
                    <a:pt x="242" y="365"/>
                  </a:lnTo>
                  <a:lnTo>
                    <a:pt x="242" y="365"/>
                  </a:lnTo>
                  <a:lnTo>
                    <a:pt x="244" y="363"/>
                  </a:lnTo>
                  <a:lnTo>
                    <a:pt x="244" y="361"/>
                  </a:lnTo>
                  <a:lnTo>
                    <a:pt x="244" y="359"/>
                  </a:lnTo>
                  <a:lnTo>
                    <a:pt x="246" y="358"/>
                  </a:lnTo>
                  <a:lnTo>
                    <a:pt x="246" y="358"/>
                  </a:lnTo>
                  <a:lnTo>
                    <a:pt x="248" y="356"/>
                  </a:lnTo>
                  <a:lnTo>
                    <a:pt x="248" y="354"/>
                  </a:lnTo>
                  <a:lnTo>
                    <a:pt x="246" y="354"/>
                  </a:lnTo>
                  <a:lnTo>
                    <a:pt x="246" y="354"/>
                  </a:lnTo>
                  <a:lnTo>
                    <a:pt x="246" y="354"/>
                  </a:lnTo>
                  <a:lnTo>
                    <a:pt x="246" y="352"/>
                  </a:lnTo>
                  <a:lnTo>
                    <a:pt x="246" y="352"/>
                  </a:lnTo>
                  <a:lnTo>
                    <a:pt x="246" y="350"/>
                  </a:lnTo>
                  <a:lnTo>
                    <a:pt x="246" y="350"/>
                  </a:lnTo>
                  <a:lnTo>
                    <a:pt x="246" y="350"/>
                  </a:lnTo>
                  <a:lnTo>
                    <a:pt x="246" y="349"/>
                  </a:lnTo>
                  <a:lnTo>
                    <a:pt x="246" y="349"/>
                  </a:lnTo>
                  <a:lnTo>
                    <a:pt x="246" y="349"/>
                  </a:lnTo>
                  <a:lnTo>
                    <a:pt x="246" y="347"/>
                  </a:lnTo>
                  <a:lnTo>
                    <a:pt x="246" y="345"/>
                  </a:lnTo>
                  <a:lnTo>
                    <a:pt x="246" y="343"/>
                  </a:lnTo>
                  <a:lnTo>
                    <a:pt x="246" y="341"/>
                  </a:lnTo>
                  <a:lnTo>
                    <a:pt x="248" y="341"/>
                  </a:lnTo>
                  <a:lnTo>
                    <a:pt x="248" y="340"/>
                  </a:lnTo>
                  <a:lnTo>
                    <a:pt x="250" y="338"/>
                  </a:lnTo>
                  <a:lnTo>
                    <a:pt x="252" y="336"/>
                  </a:lnTo>
                  <a:lnTo>
                    <a:pt x="255" y="338"/>
                  </a:lnTo>
                  <a:lnTo>
                    <a:pt x="255" y="338"/>
                  </a:lnTo>
                  <a:lnTo>
                    <a:pt x="257" y="338"/>
                  </a:lnTo>
                  <a:lnTo>
                    <a:pt x="264" y="338"/>
                  </a:lnTo>
                  <a:lnTo>
                    <a:pt x="286" y="341"/>
                  </a:lnTo>
                  <a:lnTo>
                    <a:pt x="288" y="341"/>
                  </a:lnTo>
                  <a:lnTo>
                    <a:pt x="288" y="343"/>
                  </a:lnTo>
                  <a:lnTo>
                    <a:pt x="288" y="343"/>
                  </a:lnTo>
                  <a:lnTo>
                    <a:pt x="298" y="349"/>
                  </a:lnTo>
                  <a:lnTo>
                    <a:pt x="298" y="349"/>
                  </a:lnTo>
                  <a:lnTo>
                    <a:pt x="300" y="350"/>
                  </a:lnTo>
                  <a:lnTo>
                    <a:pt x="304" y="352"/>
                  </a:lnTo>
                  <a:lnTo>
                    <a:pt x="304" y="352"/>
                  </a:lnTo>
                  <a:lnTo>
                    <a:pt x="306" y="352"/>
                  </a:lnTo>
                  <a:lnTo>
                    <a:pt x="306" y="352"/>
                  </a:lnTo>
                  <a:lnTo>
                    <a:pt x="306" y="354"/>
                  </a:lnTo>
                  <a:lnTo>
                    <a:pt x="309" y="354"/>
                  </a:lnTo>
                  <a:lnTo>
                    <a:pt x="309" y="354"/>
                  </a:lnTo>
                  <a:lnTo>
                    <a:pt x="309" y="354"/>
                  </a:lnTo>
                  <a:lnTo>
                    <a:pt x="311" y="354"/>
                  </a:lnTo>
                  <a:lnTo>
                    <a:pt x="313" y="356"/>
                  </a:lnTo>
                  <a:lnTo>
                    <a:pt x="313" y="356"/>
                  </a:lnTo>
                  <a:lnTo>
                    <a:pt x="313" y="356"/>
                  </a:lnTo>
                  <a:lnTo>
                    <a:pt x="315" y="356"/>
                  </a:lnTo>
                  <a:lnTo>
                    <a:pt x="317" y="356"/>
                  </a:lnTo>
                  <a:lnTo>
                    <a:pt x="317" y="356"/>
                  </a:lnTo>
                  <a:lnTo>
                    <a:pt x="317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20" y="358"/>
                  </a:lnTo>
                  <a:lnTo>
                    <a:pt x="322" y="361"/>
                  </a:lnTo>
                  <a:lnTo>
                    <a:pt x="324" y="361"/>
                  </a:lnTo>
                  <a:lnTo>
                    <a:pt x="324" y="361"/>
                  </a:lnTo>
                  <a:lnTo>
                    <a:pt x="326" y="365"/>
                  </a:lnTo>
                  <a:lnTo>
                    <a:pt x="326" y="365"/>
                  </a:lnTo>
                  <a:lnTo>
                    <a:pt x="326" y="365"/>
                  </a:lnTo>
                  <a:lnTo>
                    <a:pt x="326" y="365"/>
                  </a:lnTo>
                  <a:lnTo>
                    <a:pt x="326" y="365"/>
                  </a:lnTo>
                  <a:lnTo>
                    <a:pt x="327" y="367"/>
                  </a:lnTo>
                  <a:lnTo>
                    <a:pt x="327" y="367"/>
                  </a:lnTo>
                  <a:lnTo>
                    <a:pt x="327" y="367"/>
                  </a:lnTo>
                  <a:lnTo>
                    <a:pt x="327" y="368"/>
                  </a:lnTo>
                  <a:lnTo>
                    <a:pt x="331" y="372"/>
                  </a:lnTo>
                  <a:lnTo>
                    <a:pt x="333" y="374"/>
                  </a:lnTo>
                  <a:lnTo>
                    <a:pt x="333" y="374"/>
                  </a:lnTo>
                  <a:lnTo>
                    <a:pt x="333" y="376"/>
                  </a:lnTo>
                  <a:lnTo>
                    <a:pt x="333" y="376"/>
                  </a:lnTo>
                  <a:lnTo>
                    <a:pt x="333" y="377"/>
                  </a:lnTo>
                  <a:lnTo>
                    <a:pt x="333" y="377"/>
                  </a:lnTo>
                  <a:lnTo>
                    <a:pt x="335" y="377"/>
                  </a:lnTo>
                  <a:lnTo>
                    <a:pt x="336" y="379"/>
                  </a:lnTo>
                  <a:lnTo>
                    <a:pt x="336" y="381"/>
                  </a:lnTo>
                  <a:lnTo>
                    <a:pt x="338" y="381"/>
                  </a:lnTo>
                  <a:lnTo>
                    <a:pt x="340" y="381"/>
                  </a:lnTo>
                  <a:lnTo>
                    <a:pt x="340" y="383"/>
                  </a:lnTo>
                  <a:lnTo>
                    <a:pt x="340" y="383"/>
                  </a:lnTo>
                  <a:lnTo>
                    <a:pt x="344" y="385"/>
                  </a:lnTo>
                  <a:lnTo>
                    <a:pt x="345" y="385"/>
                  </a:lnTo>
                  <a:lnTo>
                    <a:pt x="347" y="385"/>
                  </a:lnTo>
                  <a:lnTo>
                    <a:pt x="347" y="385"/>
                  </a:lnTo>
                  <a:lnTo>
                    <a:pt x="349" y="387"/>
                  </a:lnTo>
                  <a:lnTo>
                    <a:pt x="351" y="388"/>
                  </a:lnTo>
                  <a:lnTo>
                    <a:pt x="356" y="390"/>
                  </a:lnTo>
                  <a:lnTo>
                    <a:pt x="358" y="390"/>
                  </a:lnTo>
                  <a:lnTo>
                    <a:pt x="362" y="387"/>
                  </a:lnTo>
                  <a:lnTo>
                    <a:pt x="362" y="387"/>
                  </a:lnTo>
                  <a:lnTo>
                    <a:pt x="362" y="387"/>
                  </a:lnTo>
                  <a:lnTo>
                    <a:pt x="365" y="385"/>
                  </a:lnTo>
                  <a:lnTo>
                    <a:pt x="367" y="385"/>
                  </a:lnTo>
                  <a:lnTo>
                    <a:pt x="369" y="387"/>
                  </a:lnTo>
                  <a:lnTo>
                    <a:pt x="371" y="385"/>
                  </a:lnTo>
                  <a:lnTo>
                    <a:pt x="372" y="387"/>
                  </a:lnTo>
                  <a:lnTo>
                    <a:pt x="372" y="387"/>
                  </a:lnTo>
                  <a:lnTo>
                    <a:pt x="372" y="387"/>
                  </a:lnTo>
                  <a:lnTo>
                    <a:pt x="372" y="387"/>
                  </a:lnTo>
                  <a:lnTo>
                    <a:pt x="372" y="387"/>
                  </a:lnTo>
                  <a:lnTo>
                    <a:pt x="374" y="385"/>
                  </a:lnTo>
                  <a:lnTo>
                    <a:pt x="374" y="385"/>
                  </a:lnTo>
                  <a:lnTo>
                    <a:pt x="374" y="383"/>
                  </a:lnTo>
                  <a:lnTo>
                    <a:pt x="376" y="383"/>
                  </a:lnTo>
                  <a:lnTo>
                    <a:pt x="376" y="383"/>
                  </a:lnTo>
                  <a:lnTo>
                    <a:pt x="378" y="383"/>
                  </a:lnTo>
                  <a:lnTo>
                    <a:pt x="378" y="383"/>
                  </a:lnTo>
                  <a:lnTo>
                    <a:pt x="378" y="383"/>
                  </a:lnTo>
                  <a:lnTo>
                    <a:pt x="380" y="383"/>
                  </a:lnTo>
                  <a:lnTo>
                    <a:pt x="383" y="383"/>
                  </a:lnTo>
                  <a:lnTo>
                    <a:pt x="383" y="383"/>
                  </a:lnTo>
                  <a:lnTo>
                    <a:pt x="385" y="381"/>
                  </a:lnTo>
                  <a:lnTo>
                    <a:pt x="385" y="383"/>
                  </a:lnTo>
                  <a:lnTo>
                    <a:pt x="387" y="383"/>
                  </a:lnTo>
                  <a:lnTo>
                    <a:pt x="389" y="383"/>
                  </a:lnTo>
                  <a:lnTo>
                    <a:pt x="391" y="381"/>
                  </a:lnTo>
                  <a:lnTo>
                    <a:pt x="391" y="381"/>
                  </a:lnTo>
                  <a:lnTo>
                    <a:pt x="392" y="381"/>
                  </a:lnTo>
                  <a:lnTo>
                    <a:pt x="394" y="383"/>
                  </a:lnTo>
                  <a:lnTo>
                    <a:pt x="396" y="383"/>
                  </a:lnTo>
                  <a:lnTo>
                    <a:pt x="396" y="383"/>
                  </a:lnTo>
                  <a:lnTo>
                    <a:pt x="394" y="383"/>
                  </a:lnTo>
                  <a:lnTo>
                    <a:pt x="396" y="383"/>
                  </a:lnTo>
                  <a:lnTo>
                    <a:pt x="398" y="383"/>
                  </a:lnTo>
                  <a:lnTo>
                    <a:pt x="398" y="381"/>
                  </a:lnTo>
                  <a:lnTo>
                    <a:pt x="400" y="379"/>
                  </a:lnTo>
                  <a:lnTo>
                    <a:pt x="400" y="379"/>
                  </a:lnTo>
                  <a:lnTo>
                    <a:pt x="401" y="379"/>
                  </a:lnTo>
                  <a:lnTo>
                    <a:pt x="401" y="379"/>
                  </a:lnTo>
                  <a:lnTo>
                    <a:pt x="401" y="381"/>
                  </a:lnTo>
                  <a:lnTo>
                    <a:pt x="403" y="383"/>
                  </a:lnTo>
                  <a:lnTo>
                    <a:pt x="403" y="383"/>
                  </a:lnTo>
                  <a:lnTo>
                    <a:pt x="403" y="383"/>
                  </a:lnTo>
                  <a:lnTo>
                    <a:pt x="403" y="381"/>
                  </a:lnTo>
                  <a:lnTo>
                    <a:pt x="403" y="379"/>
                  </a:lnTo>
                  <a:lnTo>
                    <a:pt x="405" y="377"/>
                  </a:lnTo>
                  <a:lnTo>
                    <a:pt x="405" y="377"/>
                  </a:lnTo>
                  <a:lnTo>
                    <a:pt x="407" y="377"/>
                  </a:lnTo>
                  <a:lnTo>
                    <a:pt x="407" y="377"/>
                  </a:lnTo>
                  <a:lnTo>
                    <a:pt x="409" y="377"/>
                  </a:lnTo>
                  <a:lnTo>
                    <a:pt x="409" y="376"/>
                  </a:lnTo>
                  <a:lnTo>
                    <a:pt x="409" y="376"/>
                  </a:lnTo>
                  <a:lnTo>
                    <a:pt x="409" y="376"/>
                  </a:lnTo>
                  <a:lnTo>
                    <a:pt x="409" y="374"/>
                  </a:lnTo>
                  <a:lnTo>
                    <a:pt x="409" y="374"/>
                  </a:lnTo>
                  <a:lnTo>
                    <a:pt x="410" y="374"/>
                  </a:lnTo>
                  <a:lnTo>
                    <a:pt x="410" y="374"/>
                  </a:lnTo>
                  <a:lnTo>
                    <a:pt x="410" y="372"/>
                  </a:lnTo>
                  <a:lnTo>
                    <a:pt x="412" y="372"/>
                  </a:lnTo>
                  <a:lnTo>
                    <a:pt x="412" y="372"/>
                  </a:lnTo>
                  <a:lnTo>
                    <a:pt x="412" y="372"/>
                  </a:lnTo>
                  <a:lnTo>
                    <a:pt x="414" y="372"/>
                  </a:lnTo>
                  <a:lnTo>
                    <a:pt x="414" y="374"/>
                  </a:lnTo>
                  <a:lnTo>
                    <a:pt x="416" y="376"/>
                  </a:lnTo>
                  <a:lnTo>
                    <a:pt x="416" y="376"/>
                  </a:lnTo>
                  <a:lnTo>
                    <a:pt x="416" y="377"/>
                  </a:lnTo>
                  <a:lnTo>
                    <a:pt x="416" y="377"/>
                  </a:lnTo>
                  <a:lnTo>
                    <a:pt x="416" y="377"/>
                  </a:lnTo>
                  <a:lnTo>
                    <a:pt x="416" y="377"/>
                  </a:lnTo>
                  <a:lnTo>
                    <a:pt x="416" y="377"/>
                  </a:lnTo>
                  <a:lnTo>
                    <a:pt x="416" y="376"/>
                  </a:lnTo>
                  <a:lnTo>
                    <a:pt x="418" y="376"/>
                  </a:lnTo>
                  <a:lnTo>
                    <a:pt x="418" y="374"/>
                  </a:lnTo>
                  <a:lnTo>
                    <a:pt x="418" y="374"/>
                  </a:lnTo>
                  <a:lnTo>
                    <a:pt x="418" y="374"/>
                  </a:lnTo>
                  <a:lnTo>
                    <a:pt x="418" y="374"/>
                  </a:lnTo>
                  <a:lnTo>
                    <a:pt x="418" y="372"/>
                  </a:lnTo>
                  <a:lnTo>
                    <a:pt x="419" y="372"/>
                  </a:lnTo>
                  <a:lnTo>
                    <a:pt x="421" y="372"/>
                  </a:lnTo>
                  <a:lnTo>
                    <a:pt x="421" y="370"/>
                  </a:lnTo>
                  <a:lnTo>
                    <a:pt x="423" y="368"/>
                  </a:lnTo>
                  <a:lnTo>
                    <a:pt x="421" y="367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5" y="363"/>
                  </a:lnTo>
                  <a:lnTo>
                    <a:pt x="427" y="363"/>
                  </a:lnTo>
                  <a:lnTo>
                    <a:pt x="427" y="361"/>
                  </a:lnTo>
                  <a:lnTo>
                    <a:pt x="427" y="361"/>
                  </a:lnTo>
                  <a:lnTo>
                    <a:pt x="428" y="361"/>
                  </a:lnTo>
                  <a:lnTo>
                    <a:pt x="432" y="354"/>
                  </a:lnTo>
                  <a:lnTo>
                    <a:pt x="434" y="354"/>
                  </a:lnTo>
                  <a:lnTo>
                    <a:pt x="439" y="350"/>
                  </a:lnTo>
                  <a:lnTo>
                    <a:pt x="443" y="347"/>
                  </a:lnTo>
                  <a:lnTo>
                    <a:pt x="445" y="345"/>
                  </a:lnTo>
                  <a:lnTo>
                    <a:pt x="445" y="345"/>
                  </a:lnTo>
                  <a:lnTo>
                    <a:pt x="447" y="343"/>
                  </a:lnTo>
                  <a:lnTo>
                    <a:pt x="447" y="343"/>
                  </a:lnTo>
                  <a:lnTo>
                    <a:pt x="448" y="343"/>
                  </a:lnTo>
                  <a:lnTo>
                    <a:pt x="448" y="343"/>
                  </a:lnTo>
                  <a:lnTo>
                    <a:pt x="450" y="343"/>
                  </a:lnTo>
                  <a:lnTo>
                    <a:pt x="454" y="341"/>
                  </a:lnTo>
                  <a:lnTo>
                    <a:pt x="456" y="340"/>
                  </a:lnTo>
                  <a:lnTo>
                    <a:pt x="457" y="341"/>
                  </a:lnTo>
                  <a:lnTo>
                    <a:pt x="457" y="341"/>
                  </a:lnTo>
                  <a:lnTo>
                    <a:pt x="461" y="343"/>
                  </a:lnTo>
                  <a:lnTo>
                    <a:pt x="463" y="345"/>
                  </a:lnTo>
                  <a:lnTo>
                    <a:pt x="463" y="345"/>
                  </a:lnTo>
                  <a:lnTo>
                    <a:pt x="463" y="347"/>
                  </a:lnTo>
                  <a:lnTo>
                    <a:pt x="463" y="347"/>
                  </a:lnTo>
                  <a:lnTo>
                    <a:pt x="465" y="347"/>
                  </a:lnTo>
                  <a:lnTo>
                    <a:pt x="465" y="347"/>
                  </a:lnTo>
                  <a:lnTo>
                    <a:pt x="465" y="347"/>
                  </a:lnTo>
                  <a:lnTo>
                    <a:pt x="466" y="347"/>
                  </a:lnTo>
                  <a:lnTo>
                    <a:pt x="466" y="347"/>
                  </a:lnTo>
                  <a:lnTo>
                    <a:pt x="468" y="347"/>
                  </a:lnTo>
                  <a:lnTo>
                    <a:pt x="468" y="347"/>
                  </a:lnTo>
                  <a:lnTo>
                    <a:pt x="470" y="349"/>
                  </a:lnTo>
                  <a:lnTo>
                    <a:pt x="483" y="356"/>
                  </a:lnTo>
                  <a:lnTo>
                    <a:pt x="484" y="356"/>
                  </a:lnTo>
                  <a:lnTo>
                    <a:pt x="484" y="356"/>
                  </a:lnTo>
                  <a:lnTo>
                    <a:pt x="484" y="358"/>
                  </a:lnTo>
                  <a:lnTo>
                    <a:pt x="486" y="358"/>
                  </a:lnTo>
                  <a:lnTo>
                    <a:pt x="486" y="358"/>
                  </a:lnTo>
                  <a:lnTo>
                    <a:pt x="486" y="356"/>
                  </a:lnTo>
                  <a:lnTo>
                    <a:pt x="488" y="356"/>
                  </a:lnTo>
                  <a:lnTo>
                    <a:pt x="488" y="356"/>
                  </a:lnTo>
                  <a:lnTo>
                    <a:pt x="488" y="356"/>
                  </a:lnTo>
                  <a:lnTo>
                    <a:pt x="488" y="356"/>
                  </a:lnTo>
                  <a:lnTo>
                    <a:pt x="490" y="354"/>
                  </a:lnTo>
                  <a:lnTo>
                    <a:pt x="490" y="354"/>
                  </a:lnTo>
                  <a:lnTo>
                    <a:pt x="493" y="354"/>
                  </a:lnTo>
                  <a:lnTo>
                    <a:pt x="495" y="356"/>
                  </a:lnTo>
                  <a:lnTo>
                    <a:pt x="493" y="354"/>
                  </a:lnTo>
                  <a:lnTo>
                    <a:pt x="493" y="354"/>
                  </a:lnTo>
                  <a:lnTo>
                    <a:pt x="492" y="354"/>
                  </a:lnTo>
                  <a:lnTo>
                    <a:pt x="492" y="354"/>
                  </a:lnTo>
                  <a:lnTo>
                    <a:pt x="493" y="354"/>
                  </a:lnTo>
                  <a:lnTo>
                    <a:pt x="493" y="352"/>
                  </a:lnTo>
                  <a:lnTo>
                    <a:pt x="493" y="354"/>
                  </a:lnTo>
                  <a:lnTo>
                    <a:pt x="495" y="354"/>
                  </a:lnTo>
                  <a:lnTo>
                    <a:pt x="495" y="354"/>
                  </a:lnTo>
                  <a:lnTo>
                    <a:pt x="497" y="354"/>
                  </a:lnTo>
                  <a:lnTo>
                    <a:pt x="499" y="354"/>
                  </a:lnTo>
                  <a:lnTo>
                    <a:pt x="499" y="354"/>
                  </a:lnTo>
                  <a:lnTo>
                    <a:pt x="499" y="354"/>
                  </a:lnTo>
                  <a:lnTo>
                    <a:pt x="501" y="354"/>
                  </a:lnTo>
                  <a:lnTo>
                    <a:pt x="501" y="352"/>
                  </a:lnTo>
                  <a:lnTo>
                    <a:pt x="501" y="352"/>
                  </a:lnTo>
                  <a:lnTo>
                    <a:pt x="501" y="352"/>
                  </a:lnTo>
                  <a:lnTo>
                    <a:pt x="501" y="350"/>
                  </a:lnTo>
                  <a:lnTo>
                    <a:pt x="501" y="350"/>
                  </a:lnTo>
                  <a:lnTo>
                    <a:pt x="501" y="349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9"/>
                  </a:lnTo>
                  <a:lnTo>
                    <a:pt x="499" y="350"/>
                  </a:lnTo>
                  <a:lnTo>
                    <a:pt x="499" y="350"/>
                  </a:lnTo>
                  <a:lnTo>
                    <a:pt x="499" y="350"/>
                  </a:lnTo>
                  <a:lnTo>
                    <a:pt x="499" y="349"/>
                  </a:lnTo>
                  <a:lnTo>
                    <a:pt x="501" y="349"/>
                  </a:lnTo>
                  <a:lnTo>
                    <a:pt x="504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5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9"/>
                  </a:lnTo>
                  <a:lnTo>
                    <a:pt x="501" y="347"/>
                  </a:lnTo>
                  <a:lnTo>
                    <a:pt x="499" y="347"/>
                  </a:lnTo>
                  <a:lnTo>
                    <a:pt x="499" y="347"/>
                  </a:lnTo>
                  <a:lnTo>
                    <a:pt x="499" y="347"/>
                  </a:lnTo>
                  <a:lnTo>
                    <a:pt x="499" y="349"/>
                  </a:lnTo>
                  <a:lnTo>
                    <a:pt x="499" y="349"/>
                  </a:lnTo>
                  <a:lnTo>
                    <a:pt x="497" y="349"/>
                  </a:lnTo>
                  <a:lnTo>
                    <a:pt x="497" y="349"/>
                  </a:lnTo>
                  <a:lnTo>
                    <a:pt x="497" y="347"/>
                  </a:lnTo>
                  <a:lnTo>
                    <a:pt x="499" y="347"/>
                  </a:lnTo>
                  <a:lnTo>
                    <a:pt x="499" y="345"/>
                  </a:lnTo>
                  <a:lnTo>
                    <a:pt x="499" y="345"/>
                  </a:lnTo>
                  <a:lnTo>
                    <a:pt x="499" y="345"/>
                  </a:lnTo>
                  <a:lnTo>
                    <a:pt x="499" y="347"/>
                  </a:lnTo>
                  <a:lnTo>
                    <a:pt x="499" y="347"/>
                  </a:lnTo>
                  <a:lnTo>
                    <a:pt x="499" y="347"/>
                  </a:lnTo>
                  <a:lnTo>
                    <a:pt x="501" y="345"/>
                  </a:lnTo>
                  <a:lnTo>
                    <a:pt x="501" y="345"/>
                  </a:lnTo>
                  <a:lnTo>
                    <a:pt x="503" y="343"/>
                  </a:lnTo>
                  <a:lnTo>
                    <a:pt x="506" y="343"/>
                  </a:lnTo>
                  <a:lnTo>
                    <a:pt x="508" y="343"/>
                  </a:lnTo>
                  <a:lnTo>
                    <a:pt x="510" y="343"/>
                  </a:lnTo>
                  <a:lnTo>
                    <a:pt x="512" y="341"/>
                  </a:lnTo>
                  <a:lnTo>
                    <a:pt x="512" y="340"/>
                  </a:lnTo>
                  <a:lnTo>
                    <a:pt x="512" y="340"/>
                  </a:lnTo>
                  <a:lnTo>
                    <a:pt x="513" y="340"/>
                  </a:lnTo>
                  <a:lnTo>
                    <a:pt x="515" y="336"/>
                  </a:lnTo>
                  <a:lnTo>
                    <a:pt x="517" y="334"/>
                  </a:lnTo>
                  <a:lnTo>
                    <a:pt x="519" y="334"/>
                  </a:lnTo>
                  <a:lnTo>
                    <a:pt x="521" y="334"/>
                  </a:lnTo>
                  <a:lnTo>
                    <a:pt x="522" y="336"/>
                  </a:lnTo>
                  <a:lnTo>
                    <a:pt x="524" y="338"/>
                  </a:lnTo>
                  <a:lnTo>
                    <a:pt x="528" y="341"/>
                  </a:lnTo>
                  <a:lnTo>
                    <a:pt x="528" y="343"/>
                  </a:lnTo>
                  <a:lnTo>
                    <a:pt x="528" y="343"/>
                  </a:lnTo>
                  <a:lnTo>
                    <a:pt x="528" y="347"/>
                  </a:lnTo>
                  <a:lnTo>
                    <a:pt x="528" y="349"/>
                  </a:lnTo>
                  <a:lnTo>
                    <a:pt x="528" y="349"/>
                  </a:lnTo>
                  <a:lnTo>
                    <a:pt x="530" y="349"/>
                  </a:lnTo>
                  <a:lnTo>
                    <a:pt x="530" y="350"/>
                  </a:lnTo>
                  <a:lnTo>
                    <a:pt x="530" y="350"/>
                  </a:lnTo>
                  <a:lnTo>
                    <a:pt x="530" y="352"/>
                  </a:lnTo>
                  <a:lnTo>
                    <a:pt x="528" y="352"/>
                  </a:lnTo>
                  <a:lnTo>
                    <a:pt x="528" y="354"/>
                  </a:lnTo>
                  <a:lnTo>
                    <a:pt x="528" y="354"/>
                  </a:lnTo>
                  <a:lnTo>
                    <a:pt x="526" y="354"/>
                  </a:lnTo>
                  <a:lnTo>
                    <a:pt x="521" y="358"/>
                  </a:lnTo>
                  <a:lnTo>
                    <a:pt x="521" y="358"/>
                  </a:lnTo>
                  <a:lnTo>
                    <a:pt x="521" y="359"/>
                  </a:lnTo>
                  <a:lnTo>
                    <a:pt x="517" y="361"/>
                  </a:lnTo>
                  <a:lnTo>
                    <a:pt x="517" y="361"/>
                  </a:lnTo>
                  <a:lnTo>
                    <a:pt x="515" y="363"/>
                  </a:lnTo>
                  <a:lnTo>
                    <a:pt x="515" y="363"/>
                  </a:lnTo>
                  <a:lnTo>
                    <a:pt x="515" y="363"/>
                  </a:lnTo>
                  <a:lnTo>
                    <a:pt x="515" y="363"/>
                  </a:lnTo>
                  <a:lnTo>
                    <a:pt x="513" y="365"/>
                  </a:lnTo>
                  <a:lnTo>
                    <a:pt x="513" y="365"/>
                  </a:lnTo>
                  <a:lnTo>
                    <a:pt x="513" y="365"/>
                  </a:lnTo>
                  <a:lnTo>
                    <a:pt x="512" y="367"/>
                  </a:lnTo>
                  <a:lnTo>
                    <a:pt x="512" y="367"/>
                  </a:lnTo>
                  <a:lnTo>
                    <a:pt x="512" y="368"/>
                  </a:lnTo>
                  <a:lnTo>
                    <a:pt x="512" y="368"/>
                  </a:lnTo>
                  <a:lnTo>
                    <a:pt x="510" y="368"/>
                  </a:lnTo>
                  <a:lnTo>
                    <a:pt x="510" y="368"/>
                  </a:lnTo>
                  <a:lnTo>
                    <a:pt x="510" y="368"/>
                  </a:lnTo>
                  <a:lnTo>
                    <a:pt x="510" y="368"/>
                  </a:lnTo>
                  <a:lnTo>
                    <a:pt x="508" y="372"/>
                  </a:lnTo>
                  <a:lnTo>
                    <a:pt x="508" y="372"/>
                  </a:lnTo>
                  <a:lnTo>
                    <a:pt x="508" y="374"/>
                  </a:lnTo>
                  <a:lnTo>
                    <a:pt x="510" y="374"/>
                  </a:lnTo>
                  <a:lnTo>
                    <a:pt x="510" y="376"/>
                  </a:lnTo>
                  <a:lnTo>
                    <a:pt x="510" y="376"/>
                  </a:lnTo>
                  <a:lnTo>
                    <a:pt x="512" y="377"/>
                  </a:lnTo>
                  <a:lnTo>
                    <a:pt x="512" y="379"/>
                  </a:lnTo>
                  <a:lnTo>
                    <a:pt x="512" y="379"/>
                  </a:lnTo>
                  <a:lnTo>
                    <a:pt x="515" y="387"/>
                  </a:lnTo>
                  <a:lnTo>
                    <a:pt x="517" y="390"/>
                  </a:lnTo>
                  <a:lnTo>
                    <a:pt x="517" y="392"/>
                  </a:lnTo>
                  <a:lnTo>
                    <a:pt x="517" y="392"/>
                  </a:lnTo>
                  <a:lnTo>
                    <a:pt x="515" y="396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5" y="396"/>
                  </a:lnTo>
                  <a:lnTo>
                    <a:pt x="515" y="396"/>
                  </a:lnTo>
                  <a:lnTo>
                    <a:pt x="517" y="396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9" y="397"/>
                  </a:lnTo>
                  <a:lnTo>
                    <a:pt x="517" y="397"/>
                  </a:lnTo>
                  <a:lnTo>
                    <a:pt x="519" y="399"/>
                  </a:lnTo>
                  <a:lnTo>
                    <a:pt x="519" y="399"/>
                  </a:lnTo>
                  <a:lnTo>
                    <a:pt x="519" y="399"/>
                  </a:lnTo>
                  <a:lnTo>
                    <a:pt x="521" y="399"/>
                  </a:lnTo>
                  <a:lnTo>
                    <a:pt x="522" y="401"/>
                  </a:lnTo>
                  <a:lnTo>
                    <a:pt x="526" y="403"/>
                  </a:lnTo>
                  <a:lnTo>
                    <a:pt x="526" y="403"/>
                  </a:lnTo>
                  <a:lnTo>
                    <a:pt x="526" y="403"/>
                  </a:lnTo>
                  <a:lnTo>
                    <a:pt x="526" y="401"/>
                  </a:lnTo>
                  <a:lnTo>
                    <a:pt x="528" y="396"/>
                  </a:lnTo>
                  <a:lnTo>
                    <a:pt x="528" y="394"/>
                  </a:lnTo>
                  <a:lnTo>
                    <a:pt x="530" y="394"/>
                  </a:lnTo>
                  <a:lnTo>
                    <a:pt x="531" y="394"/>
                  </a:lnTo>
                  <a:lnTo>
                    <a:pt x="531" y="394"/>
                  </a:lnTo>
                  <a:lnTo>
                    <a:pt x="531" y="392"/>
                  </a:lnTo>
                  <a:lnTo>
                    <a:pt x="531" y="392"/>
                  </a:lnTo>
                  <a:lnTo>
                    <a:pt x="531" y="392"/>
                  </a:lnTo>
                  <a:lnTo>
                    <a:pt x="531" y="392"/>
                  </a:lnTo>
                  <a:lnTo>
                    <a:pt x="533" y="392"/>
                  </a:lnTo>
                  <a:lnTo>
                    <a:pt x="535" y="392"/>
                  </a:lnTo>
                  <a:lnTo>
                    <a:pt x="537" y="392"/>
                  </a:lnTo>
                  <a:lnTo>
                    <a:pt x="537" y="390"/>
                  </a:lnTo>
                  <a:lnTo>
                    <a:pt x="537" y="381"/>
                  </a:lnTo>
                  <a:lnTo>
                    <a:pt x="537" y="379"/>
                  </a:lnTo>
                  <a:lnTo>
                    <a:pt x="537" y="379"/>
                  </a:lnTo>
                  <a:lnTo>
                    <a:pt x="537" y="379"/>
                  </a:lnTo>
                  <a:lnTo>
                    <a:pt x="537" y="379"/>
                  </a:lnTo>
                  <a:lnTo>
                    <a:pt x="537" y="377"/>
                  </a:lnTo>
                  <a:lnTo>
                    <a:pt x="537" y="377"/>
                  </a:lnTo>
                  <a:lnTo>
                    <a:pt x="537" y="377"/>
                  </a:lnTo>
                  <a:lnTo>
                    <a:pt x="539" y="377"/>
                  </a:lnTo>
                  <a:lnTo>
                    <a:pt x="539" y="379"/>
                  </a:lnTo>
                  <a:lnTo>
                    <a:pt x="540" y="379"/>
                  </a:lnTo>
                  <a:lnTo>
                    <a:pt x="540" y="379"/>
                  </a:lnTo>
                  <a:lnTo>
                    <a:pt x="540" y="379"/>
                  </a:lnTo>
                  <a:lnTo>
                    <a:pt x="540" y="379"/>
                  </a:lnTo>
                  <a:lnTo>
                    <a:pt x="542" y="377"/>
                  </a:lnTo>
                  <a:lnTo>
                    <a:pt x="542" y="377"/>
                  </a:lnTo>
                  <a:lnTo>
                    <a:pt x="542" y="377"/>
                  </a:lnTo>
                  <a:lnTo>
                    <a:pt x="542" y="377"/>
                  </a:lnTo>
                  <a:lnTo>
                    <a:pt x="544" y="377"/>
                  </a:lnTo>
                  <a:lnTo>
                    <a:pt x="548" y="377"/>
                  </a:lnTo>
                  <a:lnTo>
                    <a:pt x="548" y="377"/>
                  </a:lnTo>
                  <a:lnTo>
                    <a:pt x="551" y="377"/>
                  </a:lnTo>
                  <a:lnTo>
                    <a:pt x="551" y="376"/>
                  </a:lnTo>
                  <a:lnTo>
                    <a:pt x="551" y="376"/>
                  </a:lnTo>
                  <a:lnTo>
                    <a:pt x="551" y="374"/>
                  </a:lnTo>
                  <a:lnTo>
                    <a:pt x="551" y="374"/>
                  </a:lnTo>
                  <a:lnTo>
                    <a:pt x="551" y="372"/>
                  </a:lnTo>
                  <a:lnTo>
                    <a:pt x="551" y="372"/>
                  </a:lnTo>
                  <a:lnTo>
                    <a:pt x="549" y="372"/>
                  </a:lnTo>
                  <a:lnTo>
                    <a:pt x="549" y="372"/>
                  </a:lnTo>
                  <a:lnTo>
                    <a:pt x="548" y="370"/>
                  </a:lnTo>
                  <a:lnTo>
                    <a:pt x="548" y="370"/>
                  </a:lnTo>
                  <a:lnTo>
                    <a:pt x="548" y="370"/>
                  </a:lnTo>
                  <a:lnTo>
                    <a:pt x="548" y="370"/>
                  </a:lnTo>
                  <a:lnTo>
                    <a:pt x="548" y="368"/>
                  </a:lnTo>
                  <a:lnTo>
                    <a:pt x="548" y="368"/>
                  </a:lnTo>
                  <a:lnTo>
                    <a:pt x="548" y="368"/>
                  </a:lnTo>
                  <a:lnTo>
                    <a:pt x="548" y="368"/>
                  </a:lnTo>
                  <a:lnTo>
                    <a:pt x="548" y="367"/>
                  </a:lnTo>
                  <a:lnTo>
                    <a:pt x="548" y="367"/>
                  </a:lnTo>
                  <a:lnTo>
                    <a:pt x="546" y="367"/>
                  </a:lnTo>
                  <a:lnTo>
                    <a:pt x="546" y="367"/>
                  </a:lnTo>
                  <a:lnTo>
                    <a:pt x="546" y="367"/>
                  </a:lnTo>
                  <a:lnTo>
                    <a:pt x="546" y="363"/>
                  </a:lnTo>
                  <a:lnTo>
                    <a:pt x="544" y="361"/>
                  </a:lnTo>
                  <a:lnTo>
                    <a:pt x="546" y="361"/>
                  </a:lnTo>
                  <a:lnTo>
                    <a:pt x="546" y="358"/>
                  </a:lnTo>
                  <a:lnTo>
                    <a:pt x="548" y="356"/>
                  </a:lnTo>
                  <a:lnTo>
                    <a:pt x="548" y="352"/>
                  </a:lnTo>
                  <a:lnTo>
                    <a:pt x="548" y="350"/>
                  </a:lnTo>
                  <a:lnTo>
                    <a:pt x="548" y="349"/>
                  </a:lnTo>
                  <a:lnTo>
                    <a:pt x="548" y="347"/>
                  </a:lnTo>
                  <a:lnTo>
                    <a:pt x="548" y="347"/>
                  </a:lnTo>
                  <a:lnTo>
                    <a:pt x="548" y="345"/>
                  </a:lnTo>
                  <a:lnTo>
                    <a:pt x="549" y="343"/>
                  </a:lnTo>
                  <a:lnTo>
                    <a:pt x="549" y="343"/>
                  </a:lnTo>
                  <a:lnTo>
                    <a:pt x="551" y="341"/>
                  </a:lnTo>
                  <a:lnTo>
                    <a:pt x="549" y="340"/>
                  </a:lnTo>
                  <a:lnTo>
                    <a:pt x="551" y="340"/>
                  </a:lnTo>
                  <a:lnTo>
                    <a:pt x="551" y="340"/>
                  </a:lnTo>
                  <a:lnTo>
                    <a:pt x="551" y="340"/>
                  </a:lnTo>
                  <a:lnTo>
                    <a:pt x="560" y="343"/>
                  </a:lnTo>
                  <a:lnTo>
                    <a:pt x="564" y="343"/>
                  </a:lnTo>
                  <a:lnTo>
                    <a:pt x="564" y="343"/>
                  </a:lnTo>
                  <a:lnTo>
                    <a:pt x="566" y="343"/>
                  </a:lnTo>
                  <a:lnTo>
                    <a:pt x="566" y="345"/>
                  </a:lnTo>
                  <a:lnTo>
                    <a:pt x="568" y="345"/>
                  </a:lnTo>
                  <a:lnTo>
                    <a:pt x="569" y="347"/>
                  </a:lnTo>
                  <a:lnTo>
                    <a:pt x="569" y="347"/>
                  </a:lnTo>
                  <a:lnTo>
                    <a:pt x="569" y="349"/>
                  </a:lnTo>
                  <a:lnTo>
                    <a:pt x="569" y="350"/>
                  </a:lnTo>
                  <a:lnTo>
                    <a:pt x="569" y="352"/>
                  </a:lnTo>
                  <a:lnTo>
                    <a:pt x="569" y="352"/>
                  </a:lnTo>
                  <a:lnTo>
                    <a:pt x="571" y="352"/>
                  </a:lnTo>
                  <a:lnTo>
                    <a:pt x="571" y="352"/>
                  </a:lnTo>
                  <a:lnTo>
                    <a:pt x="571" y="352"/>
                  </a:lnTo>
                  <a:lnTo>
                    <a:pt x="573" y="352"/>
                  </a:lnTo>
                  <a:lnTo>
                    <a:pt x="573" y="350"/>
                  </a:lnTo>
                  <a:lnTo>
                    <a:pt x="575" y="350"/>
                  </a:lnTo>
                  <a:lnTo>
                    <a:pt x="575" y="350"/>
                  </a:lnTo>
                  <a:lnTo>
                    <a:pt x="577" y="352"/>
                  </a:lnTo>
                  <a:lnTo>
                    <a:pt x="580" y="350"/>
                  </a:lnTo>
                  <a:lnTo>
                    <a:pt x="580" y="350"/>
                  </a:lnTo>
                  <a:lnTo>
                    <a:pt x="589" y="352"/>
                  </a:lnTo>
                  <a:lnTo>
                    <a:pt x="591" y="352"/>
                  </a:lnTo>
                  <a:lnTo>
                    <a:pt x="598" y="347"/>
                  </a:lnTo>
                  <a:lnTo>
                    <a:pt x="602" y="345"/>
                  </a:lnTo>
                  <a:lnTo>
                    <a:pt x="609" y="343"/>
                  </a:lnTo>
                  <a:lnTo>
                    <a:pt x="618" y="340"/>
                  </a:lnTo>
                  <a:lnTo>
                    <a:pt x="618" y="340"/>
                  </a:lnTo>
                  <a:lnTo>
                    <a:pt x="620" y="340"/>
                  </a:lnTo>
                  <a:lnTo>
                    <a:pt x="625" y="336"/>
                  </a:lnTo>
                  <a:lnTo>
                    <a:pt x="627" y="334"/>
                  </a:lnTo>
                  <a:lnTo>
                    <a:pt x="629" y="334"/>
                  </a:lnTo>
                  <a:lnTo>
                    <a:pt x="633" y="336"/>
                  </a:lnTo>
                  <a:lnTo>
                    <a:pt x="643" y="338"/>
                  </a:lnTo>
                  <a:lnTo>
                    <a:pt x="645" y="340"/>
                  </a:lnTo>
                  <a:lnTo>
                    <a:pt x="651" y="345"/>
                  </a:lnTo>
                  <a:lnTo>
                    <a:pt x="652" y="347"/>
                  </a:lnTo>
                  <a:lnTo>
                    <a:pt x="654" y="349"/>
                  </a:lnTo>
                  <a:lnTo>
                    <a:pt x="658" y="349"/>
                  </a:lnTo>
                  <a:lnTo>
                    <a:pt x="667" y="349"/>
                  </a:lnTo>
                  <a:lnTo>
                    <a:pt x="667" y="349"/>
                  </a:lnTo>
                  <a:lnTo>
                    <a:pt x="670" y="349"/>
                  </a:lnTo>
                  <a:lnTo>
                    <a:pt x="678" y="350"/>
                  </a:lnTo>
                  <a:lnTo>
                    <a:pt x="681" y="350"/>
                  </a:lnTo>
                  <a:lnTo>
                    <a:pt x="690" y="349"/>
                  </a:lnTo>
                  <a:lnTo>
                    <a:pt x="707" y="345"/>
                  </a:lnTo>
                  <a:lnTo>
                    <a:pt x="717" y="341"/>
                  </a:lnTo>
                  <a:lnTo>
                    <a:pt x="723" y="338"/>
                  </a:lnTo>
                  <a:lnTo>
                    <a:pt x="725" y="338"/>
                  </a:lnTo>
                  <a:lnTo>
                    <a:pt x="726" y="338"/>
                  </a:lnTo>
                  <a:lnTo>
                    <a:pt x="728" y="336"/>
                  </a:lnTo>
                  <a:lnTo>
                    <a:pt x="732" y="334"/>
                  </a:lnTo>
                  <a:lnTo>
                    <a:pt x="739" y="329"/>
                  </a:lnTo>
                  <a:lnTo>
                    <a:pt x="739" y="329"/>
                  </a:lnTo>
                  <a:lnTo>
                    <a:pt x="741" y="329"/>
                  </a:lnTo>
                  <a:lnTo>
                    <a:pt x="741" y="329"/>
                  </a:lnTo>
                  <a:lnTo>
                    <a:pt x="743" y="329"/>
                  </a:lnTo>
                  <a:lnTo>
                    <a:pt x="744" y="327"/>
                  </a:lnTo>
                  <a:lnTo>
                    <a:pt x="752" y="323"/>
                  </a:lnTo>
                  <a:lnTo>
                    <a:pt x="754" y="323"/>
                  </a:lnTo>
                  <a:lnTo>
                    <a:pt x="763" y="321"/>
                  </a:lnTo>
                  <a:lnTo>
                    <a:pt x="775" y="323"/>
                  </a:lnTo>
                  <a:lnTo>
                    <a:pt x="777" y="325"/>
                  </a:lnTo>
                  <a:lnTo>
                    <a:pt x="779" y="325"/>
                  </a:lnTo>
                  <a:lnTo>
                    <a:pt x="793" y="325"/>
                  </a:lnTo>
                  <a:lnTo>
                    <a:pt x="813" y="320"/>
                  </a:lnTo>
                  <a:lnTo>
                    <a:pt x="819" y="318"/>
                  </a:lnTo>
                  <a:lnTo>
                    <a:pt x="822" y="316"/>
                  </a:lnTo>
                  <a:lnTo>
                    <a:pt x="826" y="312"/>
                  </a:lnTo>
                  <a:lnTo>
                    <a:pt x="828" y="311"/>
                  </a:lnTo>
                  <a:lnTo>
                    <a:pt x="828" y="309"/>
                  </a:lnTo>
                  <a:lnTo>
                    <a:pt x="829" y="309"/>
                  </a:lnTo>
                  <a:lnTo>
                    <a:pt x="829" y="309"/>
                  </a:lnTo>
                  <a:lnTo>
                    <a:pt x="829" y="311"/>
                  </a:lnTo>
                  <a:lnTo>
                    <a:pt x="829" y="311"/>
                  </a:lnTo>
                  <a:lnTo>
                    <a:pt x="829" y="311"/>
                  </a:lnTo>
                  <a:lnTo>
                    <a:pt x="831" y="311"/>
                  </a:lnTo>
                  <a:lnTo>
                    <a:pt x="831" y="312"/>
                  </a:lnTo>
                  <a:lnTo>
                    <a:pt x="833" y="312"/>
                  </a:lnTo>
                  <a:lnTo>
                    <a:pt x="833" y="311"/>
                  </a:lnTo>
                  <a:lnTo>
                    <a:pt x="833" y="311"/>
                  </a:lnTo>
                  <a:lnTo>
                    <a:pt x="833" y="311"/>
                  </a:lnTo>
                  <a:lnTo>
                    <a:pt x="833" y="312"/>
                  </a:lnTo>
                  <a:lnTo>
                    <a:pt x="833" y="312"/>
                  </a:lnTo>
                  <a:lnTo>
                    <a:pt x="835" y="312"/>
                  </a:lnTo>
                  <a:lnTo>
                    <a:pt x="835" y="314"/>
                  </a:lnTo>
                  <a:lnTo>
                    <a:pt x="837" y="314"/>
                  </a:lnTo>
                  <a:lnTo>
                    <a:pt x="837" y="314"/>
                  </a:lnTo>
                  <a:lnTo>
                    <a:pt x="835" y="318"/>
                  </a:lnTo>
                  <a:lnTo>
                    <a:pt x="837" y="320"/>
                  </a:lnTo>
                  <a:lnTo>
                    <a:pt x="837" y="320"/>
                  </a:lnTo>
                  <a:lnTo>
                    <a:pt x="837" y="320"/>
                  </a:lnTo>
                  <a:lnTo>
                    <a:pt x="837" y="321"/>
                  </a:lnTo>
                  <a:lnTo>
                    <a:pt x="838" y="321"/>
                  </a:lnTo>
                  <a:lnTo>
                    <a:pt x="842" y="321"/>
                  </a:lnTo>
                  <a:lnTo>
                    <a:pt x="846" y="320"/>
                  </a:lnTo>
                  <a:lnTo>
                    <a:pt x="847" y="320"/>
                  </a:lnTo>
                  <a:lnTo>
                    <a:pt x="847" y="320"/>
                  </a:lnTo>
                  <a:lnTo>
                    <a:pt x="847" y="318"/>
                  </a:lnTo>
                  <a:lnTo>
                    <a:pt x="855" y="309"/>
                  </a:lnTo>
                  <a:lnTo>
                    <a:pt x="855" y="309"/>
                  </a:lnTo>
                  <a:lnTo>
                    <a:pt x="855" y="307"/>
                  </a:lnTo>
                  <a:lnTo>
                    <a:pt x="855" y="307"/>
                  </a:lnTo>
                  <a:lnTo>
                    <a:pt x="855" y="307"/>
                  </a:lnTo>
                  <a:lnTo>
                    <a:pt x="855" y="307"/>
                  </a:lnTo>
                  <a:lnTo>
                    <a:pt x="856" y="305"/>
                  </a:lnTo>
                  <a:lnTo>
                    <a:pt x="858" y="305"/>
                  </a:lnTo>
                  <a:lnTo>
                    <a:pt x="858" y="305"/>
                  </a:lnTo>
                  <a:lnTo>
                    <a:pt x="858" y="305"/>
                  </a:lnTo>
                  <a:lnTo>
                    <a:pt x="858" y="307"/>
                  </a:lnTo>
                  <a:lnTo>
                    <a:pt x="860" y="307"/>
                  </a:lnTo>
                  <a:lnTo>
                    <a:pt x="864" y="309"/>
                  </a:lnTo>
                  <a:lnTo>
                    <a:pt x="865" y="309"/>
                  </a:lnTo>
                  <a:lnTo>
                    <a:pt x="867" y="309"/>
                  </a:lnTo>
                  <a:lnTo>
                    <a:pt x="869" y="307"/>
                  </a:lnTo>
                  <a:lnTo>
                    <a:pt x="871" y="307"/>
                  </a:lnTo>
                  <a:lnTo>
                    <a:pt x="873" y="305"/>
                  </a:lnTo>
                  <a:lnTo>
                    <a:pt x="875" y="305"/>
                  </a:lnTo>
                  <a:lnTo>
                    <a:pt x="875" y="307"/>
                  </a:lnTo>
                  <a:lnTo>
                    <a:pt x="882" y="309"/>
                  </a:lnTo>
                  <a:lnTo>
                    <a:pt x="882" y="311"/>
                  </a:lnTo>
                  <a:lnTo>
                    <a:pt x="884" y="311"/>
                  </a:lnTo>
                  <a:lnTo>
                    <a:pt x="884" y="311"/>
                  </a:lnTo>
                  <a:lnTo>
                    <a:pt x="884" y="309"/>
                  </a:lnTo>
                  <a:lnTo>
                    <a:pt x="884" y="309"/>
                  </a:lnTo>
                  <a:lnTo>
                    <a:pt x="885" y="309"/>
                  </a:lnTo>
                  <a:lnTo>
                    <a:pt x="885" y="309"/>
                  </a:lnTo>
                  <a:lnTo>
                    <a:pt x="887" y="311"/>
                  </a:lnTo>
                  <a:lnTo>
                    <a:pt x="887" y="311"/>
                  </a:lnTo>
                  <a:lnTo>
                    <a:pt x="889" y="312"/>
                  </a:lnTo>
                  <a:lnTo>
                    <a:pt x="893" y="314"/>
                  </a:lnTo>
                  <a:lnTo>
                    <a:pt x="893" y="314"/>
                  </a:lnTo>
                  <a:lnTo>
                    <a:pt x="893" y="314"/>
                  </a:lnTo>
                  <a:lnTo>
                    <a:pt x="894" y="312"/>
                  </a:lnTo>
                  <a:lnTo>
                    <a:pt x="894" y="312"/>
                  </a:lnTo>
                  <a:lnTo>
                    <a:pt x="896" y="312"/>
                  </a:lnTo>
                  <a:lnTo>
                    <a:pt x="896" y="314"/>
                  </a:lnTo>
                  <a:lnTo>
                    <a:pt x="898" y="314"/>
                  </a:lnTo>
                  <a:lnTo>
                    <a:pt x="898" y="314"/>
                  </a:lnTo>
                  <a:lnTo>
                    <a:pt x="900" y="314"/>
                  </a:lnTo>
                  <a:lnTo>
                    <a:pt x="905" y="314"/>
                  </a:lnTo>
                  <a:lnTo>
                    <a:pt x="905" y="314"/>
                  </a:lnTo>
                  <a:lnTo>
                    <a:pt x="907" y="314"/>
                  </a:lnTo>
                  <a:lnTo>
                    <a:pt x="907" y="316"/>
                  </a:lnTo>
                  <a:lnTo>
                    <a:pt x="909" y="316"/>
                  </a:lnTo>
                  <a:lnTo>
                    <a:pt x="909" y="316"/>
                  </a:lnTo>
                  <a:lnTo>
                    <a:pt x="911" y="316"/>
                  </a:lnTo>
                  <a:lnTo>
                    <a:pt x="911" y="316"/>
                  </a:lnTo>
                  <a:lnTo>
                    <a:pt x="914" y="314"/>
                  </a:lnTo>
                  <a:lnTo>
                    <a:pt x="914" y="312"/>
                  </a:lnTo>
                  <a:lnTo>
                    <a:pt x="916" y="311"/>
                  </a:lnTo>
                  <a:lnTo>
                    <a:pt x="918" y="309"/>
                  </a:lnTo>
                  <a:lnTo>
                    <a:pt x="920" y="309"/>
                  </a:lnTo>
                  <a:lnTo>
                    <a:pt x="921" y="309"/>
                  </a:lnTo>
                  <a:lnTo>
                    <a:pt x="923" y="309"/>
                  </a:lnTo>
                  <a:lnTo>
                    <a:pt x="929" y="312"/>
                  </a:lnTo>
                  <a:lnTo>
                    <a:pt x="929" y="312"/>
                  </a:lnTo>
                  <a:lnTo>
                    <a:pt x="931" y="312"/>
                  </a:lnTo>
                  <a:lnTo>
                    <a:pt x="931" y="314"/>
                  </a:lnTo>
                  <a:lnTo>
                    <a:pt x="931" y="316"/>
                  </a:lnTo>
                  <a:lnTo>
                    <a:pt x="931" y="318"/>
                  </a:lnTo>
                  <a:lnTo>
                    <a:pt x="931" y="318"/>
                  </a:lnTo>
                  <a:lnTo>
                    <a:pt x="931" y="318"/>
                  </a:lnTo>
                  <a:lnTo>
                    <a:pt x="931" y="320"/>
                  </a:lnTo>
                  <a:lnTo>
                    <a:pt x="931" y="320"/>
                  </a:lnTo>
                  <a:lnTo>
                    <a:pt x="931" y="320"/>
                  </a:lnTo>
                  <a:lnTo>
                    <a:pt x="929" y="320"/>
                  </a:lnTo>
                  <a:lnTo>
                    <a:pt x="929" y="321"/>
                  </a:lnTo>
                  <a:lnTo>
                    <a:pt x="929" y="321"/>
                  </a:lnTo>
                  <a:lnTo>
                    <a:pt x="927" y="323"/>
                  </a:lnTo>
                  <a:lnTo>
                    <a:pt x="929" y="325"/>
                  </a:lnTo>
                  <a:lnTo>
                    <a:pt x="931" y="329"/>
                  </a:lnTo>
                  <a:lnTo>
                    <a:pt x="931" y="331"/>
                  </a:lnTo>
                  <a:lnTo>
                    <a:pt x="931" y="331"/>
                  </a:lnTo>
                  <a:lnTo>
                    <a:pt x="932" y="331"/>
                  </a:lnTo>
                  <a:lnTo>
                    <a:pt x="934" y="331"/>
                  </a:lnTo>
                  <a:lnTo>
                    <a:pt x="934" y="331"/>
                  </a:lnTo>
                  <a:lnTo>
                    <a:pt x="934" y="329"/>
                  </a:lnTo>
                  <a:lnTo>
                    <a:pt x="934" y="329"/>
                  </a:lnTo>
                  <a:lnTo>
                    <a:pt x="934" y="329"/>
                  </a:lnTo>
                  <a:lnTo>
                    <a:pt x="934" y="329"/>
                  </a:lnTo>
                  <a:lnTo>
                    <a:pt x="936" y="329"/>
                  </a:lnTo>
                  <a:lnTo>
                    <a:pt x="936" y="327"/>
                  </a:lnTo>
                  <a:lnTo>
                    <a:pt x="936" y="327"/>
                  </a:lnTo>
                  <a:lnTo>
                    <a:pt x="940" y="325"/>
                  </a:lnTo>
                  <a:lnTo>
                    <a:pt x="941" y="325"/>
                  </a:lnTo>
                  <a:lnTo>
                    <a:pt x="943" y="323"/>
                  </a:lnTo>
                  <a:lnTo>
                    <a:pt x="943" y="321"/>
                  </a:lnTo>
                  <a:lnTo>
                    <a:pt x="945" y="320"/>
                  </a:lnTo>
                  <a:lnTo>
                    <a:pt x="949" y="318"/>
                  </a:lnTo>
                  <a:lnTo>
                    <a:pt x="949" y="318"/>
                  </a:lnTo>
                  <a:lnTo>
                    <a:pt x="950" y="318"/>
                  </a:lnTo>
                  <a:lnTo>
                    <a:pt x="956" y="318"/>
                  </a:lnTo>
                  <a:lnTo>
                    <a:pt x="956" y="320"/>
                  </a:lnTo>
                  <a:lnTo>
                    <a:pt x="958" y="320"/>
                  </a:lnTo>
                  <a:lnTo>
                    <a:pt x="958" y="320"/>
                  </a:lnTo>
                  <a:lnTo>
                    <a:pt x="958" y="318"/>
                  </a:lnTo>
                  <a:lnTo>
                    <a:pt x="956" y="316"/>
                  </a:lnTo>
                  <a:lnTo>
                    <a:pt x="956" y="316"/>
                  </a:lnTo>
                  <a:lnTo>
                    <a:pt x="958" y="314"/>
                  </a:lnTo>
                  <a:lnTo>
                    <a:pt x="958" y="314"/>
                  </a:lnTo>
                  <a:lnTo>
                    <a:pt x="958" y="314"/>
                  </a:lnTo>
                  <a:lnTo>
                    <a:pt x="959" y="312"/>
                  </a:lnTo>
                  <a:lnTo>
                    <a:pt x="959" y="311"/>
                  </a:lnTo>
                  <a:lnTo>
                    <a:pt x="958" y="309"/>
                  </a:lnTo>
                  <a:lnTo>
                    <a:pt x="956" y="307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2E32DBD0-F8AD-D4A6-E554-CA1DAAA46F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45213" y="430213"/>
              <a:ext cx="3192463" cy="2493963"/>
            </a:xfrm>
            <a:custGeom>
              <a:avLst/>
              <a:gdLst>
                <a:gd name="T0" fmla="*/ 718 w 2011"/>
                <a:gd name="T1" fmla="*/ 1392 h 1571"/>
                <a:gd name="T2" fmla="*/ 711 w 2011"/>
                <a:gd name="T3" fmla="*/ 1353 h 1571"/>
                <a:gd name="T4" fmla="*/ 702 w 2011"/>
                <a:gd name="T5" fmla="*/ 1289 h 1571"/>
                <a:gd name="T6" fmla="*/ 745 w 2011"/>
                <a:gd name="T7" fmla="*/ 1143 h 1571"/>
                <a:gd name="T8" fmla="*/ 830 w 2011"/>
                <a:gd name="T9" fmla="*/ 1067 h 1571"/>
                <a:gd name="T10" fmla="*/ 906 w 2011"/>
                <a:gd name="T11" fmla="*/ 991 h 1571"/>
                <a:gd name="T12" fmla="*/ 1022 w 2011"/>
                <a:gd name="T13" fmla="*/ 869 h 1571"/>
                <a:gd name="T14" fmla="*/ 1074 w 2011"/>
                <a:gd name="T15" fmla="*/ 776 h 1571"/>
                <a:gd name="T16" fmla="*/ 1103 w 2011"/>
                <a:gd name="T17" fmla="*/ 655 h 1571"/>
                <a:gd name="T18" fmla="*/ 1107 w 2011"/>
                <a:gd name="T19" fmla="*/ 464 h 1571"/>
                <a:gd name="T20" fmla="*/ 1154 w 2011"/>
                <a:gd name="T21" fmla="*/ 410 h 1571"/>
                <a:gd name="T22" fmla="*/ 1262 w 2011"/>
                <a:gd name="T23" fmla="*/ 403 h 1571"/>
                <a:gd name="T24" fmla="*/ 1217 w 2011"/>
                <a:gd name="T25" fmla="*/ 386 h 1571"/>
                <a:gd name="T26" fmla="*/ 1260 w 2011"/>
                <a:gd name="T27" fmla="*/ 356 h 1571"/>
                <a:gd name="T28" fmla="*/ 1201 w 2011"/>
                <a:gd name="T29" fmla="*/ 363 h 1571"/>
                <a:gd name="T30" fmla="*/ 1334 w 2011"/>
                <a:gd name="T31" fmla="*/ 310 h 1571"/>
                <a:gd name="T32" fmla="*/ 1331 w 2011"/>
                <a:gd name="T33" fmla="*/ 235 h 1571"/>
                <a:gd name="T34" fmla="*/ 1396 w 2011"/>
                <a:gd name="T35" fmla="*/ 222 h 1571"/>
                <a:gd name="T36" fmla="*/ 1399 w 2011"/>
                <a:gd name="T37" fmla="*/ 180 h 1571"/>
                <a:gd name="T38" fmla="*/ 1486 w 2011"/>
                <a:gd name="T39" fmla="*/ 142 h 1571"/>
                <a:gd name="T40" fmla="*/ 1630 w 2011"/>
                <a:gd name="T41" fmla="*/ 90 h 1571"/>
                <a:gd name="T42" fmla="*/ 1582 w 2011"/>
                <a:gd name="T43" fmla="*/ 101 h 1571"/>
                <a:gd name="T44" fmla="*/ 1583 w 2011"/>
                <a:gd name="T45" fmla="*/ 72 h 1571"/>
                <a:gd name="T46" fmla="*/ 1928 w 2011"/>
                <a:gd name="T47" fmla="*/ 68 h 1571"/>
                <a:gd name="T48" fmla="*/ 1871 w 2011"/>
                <a:gd name="T49" fmla="*/ 54 h 1571"/>
                <a:gd name="T50" fmla="*/ 1787 w 2011"/>
                <a:gd name="T51" fmla="*/ 123 h 1571"/>
                <a:gd name="T52" fmla="*/ 1750 w 2011"/>
                <a:gd name="T53" fmla="*/ 43 h 1571"/>
                <a:gd name="T54" fmla="*/ 1627 w 2011"/>
                <a:gd name="T55" fmla="*/ 135 h 1571"/>
                <a:gd name="T56" fmla="*/ 1518 w 2011"/>
                <a:gd name="T57" fmla="*/ 146 h 1571"/>
                <a:gd name="T58" fmla="*/ 1455 w 2011"/>
                <a:gd name="T59" fmla="*/ 280 h 1571"/>
                <a:gd name="T60" fmla="*/ 1430 w 2011"/>
                <a:gd name="T61" fmla="*/ 280 h 1571"/>
                <a:gd name="T62" fmla="*/ 1349 w 2011"/>
                <a:gd name="T63" fmla="*/ 337 h 1571"/>
                <a:gd name="T64" fmla="*/ 1273 w 2011"/>
                <a:gd name="T65" fmla="*/ 412 h 1571"/>
                <a:gd name="T66" fmla="*/ 1253 w 2011"/>
                <a:gd name="T67" fmla="*/ 439 h 1571"/>
                <a:gd name="T68" fmla="*/ 1226 w 2011"/>
                <a:gd name="T69" fmla="*/ 475 h 1571"/>
                <a:gd name="T70" fmla="*/ 1204 w 2011"/>
                <a:gd name="T71" fmla="*/ 531 h 1571"/>
                <a:gd name="T72" fmla="*/ 1179 w 2011"/>
                <a:gd name="T73" fmla="*/ 580 h 1571"/>
                <a:gd name="T74" fmla="*/ 1114 w 2011"/>
                <a:gd name="T75" fmla="*/ 654 h 1571"/>
                <a:gd name="T76" fmla="*/ 1103 w 2011"/>
                <a:gd name="T77" fmla="*/ 719 h 1571"/>
                <a:gd name="T78" fmla="*/ 1076 w 2011"/>
                <a:gd name="T79" fmla="*/ 813 h 1571"/>
                <a:gd name="T80" fmla="*/ 1027 w 2011"/>
                <a:gd name="T81" fmla="*/ 869 h 1571"/>
                <a:gd name="T82" fmla="*/ 987 w 2011"/>
                <a:gd name="T83" fmla="*/ 906 h 1571"/>
                <a:gd name="T84" fmla="*/ 955 w 2011"/>
                <a:gd name="T85" fmla="*/ 1006 h 1571"/>
                <a:gd name="T86" fmla="*/ 971 w 2011"/>
                <a:gd name="T87" fmla="*/ 1026 h 1571"/>
                <a:gd name="T88" fmla="*/ 874 w 2011"/>
                <a:gd name="T89" fmla="*/ 1060 h 1571"/>
                <a:gd name="T90" fmla="*/ 825 w 2011"/>
                <a:gd name="T91" fmla="*/ 1094 h 1571"/>
                <a:gd name="T92" fmla="*/ 805 w 2011"/>
                <a:gd name="T93" fmla="*/ 1159 h 1571"/>
                <a:gd name="T94" fmla="*/ 715 w 2011"/>
                <a:gd name="T95" fmla="*/ 1174 h 1571"/>
                <a:gd name="T96" fmla="*/ 718 w 2011"/>
                <a:gd name="T97" fmla="*/ 1217 h 1571"/>
                <a:gd name="T98" fmla="*/ 780 w 2011"/>
                <a:gd name="T99" fmla="*/ 1253 h 1571"/>
                <a:gd name="T100" fmla="*/ 773 w 2011"/>
                <a:gd name="T101" fmla="*/ 1268 h 1571"/>
                <a:gd name="T102" fmla="*/ 722 w 2011"/>
                <a:gd name="T103" fmla="*/ 1320 h 1571"/>
                <a:gd name="T104" fmla="*/ 749 w 2011"/>
                <a:gd name="T105" fmla="*/ 1362 h 1571"/>
                <a:gd name="T106" fmla="*/ 753 w 2011"/>
                <a:gd name="T107" fmla="*/ 1396 h 1571"/>
                <a:gd name="T108" fmla="*/ 744 w 2011"/>
                <a:gd name="T109" fmla="*/ 1432 h 1571"/>
                <a:gd name="T110" fmla="*/ 747 w 2011"/>
                <a:gd name="T111" fmla="*/ 1481 h 1571"/>
                <a:gd name="T112" fmla="*/ 810 w 2011"/>
                <a:gd name="T113" fmla="*/ 1568 h 1571"/>
                <a:gd name="T114" fmla="*/ 941 w 2011"/>
                <a:gd name="T115" fmla="*/ 1477 h 1571"/>
                <a:gd name="T116" fmla="*/ 991 w 2011"/>
                <a:gd name="T117" fmla="*/ 1398 h 1571"/>
                <a:gd name="T118" fmla="*/ 1094 w 2011"/>
                <a:gd name="T119" fmla="*/ 1259 h 1571"/>
                <a:gd name="T120" fmla="*/ 1706 w 2011"/>
                <a:gd name="T121" fmla="*/ 374 h 1571"/>
                <a:gd name="T122" fmla="*/ 2001 w 2011"/>
                <a:gd name="T123" fmla="*/ 211 h 1571"/>
                <a:gd name="T124" fmla="*/ 1735 w 2011"/>
                <a:gd name="T125" fmla="*/ 27 h 1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1" h="1571">
                  <a:moveTo>
                    <a:pt x="1011" y="1466"/>
                  </a:moveTo>
                  <a:lnTo>
                    <a:pt x="1011" y="1466"/>
                  </a:lnTo>
                  <a:lnTo>
                    <a:pt x="1011" y="1466"/>
                  </a:lnTo>
                  <a:lnTo>
                    <a:pt x="1009" y="1466"/>
                  </a:lnTo>
                  <a:lnTo>
                    <a:pt x="1009" y="1466"/>
                  </a:lnTo>
                  <a:lnTo>
                    <a:pt x="1009" y="1466"/>
                  </a:lnTo>
                  <a:lnTo>
                    <a:pt x="1009" y="1466"/>
                  </a:lnTo>
                  <a:lnTo>
                    <a:pt x="1007" y="1465"/>
                  </a:lnTo>
                  <a:lnTo>
                    <a:pt x="1007" y="1466"/>
                  </a:lnTo>
                  <a:lnTo>
                    <a:pt x="1007" y="1466"/>
                  </a:lnTo>
                  <a:lnTo>
                    <a:pt x="1007" y="1468"/>
                  </a:lnTo>
                  <a:lnTo>
                    <a:pt x="1007" y="1470"/>
                  </a:lnTo>
                  <a:lnTo>
                    <a:pt x="1007" y="1472"/>
                  </a:lnTo>
                  <a:lnTo>
                    <a:pt x="1007" y="1472"/>
                  </a:lnTo>
                  <a:lnTo>
                    <a:pt x="1007" y="1472"/>
                  </a:lnTo>
                  <a:lnTo>
                    <a:pt x="1007" y="1472"/>
                  </a:lnTo>
                  <a:lnTo>
                    <a:pt x="1007" y="1472"/>
                  </a:lnTo>
                  <a:lnTo>
                    <a:pt x="1007" y="1472"/>
                  </a:lnTo>
                  <a:lnTo>
                    <a:pt x="1009" y="1472"/>
                  </a:lnTo>
                  <a:lnTo>
                    <a:pt x="1009" y="1472"/>
                  </a:lnTo>
                  <a:lnTo>
                    <a:pt x="1009" y="1470"/>
                  </a:lnTo>
                  <a:lnTo>
                    <a:pt x="1009" y="1470"/>
                  </a:lnTo>
                  <a:lnTo>
                    <a:pt x="1009" y="1470"/>
                  </a:lnTo>
                  <a:lnTo>
                    <a:pt x="1011" y="1470"/>
                  </a:lnTo>
                  <a:lnTo>
                    <a:pt x="1011" y="1468"/>
                  </a:lnTo>
                  <a:lnTo>
                    <a:pt x="1011" y="1468"/>
                  </a:lnTo>
                  <a:lnTo>
                    <a:pt x="1011" y="1466"/>
                  </a:lnTo>
                  <a:lnTo>
                    <a:pt x="1011" y="1466"/>
                  </a:lnTo>
                  <a:lnTo>
                    <a:pt x="1011" y="1466"/>
                  </a:lnTo>
                  <a:close/>
                  <a:moveTo>
                    <a:pt x="1002" y="1463"/>
                  </a:moveTo>
                  <a:lnTo>
                    <a:pt x="1002" y="1463"/>
                  </a:lnTo>
                  <a:lnTo>
                    <a:pt x="1000" y="1465"/>
                  </a:lnTo>
                  <a:lnTo>
                    <a:pt x="1000" y="1465"/>
                  </a:lnTo>
                  <a:lnTo>
                    <a:pt x="1000" y="1465"/>
                  </a:lnTo>
                  <a:lnTo>
                    <a:pt x="1000" y="1465"/>
                  </a:lnTo>
                  <a:lnTo>
                    <a:pt x="1000" y="1465"/>
                  </a:lnTo>
                  <a:lnTo>
                    <a:pt x="1000" y="1463"/>
                  </a:lnTo>
                  <a:lnTo>
                    <a:pt x="1000" y="1463"/>
                  </a:lnTo>
                  <a:lnTo>
                    <a:pt x="1000" y="1463"/>
                  </a:lnTo>
                  <a:lnTo>
                    <a:pt x="998" y="1463"/>
                  </a:lnTo>
                  <a:lnTo>
                    <a:pt x="998" y="1465"/>
                  </a:lnTo>
                  <a:lnTo>
                    <a:pt x="998" y="1465"/>
                  </a:lnTo>
                  <a:lnTo>
                    <a:pt x="998" y="1466"/>
                  </a:lnTo>
                  <a:lnTo>
                    <a:pt x="998" y="1466"/>
                  </a:lnTo>
                  <a:lnTo>
                    <a:pt x="1000" y="1466"/>
                  </a:lnTo>
                  <a:lnTo>
                    <a:pt x="1000" y="1466"/>
                  </a:lnTo>
                  <a:lnTo>
                    <a:pt x="1000" y="1466"/>
                  </a:lnTo>
                  <a:lnTo>
                    <a:pt x="1000" y="1466"/>
                  </a:lnTo>
                  <a:lnTo>
                    <a:pt x="1000" y="1468"/>
                  </a:lnTo>
                  <a:lnTo>
                    <a:pt x="1002" y="1466"/>
                  </a:lnTo>
                  <a:lnTo>
                    <a:pt x="1002" y="1466"/>
                  </a:lnTo>
                  <a:lnTo>
                    <a:pt x="1002" y="1465"/>
                  </a:lnTo>
                  <a:lnTo>
                    <a:pt x="1002" y="1463"/>
                  </a:lnTo>
                  <a:lnTo>
                    <a:pt x="1002" y="1463"/>
                  </a:lnTo>
                  <a:close/>
                  <a:moveTo>
                    <a:pt x="744" y="1466"/>
                  </a:moveTo>
                  <a:lnTo>
                    <a:pt x="745" y="1466"/>
                  </a:lnTo>
                  <a:lnTo>
                    <a:pt x="745" y="1465"/>
                  </a:lnTo>
                  <a:lnTo>
                    <a:pt x="745" y="1463"/>
                  </a:lnTo>
                  <a:lnTo>
                    <a:pt x="745" y="1463"/>
                  </a:lnTo>
                  <a:lnTo>
                    <a:pt x="744" y="1463"/>
                  </a:lnTo>
                  <a:lnTo>
                    <a:pt x="742" y="1463"/>
                  </a:lnTo>
                  <a:lnTo>
                    <a:pt x="742" y="1463"/>
                  </a:lnTo>
                  <a:lnTo>
                    <a:pt x="740" y="1463"/>
                  </a:lnTo>
                  <a:lnTo>
                    <a:pt x="738" y="1461"/>
                  </a:lnTo>
                  <a:lnTo>
                    <a:pt x="738" y="1461"/>
                  </a:lnTo>
                  <a:lnTo>
                    <a:pt x="738" y="1461"/>
                  </a:lnTo>
                  <a:lnTo>
                    <a:pt x="736" y="1461"/>
                  </a:lnTo>
                  <a:lnTo>
                    <a:pt x="736" y="1461"/>
                  </a:lnTo>
                  <a:lnTo>
                    <a:pt x="736" y="1463"/>
                  </a:lnTo>
                  <a:lnTo>
                    <a:pt x="735" y="1463"/>
                  </a:lnTo>
                  <a:lnTo>
                    <a:pt x="736" y="1463"/>
                  </a:lnTo>
                  <a:lnTo>
                    <a:pt x="740" y="1465"/>
                  </a:lnTo>
                  <a:lnTo>
                    <a:pt x="744" y="1466"/>
                  </a:lnTo>
                  <a:close/>
                  <a:moveTo>
                    <a:pt x="729" y="1454"/>
                  </a:moveTo>
                  <a:lnTo>
                    <a:pt x="729" y="1452"/>
                  </a:lnTo>
                  <a:lnTo>
                    <a:pt x="729" y="1452"/>
                  </a:lnTo>
                  <a:lnTo>
                    <a:pt x="727" y="1452"/>
                  </a:lnTo>
                  <a:lnTo>
                    <a:pt x="727" y="1452"/>
                  </a:lnTo>
                  <a:lnTo>
                    <a:pt x="727" y="1450"/>
                  </a:lnTo>
                  <a:lnTo>
                    <a:pt x="727" y="1450"/>
                  </a:lnTo>
                  <a:lnTo>
                    <a:pt x="726" y="1450"/>
                  </a:lnTo>
                  <a:lnTo>
                    <a:pt x="726" y="1452"/>
                  </a:lnTo>
                  <a:lnTo>
                    <a:pt x="726" y="1452"/>
                  </a:lnTo>
                  <a:lnTo>
                    <a:pt x="726" y="1454"/>
                  </a:lnTo>
                  <a:lnTo>
                    <a:pt x="726" y="1454"/>
                  </a:lnTo>
                  <a:lnTo>
                    <a:pt x="726" y="1456"/>
                  </a:lnTo>
                  <a:lnTo>
                    <a:pt x="726" y="1456"/>
                  </a:lnTo>
                  <a:lnTo>
                    <a:pt x="727" y="1457"/>
                  </a:lnTo>
                  <a:lnTo>
                    <a:pt x="727" y="1457"/>
                  </a:lnTo>
                  <a:lnTo>
                    <a:pt x="727" y="1457"/>
                  </a:lnTo>
                  <a:lnTo>
                    <a:pt x="727" y="1457"/>
                  </a:lnTo>
                  <a:lnTo>
                    <a:pt x="727" y="1459"/>
                  </a:lnTo>
                  <a:lnTo>
                    <a:pt x="729" y="1459"/>
                  </a:lnTo>
                  <a:lnTo>
                    <a:pt x="729" y="1459"/>
                  </a:lnTo>
                  <a:lnTo>
                    <a:pt x="729" y="1459"/>
                  </a:lnTo>
                  <a:lnTo>
                    <a:pt x="729" y="1457"/>
                  </a:lnTo>
                  <a:lnTo>
                    <a:pt x="729" y="1456"/>
                  </a:lnTo>
                  <a:lnTo>
                    <a:pt x="729" y="1454"/>
                  </a:lnTo>
                  <a:lnTo>
                    <a:pt x="729" y="1454"/>
                  </a:lnTo>
                  <a:close/>
                  <a:moveTo>
                    <a:pt x="760" y="1450"/>
                  </a:moveTo>
                  <a:lnTo>
                    <a:pt x="762" y="1448"/>
                  </a:lnTo>
                  <a:lnTo>
                    <a:pt x="762" y="1447"/>
                  </a:lnTo>
                  <a:lnTo>
                    <a:pt x="760" y="1447"/>
                  </a:lnTo>
                  <a:lnTo>
                    <a:pt x="758" y="1447"/>
                  </a:lnTo>
                  <a:lnTo>
                    <a:pt x="756" y="1447"/>
                  </a:lnTo>
                  <a:lnTo>
                    <a:pt x="754" y="1447"/>
                  </a:lnTo>
                  <a:lnTo>
                    <a:pt x="753" y="1448"/>
                  </a:lnTo>
                  <a:lnTo>
                    <a:pt x="753" y="1450"/>
                  </a:lnTo>
                  <a:lnTo>
                    <a:pt x="754" y="1452"/>
                  </a:lnTo>
                  <a:lnTo>
                    <a:pt x="756" y="1452"/>
                  </a:lnTo>
                  <a:lnTo>
                    <a:pt x="760" y="1450"/>
                  </a:lnTo>
                  <a:close/>
                  <a:moveTo>
                    <a:pt x="722" y="1447"/>
                  </a:moveTo>
                  <a:lnTo>
                    <a:pt x="720" y="1447"/>
                  </a:lnTo>
                  <a:lnTo>
                    <a:pt x="720" y="1445"/>
                  </a:lnTo>
                  <a:lnTo>
                    <a:pt x="720" y="1445"/>
                  </a:lnTo>
                  <a:lnTo>
                    <a:pt x="720" y="1443"/>
                  </a:lnTo>
                  <a:lnTo>
                    <a:pt x="720" y="1443"/>
                  </a:lnTo>
                  <a:lnTo>
                    <a:pt x="720" y="1443"/>
                  </a:lnTo>
                  <a:lnTo>
                    <a:pt x="720" y="1441"/>
                  </a:lnTo>
                  <a:lnTo>
                    <a:pt x="720" y="1441"/>
                  </a:lnTo>
                  <a:lnTo>
                    <a:pt x="720" y="1441"/>
                  </a:lnTo>
                  <a:lnTo>
                    <a:pt x="718" y="1438"/>
                  </a:lnTo>
                  <a:lnTo>
                    <a:pt x="717" y="1434"/>
                  </a:lnTo>
                  <a:lnTo>
                    <a:pt x="717" y="1434"/>
                  </a:lnTo>
                  <a:lnTo>
                    <a:pt x="715" y="1436"/>
                  </a:lnTo>
                  <a:lnTo>
                    <a:pt x="717" y="1438"/>
                  </a:lnTo>
                  <a:lnTo>
                    <a:pt x="717" y="1438"/>
                  </a:lnTo>
                  <a:lnTo>
                    <a:pt x="717" y="1439"/>
                  </a:lnTo>
                  <a:lnTo>
                    <a:pt x="717" y="1439"/>
                  </a:lnTo>
                  <a:lnTo>
                    <a:pt x="715" y="1441"/>
                  </a:lnTo>
                  <a:lnTo>
                    <a:pt x="715" y="1441"/>
                  </a:lnTo>
                  <a:lnTo>
                    <a:pt x="717" y="1443"/>
                  </a:lnTo>
                  <a:lnTo>
                    <a:pt x="718" y="1447"/>
                  </a:lnTo>
                  <a:lnTo>
                    <a:pt x="715" y="1447"/>
                  </a:lnTo>
                  <a:lnTo>
                    <a:pt x="715" y="1448"/>
                  </a:lnTo>
                  <a:lnTo>
                    <a:pt x="715" y="1448"/>
                  </a:lnTo>
                  <a:lnTo>
                    <a:pt x="715" y="1448"/>
                  </a:lnTo>
                  <a:lnTo>
                    <a:pt x="715" y="1450"/>
                  </a:lnTo>
                  <a:lnTo>
                    <a:pt x="715" y="1454"/>
                  </a:lnTo>
                  <a:lnTo>
                    <a:pt x="715" y="1456"/>
                  </a:lnTo>
                  <a:lnTo>
                    <a:pt x="715" y="1457"/>
                  </a:lnTo>
                  <a:lnTo>
                    <a:pt x="717" y="1459"/>
                  </a:lnTo>
                  <a:lnTo>
                    <a:pt x="717" y="1461"/>
                  </a:lnTo>
                  <a:lnTo>
                    <a:pt x="718" y="1461"/>
                  </a:lnTo>
                  <a:lnTo>
                    <a:pt x="720" y="1459"/>
                  </a:lnTo>
                  <a:lnTo>
                    <a:pt x="722" y="1457"/>
                  </a:lnTo>
                  <a:lnTo>
                    <a:pt x="722" y="1454"/>
                  </a:lnTo>
                  <a:lnTo>
                    <a:pt x="722" y="1452"/>
                  </a:lnTo>
                  <a:lnTo>
                    <a:pt x="722" y="1450"/>
                  </a:lnTo>
                  <a:lnTo>
                    <a:pt x="722" y="1448"/>
                  </a:lnTo>
                  <a:lnTo>
                    <a:pt x="722" y="1447"/>
                  </a:lnTo>
                  <a:close/>
                  <a:moveTo>
                    <a:pt x="717" y="1416"/>
                  </a:moveTo>
                  <a:lnTo>
                    <a:pt x="717" y="1414"/>
                  </a:lnTo>
                  <a:lnTo>
                    <a:pt x="717" y="1414"/>
                  </a:lnTo>
                  <a:lnTo>
                    <a:pt x="717" y="1414"/>
                  </a:lnTo>
                  <a:lnTo>
                    <a:pt x="717" y="1412"/>
                  </a:lnTo>
                  <a:lnTo>
                    <a:pt x="717" y="1412"/>
                  </a:lnTo>
                  <a:lnTo>
                    <a:pt x="717" y="1410"/>
                  </a:lnTo>
                  <a:lnTo>
                    <a:pt x="717" y="1410"/>
                  </a:lnTo>
                  <a:lnTo>
                    <a:pt x="717" y="1409"/>
                  </a:lnTo>
                  <a:lnTo>
                    <a:pt x="717" y="1407"/>
                  </a:lnTo>
                  <a:lnTo>
                    <a:pt x="717" y="1409"/>
                  </a:lnTo>
                  <a:lnTo>
                    <a:pt x="715" y="1409"/>
                  </a:lnTo>
                  <a:lnTo>
                    <a:pt x="715" y="1410"/>
                  </a:lnTo>
                  <a:lnTo>
                    <a:pt x="715" y="1409"/>
                  </a:lnTo>
                  <a:lnTo>
                    <a:pt x="715" y="1407"/>
                  </a:lnTo>
                  <a:lnTo>
                    <a:pt x="717" y="1405"/>
                  </a:lnTo>
                  <a:lnTo>
                    <a:pt x="717" y="1405"/>
                  </a:lnTo>
                  <a:lnTo>
                    <a:pt x="717" y="1403"/>
                  </a:lnTo>
                  <a:lnTo>
                    <a:pt x="717" y="1403"/>
                  </a:lnTo>
                  <a:lnTo>
                    <a:pt x="717" y="1401"/>
                  </a:lnTo>
                  <a:lnTo>
                    <a:pt x="717" y="1401"/>
                  </a:lnTo>
                  <a:lnTo>
                    <a:pt x="717" y="1401"/>
                  </a:lnTo>
                  <a:lnTo>
                    <a:pt x="717" y="1400"/>
                  </a:lnTo>
                  <a:lnTo>
                    <a:pt x="718" y="1400"/>
                  </a:lnTo>
                  <a:lnTo>
                    <a:pt x="718" y="1400"/>
                  </a:lnTo>
                  <a:lnTo>
                    <a:pt x="718" y="1401"/>
                  </a:lnTo>
                  <a:lnTo>
                    <a:pt x="720" y="1403"/>
                  </a:lnTo>
                  <a:lnTo>
                    <a:pt x="720" y="1401"/>
                  </a:lnTo>
                  <a:lnTo>
                    <a:pt x="720" y="1401"/>
                  </a:lnTo>
                  <a:lnTo>
                    <a:pt x="722" y="1401"/>
                  </a:lnTo>
                  <a:lnTo>
                    <a:pt x="722" y="1401"/>
                  </a:lnTo>
                  <a:lnTo>
                    <a:pt x="722" y="1403"/>
                  </a:lnTo>
                  <a:lnTo>
                    <a:pt x="722" y="1405"/>
                  </a:lnTo>
                  <a:lnTo>
                    <a:pt x="720" y="1407"/>
                  </a:lnTo>
                  <a:lnTo>
                    <a:pt x="720" y="1407"/>
                  </a:lnTo>
                  <a:lnTo>
                    <a:pt x="720" y="1407"/>
                  </a:lnTo>
                  <a:lnTo>
                    <a:pt x="722" y="1407"/>
                  </a:lnTo>
                  <a:lnTo>
                    <a:pt x="722" y="1407"/>
                  </a:lnTo>
                  <a:lnTo>
                    <a:pt x="724" y="1405"/>
                  </a:lnTo>
                  <a:lnTo>
                    <a:pt x="724" y="1403"/>
                  </a:lnTo>
                  <a:lnTo>
                    <a:pt x="722" y="1401"/>
                  </a:lnTo>
                  <a:lnTo>
                    <a:pt x="722" y="1400"/>
                  </a:lnTo>
                  <a:lnTo>
                    <a:pt x="722" y="1400"/>
                  </a:lnTo>
                  <a:lnTo>
                    <a:pt x="720" y="1398"/>
                  </a:lnTo>
                  <a:lnTo>
                    <a:pt x="720" y="1396"/>
                  </a:lnTo>
                  <a:lnTo>
                    <a:pt x="718" y="1396"/>
                  </a:lnTo>
                  <a:lnTo>
                    <a:pt x="718" y="1396"/>
                  </a:lnTo>
                  <a:lnTo>
                    <a:pt x="718" y="1394"/>
                  </a:lnTo>
                  <a:lnTo>
                    <a:pt x="718" y="1394"/>
                  </a:lnTo>
                  <a:lnTo>
                    <a:pt x="718" y="1392"/>
                  </a:lnTo>
                  <a:lnTo>
                    <a:pt x="717" y="1392"/>
                  </a:lnTo>
                  <a:lnTo>
                    <a:pt x="717" y="1392"/>
                  </a:lnTo>
                  <a:lnTo>
                    <a:pt x="717" y="1392"/>
                  </a:lnTo>
                  <a:lnTo>
                    <a:pt x="715" y="1391"/>
                  </a:lnTo>
                  <a:lnTo>
                    <a:pt x="715" y="1391"/>
                  </a:lnTo>
                  <a:lnTo>
                    <a:pt x="715" y="1389"/>
                  </a:lnTo>
                  <a:lnTo>
                    <a:pt x="713" y="1389"/>
                  </a:lnTo>
                  <a:lnTo>
                    <a:pt x="713" y="1389"/>
                  </a:lnTo>
                  <a:lnTo>
                    <a:pt x="711" y="1389"/>
                  </a:lnTo>
                  <a:lnTo>
                    <a:pt x="713" y="1392"/>
                  </a:lnTo>
                  <a:lnTo>
                    <a:pt x="715" y="1392"/>
                  </a:lnTo>
                  <a:lnTo>
                    <a:pt x="713" y="1392"/>
                  </a:lnTo>
                  <a:lnTo>
                    <a:pt x="713" y="1392"/>
                  </a:lnTo>
                  <a:lnTo>
                    <a:pt x="713" y="1392"/>
                  </a:lnTo>
                  <a:lnTo>
                    <a:pt x="713" y="1394"/>
                  </a:lnTo>
                  <a:lnTo>
                    <a:pt x="713" y="1394"/>
                  </a:lnTo>
                  <a:lnTo>
                    <a:pt x="711" y="1392"/>
                  </a:lnTo>
                  <a:lnTo>
                    <a:pt x="711" y="1392"/>
                  </a:lnTo>
                  <a:lnTo>
                    <a:pt x="711" y="1394"/>
                  </a:lnTo>
                  <a:lnTo>
                    <a:pt x="711" y="1396"/>
                  </a:lnTo>
                  <a:lnTo>
                    <a:pt x="711" y="1396"/>
                  </a:lnTo>
                  <a:lnTo>
                    <a:pt x="709" y="1398"/>
                  </a:lnTo>
                  <a:lnTo>
                    <a:pt x="711" y="1400"/>
                  </a:lnTo>
                  <a:lnTo>
                    <a:pt x="711" y="1400"/>
                  </a:lnTo>
                  <a:lnTo>
                    <a:pt x="711" y="1400"/>
                  </a:lnTo>
                  <a:lnTo>
                    <a:pt x="713" y="1398"/>
                  </a:lnTo>
                  <a:lnTo>
                    <a:pt x="713" y="1400"/>
                  </a:lnTo>
                  <a:lnTo>
                    <a:pt x="713" y="1400"/>
                  </a:lnTo>
                  <a:lnTo>
                    <a:pt x="717" y="1400"/>
                  </a:lnTo>
                  <a:lnTo>
                    <a:pt x="715" y="1401"/>
                  </a:lnTo>
                  <a:lnTo>
                    <a:pt x="713" y="1405"/>
                  </a:lnTo>
                  <a:lnTo>
                    <a:pt x="713" y="1407"/>
                  </a:lnTo>
                  <a:lnTo>
                    <a:pt x="713" y="1410"/>
                  </a:lnTo>
                  <a:lnTo>
                    <a:pt x="713" y="1412"/>
                  </a:lnTo>
                  <a:lnTo>
                    <a:pt x="713" y="1414"/>
                  </a:lnTo>
                  <a:lnTo>
                    <a:pt x="713" y="1414"/>
                  </a:lnTo>
                  <a:lnTo>
                    <a:pt x="715" y="1416"/>
                  </a:lnTo>
                  <a:lnTo>
                    <a:pt x="715" y="1416"/>
                  </a:lnTo>
                  <a:lnTo>
                    <a:pt x="715" y="1416"/>
                  </a:lnTo>
                  <a:lnTo>
                    <a:pt x="715" y="1416"/>
                  </a:lnTo>
                  <a:lnTo>
                    <a:pt x="715" y="1416"/>
                  </a:lnTo>
                  <a:lnTo>
                    <a:pt x="717" y="1416"/>
                  </a:lnTo>
                  <a:close/>
                  <a:moveTo>
                    <a:pt x="724" y="1378"/>
                  </a:moveTo>
                  <a:lnTo>
                    <a:pt x="724" y="1378"/>
                  </a:lnTo>
                  <a:lnTo>
                    <a:pt x="722" y="1378"/>
                  </a:lnTo>
                  <a:lnTo>
                    <a:pt x="722" y="1378"/>
                  </a:lnTo>
                  <a:lnTo>
                    <a:pt x="722" y="1378"/>
                  </a:lnTo>
                  <a:lnTo>
                    <a:pt x="720" y="1380"/>
                  </a:lnTo>
                  <a:lnTo>
                    <a:pt x="720" y="1380"/>
                  </a:lnTo>
                  <a:lnTo>
                    <a:pt x="720" y="1380"/>
                  </a:lnTo>
                  <a:lnTo>
                    <a:pt x="722" y="1382"/>
                  </a:lnTo>
                  <a:lnTo>
                    <a:pt x="720" y="1382"/>
                  </a:lnTo>
                  <a:lnTo>
                    <a:pt x="718" y="1385"/>
                  </a:lnTo>
                  <a:lnTo>
                    <a:pt x="720" y="1385"/>
                  </a:lnTo>
                  <a:lnTo>
                    <a:pt x="720" y="1387"/>
                  </a:lnTo>
                  <a:lnTo>
                    <a:pt x="720" y="1387"/>
                  </a:lnTo>
                  <a:lnTo>
                    <a:pt x="720" y="1389"/>
                  </a:lnTo>
                  <a:lnTo>
                    <a:pt x="720" y="1389"/>
                  </a:lnTo>
                  <a:lnTo>
                    <a:pt x="720" y="1391"/>
                  </a:lnTo>
                  <a:lnTo>
                    <a:pt x="722" y="1394"/>
                  </a:lnTo>
                  <a:lnTo>
                    <a:pt x="722" y="1396"/>
                  </a:lnTo>
                  <a:lnTo>
                    <a:pt x="722" y="1396"/>
                  </a:lnTo>
                  <a:lnTo>
                    <a:pt x="722" y="1398"/>
                  </a:lnTo>
                  <a:lnTo>
                    <a:pt x="724" y="1398"/>
                  </a:lnTo>
                  <a:lnTo>
                    <a:pt x="724" y="1398"/>
                  </a:lnTo>
                  <a:lnTo>
                    <a:pt x="726" y="1398"/>
                  </a:lnTo>
                  <a:lnTo>
                    <a:pt x="726" y="1396"/>
                  </a:lnTo>
                  <a:lnTo>
                    <a:pt x="726" y="1396"/>
                  </a:lnTo>
                  <a:lnTo>
                    <a:pt x="726" y="1396"/>
                  </a:lnTo>
                  <a:lnTo>
                    <a:pt x="727" y="1398"/>
                  </a:lnTo>
                  <a:lnTo>
                    <a:pt x="727" y="1398"/>
                  </a:lnTo>
                  <a:lnTo>
                    <a:pt x="727" y="1398"/>
                  </a:lnTo>
                  <a:lnTo>
                    <a:pt x="726" y="1398"/>
                  </a:lnTo>
                  <a:lnTo>
                    <a:pt x="726" y="1398"/>
                  </a:lnTo>
                  <a:lnTo>
                    <a:pt x="724" y="1398"/>
                  </a:lnTo>
                  <a:lnTo>
                    <a:pt x="726" y="1400"/>
                  </a:lnTo>
                  <a:lnTo>
                    <a:pt x="726" y="1400"/>
                  </a:lnTo>
                  <a:lnTo>
                    <a:pt x="727" y="1400"/>
                  </a:lnTo>
                  <a:lnTo>
                    <a:pt x="731" y="1398"/>
                  </a:lnTo>
                  <a:lnTo>
                    <a:pt x="731" y="1396"/>
                  </a:lnTo>
                  <a:lnTo>
                    <a:pt x="731" y="1394"/>
                  </a:lnTo>
                  <a:lnTo>
                    <a:pt x="731" y="1391"/>
                  </a:lnTo>
                  <a:lnTo>
                    <a:pt x="731" y="1391"/>
                  </a:lnTo>
                  <a:lnTo>
                    <a:pt x="729" y="1387"/>
                  </a:lnTo>
                  <a:lnTo>
                    <a:pt x="729" y="1385"/>
                  </a:lnTo>
                  <a:lnTo>
                    <a:pt x="727" y="1382"/>
                  </a:lnTo>
                  <a:lnTo>
                    <a:pt x="726" y="1380"/>
                  </a:lnTo>
                  <a:lnTo>
                    <a:pt x="724" y="1380"/>
                  </a:lnTo>
                  <a:lnTo>
                    <a:pt x="724" y="1378"/>
                  </a:lnTo>
                  <a:close/>
                  <a:moveTo>
                    <a:pt x="726" y="1376"/>
                  </a:moveTo>
                  <a:lnTo>
                    <a:pt x="726" y="1376"/>
                  </a:lnTo>
                  <a:lnTo>
                    <a:pt x="726" y="1378"/>
                  </a:lnTo>
                  <a:lnTo>
                    <a:pt x="726" y="1380"/>
                  </a:lnTo>
                  <a:lnTo>
                    <a:pt x="727" y="1380"/>
                  </a:lnTo>
                  <a:lnTo>
                    <a:pt x="727" y="1380"/>
                  </a:lnTo>
                  <a:lnTo>
                    <a:pt x="729" y="1382"/>
                  </a:lnTo>
                  <a:lnTo>
                    <a:pt x="729" y="1380"/>
                  </a:lnTo>
                  <a:lnTo>
                    <a:pt x="729" y="1380"/>
                  </a:lnTo>
                  <a:lnTo>
                    <a:pt x="731" y="1380"/>
                  </a:lnTo>
                  <a:lnTo>
                    <a:pt x="731" y="1380"/>
                  </a:lnTo>
                  <a:lnTo>
                    <a:pt x="731" y="1385"/>
                  </a:lnTo>
                  <a:lnTo>
                    <a:pt x="733" y="1385"/>
                  </a:lnTo>
                  <a:lnTo>
                    <a:pt x="733" y="1385"/>
                  </a:lnTo>
                  <a:lnTo>
                    <a:pt x="735" y="1383"/>
                  </a:lnTo>
                  <a:lnTo>
                    <a:pt x="736" y="1383"/>
                  </a:lnTo>
                  <a:lnTo>
                    <a:pt x="738" y="1385"/>
                  </a:lnTo>
                  <a:lnTo>
                    <a:pt x="738" y="1385"/>
                  </a:lnTo>
                  <a:lnTo>
                    <a:pt x="738" y="1382"/>
                  </a:lnTo>
                  <a:lnTo>
                    <a:pt x="736" y="1382"/>
                  </a:lnTo>
                  <a:lnTo>
                    <a:pt x="736" y="1380"/>
                  </a:lnTo>
                  <a:lnTo>
                    <a:pt x="740" y="1376"/>
                  </a:lnTo>
                  <a:lnTo>
                    <a:pt x="740" y="1374"/>
                  </a:lnTo>
                  <a:lnTo>
                    <a:pt x="740" y="1369"/>
                  </a:lnTo>
                  <a:lnTo>
                    <a:pt x="740" y="1367"/>
                  </a:lnTo>
                  <a:lnTo>
                    <a:pt x="738" y="1367"/>
                  </a:lnTo>
                  <a:lnTo>
                    <a:pt x="738" y="1369"/>
                  </a:lnTo>
                  <a:lnTo>
                    <a:pt x="736" y="1369"/>
                  </a:lnTo>
                  <a:lnTo>
                    <a:pt x="736" y="1369"/>
                  </a:lnTo>
                  <a:lnTo>
                    <a:pt x="736" y="1369"/>
                  </a:lnTo>
                  <a:lnTo>
                    <a:pt x="736" y="1369"/>
                  </a:lnTo>
                  <a:lnTo>
                    <a:pt x="736" y="1371"/>
                  </a:lnTo>
                  <a:lnTo>
                    <a:pt x="736" y="1369"/>
                  </a:lnTo>
                  <a:lnTo>
                    <a:pt x="736" y="1369"/>
                  </a:lnTo>
                  <a:lnTo>
                    <a:pt x="735" y="1369"/>
                  </a:lnTo>
                  <a:lnTo>
                    <a:pt x="733" y="1371"/>
                  </a:lnTo>
                  <a:lnTo>
                    <a:pt x="733" y="1371"/>
                  </a:lnTo>
                  <a:lnTo>
                    <a:pt x="731" y="1371"/>
                  </a:lnTo>
                  <a:lnTo>
                    <a:pt x="731" y="1371"/>
                  </a:lnTo>
                  <a:lnTo>
                    <a:pt x="731" y="1371"/>
                  </a:lnTo>
                  <a:lnTo>
                    <a:pt x="731" y="1371"/>
                  </a:lnTo>
                  <a:lnTo>
                    <a:pt x="729" y="1371"/>
                  </a:lnTo>
                  <a:lnTo>
                    <a:pt x="729" y="1371"/>
                  </a:lnTo>
                  <a:lnTo>
                    <a:pt x="729" y="1371"/>
                  </a:lnTo>
                  <a:lnTo>
                    <a:pt x="729" y="1372"/>
                  </a:lnTo>
                  <a:lnTo>
                    <a:pt x="729" y="1372"/>
                  </a:lnTo>
                  <a:lnTo>
                    <a:pt x="729" y="1374"/>
                  </a:lnTo>
                  <a:lnTo>
                    <a:pt x="729" y="1374"/>
                  </a:lnTo>
                  <a:lnTo>
                    <a:pt x="729" y="1376"/>
                  </a:lnTo>
                  <a:lnTo>
                    <a:pt x="726" y="1376"/>
                  </a:lnTo>
                  <a:close/>
                  <a:moveTo>
                    <a:pt x="718" y="1372"/>
                  </a:moveTo>
                  <a:lnTo>
                    <a:pt x="718" y="1372"/>
                  </a:lnTo>
                  <a:lnTo>
                    <a:pt x="718" y="1371"/>
                  </a:lnTo>
                  <a:lnTo>
                    <a:pt x="717" y="1369"/>
                  </a:lnTo>
                  <a:lnTo>
                    <a:pt x="717" y="1369"/>
                  </a:lnTo>
                  <a:lnTo>
                    <a:pt x="717" y="1367"/>
                  </a:lnTo>
                  <a:lnTo>
                    <a:pt x="717" y="1367"/>
                  </a:lnTo>
                  <a:lnTo>
                    <a:pt x="717" y="1367"/>
                  </a:lnTo>
                  <a:lnTo>
                    <a:pt x="717" y="1367"/>
                  </a:lnTo>
                  <a:lnTo>
                    <a:pt x="715" y="1369"/>
                  </a:lnTo>
                  <a:lnTo>
                    <a:pt x="715" y="1371"/>
                  </a:lnTo>
                  <a:lnTo>
                    <a:pt x="715" y="1371"/>
                  </a:lnTo>
                  <a:lnTo>
                    <a:pt x="715" y="1371"/>
                  </a:lnTo>
                  <a:lnTo>
                    <a:pt x="717" y="1372"/>
                  </a:lnTo>
                  <a:lnTo>
                    <a:pt x="717" y="1372"/>
                  </a:lnTo>
                  <a:lnTo>
                    <a:pt x="717" y="1374"/>
                  </a:lnTo>
                  <a:lnTo>
                    <a:pt x="717" y="1374"/>
                  </a:lnTo>
                  <a:lnTo>
                    <a:pt x="718" y="1374"/>
                  </a:lnTo>
                  <a:lnTo>
                    <a:pt x="718" y="1376"/>
                  </a:lnTo>
                  <a:lnTo>
                    <a:pt x="718" y="1374"/>
                  </a:lnTo>
                  <a:lnTo>
                    <a:pt x="718" y="1376"/>
                  </a:lnTo>
                  <a:lnTo>
                    <a:pt x="718" y="1376"/>
                  </a:lnTo>
                  <a:lnTo>
                    <a:pt x="720" y="1376"/>
                  </a:lnTo>
                  <a:lnTo>
                    <a:pt x="720" y="1376"/>
                  </a:lnTo>
                  <a:lnTo>
                    <a:pt x="720" y="1376"/>
                  </a:lnTo>
                  <a:lnTo>
                    <a:pt x="720" y="1374"/>
                  </a:lnTo>
                  <a:lnTo>
                    <a:pt x="722" y="1372"/>
                  </a:lnTo>
                  <a:lnTo>
                    <a:pt x="722" y="1372"/>
                  </a:lnTo>
                  <a:lnTo>
                    <a:pt x="722" y="1371"/>
                  </a:lnTo>
                  <a:lnTo>
                    <a:pt x="722" y="1371"/>
                  </a:lnTo>
                  <a:lnTo>
                    <a:pt x="722" y="1371"/>
                  </a:lnTo>
                  <a:lnTo>
                    <a:pt x="722" y="1369"/>
                  </a:lnTo>
                  <a:lnTo>
                    <a:pt x="720" y="1367"/>
                  </a:lnTo>
                  <a:lnTo>
                    <a:pt x="720" y="1367"/>
                  </a:lnTo>
                  <a:lnTo>
                    <a:pt x="720" y="1367"/>
                  </a:lnTo>
                  <a:lnTo>
                    <a:pt x="720" y="1369"/>
                  </a:lnTo>
                  <a:lnTo>
                    <a:pt x="720" y="1369"/>
                  </a:lnTo>
                  <a:lnTo>
                    <a:pt x="718" y="1367"/>
                  </a:lnTo>
                  <a:lnTo>
                    <a:pt x="718" y="1367"/>
                  </a:lnTo>
                  <a:lnTo>
                    <a:pt x="720" y="1367"/>
                  </a:lnTo>
                  <a:lnTo>
                    <a:pt x="718" y="1365"/>
                  </a:lnTo>
                  <a:lnTo>
                    <a:pt x="718" y="1365"/>
                  </a:lnTo>
                  <a:lnTo>
                    <a:pt x="718" y="1363"/>
                  </a:lnTo>
                  <a:lnTo>
                    <a:pt x="718" y="1363"/>
                  </a:lnTo>
                  <a:lnTo>
                    <a:pt x="717" y="1363"/>
                  </a:lnTo>
                  <a:lnTo>
                    <a:pt x="717" y="1365"/>
                  </a:lnTo>
                  <a:lnTo>
                    <a:pt x="717" y="1367"/>
                  </a:lnTo>
                  <a:lnTo>
                    <a:pt x="718" y="1367"/>
                  </a:lnTo>
                  <a:lnTo>
                    <a:pt x="718" y="1367"/>
                  </a:lnTo>
                  <a:lnTo>
                    <a:pt x="718" y="1367"/>
                  </a:lnTo>
                  <a:lnTo>
                    <a:pt x="718" y="1369"/>
                  </a:lnTo>
                  <a:lnTo>
                    <a:pt x="718" y="1371"/>
                  </a:lnTo>
                  <a:lnTo>
                    <a:pt x="718" y="1371"/>
                  </a:lnTo>
                  <a:lnTo>
                    <a:pt x="718" y="1371"/>
                  </a:lnTo>
                  <a:lnTo>
                    <a:pt x="718" y="1371"/>
                  </a:lnTo>
                  <a:lnTo>
                    <a:pt x="718" y="1371"/>
                  </a:lnTo>
                  <a:lnTo>
                    <a:pt x="718" y="1371"/>
                  </a:lnTo>
                  <a:lnTo>
                    <a:pt x="718" y="1372"/>
                  </a:lnTo>
                  <a:close/>
                  <a:moveTo>
                    <a:pt x="711" y="1356"/>
                  </a:moveTo>
                  <a:lnTo>
                    <a:pt x="713" y="1356"/>
                  </a:lnTo>
                  <a:lnTo>
                    <a:pt x="713" y="1354"/>
                  </a:lnTo>
                  <a:lnTo>
                    <a:pt x="711" y="1353"/>
                  </a:lnTo>
                  <a:lnTo>
                    <a:pt x="711" y="1351"/>
                  </a:lnTo>
                  <a:lnTo>
                    <a:pt x="711" y="1351"/>
                  </a:lnTo>
                  <a:lnTo>
                    <a:pt x="711" y="1349"/>
                  </a:lnTo>
                  <a:lnTo>
                    <a:pt x="709" y="1349"/>
                  </a:lnTo>
                  <a:lnTo>
                    <a:pt x="709" y="1347"/>
                  </a:lnTo>
                  <a:lnTo>
                    <a:pt x="711" y="1347"/>
                  </a:lnTo>
                  <a:lnTo>
                    <a:pt x="711" y="1345"/>
                  </a:lnTo>
                  <a:lnTo>
                    <a:pt x="711" y="1344"/>
                  </a:lnTo>
                  <a:lnTo>
                    <a:pt x="709" y="1342"/>
                  </a:lnTo>
                  <a:lnTo>
                    <a:pt x="708" y="1336"/>
                  </a:lnTo>
                  <a:lnTo>
                    <a:pt x="706" y="1333"/>
                  </a:lnTo>
                  <a:lnTo>
                    <a:pt x="706" y="1331"/>
                  </a:lnTo>
                  <a:lnTo>
                    <a:pt x="706" y="1331"/>
                  </a:lnTo>
                  <a:lnTo>
                    <a:pt x="704" y="1331"/>
                  </a:lnTo>
                  <a:lnTo>
                    <a:pt x="704" y="1333"/>
                  </a:lnTo>
                  <a:lnTo>
                    <a:pt x="704" y="1335"/>
                  </a:lnTo>
                  <a:lnTo>
                    <a:pt x="704" y="1336"/>
                  </a:lnTo>
                  <a:lnTo>
                    <a:pt x="706" y="1336"/>
                  </a:lnTo>
                  <a:lnTo>
                    <a:pt x="706" y="1336"/>
                  </a:lnTo>
                  <a:lnTo>
                    <a:pt x="704" y="1338"/>
                  </a:lnTo>
                  <a:lnTo>
                    <a:pt x="706" y="1340"/>
                  </a:lnTo>
                  <a:lnTo>
                    <a:pt x="706" y="1342"/>
                  </a:lnTo>
                  <a:lnTo>
                    <a:pt x="706" y="1344"/>
                  </a:lnTo>
                  <a:lnTo>
                    <a:pt x="706" y="1344"/>
                  </a:lnTo>
                  <a:lnTo>
                    <a:pt x="708" y="1344"/>
                  </a:lnTo>
                  <a:lnTo>
                    <a:pt x="708" y="1345"/>
                  </a:lnTo>
                  <a:lnTo>
                    <a:pt x="708" y="1344"/>
                  </a:lnTo>
                  <a:lnTo>
                    <a:pt x="708" y="1347"/>
                  </a:lnTo>
                  <a:lnTo>
                    <a:pt x="708" y="1345"/>
                  </a:lnTo>
                  <a:lnTo>
                    <a:pt x="706" y="1345"/>
                  </a:lnTo>
                  <a:lnTo>
                    <a:pt x="704" y="1347"/>
                  </a:lnTo>
                  <a:lnTo>
                    <a:pt x="704" y="1347"/>
                  </a:lnTo>
                  <a:lnTo>
                    <a:pt x="704" y="1349"/>
                  </a:lnTo>
                  <a:lnTo>
                    <a:pt x="704" y="1349"/>
                  </a:lnTo>
                  <a:lnTo>
                    <a:pt x="704" y="1351"/>
                  </a:lnTo>
                  <a:lnTo>
                    <a:pt x="706" y="1353"/>
                  </a:lnTo>
                  <a:lnTo>
                    <a:pt x="708" y="1354"/>
                  </a:lnTo>
                  <a:lnTo>
                    <a:pt x="708" y="1351"/>
                  </a:lnTo>
                  <a:lnTo>
                    <a:pt x="708" y="1353"/>
                  </a:lnTo>
                  <a:lnTo>
                    <a:pt x="709" y="1353"/>
                  </a:lnTo>
                  <a:lnTo>
                    <a:pt x="709" y="1354"/>
                  </a:lnTo>
                  <a:lnTo>
                    <a:pt x="709" y="1356"/>
                  </a:lnTo>
                  <a:lnTo>
                    <a:pt x="709" y="1356"/>
                  </a:lnTo>
                  <a:lnTo>
                    <a:pt x="711" y="1356"/>
                  </a:lnTo>
                  <a:lnTo>
                    <a:pt x="711" y="1356"/>
                  </a:lnTo>
                  <a:close/>
                  <a:moveTo>
                    <a:pt x="713" y="1333"/>
                  </a:moveTo>
                  <a:lnTo>
                    <a:pt x="713" y="1335"/>
                  </a:lnTo>
                  <a:lnTo>
                    <a:pt x="713" y="1335"/>
                  </a:lnTo>
                  <a:lnTo>
                    <a:pt x="713" y="1335"/>
                  </a:lnTo>
                  <a:lnTo>
                    <a:pt x="717" y="1335"/>
                  </a:lnTo>
                  <a:lnTo>
                    <a:pt x="717" y="1333"/>
                  </a:lnTo>
                  <a:lnTo>
                    <a:pt x="717" y="1331"/>
                  </a:lnTo>
                  <a:lnTo>
                    <a:pt x="717" y="1329"/>
                  </a:lnTo>
                  <a:lnTo>
                    <a:pt x="715" y="1326"/>
                  </a:lnTo>
                  <a:lnTo>
                    <a:pt x="708" y="1324"/>
                  </a:lnTo>
                  <a:lnTo>
                    <a:pt x="706" y="1320"/>
                  </a:lnTo>
                  <a:lnTo>
                    <a:pt x="706" y="1320"/>
                  </a:lnTo>
                  <a:lnTo>
                    <a:pt x="706" y="1320"/>
                  </a:lnTo>
                  <a:lnTo>
                    <a:pt x="704" y="1320"/>
                  </a:lnTo>
                  <a:lnTo>
                    <a:pt x="706" y="1324"/>
                  </a:lnTo>
                  <a:lnTo>
                    <a:pt x="706" y="1326"/>
                  </a:lnTo>
                  <a:lnTo>
                    <a:pt x="708" y="1326"/>
                  </a:lnTo>
                  <a:lnTo>
                    <a:pt x="708" y="1326"/>
                  </a:lnTo>
                  <a:lnTo>
                    <a:pt x="708" y="1326"/>
                  </a:lnTo>
                  <a:lnTo>
                    <a:pt x="709" y="1326"/>
                  </a:lnTo>
                  <a:lnTo>
                    <a:pt x="709" y="1326"/>
                  </a:lnTo>
                  <a:lnTo>
                    <a:pt x="709" y="1326"/>
                  </a:lnTo>
                  <a:lnTo>
                    <a:pt x="709" y="1327"/>
                  </a:lnTo>
                  <a:lnTo>
                    <a:pt x="709" y="1327"/>
                  </a:lnTo>
                  <a:lnTo>
                    <a:pt x="711" y="1327"/>
                  </a:lnTo>
                  <a:lnTo>
                    <a:pt x="711" y="1329"/>
                  </a:lnTo>
                  <a:lnTo>
                    <a:pt x="711" y="1329"/>
                  </a:lnTo>
                  <a:lnTo>
                    <a:pt x="709" y="1329"/>
                  </a:lnTo>
                  <a:lnTo>
                    <a:pt x="709" y="1329"/>
                  </a:lnTo>
                  <a:lnTo>
                    <a:pt x="711" y="1329"/>
                  </a:lnTo>
                  <a:lnTo>
                    <a:pt x="713" y="1331"/>
                  </a:lnTo>
                  <a:lnTo>
                    <a:pt x="713" y="1333"/>
                  </a:lnTo>
                  <a:lnTo>
                    <a:pt x="713" y="1333"/>
                  </a:lnTo>
                  <a:close/>
                  <a:moveTo>
                    <a:pt x="699" y="1313"/>
                  </a:moveTo>
                  <a:lnTo>
                    <a:pt x="699" y="1313"/>
                  </a:lnTo>
                  <a:lnTo>
                    <a:pt x="699" y="1313"/>
                  </a:lnTo>
                  <a:lnTo>
                    <a:pt x="699" y="1313"/>
                  </a:lnTo>
                  <a:lnTo>
                    <a:pt x="699" y="1311"/>
                  </a:lnTo>
                  <a:lnTo>
                    <a:pt x="699" y="1311"/>
                  </a:lnTo>
                  <a:lnTo>
                    <a:pt x="699" y="1311"/>
                  </a:lnTo>
                  <a:lnTo>
                    <a:pt x="699" y="1311"/>
                  </a:lnTo>
                  <a:lnTo>
                    <a:pt x="699" y="1309"/>
                  </a:lnTo>
                  <a:lnTo>
                    <a:pt x="699" y="1309"/>
                  </a:lnTo>
                  <a:lnTo>
                    <a:pt x="697" y="1309"/>
                  </a:lnTo>
                  <a:lnTo>
                    <a:pt x="697" y="1309"/>
                  </a:lnTo>
                  <a:lnTo>
                    <a:pt x="697" y="1309"/>
                  </a:lnTo>
                  <a:lnTo>
                    <a:pt x="697" y="1309"/>
                  </a:lnTo>
                  <a:lnTo>
                    <a:pt x="697" y="1311"/>
                  </a:lnTo>
                  <a:lnTo>
                    <a:pt x="697" y="1311"/>
                  </a:lnTo>
                  <a:lnTo>
                    <a:pt x="697" y="1311"/>
                  </a:lnTo>
                  <a:lnTo>
                    <a:pt x="697" y="1313"/>
                  </a:lnTo>
                  <a:lnTo>
                    <a:pt x="697" y="1313"/>
                  </a:lnTo>
                  <a:lnTo>
                    <a:pt x="697" y="1313"/>
                  </a:lnTo>
                  <a:lnTo>
                    <a:pt x="697" y="1315"/>
                  </a:lnTo>
                  <a:lnTo>
                    <a:pt x="697" y="1315"/>
                  </a:lnTo>
                  <a:lnTo>
                    <a:pt x="697" y="1313"/>
                  </a:lnTo>
                  <a:lnTo>
                    <a:pt x="697" y="1315"/>
                  </a:lnTo>
                  <a:lnTo>
                    <a:pt x="697" y="1315"/>
                  </a:lnTo>
                  <a:lnTo>
                    <a:pt x="697" y="1315"/>
                  </a:lnTo>
                  <a:lnTo>
                    <a:pt x="695" y="1315"/>
                  </a:lnTo>
                  <a:lnTo>
                    <a:pt x="695" y="1316"/>
                  </a:lnTo>
                  <a:lnTo>
                    <a:pt x="697" y="1316"/>
                  </a:lnTo>
                  <a:lnTo>
                    <a:pt x="699" y="1316"/>
                  </a:lnTo>
                  <a:lnTo>
                    <a:pt x="699" y="1316"/>
                  </a:lnTo>
                  <a:lnTo>
                    <a:pt x="699" y="1316"/>
                  </a:lnTo>
                  <a:lnTo>
                    <a:pt x="699" y="1315"/>
                  </a:lnTo>
                  <a:lnTo>
                    <a:pt x="699" y="1315"/>
                  </a:lnTo>
                  <a:lnTo>
                    <a:pt x="699" y="1315"/>
                  </a:lnTo>
                  <a:lnTo>
                    <a:pt x="699" y="1313"/>
                  </a:lnTo>
                  <a:lnTo>
                    <a:pt x="699" y="1313"/>
                  </a:lnTo>
                  <a:close/>
                  <a:moveTo>
                    <a:pt x="742" y="1315"/>
                  </a:moveTo>
                  <a:lnTo>
                    <a:pt x="742" y="1307"/>
                  </a:lnTo>
                  <a:lnTo>
                    <a:pt x="740" y="1306"/>
                  </a:lnTo>
                  <a:lnTo>
                    <a:pt x="738" y="1306"/>
                  </a:lnTo>
                  <a:lnTo>
                    <a:pt x="736" y="1306"/>
                  </a:lnTo>
                  <a:lnTo>
                    <a:pt x="736" y="1307"/>
                  </a:lnTo>
                  <a:lnTo>
                    <a:pt x="736" y="1309"/>
                  </a:lnTo>
                  <a:lnTo>
                    <a:pt x="736" y="1311"/>
                  </a:lnTo>
                  <a:lnTo>
                    <a:pt x="736" y="1313"/>
                  </a:lnTo>
                  <a:lnTo>
                    <a:pt x="735" y="1313"/>
                  </a:lnTo>
                  <a:lnTo>
                    <a:pt x="735" y="1313"/>
                  </a:lnTo>
                  <a:lnTo>
                    <a:pt x="733" y="1315"/>
                  </a:lnTo>
                  <a:lnTo>
                    <a:pt x="731" y="1316"/>
                  </a:lnTo>
                  <a:lnTo>
                    <a:pt x="729" y="1318"/>
                  </a:lnTo>
                  <a:lnTo>
                    <a:pt x="727" y="1318"/>
                  </a:lnTo>
                  <a:lnTo>
                    <a:pt x="727" y="1318"/>
                  </a:lnTo>
                  <a:lnTo>
                    <a:pt x="727" y="1320"/>
                  </a:lnTo>
                  <a:lnTo>
                    <a:pt x="726" y="1320"/>
                  </a:lnTo>
                  <a:lnTo>
                    <a:pt x="724" y="1320"/>
                  </a:lnTo>
                  <a:lnTo>
                    <a:pt x="722" y="1320"/>
                  </a:lnTo>
                  <a:lnTo>
                    <a:pt x="726" y="1324"/>
                  </a:lnTo>
                  <a:lnTo>
                    <a:pt x="729" y="1327"/>
                  </a:lnTo>
                  <a:lnTo>
                    <a:pt x="729" y="1329"/>
                  </a:lnTo>
                  <a:lnTo>
                    <a:pt x="729" y="1329"/>
                  </a:lnTo>
                  <a:lnTo>
                    <a:pt x="731" y="1331"/>
                  </a:lnTo>
                  <a:lnTo>
                    <a:pt x="731" y="1333"/>
                  </a:lnTo>
                  <a:lnTo>
                    <a:pt x="733" y="1333"/>
                  </a:lnTo>
                  <a:lnTo>
                    <a:pt x="736" y="1331"/>
                  </a:lnTo>
                  <a:lnTo>
                    <a:pt x="736" y="1331"/>
                  </a:lnTo>
                  <a:lnTo>
                    <a:pt x="738" y="1329"/>
                  </a:lnTo>
                  <a:lnTo>
                    <a:pt x="738" y="1329"/>
                  </a:lnTo>
                  <a:lnTo>
                    <a:pt x="738" y="1329"/>
                  </a:lnTo>
                  <a:lnTo>
                    <a:pt x="740" y="1329"/>
                  </a:lnTo>
                  <a:lnTo>
                    <a:pt x="740" y="1327"/>
                  </a:lnTo>
                  <a:lnTo>
                    <a:pt x="740" y="1327"/>
                  </a:lnTo>
                  <a:lnTo>
                    <a:pt x="740" y="1322"/>
                  </a:lnTo>
                  <a:lnTo>
                    <a:pt x="740" y="1320"/>
                  </a:lnTo>
                  <a:lnTo>
                    <a:pt x="740" y="1316"/>
                  </a:lnTo>
                  <a:lnTo>
                    <a:pt x="742" y="1315"/>
                  </a:lnTo>
                  <a:close/>
                  <a:moveTo>
                    <a:pt x="704" y="1289"/>
                  </a:moveTo>
                  <a:lnTo>
                    <a:pt x="702" y="1288"/>
                  </a:lnTo>
                  <a:lnTo>
                    <a:pt x="702" y="1288"/>
                  </a:lnTo>
                  <a:lnTo>
                    <a:pt x="702" y="1288"/>
                  </a:lnTo>
                  <a:lnTo>
                    <a:pt x="702" y="1288"/>
                  </a:lnTo>
                  <a:lnTo>
                    <a:pt x="702" y="1288"/>
                  </a:lnTo>
                  <a:lnTo>
                    <a:pt x="702" y="1284"/>
                  </a:lnTo>
                  <a:lnTo>
                    <a:pt x="700" y="1284"/>
                  </a:lnTo>
                  <a:lnTo>
                    <a:pt x="700" y="1282"/>
                  </a:lnTo>
                  <a:lnTo>
                    <a:pt x="700" y="1282"/>
                  </a:lnTo>
                  <a:lnTo>
                    <a:pt x="700" y="1282"/>
                  </a:lnTo>
                  <a:lnTo>
                    <a:pt x="700" y="1282"/>
                  </a:lnTo>
                  <a:lnTo>
                    <a:pt x="700" y="1282"/>
                  </a:lnTo>
                  <a:lnTo>
                    <a:pt x="700" y="1280"/>
                  </a:lnTo>
                  <a:lnTo>
                    <a:pt x="699" y="1280"/>
                  </a:lnTo>
                  <a:lnTo>
                    <a:pt x="699" y="1282"/>
                  </a:lnTo>
                  <a:lnTo>
                    <a:pt x="699" y="1282"/>
                  </a:lnTo>
                  <a:lnTo>
                    <a:pt x="699" y="1280"/>
                  </a:lnTo>
                  <a:lnTo>
                    <a:pt x="699" y="1280"/>
                  </a:lnTo>
                  <a:lnTo>
                    <a:pt x="699" y="1280"/>
                  </a:lnTo>
                  <a:lnTo>
                    <a:pt x="697" y="1280"/>
                  </a:lnTo>
                  <a:lnTo>
                    <a:pt x="695" y="1280"/>
                  </a:lnTo>
                  <a:lnTo>
                    <a:pt x="695" y="1282"/>
                  </a:lnTo>
                  <a:lnTo>
                    <a:pt x="695" y="1282"/>
                  </a:lnTo>
                  <a:lnTo>
                    <a:pt x="695" y="1282"/>
                  </a:lnTo>
                  <a:lnTo>
                    <a:pt x="695" y="1282"/>
                  </a:lnTo>
                  <a:lnTo>
                    <a:pt x="695" y="1282"/>
                  </a:lnTo>
                  <a:lnTo>
                    <a:pt x="697" y="1282"/>
                  </a:lnTo>
                  <a:lnTo>
                    <a:pt x="697" y="1282"/>
                  </a:lnTo>
                  <a:lnTo>
                    <a:pt x="697" y="1284"/>
                  </a:lnTo>
                  <a:lnTo>
                    <a:pt x="697" y="1284"/>
                  </a:lnTo>
                  <a:lnTo>
                    <a:pt x="699" y="1282"/>
                  </a:lnTo>
                  <a:lnTo>
                    <a:pt x="699" y="1282"/>
                  </a:lnTo>
                  <a:lnTo>
                    <a:pt x="699" y="1284"/>
                  </a:lnTo>
                  <a:lnTo>
                    <a:pt x="699" y="1284"/>
                  </a:lnTo>
                  <a:lnTo>
                    <a:pt x="699" y="1284"/>
                  </a:lnTo>
                  <a:lnTo>
                    <a:pt x="699" y="1286"/>
                  </a:lnTo>
                  <a:lnTo>
                    <a:pt x="699" y="1286"/>
                  </a:lnTo>
                  <a:lnTo>
                    <a:pt x="700" y="1286"/>
                  </a:lnTo>
                  <a:lnTo>
                    <a:pt x="700" y="1286"/>
                  </a:lnTo>
                  <a:lnTo>
                    <a:pt x="700" y="1286"/>
                  </a:lnTo>
                  <a:lnTo>
                    <a:pt x="700" y="1286"/>
                  </a:lnTo>
                  <a:lnTo>
                    <a:pt x="700" y="1288"/>
                  </a:lnTo>
                  <a:lnTo>
                    <a:pt x="700" y="1288"/>
                  </a:lnTo>
                  <a:lnTo>
                    <a:pt x="702" y="1289"/>
                  </a:lnTo>
                  <a:lnTo>
                    <a:pt x="702" y="1289"/>
                  </a:lnTo>
                  <a:lnTo>
                    <a:pt x="702" y="1289"/>
                  </a:lnTo>
                  <a:lnTo>
                    <a:pt x="704" y="1289"/>
                  </a:lnTo>
                  <a:lnTo>
                    <a:pt x="704" y="1289"/>
                  </a:lnTo>
                  <a:close/>
                  <a:moveTo>
                    <a:pt x="693" y="1270"/>
                  </a:moveTo>
                  <a:lnTo>
                    <a:pt x="691" y="1270"/>
                  </a:lnTo>
                  <a:lnTo>
                    <a:pt x="693" y="1268"/>
                  </a:lnTo>
                  <a:lnTo>
                    <a:pt x="693" y="1268"/>
                  </a:lnTo>
                  <a:lnTo>
                    <a:pt x="691" y="1268"/>
                  </a:lnTo>
                  <a:lnTo>
                    <a:pt x="691" y="1266"/>
                  </a:lnTo>
                  <a:lnTo>
                    <a:pt x="691" y="1266"/>
                  </a:lnTo>
                  <a:lnTo>
                    <a:pt x="691" y="1266"/>
                  </a:lnTo>
                  <a:lnTo>
                    <a:pt x="691" y="1266"/>
                  </a:lnTo>
                  <a:lnTo>
                    <a:pt x="689" y="1266"/>
                  </a:lnTo>
                  <a:lnTo>
                    <a:pt x="689" y="1268"/>
                  </a:lnTo>
                  <a:lnTo>
                    <a:pt x="689" y="1268"/>
                  </a:lnTo>
                  <a:lnTo>
                    <a:pt x="689" y="1268"/>
                  </a:lnTo>
                  <a:lnTo>
                    <a:pt x="689" y="1268"/>
                  </a:lnTo>
                  <a:lnTo>
                    <a:pt x="689" y="1268"/>
                  </a:lnTo>
                  <a:lnTo>
                    <a:pt x="689" y="1270"/>
                  </a:lnTo>
                  <a:lnTo>
                    <a:pt x="689" y="1270"/>
                  </a:lnTo>
                  <a:lnTo>
                    <a:pt x="689" y="1270"/>
                  </a:lnTo>
                  <a:lnTo>
                    <a:pt x="689" y="1271"/>
                  </a:lnTo>
                  <a:lnTo>
                    <a:pt x="689" y="1271"/>
                  </a:lnTo>
                  <a:lnTo>
                    <a:pt x="689" y="1273"/>
                  </a:lnTo>
                  <a:lnTo>
                    <a:pt x="689" y="1273"/>
                  </a:lnTo>
                  <a:lnTo>
                    <a:pt x="689" y="1273"/>
                  </a:lnTo>
                  <a:lnTo>
                    <a:pt x="689" y="1273"/>
                  </a:lnTo>
                  <a:lnTo>
                    <a:pt x="691" y="1275"/>
                  </a:lnTo>
                  <a:lnTo>
                    <a:pt x="691" y="1275"/>
                  </a:lnTo>
                  <a:lnTo>
                    <a:pt x="691" y="1275"/>
                  </a:lnTo>
                  <a:lnTo>
                    <a:pt x="691" y="1273"/>
                  </a:lnTo>
                  <a:lnTo>
                    <a:pt x="691" y="1273"/>
                  </a:lnTo>
                  <a:lnTo>
                    <a:pt x="691" y="1273"/>
                  </a:lnTo>
                  <a:lnTo>
                    <a:pt x="691" y="1273"/>
                  </a:lnTo>
                  <a:lnTo>
                    <a:pt x="691" y="1275"/>
                  </a:lnTo>
                  <a:lnTo>
                    <a:pt x="691" y="1275"/>
                  </a:lnTo>
                  <a:lnTo>
                    <a:pt x="691" y="1275"/>
                  </a:lnTo>
                  <a:lnTo>
                    <a:pt x="693" y="1275"/>
                  </a:lnTo>
                  <a:lnTo>
                    <a:pt x="693" y="1275"/>
                  </a:lnTo>
                  <a:lnTo>
                    <a:pt x="693" y="1273"/>
                  </a:lnTo>
                  <a:lnTo>
                    <a:pt x="693" y="1271"/>
                  </a:lnTo>
                  <a:lnTo>
                    <a:pt x="693" y="1271"/>
                  </a:lnTo>
                  <a:lnTo>
                    <a:pt x="693" y="1270"/>
                  </a:lnTo>
                  <a:close/>
                  <a:moveTo>
                    <a:pt x="697" y="1261"/>
                  </a:moveTo>
                  <a:lnTo>
                    <a:pt x="697" y="1262"/>
                  </a:lnTo>
                  <a:lnTo>
                    <a:pt x="697" y="1266"/>
                  </a:lnTo>
                  <a:lnTo>
                    <a:pt x="697" y="1268"/>
                  </a:lnTo>
                  <a:lnTo>
                    <a:pt x="697" y="1270"/>
                  </a:lnTo>
                  <a:lnTo>
                    <a:pt x="697" y="1270"/>
                  </a:lnTo>
                  <a:lnTo>
                    <a:pt x="697" y="1268"/>
                  </a:lnTo>
                  <a:lnTo>
                    <a:pt x="697" y="1268"/>
                  </a:lnTo>
                  <a:lnTo>
                    <a:pt x="699" y="1266"/>
                  </a:lnTo>
                  <a:lnTo>
                    <a:pt x="699" y="1266"/>
                  </a:lnTo>
                  <a:lnTo>
                    <a:pt x="699" y="1264"/>
                  </a:lnTo>
                  <a:lnTo>
                    <a:pt x="700" y="1264"/>
                  </a:lnTo>
                  <a:lnTo>
                    <a:pt x="700" y="1266"/>
                  </a:lnTo>
                  <a:lnTo>
                    <a:pt x="700" y="1268"/>
                  </a:lnTo>
                  <a:lnTo>
                    <a:pt x="702" y="1268"/>
                  </a:lnTo>
                  <a:lnTo>
                    <a:pt x="702" y="1268"/>
                  </a:lnTo>
                  <a:lnTo>
                    <a:pt x="702" y="1266"/>
                  </a:lnTo>
                  <a:lnTo>
                    <a:pt x="706" y="1264"/>
                  </a:lnTo>
                  <a:lnTo>
                    <a:pt x="706" y="1264"/>
                  </a:lnTo>
                  <a:lnTo>
                    <a:pt x="706" y="1262"/>
                  </a:lnTo>
                  <a:lnTo>
                    <a:pt x="704" y="1255"/>
                  </a:lnTo>
                  <a:lnTo>
                    <a:pt x="704" y="1255"/>
                  </a:lnTo>
                  <a:lnTo>
                    <a:pt x="704" y="1255"/>
                  </a:lnTo>
                  <a:lnTo>
                    <a:pt x="704" y="1255"/>
                  </a:lnTo>
                  <a:lnTo>
                    <a:pt x="702" y="1255"/>
                  </a:lnTo>
                  <a:lnTo>
                    <a:pt x="702" y="1255"/>
                  </a:lnTo>
                  <a:lnTo>
                    <a:pt x="704" y="1255"/>
                  </a:lnTo>
                  <a:lnTo>
                    <a:pt x="704" y="1255"/>
                  </a:lnTo>
                  <a:lnTo>
                    <a:pt x="702" y="1257"/>
                  </a:lnTo>
                  <a:lnTo>
                    <a:pt x="702" y="1257"/>
                  </a:lnTo>
                  <a:lnTo>
                    <a:pt x="702" y="1257"/>
                  </a:lnTo>
                  <a:lnTo>
                    <a:pt x="702" y="1257"/>
                  </a:lnTo>
                  <a:lnTo>
                    <a:pt x="702" y="1257"/>
                  </a:lnTo>
                  <a:lnTo>
                    <a:pt x="702" y="1259"/>
                  </a:lnTo>
                  <a:lnTo>
                    <a:pt x="702" y="1259"/>
                  </a:lnTo>
                  <a:lnTo>
                    <a:pt x="702" y="1261"/>
                  </a:lnTo>
                  <a:lnTo>
                    <a:pt x="702" y="1261"/>
                  </a:lnTo>
                  <a:lnTo>
                    <a:pt x="700" y="1259"/>
                  </a:lnTo>
                  <a:lnTo>
                    <a:pt x="700" y="1257"/>
                  </a:lnTo>
                  <a:lnTo>
                    <a:pt x="700" y="1255"/>
                  </a:lnTo>
                  <a:lnTo>
                    <a:pt x="700" y="1253"/>
                  </a:lnTo>
                  <a:lnTo>
                    <a:pt x="699" y="1253"/>
                  </a:lnTo>
                  <a:lnTo>
                    <a:pt x="700" y="1259"/>
                  </a:lnTo>
                  <a:lnTo>
                    <a:pt x="700" y="1261"/>
                  </a:lnTo>
                  <a:lnTo>
                    <a:pt x="700" y="1262"/>
                  </a:lnTo>
                  <a:lnTo>
                    <a:pt x="699" y="1261"/>
                  </a:lnTo>
                  <a:lnTo>
                    <a:pt x="699" y="1257"/>
                  </a:lnTo>
                  <a:lnTo>
                    <a:pt x="697" y="1259"/>
                  </a:lnTo>
                  <a:lnTo>
                    <a:pt x="697" y="1259"/>
                  </a:lnTo>
                  <a:lnTo>
                    <a:pt x="697" y="1259"/>
                  </a:lnTo>
                  <a:lnTo>
                    <a:pt x="697" y="1261"/>
                  </a:lnTo>
                  <a:lnTo>
                    <a:pt x="697" y="1261"/>
                  </a:lnTo>
                  <a:close/>
                  <a:moveTo>
                    <a:pt x="700" y="1199"/>
                  </a:moveTo>
                  <a:lnTo>
                    <a:pt x="700" y="1201"/>
                  </a:lnTo>
                  <a:lnTo>
                    <a:pt x="700" y="1201"/>
                  </a:lnTo>
                  <a:lnTo>
                    <a:pt x="699" y="1201"/>
                  </a:lnTo>
                  <a:lnTo>
                    <a:pt x="699" y="1201"/>
                  </a:lnTo>
                  <a:lnTo>
                    <a:pt x="699" y="1201"/>
                  </a:lnTo>
                  <a:lnTo>
                    <a:pt x="699" y="1203"/>
                  </a:lnTo>
                  <a:lnTo>
                    <a:pt x="699" y="1203"/>
                  </a:lnTo>
                  <a:lnTo>
                    <a:pt x="699" y="1205"/>
                  </a:lnTo>
                  <a:lnTo>
                    <a:pt x="699" y="1205"/>
                  </a:lnTo>
                  <a:lnTo>
                    <a:pt x="699" y="1205"/>
                  </a:lnTo>
                  <a:lnTo>
                    <a:pt x="699" y="1205"/>
                  </a:lnTo>
                  <a:lnTo>
                    <a:pt x="700" y="1205"/>
                  </a:lnTo>
                  <a:lnTo>
                    <a:pt x="700" y="1206"/>
                  </a:lnTo>
                  <a:lnTo>
                    <a:pt x="700" y="1205"/>
                  </a:lnTo>
                  <a:lnTo>
                    <a:pt x="700" y="1205"/>
                  </a:lnTo>
                  <a:lnTo>
                    <a:pt x="702" y="1206"/>
                  </a:lnTo>
                  <a:lnTo>
                    <a:pt x="702" y="1206"/>
                  </a:lnTo>
                  <a:lnTo>
                    <a:pt x="702" y="1206"/>
                  </a:lnTo>
                  <a:lnTo>
                    <a:pt x="702" y="1206"/>
                  </a:lnTo>
                  <a:lnTo>
                    <a:pt x="702" y="1205"/>
                  </a:lnTo>
                  <a:lnTo>
                    <a:pt x="702" y="1203"/>
                  </a:lnTo>
                  <a:lnTo>
                    <a:pt x="700" y="1203"/>
                  </a:lnTo>
                  <a:lnTo>
                    <a:pt x="700" y="1201"/>
                  </a:lnTo>
                  <a:lnTo>
                    <a:pt x="700" y="1201"/>
                  </a:lnTo>
                  <a:lnTo>
                    <a:pt x="700" y="1201"/>
                  </a:lnTo>
                  <a:lnTo>
                    <a:pt x="700" y="1199"/>
                  </a:lnTo>
                  <a:close/>
                  <a:moveTo>
                    <a:pt x="702" y="1188"/>
                  </a:moveTo>
                  <a:lnTo>
                    <a:pt x="702" y="1188"/>
                  </a:lnTo>
                  <a:lnTo>
                    <a:pt x="702" y="1188"/>
                  </a:lnTo>
                  <a:lnTo>
                    <a:pt x="702" y="1190"/>
                  </a:lnTo>
                  <a:lnTo>
                    <a:pt x="702" y="1190"/>
                  </a:lnTo>
                  <a:lnTo>
                    <a:pt x="700" y="1190"/>
                  </a:lnTo>
                  <a:lnTo>
                    <a:pt x="700" y="1190"/>
                  </a:lnTo>
                  <a:lnTo>
                    <a:pt x="700" y="1190"/>
                  </a:lnTo>
                  <a:lnTo>
                    <a:pt x="700" y="1192"/>
                  </a:lnTo>
                  <a:lnTo>
                    <a:pt x="702" y="1194"/>
                  </a:lnTo>
                  <a:lnTo>
                    <a:pt x="708" y="1192"/>
                  </a:lnTo>
                  <a:lnTo>
                    <a:pt x="709" y="1190"/>
                  </a:lnTo>
                  <a:lnTo>
                    <a:pt x="711" y="1188"/>
                  </a:lnTo>
                  <a:lnTo>
                    <a:pt x="713" y="1185"/>
                  </a:lnTo>
                  <a:lnTo>
                    <a:pt x="713" y="1186"/>
                  </a:lnTo>
                  <a:lnTo>
                    <a:pt x="713" y="1186"/>
                  </a:lnTo>
                  <a:lnTo>
                    <a:pt x="713" y="1188"/>
                  </a:lnTo>
                  <a:lnTo>
                    <a:pt x="713" y="1188"/>
                  </a:lnTo>
                  <a:lnTo>
                    <a:pt x="715" y="1188"/>
                  </a:lnTo>
                  <a:lnTo>
                    <a:pt x="717" y="1186"/>
                  </a:lnTo>
                  <a:lnTo>
                    <a:pt x="718" y="1186"/>
                  </a:lnTo>
                  <a:lnTo>
                    <a:pt x="704" y="1181"/>
                  </a:lnTo>
                  <a:lnTo>
                    <a:pt x="702" y="1181"/>
                  </a:lnTo>
                  <a:lnTo>
                    <a:pt x="700" y="1181"/>
                  </a:lnTo>
                  <a:lnTo>
                    <a:pt x="700" y="1183"/>
                  </a:lnTo>
                  <a:lnTo>
                    <a:pt x="699" y="1185"/>
                  </a:lnTo>
                  <a:lnTo>
                    <a:pt x="699" y="1185"/>
                  </a:lnTo>
                  <a:lnTo>
                    <a:pt x="697" y="1186"/>
                  </a:lnTo>
                  <a:lnTo>
                    <a:pt x="699" y="1186"/>
                  </a:lnTo>
                  <a:lnTo>
                    <a:pt x="702" y="1188"/>
                  </a:lnTo>
                  <a:close/>
                  <a:moveTo>
                    <a:pt x="706" y="1168"/>
                  </a:moveTo>
                  <a:lnTo>
                    <a:pt x="706" y="1168"/>
                  </a:lnTo>
                  <a:lnTo>
                    <a:pt x="706" y="1170"/>
                  </a:lnTo>
                  <a:lnTo>
                    <a:pt x="709" y="1172"/>
                  </a:lnTo>
                  <a:lnTo>
                    <a:pt x="709" y="1174"/>
                  </a:lnTo>
                  <a:lnTo>
                    <a:pt x="709" y="1174"/>
                  </a:lnTo>
                  <a:lnTo>
                    <a:pt x="709" y="1174"/>
                  </a:lnTo>
                  <a:lnTo>
                    <a:pt x="708" y="1174"/>
                  </a:lnTo>
                  <a:lnTo>
                    <a:pt x="708" y="1174"/>
                  </a:lnTo>
                  <a:lnTo>
                    <a:pt x="708" y="1174"/>
                  </a:lnTo>
                  <a:lnTo>
                    <a:pt x="708" y="1176"/>
                  </a:lnTo>
                  <a:lnTo>
                    <a:pt x="708" y="1176"/>
                  </a:lnTo>
                  <a:lnTo>
                    <a:pt x="708" y="1176"/>
                  </a:lnTo>
                  <a:lnTo>
                    <a:pt x="709" y="1176"/>
                  </a:lnTo>
                  <a:lnTo>
                    <a:pt x="711" y="1177"/>
                  </a:lnTo>
                  <a:lnTo>
                    <a:pt x="711" y="1177"/>
                  </a:lnTo>
                  <a:lnTo>
                    <a:pt x="713" y="1176"/>
                  </a:lnTo>
                  <a:lnTo>
                    <a:pt x="713" y="1176"/>
                  </a:lnTo>
                  <a:lnTo>
                    <a:pt x="713" y="1174"/>
                  </a:lnTo>
                  <a:lnTo>
                    <a:pt x="713" y="1174"/>
                  </a:lnTo>
                  <a:lnTo>
                    <a:pt x="713" y="1172"/>
                  </a:lnTo>
                  <a:lnTo>
                    <a:pt x="715" y="1170"/>
                  </a:lnTo>
                  <a:lnTo>
                    <a:pt x="715" y="1170"/>
                  </a:lnTo>
                  <a:lnTo>
                    <a:pt x="713" y="1167"/>
                  </a:lnTo>
                  <a:lnTo>
                    <a:pt x="713" y="1167"/>
                  </a:lnTo>
                  <a:lnTo>
                    <a:pt x="711" y="1167"/>
                  </a:lnTo>
                  <a:lnTo>
                    <a:pt x="711" y="1168"/>
                  </a:lnTo>
                  <a:lnTo>
                    <a:pt x="711" y="1168"/>
                  </a:lnTo>
                  <a:lnTo>
                    <a:pt x="711" y="1168"/>
                  </a:lnTo>
                  <a:lnTo>
                    <a:pt x="709" y="1168"/>
                  </a:lnTo>
                  <a:lnTo>
                    <a:pt x="708" y="1167"/>
                  </a:lnTo>
                  <a:lnTo>
                    <a:pt x="706" y="1167"/>
                  </a:lnTo>
                  <a:lnTo>
                    <a:pt x="706" y="1167"/>
                  </a:lnTo>
                  <a:lnTo>
                    <a:pt x="706" y="1167"/>
                  </a:lnTo>
                  <a:lnTo>
                    <a:pt x="706" y="1168"/>
                  </a:lnTo>
                  <a:lnTo>
                    <a:pt x="706" y="1168"/>
                  </a:lnTo>
                  <a:close/>
                  <a:moveTo>
                    <a:pt x="733" y="1147"/>
                  </a:moveTo>
                  <a:lnTo>
                    <a:pt x="733" y="1149"/>
                  </a:lnTo>
                  <a:lnTo>
                    <a:pt x="733" y="1149"/>
                  </a:lnTo>
                  <a:lnTo>
                    <a:pt x="733" y="1149"/>
                  </a:lnTo>
                  <a:lnTo>
                    <a:pt x="735" y="1149"/>
                  </a:lnTo>
                  <a:lnTo>
                    <a:pt x="742" y="1149"/>
                  </a:lnTo>
                  <a:lnTo>
                    <a:pt x="745" y="1147"/>
                  </a:lnTo>
                  <a:lnTo>
                    <a:pt x="745" y="1147"/>
                  </a:lnTo>
                  <a:lnTo>
                    <a:pt x="745" y="1147"/>
                  </a:lnTo>
                  <a:lnTo>
                    <a:pt x="747" y="1145"/>
                  </a:lnTo>
                  <a:lnTo>
                    <a:pt x="747" y="1145"/>
                  </a:lnTo>
                  <a:lnTo>
                    <a:pt x="745" y="1145"/>
                  </a:lnTo>
                  <a:lnTo>
                    <a:pt x="745" y="1145"/>
                  </a:lnTo>
                  <a:lnTo>
                    <a:pt x="745" y="1143"/>
                  </a:lnTo>
                  <a:lnTo>
                    <a:pt x="745" y="1143"/>
                  </a:lnTo>
                  <a:lnTo>
                    <a:pt x="745" y="1141"/>
                  </a:lnTo>
                  <a:lnTo>
                    <a:pt x="747" y="1141"/>
                  </a:lnTo>
                  <a:lnTo>
                    <a:pt x="747" y="1141"/>
                  </a:lnTo>
                  <a:lnTo>
                    <a:pt x="747" y="1139"/>
                  </a:lnTo>
                  <a:lnTo>
                    <a:pt x="745" y="1139"/>
                  </a:lnTo>
                  <a:lnTo>
                    <a:pt x="744" y="1139"/>
                  </a:lnTo>
                  <a:lnTo>
                    <a:pt x="744" y="1139"/>
                  </a:lnTo>
                  <a:lnTo>
                    <a:pt x="742" y="1139"/>
                  </a:lnTo>
                  <a:lnTo>
                    <a:pt x="742" y="1138"/>
                  </a:lnTo>
                  <a:lnTo>
                    <a:pt x="742" y="1138"/>
                  </a:lnTo>
                  <a:lnTo>
                    <a:pt x="742" y="1138"/>
                  </a:lnTo>
                  <a:lnTo>
                    <a:pt x="742" y="1138"/>
                  </a:lnTo>
                  <a:lnTo>
                    <a:pt x="740" y="1138"/>
                  </a:lnTo>
                  <a:lnTo>
                    <a:pt x="740" y="1138"/>
                  </a:lnTo>
                  <a:lnTo>
                    <a:pt x="736" y="1138"/>
                  </a:lnTo>
                  <a:lnTo>
                    <a:pt x="735" y="1138"/>
                  </a:lnTo>
                  <a:lnTo>
                    <a:pt x="735" y="1139"/>
                  </a:lnTo>
                  <a:lnTo>
                    <a:pt x="735" y="1141"/>
                  </a:lnTo>
                  <a:lnTo>
                    <a:pt x="735" y="1141"/>
                  </a:lnTo>
                  <a:lnTo>
                    <a:pt x="735" y="1141"/>
                  </a:lnTo>
                  <a:lnTo>
                    <a:pt x="735" y="1141"/>
                  </a:lnTo>
                  <a:lnTo>
                    <a:pt x="733" y="1141"/>
                  </a:lnTo>
                  <a:lnTo>
                    <a:pt x="733" y="1143"/>
                  </a:lnTo>
                  <a:lnTo>
                    <a:pt x="733" y="1143"/>
                  </a:lnTo>
                  <a:lnTo>
                    <a:pt x="733" y="1143"/>
                  </a:lnTo>
                  <a:lnTo>
                    <a:pt x="735" y="1145"/>
                  </a:lnTo>
                  <a:lnTo>
                    <a:pt x="736" y="1145"/>
                  </a:lnTo>
                  <a:lnTo>
                    <a:pt x="736" y="1145"/>
                  </a:lnTo>
                  <a:lnTo>
                    <a:pt x="736" y="1147"/>
                  </a:lnTo>
                  <a:lnTo>
                    <a:pt x="731" y="1145"/>
                  </a:lnTo>
                  <a:lnTo>
                    <a:pt x="733" y="1147"/>
                  </a:lnTo>
                  <a:lnTo>
                    <a:pt x="733" y="1147"/>
                  </a:lnTo>
                  <a:close/>
                  <a:moveTo>
                    <a:pt x="738" y="1136"/>
                  </a:moveTo>
                  <a:lnTo>
                    <a:pt x="738" y="1136"/>
                  </a:lnTo>
                  <a:lnTo>
                    <a:pt x="740" y="1134"/>
                  </a:lnTo>
                  <a:lnTo>
                    <a:pt x="740" y="1134"/>
                  </a:lnTo>
                  <a:lnTo>
                    <a:pt x="740" y="1134"/>
                  </a:lnTo>
                  <a:lnTo>
                    <a:pt x="740" y="1134"/>
                  </a:lnTo>
                  <a:lnTo>
                    <a:pt x="740" y="1136"/>
                  </a:lnTo>
                  <a:lnTo>
                    <a:pt x="742" y="1136"/>
                  </a:lnTo>
                  <a:lnTo>
                    <a:pt x="744" y="1134"/>
                  </a:lnTo>
                  <a:lnTo>
                    <a:pt x="744" y="1134"/>
                  </a:lnTo>
                  <a:lnTo>
                    <a:pt x="744" y="1134"/>
                  </a:lnTo>
                  <a:lnTo>
                    <a:pt x="744" y="1134"/>
                  </a:lnTo>
                  <a:lnTo>
                    <a:pt x="744" y="1132"/>
                  </a:lnTo>
                  <a:lnTo>
                    <a:pt x="744" y="1130"/>
                  </a:lnTo>
                  <a:lnTo>
                    <a:pt x="744" y="1130"/>
                  </a:lnTo>
                  <a:lnTo>
                    <a:pt x="742" y="1130"/>
                  </a:lnTo>
                  <a:lnTo>
                    <a:pt x="742" y="1130"/>
                  </a:lnTo>
                  <a:lnTo>
                    <a:pt x="742" y="1130"/>
                  </a:lnTo>
                  <a:lnTo>
                    <a:pt x="742" y="1130"/>
                  </a:lnTo>
                  <a:lnTo>
                    <a:pt x="740" y="1130"/>
                  </a:lnTo>
                  <a:lnTo>
                    <a:pt x="740" y="1132"/>
                  </a:lnTo>
                  <a:lnTo>
                    <a:pt x="740" y="1132"/>
                  </a:lnTo>
                  <a:lnTo>
                    <a:pt x="740" y="1132"/>
                  </a:lnTo>
                  <a:lnTo>
                    <a:pt x="740" y="1132"/>
                  </a:lnTo>
                  <a:lnTo>
                    <a:pt x="738" y="1132"/>
                  </a:lnTo>
                  <a:lnTo>
                    <a:pt x="736" y="1134"/>
                  </a:lnTo>
                  <a:lnTo>
                    <a:pt x="736" y="1134"/>
                  </a:lnTo>
                  <a:lnTo>
                    <a:pt x="736" y="1134"/>
                  </a:lnTo>
                  <a:lnTo>
                    <a:pt x="738" y="1136"/>
                  </a:lnTo>
                  <a:close/>
                  <a:moveTo>
                    <a:pt x="733" y="1132"/>
                  </a:moveTo>
                  <a:lnTo>
                    <a:pt x="733" y="1132"/>
                  </a:lnTo>
                  <a:lnTo>
                    <a:pt x="733" y="1134"/>
                  </a:lnTo>
                  <a:lnTo>
                    <a:pt x="735" y="1134"/>
                  </a:lnTo>
                  <a:lnTo>
                    <a:pt x="735" y="1134"/>
                  </a:lnTo>
                  <a:lnTo>
                    <a:pt x="736" y="1132"/>
                  </a:lnTo>
                  <a:lnTo>
                    <a:pt x="736" y="1132"/>
                  </a:lnTo>
                  <a:lnTo>
                    <a:pt x="736" y="1132"/>
                  </a:lnTo>
                  <a:lnTo>
                    <a:pt x="736" y="1130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33" y="1130"/>
                  </a:lnTo>
                  <a:lnTo>
                    <a:pt x="733" y="1130"/>
                  </a:lnTo>
                  <a:lnTo>
                    <a:pt x="733" y="1132"/>
                  </a:lnTo>
                  <a:lnTo>
                    <a:pt x="733" y="1132"/>
                  </a:lnTo>
                  <a:close/>
                  <a:moveTo>
                    <a:pt x="747" y="1134"/>
                  </a:moveTo>
                  <a:lnTo>
                    <a:pt x="749" y="1136"/>
                  </a:lnTo>
                  <a:lnTo>
                    <a:pt x="749" y="1139"/>
                  </a:lnTo>
                  <a:lnTo>
                    <a:pt x="749" y="1139"/>
                  </a:lnTo>
                  <a:lnTo>
                    <a:pt x="749" y="1139"/>
                  </a:lnTo>
                  <a:lnTo>
                    <a:pt x="749" y="1139"/>
                  </a:lnTo>
                  <a:lnTo>
                    <a:pt x="749" y="1141"/>
                  </a:lnTo>
                  <a:lnTo>
                    <a:pt x="747" y="1141"/>
                  </a:lnTo>
                  <a:lnTo>
                    <a:pt x="747" y="1143"/>
                  </a:lnTo>
                  <a:lnTo>
                    <a:pt x="751" y="1143"/>
                  </a:lnTo>
                  <a:lnTo>
                    <a:pt x="758" y="1134"/>
                  </a:lnTo>
                  <a:lnTo>
                    <a:pt x="760" y="1132"/>
                  </a:lnTo>
                  <a:lnTo>
                    <a:pt x="760" y="1132"/>
                  </a:lnTo>
                  <a:lnTo>
                    <a:pt x="760" y="1132"/>
                  </a:lnTo>
                  <a:lnTo>
                    <a:pt x="760" y="1132"/>
                  </a:lnTo>
                  <a:lnTo>
                    <a:pt x="758" y="1130"/>
                  </a:lnTo>
                  <a:lnTo>
                    <a:pt x="758" y="1130"/>
                  </a:lnTo>
                  <a:lnTo>
                    <a:pt x="756" y="1130"/>
                  </a:lnTo>
                  <a:lnTo>
                    <a:pt x="756" y="1129"/>
                  </a:lnTo>
                  <a:lnTo>
                    <a:pt x="756" y="1129"/>
                  </a:lnTo>
                  <a:lnTo>
                    <a:pt x="756" y="1127"/>
                  </a:lnTo>
                  <a:lnTo>
                    <a:pt x="754" y="1125"/>
                  </a:lnTo>
                  <a:lnTo>
                    <a:pt x="754" y="1123"/>
                  </a:lnTo>
                  <a:lnTo>
                    <a:pt x="753" y="1123"/>
                  </a:lnTo>
                  <a:lnTo>
                    <a:pt x="751" y="1123"/>
                  </a:lnTo>
                  <a:lnTo>
                    <a:pt x="749" y="1125"/>
                  </a:lnTo>
                  <a:lnTo>
                    <a:pt x="749" y="1127"/>
                  </a:lnTo>
                  <a:lnTo>
                    <a:pt x="747" y="1129"/>
                  </a:lnTo>
                  <a:lnTo>
                    <a:pt x="747" y="1130"/>
                  </a:lnTo>
                  <a:lnTo>
                    <a:pt x="747" y="1132"/>
                  </a:lnTo>
                  <a:lnTo>
                    <a:pt x="747" y="1134"/>
                  </a:lnTo>
                  <a:close/>
                  <a:moveTo>
                    <a:pt x="765" y="1127"/>
                  </a:moveTo>
                  <a:lnTo>
                    <a:pt x="773" y="1127"/>
                  </a:lnTo>
                  <a:lnTo>
                    <a:pt x="773" y="1127"/>
                  </a:lnTo>
                  <a:lnTo>
                    <a:pt x="773" y="1125"/>
                  </a:lnTo>
                  <a:lnTo>
                    <a:pt x="773" y="1125"/>
                  </a:lnTo>
                  <a:lnTo>
                    <a:pt x="773" y="1125"/>
                  </a:lnTo>
                  <a:lnTo>
                    <a:pt x="773" y="1125"/>
                  </a:lnTo>
                  <a:lnTo>
                    <a:pt x="773" y="1123"/>
                  </a:lnTo>
                  <a:lnTo>
                    <a:pt x="769" y="1123"/>
                  </a:lnTo>
                  <a:lnTo>
                    <a:pt x="767" y="1121"/>
                  </a:lnTo>
                  <a:lnTo>
                    <a:pt x="767" y="1121"/>
                  </a:lnTo>
                  <a:lnTo>
                    <a:pt x="758" y="1123"/>
                  </a:lnTo>
                  <a:lnTo>
                    <a:pt x="762" y="1127"/>
                  </a:lnTo>
                  <a:lnTo>
                    <a:pt x="765" y="1127"/>
                  </a:lnTo>
                  <a:close/>
                  <a:moveTo>
                    <a:pt x="791" y="1096"/>
                  </a:moveTo>
                  <a:lnTo>
                    <a:pt x="791" y="1098"/>
                  </a:lnTo>
                  <a:lnTo>
                    <a:pt x="791" y="1098"/>
                  </a:lnTo>
                  <a:lnTo>
                    <a:pt x="791" y="1100"/>
                  </a:lnTo>
                  <a:lnTo>
                    <a:pt x="791" y="1098"/>
                  </a:lnTo>
                  <a:lnTo>
                    <a:pt x="794" y="1096"/>
                  </a:lnTo>
                  <a:lnTo>
                    <a:pt x="803" y="1094"/>
                  </a:lnTo>
                  <a:lnTo>
                    <a:pt x="803" y="1093"/>
                  </a:lnTo>
                  <a:lnTo>
                    <a:pt x="801" y="1091"/>
                  </a:lnTo>
                  <a:lnTo>
                    <a:pt x="801" y="1089"/>
                  </a:lnTo>
                  <a:lnTo>
                    <a:pt x="800" y="1089"/>
                  </a:lnTo>
                  <a:lnTo>
                    <a:pt x="794" y="1093"/>
                  </a:lnTo>
                  <a:lnTo>
                    <a:pt x="792" y="1091"/>
                  </a:lnTo>
                  <a:lnTo>
                    <a:pt x="792" y="1091"/>
                  </a:lnTo>
                  <a:lnTo>
                    <a:pt x="792" y="1091"/>
                  </a:lnTo>
                  <a:lnTo>
                    <a:pt x="791" y="1091"/>
                  </a:lnTo>
                  <a:lnTo>
                    <a:pt x="791" y="1093"/>
                  </a:lnTo>
                  <a:lnTo>
                    <a:pt x="791" y="1094"/>
                  </a:lnTo>
                  <a:lnTo>
                    <a:pt x="791" y="1094"/>
                  </a:lnTo>
                  <a:lnTo>
                    <a:pt x="791" y="1096"/>
                  </a:lnTo>
                  <a:lnTo>
                    <a:pt x="789" y="1096"/>
                  </a:lnTo>
                  <a:lnTo>
                    <a:pt x="789" y="1096"/>
                  </a:lnTo>
                  <a:lnTo>
                    <a:pt x="789" y="1096"/>
                  </a:lnTo>
                  <a:lnTo>
                    <a:pt x="789" y="1096"/>
                  </a:lnTo>
                  <a:lnTo>
                    <a:pt x="791" y="1096"/>
                  </a:lnTo>
                  <a:close/>
                  <a:moveTo>
                    <a:pt x="798" y="1083"/>
                  </a:moveTo>
                  <a:lnTo>
                    <a:pt x="800" y="1085"/>
                  </a:lnTo>
                  <a:lnTo>
                    <a:pt x="801" y="1085"/>
                  </a:lnTo>
                  <a:lnTo>
                    <a:pt x="801" y="1085"/>
                  </a:lnTo>
                  <a:lnTo>
                    <a:pt x="801" y="1083"/>
                  </a:lnTo>
                  <a:lnTo>
                    <a:pt x="801" y="1083"/>
                  </a:lnTo>
                  <a:lnTo>
                    <a:pt x="801" y="1083"/>
                  </a:lnTo>
                  <a:lnTo>
                    <a:pt x="801" y="1082"/>
                  </a:lnTo>
                  <a:lnTo>
                    <a:pt x="801" y="1082"/>
                  </a:lnTo>
                  <a:lnTo>
                    <a:pt x="803" y="1080"/>
                  </a:lnTo>
                  <a:lnTo>
                    <a:pt x="803" y="1078"/>
                  </a:lnTo>
                  <a:lnTo>
                    <a:pt x="803" y="1076"/>
                  </a:lnTo>
                  <a:lnTo>
                    <a:pt x="801" y="1078"/>
                  </a:lnTo>
                  <a:lnTo>
                    <a:pt x="800" y="1078"/>
                  </a:lnTo>
                  <a:lnTo>
                    <a:pt x="798" y="1078"/>
                  </a:lnTo>
                  <a:lnTo>
                    <a:pt x="798" y="1078"/>
                  </a:lnTo>
                  <a:lnTo>
                    <a:pt x="796" y="1076"/>
                  </a:lnTo>
                  <a:lnTo>
                    <a:pt x="796" y="1078"/>
                  </a:lnTo>
                  <a:lnTo>
                    <a:pt x="796" y="1078"/>
                  </a:lnTo>
                  <a:lnTo>
                    <a:pt x="796" y="1080"/>
                  </a:lnTo>
                  <a:lnTo>
                    <a:pt x="796" y="1080"/>
                  </a:lnTo>
                  <a:lnTo>
                    <a:pt x="796" y="1080"/>
                  </a:lnTo>
                  <a:lnTo>
                    <a:pt x="796" y="1080"/>
                  </a:lnTo>
                  <a:lnTo>
                    <a:pt x="796" y="1082"/>
                  </a:lnTo>
                  <a:lnTo>
                    <a:pt x="796" y="1082"/>
                  </a:lnTo>
                  <a:lnTo>
                    <a:pt x="798" y="1083"/>
                  </a:lnTo>
                  <a:close/>
                  <a:moveTo>
                    <a:pt x="845" y="1058"/>
                  </a:moveTo>
                  <a:lnTo>
                    <a:pt x="845" y="1058"/>
                  </a:lnTo>
                  <a:lnTo>
                    <a:pt x="845" y="1058"/>
                  </a:lnTo>
                  <a:lnTo>
                    <a:pt x="845" y="1058"/>
                  </a:lnTo>
                  <a:lnTo>
                    <a:pt x="847" y="1058"/>
                  </a:lnTo>
                  <a:lnTo>
                    <a:pt x="847" y="1058"/>
                  </a:lnTo>
                  <a:lnTo>
                    <a:pt x="848" y="1058"/>
                  </a:lnTo>
                  <a:lnTo>
                    <a:pt x="850" y="1056"/>
                  </a:lnTo>
                  <a:lnTo>
                    <a:pt x="852" y="1055"/>
                  </a:lnTo>
                  <a:lnTo>
                    <a:pt x="852" y="1053"/>
                  </a:lnTo>
                  <a:lnTo>
                    <a:pt x="850" y="1051"/>
                  </a:lnTo>
                  <a:lnTo>
                    <a:pt x="848" y="1051"/>
                  </a:lnTo>
                  <a:lnTo>
                    <a:pt x="845" y="1053"/>
                  </a:lnTo>
                  <a:lnTo>
                    <a:pt x="843" y="1051"/>
                  </a:lnTo>
                  <a:lnTo>
                    <a:pt x="843" y="1051"/>
                  </a:lnTo>
                  <a:lnTo>
                    <a:pt x="843" y="1051"/>
                  </a:lnTo>
                  <a:lnTo>
                    <a:pt x="843" y="1051"/>
                  </a:lnTo>
                  <a:lnTo>
                    <a:pt x="843" y="1053"/>
                  </a:lnTo>
                  <a:lnTo>
                    <a:pt x="841" y="1053"/>
                  </a:lnTo>
                  <a:lnTo>
                    <a:pt x="841" y="1055"/>
                  </a:lnTo>
                  <a:lnTo>
                    <a:pt x="841" y="1055"/>
                  </a:lnTo>
                  <a:lnTo>
                    <a:pt x="841" y="1055"/>
                  </a:lnTo>
                  <a:lnTo>
                    <a:pt x="843" y="1056"/>
                  </a:lnTo>
                  <a:lnTo>
                    <a:pt x="845" y="1058"/>
                  </a:lnTo>
                  <a:close/>
                  <a:moveTo>
                    <a:pt x="827" y="1064"/>
                  </a:moveTo>
                  <a:lnTo>
                    <a:pt x="830" y="1065"/>
                  </a:lnTo>
                  <a:lnTo>
                    <a:pt x="830" y="1065"/>
                  </a:lnTo>
                  <a:lnTo>
                    <a:pt x="830" y="1067"/>
                  </a:lnTo>
                  <a:lnTo>
                    <a:pt x="832" y="1067"/>
                  </a:lnTo>
                  <a:lnTo>
                    <a:pt x="832" y="1067"/>
                  </a:lnTo>
                  <a:lnTo>
                    <a:pt x="834" y="1067"/>
                  </a:lnTo>
                  <a:lnTo>
                    <a:pt x="838" y="1064"/>
                  </a:lnTo>
                  <a:lnTo>
                    <a:pt x="838" y="1064"/>
                  </a:lnTo>
                  <a:lnTo>
                    <a:pt x="838" y="1062"/>
                  </a:lnTo>
                  <a:lnTo>
                    <a:pt x="839" y="1062"/>
                  </a:lnTo>
                  <a:lnTo>
                    <a:pt x="841" y="1062"/>
                  </a:lnTo>
                  <a:lnTo>
                    <a:pt x="841" y="1060"/>
                  </a:lnTo>
                  <a:lnTo>
                    <a:pt x="841" y="1060"/>
                  </a:lnTo>
                  <a:lnTo>
                    <a:pt x="841" y="1058"/>
                  </a:lnTo>
                  <a:lnTo>
                    <a:pt x="839" y="1056"/>
                  </a:lnTo>
                  <a:lnTo>
                    <a:pt x="839" y="1056"/>
                  </a:lnTo>
                  <a:lnTo>
                    <a:pt x="839" y="1055"/>
                  </a:lnTo>
                  <a:lnTo>
                    <a:pt x="839" y="1053"/>
                  </a:lnTo>
                  <a:lnTo>
                    <a:pt x="839" y="1053"/>
                  </a:lnTo>
                  <a:lnTo>
                    <a:pt x="839" y="1051"/>
                  </a:lnTo>
                  <a:lnTo>
                    <a:pt x="839" y="1049"/>
                  </a:lnTo>
                  <a:lnTo>
                    <a:pt x="839" y="1049"/>
                  </a:lnTo>
                  <a:lnTo>
                    <a:pt x="838" y="1049"/>
                  </a:lnTo>
                  <a:lnTo>
                    <a:pt x="836" y="1049"/>
                  </a:lnTo>
                  <a:lnTo>
                    <a:pt x="838" y="1051"/>
                  </a:lnTo>
                  <a:lnTo>
                    <a:pt x="838" y="1053"/>
                  </a:lnTo>
                  <a:lnTo>
                    <a:pt x="836" y="1055"/>
                  </a:lnTo>
                  <a:lnTo>
                    <a:pt x="836" y="1055"/>
                  </a:lnTo>
                  <a:lnTo>
                    <a:pt x="836" y="1055"/>
                  </a:lnTo>
                  <a:lnTo>
                    <a:pt x="836" y="1056"/>
                  </a:lnTo>
                  <a:lnTo>
                    <a:pt x="836" y="1056"/>
                  </a:lnTo>
                  <a:lnTo>
                    <a:pt x="836" y="1056"/>
                  </a:lnTo>
                  <a:lnTo>
                    <a:pt x="836" y="1058"/>
                  </a:lnTo>
                  <a:lnTo>
                    <a:pt x="836" y="1058"/>
                  </a:lnTo>
                  <a:lnTo>
                    <a:pt x="834" y="1056"/>
                  </a:lnTo>
                  <a:lnTo>
                    <a:pt x="832" y="1055"/>
                  </a:lnTo>
                  <a:lnTo>
                    <a:pt x="830" y="1055"/>
                  </a:lnTo>
                  <a:lnTo>
                    <a:pt x="832" y="1055"/>
                  </a:lnTo>
                  <a:lnTo>
                    <a:pt x="829" y="1055"/>
                  </a:lnTo>
                  <a:lnTo>
                    <a:pt x="827" y="1055"/>
                  </a:lnTo>
                  <a:lnTo>
                    <a:pt x="827" y="1055"/>
                  </a:lnTo>
                  <a:lnTo>
                    <a:pt x="827" y="1055"/>
                  </a:lnTo>
                  <a:lnTo>
                    <a:pt x="829" y="1055"/>
                  </a:lnTo>
                  <a:lnTo>
                    <a:pt x="829" y="1056"/>
                  </a:lnTo>
                  <a:lnTo>
                    <a:pt x="829" y="1056"/>
                  </a:lnTo>
                  <a:lnTo>
                    <a:pt x="827" y="1056"/>
                  </a:lnTo>
                  <a:lnTo>
                    <a:pt x="829" y="1058"/>
                  </a:lnTo>
                  <a:lnTo>
                    <a:pt x="829" y="1058"/>
                  </a:lnTo>
                  <a:lnTo>
                    <a:pt x="827" y="1060"/>
                  </a:lnTo>
                  <a:lnTo>
                    <a:pt x="825" y="1060"/>
                  </a:lnTo>
                  <a:lnTo>
                    <a:pt x="825" y="1062"/>
                  </a:lnTo>
                  <a:lnTo>
                    <a:pt x="825" y="1062"/>
                  </a:lnTo>
                  <a:lnTo>
                    <a:pt x="827" y="1064"/>
                  </a:lnTo>
                  <a:close/>
                  <a:moveTo>
                    <a:pt x="865" y="1038"/>
                  </a:moveTo>
                  <a:lnTo>
                    <a:pt x="865" y="1038"/>
                  </a:lnTo>
                  <a:lnTo>
                    <a:pt x="866" y="1038"/>
                  </a:lnTo>
                  <a:lnTo>
                    <a:pt x="866" y="1042"/>
                  </a:lnTo>
                  <a:lnTo>
                    <a:pt x="866" y="1042"/>
                  </a:lnTo>
                  <a:lnTo>
                    <a:pt x="866" y="1044"/>
                  </a:lnTo>
                  <a:lnTo>
                    <a:pt x="868" y="1044"/>
                  </a:lnTo>
                  <a:lnTo>
                    <a:pt x="872" y="1042"/>
                  </a:lnTo>
                  <a:lnTo>
                    <a:pt x="874" y="1042"/>
                  </a:lnTo>
                  <a:lnTo>
                    <a:pt x="872" y="1042"/>
                  </a:lnTo>
                  <a:lnTo>
                    <a:pt x="872" y="1042"/>
                  </a:lnTo>
                  <a:lnTo>
                    <a:pt x="872" y="1040"/>
                  </a:lnTo>
                  <a:lnTo>
                    <a:pt x="872" y="1040"/>
                  </a:lnTo>
                  <a:lnTo>
                    <a:pt x="870" y="1038"/>
                  </a:lnTo>
                  <a:lnTo>
                    <a:pt x="868" y="1037"/>
                  </a:lnTo>
                  <a:lnTo>
                    <a:pt x="866" y="1037"/>
                  </a:lnTo>
                  <a:lnTo>
                    <a:pt x="866" y="1037"/>
                  </a:lnTo>
                  <a:lnTo>
                    <a:pt x="865" y="1037"/>
                  </a:lnTo>
                  <a:lnTo>
                    <a:pt x="865" y="1038"/>
                  </a:lnTo>
                  <a:close/>
                  <a:moveTo>
                    <a:pt x="865" y="1038"/>
                  </a:moveTo>
                  <a:lnTo>
                    <a:pt x="863" y="1037"/>
                  </a:lnTo>
                  <a:lnTo>
                    <a:pt x="863" y="1035"/>
                  </a:lnTo>
                  <a:lnTo>
                    <a:pt x="861" y="1035"/>
                  </a:lnTo>
                  <a:lnTo>
                    <a:pt x="859" y="1037"/>
                  </a:lnTo>
                  <a:lnTo>
                    <a:pt x="856" y="1040"/>
                  </a:lnTo>
                  <a:lnTo>
                    <a:pt x="854" y="1040"/>
                  </a:lnTo>
                  <a:lnTo>
                    <a:pt x="854" y="1042"/>
                  </a:lnTo>
                  <a:lnTo>
                    <a:pt x="856" y="1046"/>
                  </a:lnTo>
                  <a:lnTo>
                    <a:pt x="857" y="1046"/>
                  </a:lnTo>
                  <a:lnTo>
                    <a:pt x="866" y="1044"/>
                  </a:lnTo>
                  <a:lnTo>
                    <a:pt x="866" y="1044"/>
                  </a:lnTo>
                  <a:lnTo>
                    <a:pt x="866" y="1042"/>
                  </a:lnTo>
                  <a:lnTo>
                    <a:pt x="865" y="1042"/>
                  </a:lnTo>
                  <a:lnTo>
                    <a:pt x="865" y="1040"/>
                  </a:lnTo>
                  <a:lnTo>
                    <a:pt x="865" y="1038"/>
                  </a:lnTo>
                  <a:close/>
                  <a:moveTo>
                    <a:pt x="874" y="1042"/>
                  </a:moveTo>
                  <a:lnTo>
                    <a:pt x="875" y="1044"/>
                  </a:lnTo>
                  <a:lnTo>
                    <a:pt x="877" y="1044"/>
                  </a:lnTo>
                  <a:lnTo>
                    <a:pt x="885" y="1042"/>
                  </a:lnTo>
                  <a:lnTo>
                    <a:pt x="886" y="1038"/>
                  </a:lnTo>
                  <a:lnTo>
                    <a:pt x="885" y="1037"/>
                  </a:lnTo>
                  <a:lnTo>
                    <a:pt x="881" y="1035"/>
                  </a:lnTo>
                  <a:lnTo>
                    <a:pt x="879" y="1031"/>
                  </a:lnTo>
                  <a:lnTo>
                    <a:pt x="879" y="1029"/>
                  </a:lnTo>
                  <a:lnTo>
                    <a:pt x="879" y="1029"/>
                  </a:lnTo>
                  <a:lnTo>
                    <a:pt x="877" y="1029"/>
                  </a:lnTo>
                  <a:lnTo>
                    <a:pt x="877" y="1031"/>
                  </a:lnTo>
                  <a:lnTo>
                    <a:pt x="877" y="1033"/>
                  </a:lnTo>
                  <a:lnTo>
                    <a:pt x="877" y="1035"/>
                  </a:lnTo>
                  <a:lnTo>
                    <a:pt x="877" y="1037"/>
                  </a:lnTo>
                  <a:lnTo>
                    <a:pt x="875" y="1035"/>
                  </a:lnTo>
                  <a:lnTo>
                    <a:pt x="875" y="1033"/>
                  </a:lnTo>
                  <a:lnTo>
                    <a:pt x="874" y="1031"/>
                  </a:lnTo>
                  <a:lnTo>
                    <a:pt x="874" y="1031"/>
                  </a:lnTo>
                  <a:lnTo>
                    <a:pt x="874" y="1033"/>
                  </a:lnTo>
                  <a:lnTo>
                    <a:pt x="874" y="1033"/>
                  </a:lnTo>
                  <a:lnTo>
                    <a:pt x="872" y="1033"/>
                  </a:lnTo>
                  <a:lnTo>
                    <a:pt x="872" y="1031"/>
                  </a:lnTo>
                  <a:lnTo>
                    <a:pt x="872" y="1031"/>
                  </a:lnTo>
                  <a:lnTo>
                    <a:pt x="872" y="1031"/>
                  </a:lnTo>
                  <a:lnTo>
                    <a:pt x="870" y="1031"/>
                  </a:lnTo>
                  <a:lnTo>
                    <a:pt x="870" y="1031"/>
                  </a:lnTo>
                  <a:lnTo>
                    <a:pt x="870" y="1035"/>
                  </a:lnTo>
                  <a:lnTo>
                    <a:pt x="870" y="1035"/>
                  </a:lnTo>
                  <a:lnTo>
                    <a:pt x="872" y="1037"/>
                  </a:lnTo>
                  <a:lnTo>
                    <a:pt x="874" y="1042"/>
                  </a:lnTo>
                  <a:close/>
                  <a:moveTo>
                    <a:pt x="847" y="1017"/>
                  </a:moveTo>
                  <a:lnTo>
                    <a:pt x="847" y="1018"/>
                  </a:lnTo>
                  <a:lnTo>
                    <a:pt x="847" y="1020"/>
                  </a:lnTo>
                  <a:lnTo>
                    <a:pt x="856" y="1022"/>
                  </a:lnTo>
                  <a:lnTo>
                    <a:pt x="857" y="1024"/>
                  </a:lnTo>
                  <a:lnTo>
                    <a:pt x="854" y="1022"/>
                  </a:lnTo>
                  <a:lnTo>
                    <a:pt x="852" y="1024"/>
                  </a:lnTo>
                  <a:lnTo>
                    <a:pt x="854" y="1024"/>
                  </a:lnTo>
                  <a:lnTo>
                    <a:pt x="856" y="1026"/>
                  </a:lnTo>
                  <a:lnTo>
                    <a:pt x="856" y="1026"/>
                  </a:lnTo>
                  <a:lnTo>
                    <a:pt x="856" y="1026"/>
                  </a:lnTo>
                  <a:lnTo>
                    <a:pt x="857" y="1026"/>
                  </a:lnTo>
                  <a:lnTo>
                    <a:pt x="859" y="1026"/>
                  </a:lnTo>
                  <a:lnTo>
                    <a:pt x="861" y="1026"/>
                  </a:lnTo>
                  <a:lnTo>
                    <a:pt x="861" y="1024"/>
                  </a:lnTo>
                  <a:lnTo>
                    <a:pt x="861" y="1024"/>
                  </a:lnTo>
                  <a:lnTo>
                    <a:pt x="861" y="1024"/>
                  </a:lnTo>
                  <a:lnTo>
                    <a:pt x="863" y="1022"/>
                  </a:lnTo>
                  <a:lnTo>
                    <a:pt x="863" y="1022"/>
                  </a:lnTo>
                  <a:lnTo>
                    <a:pt x="865" y="1022"/>
                  </a:lnTo>
                  <a:lnTo>
                    <a:pt x="866" y="1018"/>
                  </a:lnTo>
                  <a:lnTo>
                    <a:pt x="865" y="1017"/>
                  </a:lnTo>
                  <a:lnTo>
                    <a:pt x="863" y="1015"/>
                  </a:lnTo>
                  <a:lnTo>
                    <a:pt x="861" y="1009"/>
                  </a:lnTo>
                  <a:lnTo>
                    <a:pt x="861" y="1009"/>
                  </a:lnTo>
                  <a:lnTo>
                    <a:pt x="857" y="1009"/>
                  </a:lnTo>
                  <a:lnTo>
                    <a:pt x="856" y="1009"/>
                  </a:lnTo>
                  <a:lnTo>
                    <a:pt x="854" y="1013"/>
                  </a:lnTo>
                  <a:lnTo>
                    <a:pt x="852" y="1013"/>
                  </a:lnTo>
                  <a:lnTo>
                    <a:pt x="848" y="1013"/>
                  </a:lnTo>
                  <a:lnTo>
                    <a:pt x="847" y="1015"/>
                  </a:lnTo>
                  <a:lnTo>
                    <a:pt x="845" y="1015"/>
                  </a:lnTo>
                  <a:lnTo>
                    <a:pt x="847" y="1017"/>
                  </a:lnTo>
                  <a:lnTo>
                    <a:pt x="847" y="1017"/>
                  </a:lnTo>
                  <a:close/>
                  <a:moveTo>
                    <a:pt x="888" y="993"/>
                  </a:moveTo>
                  <a:lnTo>
                    <a:pt x="886" y="993"/>
                  </a:lnTo>
                  <a:lnTo>
                    <a:pt x="885" y="993"/>
                  </a:lnTo>
                  <a:lnTo>
                    <a:pt x="885" y="995"/>
                  </a:lnTo>
                  <a:lnTo>
                    <a:pt x="886" y="997"/>
                  </a:lnTo>
                  <a:lnTo>
                    <a:pt x="892" y="997"/>
                  </a:lnTo>
                  <a:lnTo>
                    <a:pt x="894" y="999"/>
                  </a:lnTo>
                  <a:lnTo>
                    <a:pt x="892" y="999"/>
                  </a:lnTo>
                  <a:lnTo>
                    <a:pt x="892" y="999"/>
                  </a:lnTo>
                  <a:lnTo>
                    <a:pt x="888" y="999"/>
                  </a:lnTo>
                  <a:lnTo>
                    <a:pt x="879" y="999"/>
                  </a:lnTo>
                  <a:lnTo>
                    <a:pt x="877" y="999"/>
                  </a:lnTo>
                  <a:lnTo>
                    <a:pt x="872" y="1004"/>
                  </a:lnTo>
                  <a:lnTo>
                    <a:pt x="872" y="1006"/>
                  </a:lnTo>
                  <a:lnTo>
                    <a:pt x="872" y="1008"/>
                  </a:lnTo>
                  <a:lnTo>
                    <a:pt x="870" y="1009"/>
                  </a:lnTo>
                  <a:lnTo>
                    <a:pt x="872" y="1009"/>
                  </a:lnTo>
                  <a:lnTo>
                    <a:pt x="870" y="1011"/>
                  </a:lnTo>
                  <a:lnTo>
                    <a:pt x="872" y="1011"/>
                  </a:lnTo>
                  <a:lnTo>
                    <a:pt x="872" y="1011"/>
                  </a:lnTo>
                  <a:lnTo>
                    <a:pt x="872" y="1011"/>
                  </a:lnTo>
                  <a:lnTo>
                    <a:pt x="872" y="1011"/>
                  </a:lnTo>
                  <a:lnTo>
                    <a:pt x="874" y="1011"/>
                  </a:lnTo>
                  <a:lnTo>
                    <a:pt x="874" y="1011"/>
                  </a:lnTo>
                  <a:lnTo>
                    <a:pt x="874" y="1009"/>
                  </a:lnTo>
                  <a:lnTo>
                    <a:pt x="874" y="1011"/>
                  </a:lnTo>
                  <a:lnTo>
                    <a:pt x="874" y="1011"/>
                  </a:lnTo>
                  <a:lnTo>
                    <a:pt x="874" y="1011"/>
                  </a:lnTo>
                  <a:lnTo>
                    <a:pt x="874" y="1011"/>
                  </a:lnTo>
                  <a:lnTo>
                    <a:pt x="875" y="1013"/>
                  </a:lnTo>
                  <a:lnTo>
                    <a:pt x="877" y="1013"/>
                  </a:lnTo>
                  <a:lnTo>
                    <a:pt x="881" y="1013"/>
                  </a:lnTo>
                  <a:lnTo>
                    <a:pt x="883" y="1013"/>
                  </a:lnTo>
                  <a:lnTo>
                    <a:pt x="886" y="1009"/>
                  </a:lnTo>
                  <a:lnTo>
                    <a:pt x="890" y="1009"/>
                  </a:lnTo>
                  <a:lnTo>
                    <a:pt x="894" y="1008"/>
                  </a:lnTo>
                  <a:lnTo>
                    <a:pt x="899" y="1008"/>
                  </a:lnTo>
                  <a:lnTo>
                    <a:pt x="912" y="1002"/>
                  </a:lnTo>
                  <a:lnTo>
                    <a:pt x="913" y="1000"/>
                  </a:lnTo>
                  <a:lnTo>
                    <a:pt x="915" y="999"/>
                  </a:lnTo>
                  <a:lnTo>
                    <a:pt x="915" y="999"/>
                  </a:lnTo>
                  <a:lnTo>
                    <a:pt x="913" y="999"/>
                  </a:lnTo>
                  <a:lnTo>
                    <a:pt x="913" y="999"/>
                  </a:lnTo>
                  <a:lnTo>
                    <a:pt x="913" y="997"/>
                  </a:lnTo>
                  <a:lnTo>
                    <a:pt x="913" y="997"/>
                  </a:lnTo>
                  <a:lnTo>
                    <a:pt x="913" y="997"/>
                  </a:lnTo>
                  <a:lnTo>
                    <a:pt x="912" y="993"/>
                  </a:lnTo>
                  <a:lnTo>
                    <a:pt x="910" y="993"/>
                  </a:lnTo>
                  <a:lnTo>
                    <a:pt x="908" y="995"/>
                  </a:lnTo>
                  <a:lnTo>
                    <a:pt x="906" y="995"/>
                  </a:lnTo>
                  <a:lnTo>
                    <a:pt x="906" y="991"/>
                  </a:lnTo>
                  <a:lnTo>
                    <a:pt x="904" y="991"/>
                  </a:lnTo>
                  <a:lnTo>
                    <a:pt x="904" y="991"/>
                  </a:lnTo>
                  <a:lnTo>
                    <a:pt x="904" y="991"/>
                  </a:lnTo>
                  <a:lnTo>
                    <a:pt x="904" y="990"/>
                  </a:lnTo>
                  <a:lnTo>
                    <a:pt x="906" y="990"/>
                  </a:lnTo>
                  <a:lnTo>
                    <a:pt x="906" y="990"/>
                  </a:lnTo>
                  <a:lnTo>
                    <a:pt x="904" y="988"/>
                  </a:lnTo>
                  <a:lnTo>
                    <a:pt x="904" y="988"/>
                  </a:lnTo>
                  <a:lnTo>
                    <a:pt x="903" y="990"/>
                  </a:lnTo>
                  <a:lnTo>
                    <a:pt x="901" y="990"/>
                  </a:lnTo>
                  <a:lnTo>
                    <a:pt x="901" y="990"/>
                  </a:lnTo>
                  <a:lnTo>
                    <a:pt x="899" y="990"/>
                  </a:lnTo>
                  <a:lnTo>
                    <a:pt x="899" y="991"/>
                  </a:lnTo>
                  <a:lnTo>
                    <a:pt x="899" y="991"/>
                  </a:lnTo>
                  <a:lnTo>
                    <a:pt x="899" y="993"/>
                  </a:lnTo>
                  <a:lnTo>
                    <a:pt x="899" y="993"/>
                  </a:lnTo>
                  <a:lnTo>
                    <a:pt x="899" y="990"/>
                  </a:lnTo>
                  <a:lnTo>
                    <a:pt x="895" y="990"/>
                  </a:lnTo>
                  <a:lnTo>
                    <a:pt x="888" y="993"/>
                  </a:lnTo>
                  <a:close/>
                  <a:moveTo>
                    <a:pt x="910" y="993"/>
                  </a:moveTo>
                  <a:lnTo>
                    <a:pt x="912" y="991"/>
                  </a:lnTo>
                  <a:lnTo>
                    <a:pt x="913" y="991"/>
                  </a:lnTo>
                  <a:lnTo>
                    <a:pt x="915" y="991"/>
                  </a:lnTo>
                  <a:lnTo>
                    <a:pt x="915" y="990"/>
                  </a:lnTo>
                  <a:lnTo>
                    <a:pt x="915" y="990"/>
                  </a:lnTo>
                  <a:lnTo>
                    <a:pt x="915" y="990"/>
                  </a:lnTo>
                  <a:lnTo>
                    <a:pt x="915" y="990"/>
                  </a:lnTo>
                  <a:lnTo>
                    <a:pt x="915" y="990"/>
                  </a:lnTo>
                  <a:lnTo>
                    <a:pt x="913" y="988"/>
                  </a:lnTo>
                  <a:lnTo>
                    <a:pt x="913" y="990"/>
                  </a:lnTo>
                  <a:lnTo>
                    <a:pt x="913" y="988"/>
                  </a:lnTo>
                  <a:lnTo>
                    <a:pt x="913" y="988"/>
                  </a:lnTo>
                  <a:lnTo>
                    <a:pt x="912" y="988"/>
                  </a:lnTo>
                  <a:lnTo>
                    <a:pt x="912" y="988"/>
                  </a:lnTo>
                  <a:lnTo>
                    <a:pt x="910" y="988"/>
                  </a:lnTo>
                  <a:lnTo>
                    <a:pt x="910" y="988"/>
                  </a:lnTo>
                  <a:lnTo>
                    <a:pt x="910" y="988"/>
                  </a:lnTo>
                  <a:lnTo>
                    <a:pt x="908" y="990"/>
                  </a:lnTo>
                  <a:lnTo>
                    <a:pt x="908" y="990"/>
                  </a:lnTo>
                  <a:lnTo>
                    <a:pt x="908" y="990"/>
                  </a:lnTo>
                  <a:lnTo>
                    <a:pt x="908" y="991"/>
                  </a:lnTo>
                  <a:lnTo>
                    <a:pt x="908" y="991"/>
                  </a:lnTo>
                  <a:lnTo>
                    <a:pt x="908" y="991"/>
                  </a:lnTo>
                  <a:lnTo>
                    <a:pt x="908" y="993"/>
                  </a:lnTo>
                  <a:lnTo>
                    <a:pt x="910" y="993"/>
                  </a:lnTo>
                  <a:close/>
                  <a:moveTo>
                    <a:pt x="872" y="986"/>
                  </a:moveTo>
                  <a:lnTo>
                    <a:pt x="874" y="986"/>
                  </a:lnTo>
                  <a:lnTo>
                    <a:pt x="875" y="986"/>
                  </a:lnTo>
                  <a:lnTo>
                    <a:pt x="877" y="986"/>
                  </a:lnTo>
                  <a:lnTo>
                    <a:pt x="879" y="984"/>
                  </a:lnTo>
                  <a:lnTo>
                    <a:pt x="879" y="986"/>
                  </a:lnTo>
                  <a:lnTo>
                    <a:pt x="881" y="984"/>
                  </a:lnTo>
                  <a:lnTo>
                    <a:pt x="883" y="984"/>
                  </a:lnTo>
                  <a:lnTo>
                    <a:pt x="879" y="986"/>
                  </a:lnTo>
                  <a:lnTo>
                    <a:pt x="881" y="988"/>
                  </a:lnTo>
                  <a:lnTo>
                    <a:pt x="885" y="986"/>
                  </a:lnTo>
                  <a:lnTo>
                    <a:pt x="894" y="984"/>
                  </a:lnTo>
                  <a:lnTo>
                    <a:pt x="897" y="984"/>
                  </a:lnTo>
                  <a:lnTo>
                    <a:pt x="899" y="981"/>
                  </a:lnTo>
                  <a:lnTo>
                    <a:pt x="899" y="979"/>
                  </a:lnTo>
                  <a:lnTo>
                    <a:pt x="897" y="979"/>
                  </a:lnTo>
                  <a:lnTo>
                    <a:pt x="897" y="977"/>
                  </a:lnTo>
                  <a:lnTo>
                    <a:pt x="897" y="977"/>
                  </a:lnTo>
                  <a:lnTo>
                    <a:pt x="897" y="973"/>
                  </a:lnTo>
                  <a:lnTo>
                    <a:pt x="897" y="973"/>
                  </a:lnTo>
                  <a:lnTo>
                    <a:pt x="897" y="973"/>
                  </a:lnTo>
                  <a:lnTo>
                    <a:pt x="897" y="971"/>
                  </a:lnTo>
                  <a:lnTo>
                    <a:pt x="897" y="971"/>
                  </a:lnTo>
                  <a:lnTo>
                    <a:pt x="897" y="971"/>
                  </a:lnTo>
                  <a:lnTo>
                    <a:pt x="897" y="971"/>
                  </a:lnTo>
                  <a:lnTo>
                    <a:pt x="897" y="970"/>
                  </a:lnTo>
                  <a:lnTo>
                    <a:pt x="895" y="970"/>
                  </a:lnTo>
                  <a:lnTo>
                    <a:pt x="895" y="971"/>
                  </a:lnTo>
                  <a:lnTo>
                    <a:pt x="894" y="971"/>
                  </a:lnTo>
                  <a:lnTo>
                    <a:pt x="894" y="971"/>
                  </a:lnTo>
                  <a:lnTo>
                    <a:pt x="892" y="973"/>
                  </a:lnTo>
                  <a:lnTo>
                    <a:pt x="890" y="975"/>
                  </a:lnTo>
                  <a:lnTo>
                    <a:pt x="892" y="975"/>
                  </a:lnTo>
                  <a:lnTo>
                    <a:pt x="892" y="975"/>
                  </a:lnTo>
                  <a:lnTo>
                    <a:pt x="894" y="973"/>
                  </a:lnTo>
                  <a:lnTo>
                    <a:pt x="894" y="975"/>
                  </a:lnTo>
                  <a:lnTo>
                    <a:pt x="883" y="981"/>
                  </a:lnTo>
                  <a:lnTo>
                    <a:pt x="874" y="982"/>
                  </a:lnTo>
                  <a:lnTo>
                    <a:pt x="870" y="984"/>
                  </a:lnTo>
                  <a:lnTo>
                    <a:pt x="872" y="986"/>
                  </a:lnTo>
                  <a:lnTo>
                    <a:pt x="872" y="986"/>
                  </a:lnTo>
                  <a:close/>
                  <a:moveTo>
                    <a:pt x="950" y="946"/>
                  </a:moveTo>
                  <a:lnTo>
                    <a:pt x="950" y="946"/>
                  </a:lnTo>
                  <a:lnTo>
                    <a:pt x="951" y="946"/>
                  </a:lnTo>
                  <a:lnTo>
                    <a:pt x="951" y="946"/>
                  </a:lnTo>
                  <a:lnTo>
                    <a:pt x="951" y="948"/>
                  </a:lnTo>
                  <a:lnTo>
                    <a:pt x="950" y="948"/>
                  </a:lnTo>
                  <a:lnTo>
                    <a:pt x="950" y="948"/>
                  </a:lnTo>
                  <a:lnTo>
                    <a:pt x="950" y="948"/>
                  </a:lnTo>
                  <a:lnTo>
                    <a:pt x="951" y="948"/>
                  </a:lnTo>
                  <a:lnTo>
                    <a:pt x="951" y="950"/>
                  </a:lnTo>
                  <a:lnTo>
                    <a:pt x="953" y="950"/>
                  </a:lnTo>
                  <a:lnTo>
                    <a:pt x="953" y="948"/>
                  </a:lnTo>
                  <a:lnTo>
                    <a:pt x="955" y="948"/>
                  </a:lnTo>
                  <a:lnTo>
                    <a:pt x="953" y="946"/>
                  </a:lnTo>
                  <a:lnTo>
                    <a:pt x="953" y="946"/>
                  </a:lnTo>
                  <a:lnTo>
                    <a:pt x="953" y="946"/>
                  </a:lnTo>
                  <a:lnTo>
                    <a:pt x="953" y="946"/>
                  </a:lnTo>
                  <a:lnTo>
                    <a:pt x="953" y="944"/>
                  </a:lnTo>
                  <a:lnTo>
                    <a:pt x="951" y="944"/>
                  </a:lnTo>
                  <a:lnTo>
                    <a:pt x="951" y="944"/>
                  </a:lnTo>
                  <a:lnTo>
                    <a:pt x="951" y="944"/>
                  </a:lnTo>
                  <a:lnTo>
                    <a:pt x="951" y="944"/>
                  </a:lnTo>
                  <a:lnTo>
                    <a:pt x="950" y="944"/>
                  </a:lnTo>
                  <a:lnTo>
                    <a:pt x="950" y="946"/>
                  </a:lnTo>
                  <a:lnTo>
                    <a:pt x="950" y="946"/>
                  </a:lnTo>
                  <a:lnTo>
                    <a:pt x="950" y="946"/>
                  </a:lnTo>
                  <a:close/>
                  <a:moveTo>
                    <a:pt x="1024" y="881"/>
                  </a:moveTo>
                  <a:lnTo>
                    <a:pt x="1024" y="883"/>
                  </a:lnTo>
                  <a:lnTo>
                    <a:pt x="1025" y="885"/>
                  </a:lnTo>
                  <a:lnTo>
                    <a:pt x="1025" y="885"/>
                  </a:lnTo>
                  <a:lnTo>
                    <a:pt x="1027" y="887"/>
                  </a:lnTo>
                  <a:lnTo>
                    <a:pt x="1029" y="887"/>
                  </a:lnTo>
                  <a:lnTo>
                    <a:pt x="1029" y="887"/>
                  </a:lnTo>
                  <a:lnTo>
                    <a:pt x="1029" y="887"/>
                  </a:lnTo>
                  <a:lnTo>
                    <a:pt x="1029" y="887"/>
                  </a:lnTo>
                  <a:lnTo>
                    <a:pt x="1031" y="885"/>
                  </a:lnTo>
                  <a:lnTo>
                    <a:pt x="1031" y="885"/>
                  </a:lnTo>
                  <a:lnTo>
                    <a:pt x="1031" y="885"/>
                  </a:lnTo>
                  <a:lnTo>
                    <a:pt x="1031" y="883"/>
                  </a:lnTo>
                  <a:lnTo>
                    <a:pt x="1031" y="881"/>
                  </a:lnTo>
                  <a:lnTo>
                    <a:pt x="1029" y="881"/>
                  </a:lnTo>
                  <a:lnTo>
                    <a:pt x="1029" y="881"/>
                  </a:lnTo>
                  <a:lnTo>
                    <a:pt x="1027" y="878"/>
                  </a:lnTo>
                  <a:lnTo>
                    <a:pt x="1027" y="878"/>
                  </a:lnTo>
                  <a:lnTo>
                    <a:pt x="1027" y="878"/>
                  </a:lnTo>
                  <a:lnTo>
                    <a:pt x="1027" y="879"/>
                  </a:lnTo>
                  <a:lnTo>
                    <a:pt x="1025" y="876"/>
                  </a:lnTo>
                  <a:lnTo>
                    <a:pt x="1025" y="878"/>
                  </a:lnTo>
                  <a:lnTo>
                    <a:pt x="1025" y="879"/>
                  </a:lnTo>
                  <a:lnTo>
                    <a:pt x="1025" y="881"/>
                  </a:lnTo>
                  <a:lnTo>
                    <a:pt x="1025" y="881"/>
                  </a:lnTo>
                  <a:lnTo>
                    <a:pt x="1024" y="881"/>
                  </a:lnTo>
                  <a:close/>
                  <a:moveTo>
                    <a:pt x="1015" y="883"/>
                  </a:moveTo>
                  <a:lnTo>
                    <a:pt x="1013" y="885"/>
                  </a:lnTo>
                  <a:lnTo>
                    <a:pt x="1016" y="890"/>
                  </a:lnTo>
                  <a:lnTo>
                    <a:pt x="1020" y="890"/>
                  </a:lnTo>
                  <a:lnTo>
                    <a:pt x="1022" y="890"/>
                  </a:lnTo>
                  <a:lnTo>
                    <a:pt x="1022" y="892"/>
                  </a:lnTo>
                  <a:lnTo>
                    <a:pt x="1024" y="894"/>
                  </a:lnTo>
                  <a:lnTo>
                    <a:pt x="1027" y="894"/>
                  </a:lnTo>
                  <a:lnTo>
                    <a:pt x="1027" y="896"/>
                  </a:lnTo>
                  <a:lnTo>
                    <a:pt x="1029" y="892"/>
                  </a:lnTo>
                  <a:lnTo>
                    <a:pt x="1029" y="890"/>
                  </a:lnTo>
                  <a:lnTo>
                    <a:pt x="1029" y="890"/>
                  </a:lnTo>
                  <a:lnTo>
                    <a:pt x="1029" y="887"/>
                  </a:lnTo>
                  <a:lnTo>
                    <a:pt x="1022" y="887"/>
                  </a:lnTo>
                  <a:lnTo>
                    <a:pt x="1022" y="885"/>
                  </a:lnTo>
                  <a:lnTo>
                    <a:pt x="1020" y="881"/>
                  </a:lnTo>
                  <a:lnTo>
                    <a:pt x="1018" y="879"/>
                  </a:lnTo>
                  <a:lnTo>
                    <a:pt x="1015" y="876"/>
                  </a:lnTo>
                  <a:lnTo>
                    <a:pt x="1013" y="874"/>
                  </a:lnTo>
                  <a:lnTo>
                    <a:pt x="1011" y="874"/>
                  </a:lnTo>
                  <a:lnTo>
                    <a:pt x="1011" y="874"/>
                  </a:lnTo>
                  <a:lnTo>
                    <a:pt x="1009" y="874"/>
                  </a:lnTo>
                  <a:lnTo>
                    <a:pt x="1009" y="876"/>
                  </a:lnTo>
                  <a:lnTo>
                    <a:pt x="1009" y="878"/>
                  </a:lnTo>
                  <a:lnTo>
                    <a:pt x="1009" y="879"/>
                  </a:lnTo>
                  <a:lnTo>
                    <a:pt x="1011" y="881"/>
                  </a:lnTo>
                  <a:lnTo>
                    <a:pt x="1016" y="881"/>
                  </a:lnTo>
                  <a:lnTo>
                    <a:pt x="1018" y="883"/>
                  </a:lnTo>
                  <a:lnTo>
                    <a:pt x="1016" y="883"/>
                  </a:lnTo>
                  <a:lnTo>
                    <a:pt x="1015" y="883"/>
                  </a:lnTo>
                  <a:close/>
                  <a:moveTo>
                    <a:pt x="1022" y="869"/>
                  </a:moveTo>
                  <a:lnTo>
                    <a:pt x="1016" y="872"/>
                  </a:lnTo>
                  <a:lnTo>
                    <a:pt x="1016" y="872"/>
                  </a:lnTo>
                  <a:lnTo>
                    <a:pt x="1016" y="872"/>
                  </a:lnTo>
                  <a:lnTo>
                    <a:pt x="1015" y="872"/>
                  </a:lnTo>
                  <a:lnTo>
                    <a:pt x="1016" y="874"/>
                  </a:lnTo>
                  <a:lnTo>
                    <a:pt x="1016" y="874"/>
                  </a:lnTo>
                  <a:lnTo>
                    <a:pt x="1016" y="874"/>
                  </a:lnTo>
                  <a:lnTo>
                    <a:pt x="1016" y="876"/>
                  </a:lnTo>
                  <a:lnTo>
                    <a:pt x="1018" y="876"/>
                  </a:lnTo>
                  <a:lnTo>
                    <a:pt x="1018" y="876"/>
                  </a:lnTo>
                  <a:lnTo>
                    <a:pt x="1018" y="876"/>
                  </a:lnTo>
                  <a:lnTo>
                    <a:pt x="1018" y="876"/>
                  </a:lnTo>
                  <a:lnTo>
                    <a:pt x="1020" y="876"/>
                  </a:lnTo>
                  <a:lnTo>
                    <a:pt x="1020" y="876"/>
                  </a:lnTo>
                  <a:lnTo>
                    <a:pt x="1020" y="878"/>
                  </a:lnTo>
                  <a:lnTo>
                    <a:pt x="1022" y="879"/>
                  </a:lnTo>
                  <a:lnTo>
                    <a:pt x="1022" y="879"/>
                  </a:lnTo>
                  <a:lnTo>
                    <a:pt x="1022" y="879"/>
                  </a:lnTo>
                  <a:lnTo>
                    <a:pt x="1024" y="879"/>
                  </a:lnTo>
                  <a:lnTo>
                    <a:pt x="1024" y="879"/>
                  </a:lnTo>
                  <a:lnTo>
                    <a:pt x="1024" y="878"/>
                  </a:lnTo>
                  <a:lnTo>
                    <a:pt x="1024" y="878"/>
                  </a:lnTo>
                  <a:lnTo>
                    <a:pt x="1024" y="878"/>
                  </a:lnTo>
                  <a:lnTo>
                    <a:pt x="1024" y="878"/>
                  </a:lnTo>
                  <a:lnTo>
                    <a:pt x="1024" y="876"/>
                  </a:lnTo>
                  <a:lnTo>
                    <a:pt x="1024" y="876"/>
                  </a:lnTo>
                  <a:lnTo>
                    <a:pt x="1025" y="874"/>
                  </a:lnTo>
                  <a:lnTo>
                    <a:pt x="1025" y="872"/>
                  </a:lnTo>
                  <a:lnTo>
                    <a:pt x="1024" y="870"/>
                  </a:lnTo>
                  <a:lnTo>
                    <a:pt x="1024" y="870"/>
                  </a:lnTo>
                  <a:lnTo>
                    <a:pt x="1024" y="870"/>
                  </a:lnTo>
                  <a:lnTo>
                    <a:pt x="1022" y="869"/>
                  </a:lnTo>
                  <a:close/>
                  <a:moveTo>
                    <a:pt x="1011" y="840"/>
                  </a:moveTo>
                  <a:lnTo>
                    <a:pt x="998" y="850"/>
                  </a:lnTo>
                  <a:lnTo>
                    <a:pt x="998" y="850"/>
                  </a:lnTo>
                  <a:lnTo>
                    <a:pt x="1000" y="850"/>
                  </a:lnTo>
                  <a:lnTo>
                    <a:pt x="1000" y="850"/>
                  </a:lnTo>
                  <a:lnTo>
                    <a:pt x="1002" y="850"/>
                  </a:lnTo>
                  <a:lnTo>
                    <a:pt x="1004" y="849"/>
                  </a:lnTo>
                  <a:lnTo>
                    <a:pt x="1007" y="845"/>
                  </a:lnTo>
                  <a:lnTo>
                    <a:pt x="1011" y="845"/>
                  </a:lnTo>
                  <a:lnTo>
                    <a:pt x="1011" y="845"/>
                  </a:lnTo>
                  <a:lnTo>
                    <a:pt x="1011" y="847"/>
                  </a:lnTo>
                  <a:lnTo>
                    <a:pt x="1011" y="847"/>
                  </a:lnTo>
                  <a:lnTo>
                    <a:pt x="1011" y="849"/>
                  </a:lnTo>
                  <a:lnTo>
                    <a:pt x="1009" y="850"/>
                  </a:lnTo>
                  <a:lnTo>
                    <a:pt x="1009" y="850"/>
                  </a:lnTo>
                  <a:lnTo>
                    <a:pt x="1009" y="850"/>
                  </a:lnTo>
                  <a:lnTo>
                    <a:pt x="1011" y="850"/>
                  </a:lnTo>
                  <a:lnTo>
                    <a:pt x="1011" y="850"/>
                  </a:lnTo>
                  <a:lnTo>
                    <a:pt x="1011" y="850"/>
                  </a:lnTo>
                  <a:lnTo>
                    <a:pt x="1011" y="850"/>
                  </a:lnTo>
                  <a:lnTo>
                    <a:pt x="1011" y="852"/>
                  </a:lnTo>
                  <a:lnTo>
                    <a:pt x="1013" y="852"/>
                  </a:lnTo>
                  <a:lnTo>
                    <a:pt x="1016" y="850"/>
                  </a:lnTo>
                  <a:lnTo>
                    <a:pt x="1018" y="849"/>
                  </a:lnTo>
                  <a:lnTo>
                    <a:pt x="1020" y="845"/>
                  </a:lnTo>
                  <a:lnTo>
                    <a:pt x="1020" y="845"/>
                  </a:lnTo>
                  <a:lnTo>
                    <a:pt x="1020" y="845"/>
                  </a:lnTo>
                  <a:lnTo>
                    <a:pt x="1020" y="845"/>
                  </a:lnTo>
                  <a:lnTo>
                    <a:pt x="1020" y="845"/>
                  </a:lnTo>
                  <a:lnTo>
                    <a:pt x="1018" y="843"/>
                  </a:lnTo>
                  <a:lnTo>
                    <a:pt x="1016" y="843"/>
                  </a:lnTo>
                  <a:lnTo>
                    <a:pt x="1016" y="841"/>
                  </a:lnTo>
                  <a:lnTo>
                    <a:pt x="1016" y="841"/>
                  </a:lnTo>
                  <a:lnTo>
                    <a:pt x="1015" y="840"/>
                  </a:lnTo>
                  <a:lnTo>
                    <a:pt x="1015" y="840"/>
                  </a:lnTo>
                  <a:lnTo>
                    <a:pt x="1013" y="840"/>
                  </a:lnTo>
                  <a:lnTo>
                    <a:pt x="1013" y="838"/>
                  </a:lnTo>
                  <a:lnTo>
                    <a:pt x="1011" y="840"/>
                  </a:lnTo>
                  <a:close/>
                  <a:moveTo>
                    <a:pt x="995" y="849"/>
                  </a:moveTo>
                  <a:lnTo>
                    <a:pt x="995" y="850"/>
                  </a:lnTo>
                  <a:lnTo>
                    <a:pt x="998" y="849"/>
                  </a:lnTo>
                  <a:lnTo>
                    <a:pt x="998" y="847"/>
                  </a:lnTo>
                  <a:lnTo>
                    <a:pt x="1002" y="843"/>
                  </a:lnTo>
                  <a:lnTo>
                    <a:pt x="1006" y="843"/>
                  </a:lnTo>
                  <a:lnTo>
                    <a:pt x="1013" y="836"/>
                  </a:lnTo>
                  <a:lnTo>
                    <a:pt x="1013" y="836"/>
                  </a:lnTo>
                  <a:lnTo>
                    <a:pt x="1013" y="836"/>
                  </a:lnTo>
                  <a:lnTo>
                    <a:pt x="1013" y="836"/>
                  </a:lnTo>
                  <a:lnTo>
                    <a:pt x="1011" y="834"/>
                  </a:lnTo>
                  <a:lnTo>
                    <a:pt x="1009" y="834"/>
                  </a:lnTo>
                  <a:lnTo>
                    <a:pt x="1009" y="834"/>
                  </a:lnTo>
                  <a:lnTo>
                    <a:pt x="1009" y="836"/>
                  </a:lnTo>
                  <a:lnTo>
                    <a:pt x="1006" y="838"/>
                  </a:lnTo>
                  <a:lnTo>
                    <a:pt x="1004" y="840"/>
                  </a:lnTo>
                  <a:lnTo>
                    <a:pt x="1000" y="841"/>
                  </a:lnTo>
                  <a:lnTo>
                    <a:pt x="1000" y="841"/>
                  </a:lnTo>
                  <a:lnTo>
                    <a:pt x="996" y="841"/>
                  </a:lnTo>
                  <a:lnTo>
                    <a:pt x="995" y="843"/>
                  </a:lnTo>
                  <a:lnTo>
                    <a:pt x="995" y="845"/>
                  </a:lnTo>
                  <a:lnTo>
                    <a:pt x="995" y="847"/>
                  </a:lnTo>
                  <a:lnTo>
                    <a:pt x="993" y="849"/>
                  </a:lnTo>
                  <a:lnTo>
                    <a:pt x="993" y="849"/>
                  </a:lnTo>
                  <a:lnTo>
                    <a:pt x="995" y="849"/>
                  </a:lnTo>
                  <a:lnTo>
                    <a:pt x="995" y="849"/>
                  </a:lnTo>
                  <a:close/>
                  <a:moveTo>
                    <a:pt x="1036" y="829"/>
                  </a:moveTo>
                  <a:lnTo>
                    <a:pt x="1038" y="827"/>
                  </a:lnTo>
                  <a:lnTo>
                    <a:pt x="1038" y="827"/>
                  </a:lnTo>
                  <a:lnTo>
                    <a:pt x="1040" y="825"/>
                  </a:lnTo>
                  <a:lnTo>
                    <a:pt x="1040" y="825"/>
                  </a:lnTo>
                  <a:lnTo>
                    <a:pt x="1040" y="825"/>
                  </a:lnTo>
                  <a:lnTo>
                    <a:pt x="1040" y="827"/>
                  </a:lnTo>
                  <a:lnTo>
                    <a:pt x="1040" y="827"/>
                  </a:lnTo>
                  <a:lnTo>
                    <a:pt x="1040" y="827"/>
                  </a:lnTo>
                  <a:lnTo>
                    <a:pt x="1040" y="829"/>
                  </a:lnTo>
                  <a:lnTo>
                    <a:pt x="1040" y="827"/>
                  </a:lnTo>
                  <a:lnTo>
                    <a:pt x="1042" y="827"/>
                  </a:lnTo>
                  <a:lnTo>
                    <a:pt x="1042" y="827"/>
                  </a:lnTo>
                  <a:lnTo>
                    <a:pt x="1042" y="825"/>
                  </a:lnTo>
                  <a:lnTo>
                    <a:pt x="1042" y="825"/>
                  </a:lnTo>
                  <a:lnTo>
                    <a:pt x="1040" y="825"/>
                  </a:lnTo>
                  <a:lnTo>
                    <a:pt x="1040" y="825"/>
                  </a:lnTo>
                  <a:lnTo>
                    <a:pt x="1042" y="823"/>
                  </a:lnTo>
                  <a:lnTo>
                    <a:pt x="1042" y="823"/>
                  </a:lnTo>
                  <a:lnTo>
                    <a:pt x="1043" y="822"/>
                  </a:lnTo>
                  <a:lnTo>
                    <a:pt x="1045" y="822"/>
                  </a:lnTo>
                  <a:lnTo>
                    <a:pt x="1045" y="820"/>
                  </a:lnTo>
                  <a:lnTo>
                    <a:pt x="1045" y="820"/>
                  </a:lnTo>
                  <a:lnTo>
                    <a:pt x="1045" y="818"/>
                  </a:lnTo>
                  <a:lnTo>
                    <a:pt x="1043" y="820"/>
                  </a:lnTo>
                  <a:lnTo>
                    <a:pt x="1043" y="820"/>
                  </a:lnTo>
                  <a:lnTo>
                    <a:pt x="1043" y="820"/>
                  </a:lnTo>
                  <a:lnTo>
                    <a:pt x="1043" y="820"/>
                  </a:lnTo>
                  <a:lnTo>
                    <a:pt x="1043" y="820"/>
                  </a:lnTo>
                  <a:lnTo>
                    <a:pt x="1042" y="820"/>
                  </a:lnTo>
                  <a:lnTo>
                    <a:pt x="1042" y="820"/>
                  </a:lnTo>
                  <a:lnTo>
                    <a:pt x="1040" y="820"/>
                  </a:lnTo>
                  <a:lnTo>
                    <a:pt x="1036" y="820"/>
                  </a:lnTo>
                  <a:lnTo>
                    <a:pt x="1034" y="822"/>
                  </a:lnTo>
                  <a:lnTo>
                    <a:pt x="1034" y="822"/>
                  </a:lnTo>
                  <a:lnTo>
                    <a:pt x="1034" y="822"/>
                  </a:lnTo>
                  <a:lnTo>
                    <a:pt x="1034" y="823"/>
                  </a:lnTo>
                  <a:lnTo>
                    <a:pt x="1033" y="823"/>
                  </a:lnTo>
                  <a:lnTo>
                    <a:pt x="1033" y="825"/>
                  </a:lnTo>
                  <a:lnTo>
                    <a:pt x="1033" y="825"/>
                  </a:lnTo>
                  <a:lnTo>
                    <a:pt x="1033" y="825"/>
                  </a:lnTo>
                  <a:lnTo>
                    <a:pt x="1033" y="825"/>
                  </a:lnTo>
                  <a:lnTo>
                    <a:pt x="1033" y="827"/>
                  </a:lnTo>
                  <a:lnTo>
                    <a:pt x="1034" y="829"/>
                  </a:lnTo>
                  <a:lnTo>
                    <a:pt x="1036" y="829"/>
                  </a:lnTo>
                  <a:close/>
                  <a:moveTo>
                    <a:pt x="1056" y="823"/>
                  </a:moveTo>
                  <a:lnTo>
                    <a:pt x="1056" y="823"/>
                  </a:lnTo>
                  <a:lnTo>
                    <a:pt x="1058" y="823"/>
                  </a:lnTo>
                  <a:lnTo>
                    <a:pt x="1060" y="825"/>
                  </a:lnTo>
                  <a:lnTo>
                    <a:pt x="1060" y="825"/>
                  </a:lnTo>
                  <a:lnTo>
                    <a:pt x="1061" y="825"/>
                  </a:lnTo>
                  <a:lnTo>
                    <a:pt x="1063" y="827"/>
                  </a:lnTo>
                  <a:lnTo>
                    <a:pt x="1065" y="827"/>
                  </a:lnTo>
                  <a:lnTo>
                    <a:pt x="1069" y="825"/>
                  </a:lnTo>
                  <a:lnTo>
                    <a:pt x="1071" y="823"/>
                  </a:lnTo>
                  <a:lnTo>
                    <a:pt x="1072" y="822"/>
                  </a:lnTo>
                  <a:lnTo>
                    <a:pt x="1072" y="820"/>
                  </a:lnTo>
                  <a:lnTo>
                    <a:pt x="1071" y="820"/>
                  </a:lnTo>
                  <a:lnTo>
                    <a:pt x="1069" y="820"/>
                  </a:lnTo>
                  <a:lnTo>
                    <a:pt x="1069" y="818"/>
                  </a:lnTo>
                  <a:lnTo>
                    <a:pt x="1071" y="816"/>
                  </a:lnTo>
                  <a:lnTo>
                    <a:pt x="1071" y="814"/>
                  </a:lnTo>
                  <a:lnTo>
                    <a:pt x="1069" y="813"/>
                  </a:lnTo>
                  <a:lnTo>
                    <a:pt x="1067" y="809"/>
                  </a:lnTo>
                  <a:lnTo>
                    <a:pt x="1067" y="807"/>
                  </a:lnTo>
                  <a:lnTo>
                    <a:pt x="1065" y="807"/>
                  </a:lnTo>
                  <a:lnTo>
                    <a:pt x="1063" y="809"/>
                  </a:lnTo>
                  <a:lnTo>
                    <a:pt x="1063" y="811"/>
                  </a:lnTo>
                  <a:lnTo>
                    <a:pt x="1061" y="813"/>
                  </a:lnTo>
                  <a:lnTo>
                    <a:pt x="1061" y="813"/>
                  </a:lnTo>
                  <a:lnTo>
                    <a:pt x="1061" y="814"/>
                  </a:lnTo>
                  <a:lnTo>
                    <a:pt x="1061" y="816"/>
                  </a:lnTo>
                  <a:lnTo>
                    <a:pt x="1061" y="816"/>
                  </a:lnTo>
                  <a:lnTo>
                    <a:pt x="1061" y="816"/>
                  </a:lnTo>
                  <a:lnTo>
                    <a:pt x="1061" y="818"/>
                  </a:lnTo>
                  <a:lnTo>
                    <a:pt x="1061" y="818"/>
                  </a:lnTo>
                  <a:lnTo>
                    <a:pt x="1063" y="818"/>
                  </a:lnTo>
                  <a:lnTo>
                    <a:pt x="1061" y="818"/>
                  </a:lnTo>
                  <a:lnTo>
                    <a:pt x="1060" y="820"/>
                  </a:lnTo>
                  <a:lnTo>
                    <a:pt x="1060" y="820"/>
                  </a:lnTo>
                  <a:lnTo>
                    <a:pt x="1060" y="822"/>
                  </a:lnTo>
                  <a:lnTo>
                    <a:pt x="1060" y="822"/>
                  </a:lnTo>
                  <a:lnTo>
                    <a:pt x="1060" y="823"/>
                  </a:lnTo>
                  <a:lnTo>
                    <a:pt x="1058" y="823"/>
                  </a:lnTo>
                  <a:lnTo>
                    <a:pt x="1056" y="823"/>
                  </a:lnTo>
                  <a:close/>
                  <a:moveTo>
                    <a:pt x="1067" y="804"/>
                  </a:moveTo>
                  <a:lnTo>
                    <a:pt x="1067" y="804"/>
                  </a:lnTo>
                  <a:lnTo>
                    <a:pt x="1069" y="800"/>
                  </a:lnTo>
                  <a:lnTo>
                    <a:pt x="1069" y="800"/>
                  </a:lnTo>
                  <a:lnTo>
                    <a:pt x="1069" y="800"/>
                  </a:lnTo>
                  <a:lnTo>
                    <a:pt x="1069" y="798"/>
                  </a:lnTo>
                  <a:lnTo>
                    <a:pt x="1069" y="796"/>
                  </a:lnTo>
                  <a:lnTo>
                    <a:pt x="1067" y="796"/>
                  </a:lnTo>
                  <a:lnTo>
                    <a:pt x="1067" y="794"/>
                  </a:lnTo>
                  <a:lnTo>
                    <a:pt x="1067" y="794"/>
                  </a:lnTo>
                  <a:lnTo>
                    <a:pt x="1069" y="794"/>
                  </a:lnTo>
                  <a:lnTo>
                    <a:pt x="1074" y="793"/>
                  </a:lnTo>
                  <a:lnTo>
                    <a:pt x="1074" y="793"/>
                  </a:lnTo>
                  <a:lnTo>
                    <a:pt x="1076" y="793"/>
                  </a:lnTo>
                  <a:lnTo>
                    <a:pt x="1076" y="791"/>
                  </a:lnTo>
                  <a:lnTo>
                    <a:pt x="1076" y="791"/>
                  </a:lnTo>
                  <a:lnTo>
                    <a:pt x="1080" y="789"/>
                  </a:lnTo>
                  <a:lnTo>
                    <a:pt x="1080" y="787"/>
                  </a:lnTo>
                  <a:lnTo>
                    <a:pt x="1081" y="787"/>
                  </a:lnTo>
                  <a:lnTo>
                    <a:pt x="1083" y="785"/>
                  </a:lnTo>
                  <a:lnTo>
                    <a:pt x="1081" y="785"/>
                  </a:lnTo>
                  <a:lnTo>
                    <a:pt x="1081" y="785"/>
                  </a:lnTo>
                  <a:lnTo>
                    <a:pt x="1080" y="784"/>
                  </a:lnTo>
                  <a:lnTo>
                    <a:pt x="1080" y="782"/>
                  </a:lnTo>
                  <a:lnTo>
                    <a:pt x="1080" y="780"/>
                  </a:lnTo>
                  <a:lnTo>
                    <a:pt x="1080" y="778"/>
                  </a:lnTo>
                  <a:lnTo>
                    <a:pt x="1080" y="776"/>
                  </a:lnTo>
                  <a:lnTo>
                    <a:pt x="1078" y="773"/>
                  </a:lnTo>
                  <a:lnTo>
                    <a:pt x="1076" y="771"/>
                  </a:lnTo>
                  <a:lnTo>
                    <a:pt x="1074" y="769"/>
                  </a:lnTo>
                  <a:lnTo>
                    <a:pt x="1074" y="769"/>
                  </a:lnTo>
                  <a:lnTo>
                    <a:pt x="1072" y="769"/>
                  </a:lnTo>
                  <a:lnTo>
                    <a:pt x="1072" y="766"/>
                  </a:lnTo>
                  <a:lnTo>
                    <a:pt x="1071" y="764"/>
                  </a:lnTo>
                  <a:lnTo>
                    <a:pt x="1071" y="764"/>
                  </a:lnTo>
                  <a:lnTo>
                    <a:pt x="1069" y="766"/>
                  </a:lnTo>
                  <a:lnTo>
                    <a:pt x="1069" y="767"/>
                  </a:lnTo>
                  <a:lnTo>
                    <a:pt x="1069" y="767"/>
                  </a:lnTo>
                  <a:lnTo>
                    <a:pt x="1069" y="767"/>
                  </a:lnTo>
                  <a:lnTo>
                    <a:pt x="1069" y="767"/>
                  </a:lnTo>
                  <a:lnTo>
                    <a:pt x="1069" y="771"/>
                  </a:lnTo>
                  <a:lnTo>
                    <a:pt x="1069" y="771"/>
                  </a:lnTo>
                  <a:lnTo>
                    <a:pt x="1067" y="775"/>
                  </a:lnTo>
                  <a:lnTo>
                    <a:pt x="1069" y="775"/>
                  </a:lnTo>
                  <a:lnTo>
                    <a:pt x="1067" y="776"/>
                  </a:lnTo>
                  <a:lnTo>
                    <a:pt x="1069" y="776"/>
                  </a:lnTo>
                  <a:lnTo>
                    <a:pt x="1071" y="776"/>
                  </a:lnTo>
                  <a:lnTo>
                    <a:pt x="1072" y="775"/>
                  </a:lnTo>
                  <a:lnTo>
                    <a:pt x="1072" y="775"/>
                  </a:lnTo>
                  <a:lnTo>
                    <a:pt x="1072" y="776"/>
                  </a:lnTo>
                  <a:lnTo>
                    <a:pt x="1072" y="776"/>
                  </a:lnTo>
                  <a:lnTo>
                    <a:pt x="1074" y="776"/>
                  </a:lnTo>
                  <a:lnTo>
                    <a:pt x="1071" y="780"/>
                  </a:lnTo>
                  <a:lnTo>
                    <a:pt x="1067" y="782"/>
                  </a:lnTo>
                  <a:lnTo>
                    <a:pt x="1065" y="785"/>
                  </a:lnTo>
                  <a:lnTo>
                    <a:pt x="1065" y="785"/>
                  </a:lnTo>
                  <a:lnTo>
                    <a:pt x="1065" y="787"/>
                  </a:lnTo>
                  <a:lnTo>
                    <a:pt x="1065" y="787"/>
                  </a:lnTo>
                  <a:lnTo>
                    <a:pt x="1065" y="787"/>
                  </a:lnTo>
                  <a:lnTo>
                    <a:pt x="1067" y="787"/>
                  </a:lnTo>
                  <a:lnTo>
                    <a:pt x="1067" y="787"/>
                  </a:lnTo>
                  <a:lnTo>
                    <a:pt x="1067" y="787"/>
                  </a:lnTo>
                  <a:lnTo>
                    <a:pt x="1067" y="789"/>
                  </a:lnTo>
                  <a:lnTo>
                    <a:pt x="1067" y="791"/>
                  </a:lnTo>
                  <a:lnTo>
                    <a:pt x="1067" y="791"/>
                  </a:lnTo>
                  <a:lnTo>
                    <a:pt x="1065" y="791"/>
                  </a:lnTo>
                  <a:lnTo>
                    <a:pt x="1065" y="789"/>
                  </a:lnTo>
                  <a:lnTo>
                    <a:pt x="1063" y="789"/>
                  </a:lnTo>
                  <a:lnTo>
                    <a:pt x="1063" y="791"/>
                  </a:lnTo>
                  <a:lnTo>
                    <a:pt x="1063" y="793"/>
                  </a:lnTo>
                  <a:lnTo>
                    <a:pt x="1061" y="794"/>
                  </a:lnTo>
                  <a:lnTo>
                    <a:pt x="1061" y="796"/>
                  </a:lnTo>
                  <a:lnTo>
                    <a:pt x="1061" y="796"/>
                  </a:lnTo>
                  <a:lnTo>
                    <a:pt x="1061" y="796"/>
                  </a:lnTo>
                  <a:lnTo>
                    <a:pt x="1063" y="796"/>
                  </a:lnTo>
                  <a:lnTo>
                    <a:pt x="1063" y="796"/>
                  </a:lnTo>
                  <a:lnTo>
                    <a:pt x="1061" y="802"/>
                  </a:lnTo>
                  <a:lnTo>
                    <a:pt x="1061" y="805"/>
                  </a:lnTo>
                  <a:lnTo>
                    <a:pt x="1060" y="807"/>
                  </a:lnTo>
                  <a:lnTo>
                    <a:pt x="1061" y="807"/>
                  </a:lnTo>
                  <a:lnTo>
                    <a:pt x="1067" y="804"/>
                  </a:lnTo>
                  <a:close/>
                  <a:moveTo>
                    <a:pt x="1049" y="760"/>
                  </a:moveTo>
                  <a:lnTo>
                    <a:pt x="1051" y="760"/>
                  </a:lnTo>
                  <a:lnTo>
                    <a:pt x="1049" y="760"/>
                  </a:lnTo>
                  <a:lnTo>
                    <a:pt x="1051" y="762"/>
                  </a:lnTo>
                  <a:lnTo>
                    <a:pt x="1051" y="762"/>
                  </a:lnTo>
                  <a:lnTo>
                    <a:pt x="1051" y="760"/>
                  </a:lnTo>
                  <a:lnTo>
                    <a:pt x="1051" y="760"/>
                  </a:lnTo>
                  <a:lnTo>
                    <a:pt x="1052" y="760"/>
                  </a:lnTo>
                  <a:lnTo>
                    <a:pt x="1052" y="762"/>
                  </a:lnTo>
                  <a:lnTo>
                    <a:pt x="1052" y="762"/>
                  </a:lnTo>
                  <a:lnTo>
                    <a:pt x="1052" y="762"/>
                  </a:lnTo>
                  <a:lnTo>
                    <a:pt x="1052" y="762"/>
                  </a:lnTo>
                  <a:lnTo>
                    <a:pt x="1054" y="758"/>
                  </a:lnTo>
                  <a:lnTo>
                    <a:pt x="1056" y="757"/>
                  </a:lnTo>
                  <a:lnTo>
                    <a:pt x="1056" y="757"/>
                  </a:lnTo>
                  <a:lnTo>
                    <a:pt x="1056" y="755"/>
                  </a:lnTo>
                  <a:lnTo>
                    <a:pt x="1054" y="753"/>
                  </a:lnTo>
                  <a:lnTo>
                    <a:pt x="1056" y="753"/>
                  </a:lnTo>
                  <a:lnTo>
                    <a:pt x="1058" y="751"/>
                  </a:lnTo>
                  <a:lnTo>
                    <a:pt x="1058" y="751"/>
                  </a:lnTo>
                  <a:lnTo>
                    <a:pt x="1056" y="749"/>
                  </a:lnTo>
                  <a:lnTo>
                    <a:pt x="1056" y="749"/>
                  </a:lnTo>
                  <a:lnTo>
                    <a:pt x="1056" y="749"/>
                  </a:lnTo>
                  <a:lnTo>
                    <a:pt x="1054" y="749"/>
                  </a:lnTo>
                  <a:lnTo>
                    <a:pt x="1052" y="748"/>
                  </a:lnTo>
                  <a:lnTo>
                    <a:pt x="1051" y="748"/>
                  </a:lnTo>
                  <a:lnTo>
                    <a:pt x="1049" y="749"/>
                  </a:lnTo>
                  <a:lnTo>
                    <a:pt x="1047" y="751"/>
                  </a:lnTo>
                  <a:lnTo>
                    <a:pt x="1047" y="755"/>
                  </a:lnTo>
                  <a:lnTo>
                    <a:pt x="1045" y="757"/>
                  </a:lnTo>
                  <a:lnTo>
                    <a:pt x="1045" y="758"/>
                  </a:lnTo>
                  <a:lnTo>
                    <a:pt x="1045" y="760"/>
                  </a:lnTo>
                  <a:lnTo>
                    <a:pt x="1049" y="760"/>
                  </a:lnTo>
                  <a:close/>
                  <a:moveTo>
                    <a:pt x="1080" y="728"/>
                  </a:moveTo>
                  <a:lnTo>
                    <a:pt x="1080" y="728"/>
                  </a:lnTo>
                  <a:lnTo>
                    <a:pt x="1078" y="728"/>
                  </a:lnTo>
                  <a:lnTo>
                    <a:pt x="1080" y="728"/>
                  </a:lnTo>
                  <a:lnTo>
                    <a:pt x="1081" y="728"/>
                  </a:lnTo>
                  <a:lnTo>
                    <a:pt x="1089" y="719"/>
                  </a:lnTo>
                  <a:lnTo>
                    <a:pt x="1090" y="719"/>
                  </a:lnTo>
                  <a:lnTo>
                    <a:pt x="1094" y="715"/>
                  </a:lnTo>
                  <a:lnTo>
                    <a:pt x="1099" y="713"/>
                  </a:lnTo>
                  <a:lnTo>
                    <a:pt x="1101" y="711"/>
                  </a:lnTo>
                  <a:lnTo>
                    <a:pt x="1103" y="711"/>
                  </a:lnTo>
                  <a:lnTo>
                    <a:pt x="1099" y="710"/>
                  </a:lnTo>
                  <a:lnTo>
                    <a:pt x="1098" y="710"/>
                  </a:lnTo>
                  <a:lnTo>
                    <a:pt x="1094" y="711"/>
                  </a:lnTo>
                  <a:lnTo>
                    <a:pt x="1092" y="713"/>
                  </a:lnTo>
                  <a:lnTo>
                    <a:pt x="1090" y="713"/>
                  </a:lnTo>
                  <a:lnTo>
                    <a:pt x="1090" y="715"/>
                  </a:lnTo>
                  <a:lnTo>
                    <a:pt x="1089" y="715"/>
                  </a:lnTo>
                  <a:lnTo>
                    <a:pt x="1089" y="715"/>
                  </a:lnTo>
                  <a:lnTo>
                    <a:pt x="1087" y="715"/>
                  </a:lnTo>
                  <a:lnTo>
                    <a:pt x="1089" y="713"/>
                  </a:lnTo>
                  <a:lnTo>
                    <a:pt x="1090" y="711"/>
                  </a:lnTo>
                  <a:lnTo>
                    <a:pt x="1089" y="710"/>
                  </a:lnTo>
                  <a:lnTo>
                    <a:pt x="1087" y="710"/>
                  </a:lnTo>
                  <a:lnTo>
                    <a:pt x="1081" y="713"/>
                  </a:lnTo>
                  <a:lnTo>
                    <a:pt x="1081" y="715"/>
                  </a:lnTo>
                  <a:lnTo>
                    <a:pt x="1080" y="717"/>
                  </a:lnTo>
                  <a:lnTo>
                    <a:pt x="1080" y="719"/>
                  </a:lnTo>
                  <a:lnTo>
                    <a:pt x="1078" y="720"/>
                  </a:lnTo>
                  <a:lnTo>
                    <a:pt x="1076" y="724"/>
                  </a:lnTo>
                  <a:lnTo>
                    <a:pt x="1076" y="726"/>
                  </a:lnTo>
                  <a:lnTo>
                    <a:pt x="1081" y="724"/>
                  </a:lnTo>
                  <a:lnTo>
                    <a:pt x="1081" y="726"/>
                  </a:lnTo>
                  <a:lnTo>
                    <a:pt x="1080" y="728"/>
                  </a:lnTo>
                  <a:close/>
                  <a:moveTo>
                    <a:pt x="1085" y="702"/>
                  </a:moveTo>
                  <a:lnTo>
                    <a:pt x="1087" y="702"/>
                  </a:lnTo>
                  <a:lnTo>
                    <a:pt x="1087" y="702"/>
                  </a:lnTo>
                  <a:lnTo>
                    <a:pt x="1089" y="701"/>
                  </a:lnTo>
                  <a:lnTo>
                    <a:pt x="1090" y="701"/>
                  </a:lnTo>
                  <a:lnTo>
                    <a:pt x="1090" y="699"/>
                  </a:lnTo>
                  <a:lnTo>
                    <a:pt x="1089" y="699"/>
                  </a:lnTo>
                  <a:lnTo>
                    <a:pt x="1089" y="699"/>
                  </a:lnTo>
                  <a:lnTo>
                    <a:pt x="1087" y="699"/>
                  </a:lnTo>
                  <a:lnTo>
                    <a:pt x="1087" y="699"/>
                  </a:lnTo>
                  <a:lnTo>
                    <a:pt x="1087" y="697"/>
                  </a:lnTo>
                  <a:lnTo>
                    <a:pt x="1089" y="697"/>
                  </a:lnTo>
                  <a:lnTo>
                    <a:pt x="1085" y="697"/>
                  </a:lnTo>
                  <a:lnTo>
                    <a:pt x="1085" y="695"/>
                  </a:lnTo>
                  <a:lnTo>
                    <a:pt x="1087" y="693"/>
                  </a:lnTo>
                  <a:lnTo>
                    <a:pt x="1087" y="693"/>
                  </a:lnTo>
                  <a:lnTo>
                    <a:pt x="1087" y="692"/>
                  </a:lnTo>
                  <a:lnTo>
                    <a:pt x="1087" y="690"/>
                  </a:lnTo>
                  <a:lnTo>
                    <a:pt x="1087" y="688"/>
                  </a:lnTo>
                  <a:lnTo>
                    <a:pt x="1087" y="688"/>
                  </a:lnTo>
                  <a:lnTo>
                    <a:pt x="1087" y="686"/>
                  </a:lnTo>
                  <a:lnTo>
                    <a:pt x="1085" y="684"/>
                  </a:lnTo>
                  <a:lnTo>
                    <a:pt x="1085" y="684"/>
                  </a:lnTo>
                  <a:lnTo>
                    <a:pt x="1085" y="688"/>
                  </a:lnTo>
                  <a:lnTo>
                    <a:pt x="1083" y="688"/>
                  </a:lnTo>
                  <a:lnTo>
                    <a:pt x="1083" y="688"/>
                  </a:lnTo>
                  <a:lnTo>
                    <a:pt x="1078" y="692"/>
                  </a:lnTo>
                  <a:lnTo>
                    <a:pt x="1078" y="692"/>
                  </a:lnTo>
                  <a:lnTo>
                    <a:pt x="1080" y="692"/>
                  </a:lnTo>
                  <a:lnTo>
                    <a:pt x="1081" y="692"/>
                  </a:lnTo>
                  <a:lnTo>
                    <a:pt x="1085" y="692"/>
                  </a:lnTo>
                  <a:lnTo>
                    <a:pt x="1085" y="693"/>
                  </a:lnTo>
                  <a:lnTo>
                    <a:pt x="1083" y="695"/>
                  </a:lnTo>
                  <a:lnTo>
                    <a:pt x="1081" y="695"/>
                  </a:lnTo>
                  <a:lnTo>
                    <a:pt x="1081" y="697"/>
                  </a:lnTo>
                  <a:lnTo>
                    <a:pt x="1081" y="699"/>
                  </a:lnTo>
                  <a:lnTo>
                    <a:pt x="1081" y="699"/>
                  </a:lnTo>
                  <a:lnTo>
                    <a:pt x="1080" y="699"/>
                  </a:lnTo>
                  <a:lnTo>
                    <a:pt x="1078" y="699"/>
                  </a:lnTo>
                  <a:lnTo>
                    <a:pt x="1076" y="701"/>
                  </a:lnTo>
                  <a:lnTo>
                    <a:pt x="1074" y="702"/>
                  </a:lnTo>
                  <a:lnTo>
                    <a:pt x="1074" y="702"/>
                  </a:lnTo>
                  <a:lnTo>
                    <a:pt x="1074" y="702"/>
                  </a:lnTo>
                  <a:lnTo>
                    <a:pt x="1076" y="702"/>
                  </a:lnTo>
                  <a:lnTo>
                    <a:pt x="1078" y="702"/>
                  </a:lnTo>
                  <a:lnTo>
                    <a:pt x="1078" y="701"/>
                  </a:lnTo>
                  <a:lnTo>
                    <a:pt x="1078" y="702"/>
                  </a:lnTo>
                  <a:lnTo>
                    <a:pt x="1078" y="702"/>
                  </a:lnTo>
                  <a:lnTo>
                    <a:pt x="1076" y="704"/>
                  </a:lnTo>
                  <a:lnTo>
                    <a:pt x="1076" y="706"/>
                  </a:lnTo>
                  <a:lnTo>
                    <a:pt x="1076" y="706"/>
                  </a:lnTo>
                  <a:lnTo>
                    <a:pt x="1074" y="706"/>
                  </a:lnTo>
                  <a:lnTo>
                    <a:pt x="1074" y="708"/>
                  </a:lnTo>
                  <a:lnTo>
                    <a:pt x="1072" y="711"/>
                  </a:lnTo>
                  <a:lnTo>
                    <a:pt x="1083" y="704"/>
                  </a:lnTo>
                  <a:lnTo>
                    <a:pt x="1085" y="702"/>
                  </a:lnTo>
                  <a:close/>
                  <a:moveTo>
                    <a:pt x="1092" y="682"/>
                  </a:moveTo>
                  <a:lnTo>
                    <a:pt x="1094" y="682"/>
                  </a:lnTo>
                  <a:lnTo>
                    <a:pt x="1094" y="684"/>
                  </a:lnTo>
                  <a:lnTo>
                    <a:pt x="1096" y="684"/>
                  </a:lnTo>
                  <a:lnTo>
                    <a:pt x="1096" y="686"/>
                  </a:lnTo>
                  <a:lnTo>
                    <a:pt x="1098" y="684"/>
                  </a:lnTo>
                  <a:lnTo>
                    <a:pt x="1098" y="686"/>
                  </a:lnTo>
                  <a:lnTo>
                    <a:pt x="1099" y="684"/>
                  </a:lnTo>
                  <a:lnTo>
                    <a:pt x="1099" y="684"/>
                  </a:lnTo>
                  <a:lnTo>
                    <a:pt x="1101" y="682"/>
                  </a:lnTo>
                  <a:lnTo>
                    <a:pt x="1101" y="682"/>
                  </a:lnTo>
                  <a:lnTo>
                    <a:pt x="1101" y="681"/>
                  </a:lnTo>
                  <a:lnTo>
                    <a:pt x="1101" y="679"/>
                  </a:lnTo>
                  <a:lnTo>
                    <a:pt x="1101" y="677"/>
                  </a:lnTo>
                  <a:lnTo>
                    <a:pt x="1101" y="677"/>
                  </a:lnTo>
                  <a:lnTo>
                    <a:pt x="1101" y="677"/>
                  </a:lnTo>
                  <a:lnTo>
                    <a:pt x="1099" y="677"/>
                  </a:lnTo>
                  <a:lnTo>
                    <a:pt x="1099" y="675"/>
                  </a:lnTo>
                  <a:lnTo>
                    <a:pt x="1099" y="675"/>
                  </a:lnTo>
                  <a:lnTo>
                    <a:pt x="1098" y="675"/>
                  </a:lnTo>
                  <a:lnTo>
                    <a:pt x="1098" y="675"/>
                  </a:lnTo>
                  <a:lnTo>
                    <a:pt x="1098" y="675"/>
                  </a:lnTo>
                  <a:lnTo>
                    <a:pt x="1098" y="675"/>
                  </a:lnTo>
                  <a:lnTo>
                    <a:pt x="1098" y="673"/>
                  </a:lnTo>
                  <a:lnTo>
                    <a:pt x="1098" y="673"/>
                  </a:lnTo>
                  <a:lnTo>
                    <a:pt x="1098" y="675"/>
                  </a:lnTo>
                  <a:lnTo>
                    <a:pt x="1098" y="675"/>
                  </a:lnTo>
                  <a:lnTo>
                    <a:pt x="1096" y="675"/>
                  </a:lnTo>
                  <a:lnTo>
                    <a:pt x="1094" y="679"/>
                  </a:lnTo>
                  <a:lnTo>
                    <a:pt x="1094" y="679"/>
                  </a:lnTo>
                  <a:lnTo>
                    <a:pt x="1092" y="681"/>
                  </a:lnTo>
                  <a:lnTo>
                    <a:pt x="1092" y="681"/>
                  </a:lnTo>
                  <a:lnTo>
                    <a:pt x="1092" y="682"/>
                  </a:lnTo>
                  <a:lnTo>
                    <a:pt x="1092" y="682"/>
                  </a:lnTo>
                  <a:lnTo>
                    <a:pt x="1092" y="682"/>
                  </a:lnTo>
                  <a:close/>
                  <a:moveTo>
                    <a:pt x="1101" y="661"/>
                  </a:moveTo>
                  <a:lnTo>
                    <a:pt x="1101" y="661"/>
                  </a:lnTo>
                  <a:lnTo>
                    <a:pt x="1103" y="663"/>
                  </a:lnTo>
                  <a:lnTo>
                    <a:pt x="1103" y="663"/>
                  </a:lnTo>
                  <a:lnTo>
                    <a:pt x="1103" y="663"/>
                  </a:lnTo>
                  <a:lnTo>
                    <a:pt x="1103" y="664"/>
                  </a:lnTo>
                  <a:lnTo>
                    <a:pt x="1105" y="663"/>
                  </a:lnTo>
                  <a:lnTo>
                    <a:pt x="1105" y="661"/>
                  </a:lnTo>
                  <a:lnTo>
                    <a:pt x="1105" y="659"/>
                  </a:lnTo>
                  <a:lnTo>
                    <a:pt x="1105" y="655"/>
                  </a:lnTo>
                  <a:lnTo>
                    <a:pt x="1105" y="655"/>
                  </a:lnTo>
                  <a:lnTo>
                    <a:pt x="1105" y="655"/>
                  </a:lnTo>
                  <a:lnTo>
                    <a:pt x="1103" y="655"/>
                  </a:lnTo>
                  <a:lnTo>
                    <a:pt x="1103" y="655"/>
                  </a:lnTo>
                  <a:lnTo>
                    <a:pt x="1103" y="657"/>
                  </a:lnTo>
                  <a:lnTo>
                    <a:pt x="1103" y="659"/>
                  </a:lnTo>
                  <a:lnTo>
                    <a:pt x="1103" y="659"/>
                  </a:lnTo>
                  <a:lnTo>
                    <a:pt x="1103" y="659"/>
                  </a:lnTo>
                  <a:lnTo>
                    <a:pt x="1103" y="657"/>
                  </a:lnTo>
                  <a:lnTo>
                    <a:pt x="1103" y="657"/>
                  </a:lnTo>
                  <a:lnTo>
                    <a:pt x="1103" y="655"/>
                  </a:lnTo>
                  <a:lnTo>
                    <a:pt x="1101" y="655"/>
                  </a:lnTo>
                  <a:lnTo>
                    <a:pt x="1101" y="655"/>
                  </a:lnTo>
                  <a:lnTo>
                    <a:pt x="1099" y="657"/>
                  </a:lnTo>
                  <a:lnTo>
                    <a:pt x="1098" y="657"/>
                  </a:lnTo>
                  <a:lnTo>
                    <a:pt x="1098" y="659"/>
                  </a:lnTo>
                  <a:lnTo>
                    <a:pt x="1098" y="659"/>
                  </a:lnTo>
                  <a:lnTo>
                    <a:pt x="1099" y="659"/>
                  </a:lnTo>
                  <a:lnTo>
                    <a:pt x="1099" y="661"/>
                  </a:lnTo>
                  <a:lnTo>
                    <a:pt x="1099" y="663"/>
                  </a:lnTo>
                  <a:lnTo>
                    <a:pt x="1098" y="664"/>
                  </a:lnTo>
                  <a:lnTo>
                    <a:pt x="1098" y="664"/>
                  </a:lnTo>
                  <a:lnTo>
                    <a:pt x="1098" y="664"/>
                  </a:lnTo>
                  <a:lnTo>
                    <a:pt x="1098" y="666"/>
                  </a:lnTo>
                  <a:lnTo>
                    <a:pt x="1099" y="666"/>
                  </a:lnTo>
                  <a:lnTo>
                    <a:pt x="1099" y="666"/>
                  </a:lnTo>
                  <a:lnTo>
                    <a:pt x="1099" y="666"/>
                  </a:lnTo>
                  <a:lnTo>
                    <a:pt x="1099" y="666"/>
                  </a:lnTo>
                  <a:lnTo>
                    <a:pt x="1101" y="668"/>
                  </a:lnTo>
                  <a:lnTo>
                    <a:pt x="1101" y="668"/>
                  </a:lnTo>
                  <a:lnTo>
                    <a:pt x="1101" y="668"/>
                  </a:lnTo>
                  <a:lnTo>
                    <a:pt x="1101" y="668"/>
                  </a:lnTo>
                  <a:lnTo>
                    <a:pt x="1101" y="666"/>
                  </a:lnTo>
                  <a:lnTo>
                    <a:pt x="1101" y="664"/>
                  </a:lnTo>
                  <a:lnTo>
                    <a:pt x="1101" y="663"/>
                  </a:lnTo>
                  <a:lnTo>
                    <a:pt x="1101" y="661"/>
                  </a:lnTo>
                  <a:close/>
                  <a:moveTo>
                    <a:pt x="1170" y="572"/>
                  </a:moveTo>
                  <a:lnTo>
                    <a:pt x="1170" y="569"/>
                  </a:lnTo>
                  <a:lnTo>
                    <a:pt x="1172" y="565"/>
                  </a:lnTo>
                  <a:lnTo>
                    <a:pt x="1170" y="565"/>
                  </a:lnTo>
                  <a:lnTo>
                    <a:pt x="1168" y="567"/>
                  </a:lnTo>
                  <a:lnTo>
                    <a:pt x="1166" y="570"/>
                  </a:lnTo>
                  <a:lnTo>
                    <a:pt x="1166" y="572"/>
                  </a:lnTo>
                  <a:lnTo>
                    <a:pt x="1164" y="572"/>
                  </a:lnTo>
                  <a:lnTo>
                    <a:pt x="1164" y="572"/>
                  </a:lnTo>
                  <a:lnTo>
                    <a:pt x="1161" y="570"/>
                  </a:lnTo>
                  <a:lnTo>
                    <a:pt x="1161" y="570"/>
                  </a:lnTo>
                  <a:lnTo>
                    <a:pt x="1161" y="572"/>
                  </a:lnTo>
                  <a:lnTo>
                    <a:pt x="1159" y="574"/>
                  </a:lnTo>
                  <a:lnTo>
                    <a:pt x="1157" y="576"/>
                  </a:lnTo>
                  <a:lnTo>
                    <a:pt x="1157" y="576"/>
                  </a:lnTo>
                  <a:lnTo>
                    <a:pt x="1157" y="578"/>
                  </a:lnTo>
                  <a:lnTo>
                    <a:pt x="1161" y="578"/>
                  </a:lnTo>
                  <a:lnTo>
                    <a:pt x="1163" y="580"/>
                  </a:lnTo>
                  <a:lnTo>
                    <a:pt x="1164" y="583"/>
                  </a:lnTo>
                  <a:lnTo>
                    <a:pt x="1164" y="583"/>
                  </a:lnTo>
                  <a:lnTo>
                    <a:pt x="1164" y="583"/>
                  </a:lnTo>
                  <a:lnTo>
                    <a:pt x="1164" y="585"/>
                  </a:lnTo>
                  <a:lnTo>
                    <a:pt x="1164" y="587"/>
                  </a:lnTo>
                  <a:lnTo>
                    <a:pt x="1166" y="587"/>
                  </a:lnTo>
                  <a:lnTo>
                    <a:pt x="1166" y="587"/>
                  </a:lnTo>
                  <a:lnTo>
                    <a:pt x="1168" y="585"/>
                  </a:lnTo>
                  <a:lnTo>
                    <a:pt x="1168" y="585"/>
                  </a:lnTo>
                  <a:lnTo>
                    <a:pt x="1168" y="585"/>
                  </a:lnTo>
                  <a:lnTo>
                    <a:pt x="1166" y="585"/>
                  </a:lnTo>
                  <a:lnTo>
                    <a:pt x="1168" y="583"/>
                  </a:lnTo>
                  <a:lnTo>
                    <a:pt x="1168" y="581"/>
                  </a:lnTo>
                  <a:lnTo>
                    <a:pt x="1166" y="576"/>
                  </a:lnTo>
                  <a:lnTo>
                    <a:pt x="1168" y="574"/>
                  </a:lnTo>
                  <a:lnTo>
                    <a:pt x="1170" y="572"/>
                  </a:lnTo>
                  <a:close/>
                  <a:moveTo>
                    <a:pt x="1172" y="538"/>
                  </a:moveTo>
                  <a:lnTo>
                    <a:pt x="1175" y="536"/>
                  </a:lnTo>
                  <a:lnTo>
                    <a:pt x="1177" y="536"/>
                  </a:lnTo>
                  <a:lnTo>
                    <a:pt x="1177" y="534"/>
                  </a:lnTo>
                  <a:lnTo>
                    <a:pt x="1179" y="533"/>
                  </a:lnTo>
                  <a:lnTo>
                    <a:pt x="1177" y="533"/>
                  </a:lnTo>
                  <a:lnTo>
                    <a:pt x="1177" y="533"/>
                  </a:lnTo>
                  <a:lnTo>
                    <a:pt x="1177" y="533"/>
                  </a:lnTo>
                  <a:lnTo>
                    <a:pt x="1177" y="533"/>
                  </a:lnTo>
                  <a:lnTo>
                    <a:pt x="1177" y="531"/>
                  </a:lnTo>
                  <a:lnTo>
                    <a:pt x="1177" y="531"/>
                  </a:lnTo>
                  <a:lnTo>
                    <a:pt x="1177" y="531"/>
                  </a:lnTo>
                  <a:lnTo>
                    <a:pt x="1175" y="531"/>
                  </a:lnTo>
                  <a:lnTo>
                    <a:pt x="1173" y="533"/>
                  </a:lnTo>
                  <a:lnTo>
                    <a:pt x="1172" y="534"/>
                  </a:lnTo>
                  <a:lnTo>
                    <a:pt x="1170" y="536"/>
                  </a:lnTo>
                  <a:lnTo>
                    <a:pt x="1170" y="536"/>
                  </a:lnTo>
                  <a:lnTo>
                    <a:pt x="1170" y="536"/>
                  </a:lnTo>
                  <a:lnTo>
                    <a:pt x="1170" y="536"/>
                  </a:lnTo>
                  <a:lnTo>
                    <a:pt x="1170" y="536"/>
                  </a:lnTo>
                  <a:lnTo>
                    <a:pt x="1168" y="538"/>
                  </a:lnTo>
                  <a:lnTo>
                    <a:pt x="1168" y="538"/>
                  </a:lnTo>
                  <a:lnTo>
                    <a:pt x="1170" y="538"/>
                  </a:lnTo>
                  <a:lnTo>
                    <a:pt x="1170" y="538"/>
                  </a:lnTo>
                  <a:lnTo>
                    <a:pt x="1172" y="538"/>
                  </a:lnTo>
                  <a:lnTo>
                    <a:pt x="1172" y="538"/>
                  </a:lnTo>
                  <a:close/>
                  <a:moveTo>
                    <a:pt x="1206" y="462"/>
                  </a:moveTo>
                  <a:lnTo>
                    <a:pt x="1206" y="464"/>
                  </a:lnTo>
                  <a:lnTo>
                    <a:pt x="1206" y="466"/>
                  </a:lnTo>
                  <a:lnTo>
                    <a:pt x="1206" y="468"/>
                  </a:lnTo>
                  <a:lnTo>
                    <a:pt x="1206" y="468"/>
                  </a:lnTo>
                  <a:lnTo>
                    <a:pt x="1208" y="468"/>
                  </a:lnTo>
                  <a:lnTo>
                    <a:pt x="1213" y="468"/>
                  </a:lnTo>
                  <a:lnTo>
                    <a:pt x="1215" y="468"/>
                  </a:lnTo>
                  <a:lnTo>
                    <a:pt x="1215" y="468"/>
                  </a:lnTo>
                  <a:lnTo>
                    <a:pt x="1219" y="468"/>
                  </a:lnTo>
                  <a:lnTo>
                    <a:pt x="1219" y="468"/>
                  </a:lnTo>
                  <a:lnTo>
                    <a:pt x="1220" y="468"/>
                  </a:lnTo>
                  <a:lnTo>
                    <a:pt x="1222" y="466"/>
                  </a:lnTo>
                  <a:lnTo>
                    <a:pt x="1222" y="464"/>
                  </a:lnTo>
                  <a:lnTo>
                    <a:pt x="1222" y="464"/>
                  </a:lnTo>
                  <a:lnTo>
                    <a:pt x="1222" y="464"/>
                  </a:lnTo>
                  <a:lnTo>
                    <a:pt x="1220" y="464"/>
                  </a:lnTo>
                  <a:lnTo>
                    <a:pt x="1220" y="464"/>
                  </a:lnTo>
                  <a:lnTo>
                    <a:pt x="1220" y="466"/>
                  </a:lnTo>
                  <a:lnTo>
                    <a:pt x="1220" y="464"/>
                  </a:lnTo>
                  <a:lnTo>
                    <a:pt x="1220" y="464"/>
                  </a:lnTo>
                  <a:lnTo>
                    <a:pt x="1219" y="464"/>
                  </a:lnTo>
                  <a:lnTo>
                    <a:pt x="1219" y="464"/>
                  </a:lnTo>
                  <a:lnTo>
                    <a:pt x="1219" y="462"/>
                  </a:lnTo>
                  <a:lnTo>
                    <a:pt x="1215" y="462"/>
                  </a:lnTo>
                  <a:lnTo>
                    <a:pt x="1215" y="462"/>
                  </a:lnTo>
                  <a:lnTo>
                    <a:pt x="1213" y="459"/>
                  </a:lnTo>
                  <a:lnTo>
                    <a:pt x="1213" y="459"/>
                  </a:lnTo>
                  <a:lnTo>
                    <a:pt x="1213" y="459"/>
                  </a:lnTo>
                  <a:lnTo>
                    <a:pt x="1213" y="457"/>
                  </a:lnTo>
                  <a:lnTo>
                    <a:pt x="1213" y="457"/>
                  </a:lnTo>
                  <a:lnTo>
                    <a:pt x="1213" y="457"/>
                  </a:lnTo>
                  <a:lnTo>
                    <a:pt x="1211" y="457"/>
                  </a:lnTo>
                  <a:lnTo>
                    <a:pt x="1211" y="459"/>
                  </a:lnTo>
                  <a:lnTo>
                    <a:pt x="1210" y="460"/>
                  </a:lnTo>
                  <a:lnTo>
                    <a:pt x="1210" y="460"/>
                  </a:lnTo>
                  <a:lnTo>
                    <a:pt x="1210" y="460"/>
                  </a:lnTo>
                  <a:lnTo>
                    <a:pt x="1208" y="460"/>
                  </a:lnTo>
                  <a:lnTo>
                    <a:pt x="1206" y="460"/>
                  </a:lnTo>
                  <a:lnTo>
                    <a:pt x="1206" y="460"/>
                  </a:lnTo>
                  <a:lnTo>
                    <a:pt x="1206" y="460"/>
                  </a:lnTo>
                  <a:lnTo>
                    <a:pt x="1206" y="462"/>
                  </a:lnTo>
                  <a:lnTo>
                    <a:pt x="1206" y="462"/>
                  </a:lnTo>
                  <a:close/>
                  <a:moveTo>
                    <a:pt x="1233" y="457"/>
                  </a:moveTo>
                  <a:lnTo>
                    <a:pt x="1233" y="457"/>
                  </a:lnTo>
                  <a:lnTo>
                    <a:pt x="1233" y="457"/>
                  </a:lnTo>
                  <a:lnTo>
                    <a:pt x="1238" y="459"/>
                  </a:lnTo>
                  <a:lnTo>
                    <a:pt x="1240" y="459"/>
                  </a:lnTo>
                  <a:lnTo>
                    <a:pt x="1240" y="459"/>
                  </a:lnTo>
                  <a:lnTo>
                    <a:pt x="1240" y="457"/>
                  </a:lnTo>
                  <a:lnTo>
                    <a:pt x="1242" y="455"/>
                  </a:lnTo>
                  <a:lnTo>
                    <a:pt x="1244" y="455"/>
                  </a:lnTo>
                  <a:lnTo>
                    <a:pt x="1246" y="457"/>
                  </a:lnTo>
                  <a:lnTo>
                    <a:pt x="1249" y="459"/>
                  </a:lnTo>
                  <a:lnTo>
                    <a:pt x="1251" y="459"/>
                  </a:lnTo>
                  <a:lnTo>
                    <a:pt x="1253" y="457"/>
                  </a:lnTo>
                  <a:lnTo>
                    <a:pt x="1255" y="457"/>
                  </a:lnTo>
                  <a:lnTo>
                    <a:pt x="1255" y="455"/>
                  </a:lnTo>
                  <a:lnTo>
                    <a:pt x="1253" y="455"/>
                  </a:lnTo>
                  <a:lnTo>
                    <a:pt x="1253" y="455"/>
                  </a:lnTo>
                  <a:lnTo>
                    <a:pt x="1251" y="453"/>
                  </a:lnTo>
                  <a:lnTo>
                    <a:pt x="1249" y="453"/>
                  </a:lnTo>
                  <a:lnTo>
                    <a:pt x="1237" y="453"/>
                  </a:lnTo>
                  <a:lnTo>
                    <a:pt x="1235" y="453"/>
                  </a:lnTo>
                  <a:lnTo>
                    <a:pt x="1233" y="455"/>
                  </a:lnTo>
                  <a:lnTo>
                    <a:pt x="1233" y="455"/>
                  </a:lnTo>
                  <a:lnTo>
                    <a:pt x="1231" y="455"/>
                  </a:lnTo>
                  <a:lnTo>
                    <a:pt x="1231" y="455"/>
                  </a:lnTo>
                  <a:lnTo>
                    <a:pt x="1231" y="457"/>
                  </a:lnTo>
                  <a:lnTo>
                    <a:pt x="1231" y="457"/>
                  </a:lnTo>
                  <a:lnTo>
                    <a:pt x="1233" y="457"/>
                  </a:lnTo>
                  <a:close/>
                  <a:moveTo>
                    <a:pt x="1220" y="455"/>
                  </a:moveTo>
                  <a:lnTo>
                    <a:pt x="1219" y="453"/>
                  </a:lnTo>
                  <a:lnTo>
                    <a:pt x="1219" y="451"/>
                  </a:lnTo>
                  <a:lnTo>
                    <a:pt x="1219" y="451"/>
                  </a:lnTo>
                  <a:lnTo>
                    <a:pt x="1219" y="451"/>
                  </a:lnTo>
                  <a:lnTo>
                    <a:pt x="1219" y="453"/>
                  </a:lnTo>
                  <a:lnTo>
                    <a:pt x="1217" y="453"/>
                  </a:lnTo>
                  <a:lnTo>
                    <a:pt x="1217" y="455"/>
                  </a:lnTo>
                  <a:lnTo>
                    <a:pt x="1215" y="455"/>
                  </a:lnTo>
                  <a:lnTo>
                    <a:pt x="1215" y="457"/>
                  </a:lnTo>
                  <a:lnTo>
                    <a:pt x="1215" y="457"/>
                  </a:lnTo>
                  <a:lnTo>
                    <a:pt x="1215" y="457"/>
                  </a:lnTo>
                  <a:lnTo>
                    <a:pt x="1215" y="459"/>
                  </a:lnTo>
                  <a:lnTo>
                    <a:pt x="1215" y="460"/>
                  </a:lnTo>
                  <a:lnTo>
                    <a:pt x="1217" y="460"/>
                  </a:lnTo>
                  <a:lnTo>
                    <a:pt x="1220" y="460"/>
                  </a:lnTo>
                  <a:lnTo>
                    <a:pt x="1222" y="459"/>
                  </a:lnTo>
                  <a:lnTo>
                    <a:pt x="1220" y="457"/>
                  </a:lnTo>
                  <a:lnTo>
                    <a:pt x="1220" y="455"/>
                  </a:lnTo>
                  <a:close/>
                  <a:moveTo>
                    <a:pt x="1101" y="480"/>
                  </a:moveTo>
                  <a:lnTo>
                    <a:pt x="1101" y="477"/>
                  </a:lnTo>
                  <a:lnTo>
                    <a:pt x="1101" y="475"/>
                  </a:lnTo>
                  <a:lnTo>
                    <a:pt x="1107" y="473"/>
                  </a:lnTo>
                  <a:lnTo>
                    <a:pt x="1108" y="473"/>
                  </a:lnTo>
                  <a:lnTo>
                    <a:pt x="1108" y="471"/>
                  </a:lnTo>
                  <a:lnTo>
                    <a:pt x="1108" y="471"/>
                  </a:lnTo>
                  <a:lnTo>
                    <a:pt x="1108" y="471"/>
                  </a:lnTo>
                  <a:lnTo>
                    <a:pt x="1108" y="469"/>
                  </a:lnTo>
                  <a:lnTo>
                    <a:pt x="1108" y="469"/>
                  </a:lnTo>
                  <a:lnTo>
                    <a:pt x="1110" y="468"/>
                  </a:lnTo>
                  <a:lnTo>
                    <a:pt x="1108" y="466"/>
                  </a:lnTo>
                  <a:lnTo>
                    <a:pt x="1108" y="466"/>
                  </a:lnTo>
                  <a:lnTo>
                    <a:pt x="1107" y="466"/>
                  </a:lnTo>
                  <a:lnTo>
                    <a:pt x="1105" y="466"/>
                  </a:lnTo>
                  <a:lnTo>
                    <a:pt x="1105" y="464"/>
                  </a:lnTo>
                  <a:lnTo>
                    <a:pt x="1105" y="464"/>
                  </a:lnTo>
                  <a:lnTo>
                    <a:pt x="1105" y="462"/>
                  </a:lnTo>
                  <a:lnTo>
                    <a:pt x="1107" y="464"/>
                  </a:lnTo>
                  <a:lnTo>
                    <a:pt x="1107" y="460"/>
                  </a:lnTo>
                  <a:lnTo>
                    <a:pt x="1107" y="460"/>
                  </a:lnTo>
                  <a:lnTo>
                    <a:pt x="1108" y="464"/>
                  </a:lnTo>
                  <a:lnTo>
                    <a:pt x="1110" y="464"/>
                  </a:lnTo>
                  <a:lnTo>
                    <a:pt x="1112" y="464"/>
                  </a:lnTo>
                  <a:lnTo>
                    <a:pt x="1114" y="464"/>
                  </a:lnTo>
                  <a:lnTo>
                    <a:pt x="1114" y="462"/>
                  </a:lnTo>
                  <a:lnTo>
                    <a:pt x="1114" y="460"/>
                  </a:lnTo>
                  <a:lnTo>
                    <a:pt x="1114" y="459"/>
                  </a:lnTo>
                  <a:lnTo>
                    <a:pt x="1112" y="455"/>
                  </a:lnTo>
                  <a:lnTo>
                    <a:pt x="1112" y="453"/>
                  </a:lnTo>
                  <a:lnTo>
                    <a:pt x="1112" y="453"/>
                  </a:lnTo>
                  <a:lnTo>
                    <a:pt x="1112" y="455"/>
                  </a:lnTo>
                  <a:lnTo>
                    <a:pt x="1110" y="455"/>
                  </a:lnTo>
                  <a:lnTo>
                    <a:pt x="1110" y="455"/>
                  </a:lnTo>
                  <a:lnTo>
                    <a:pt x="1110" y="455"/>
                  </a:lnTo>
                  <a:lnTo>
                    <a:pt x="1110" y="453"/>
                  </a:lnTo>
                  <a:lnTo>
                    <a:pt x="1110" y="451"/>
                  </a:lnTo>
                  <a:lnTo>
                    <a:pt x="1110" y="451"/>
                  </a:lnTo>
                  <a:lnTo>
                    <a:pt x="1112" y="451"/>
                  </a:lnTo>
                  <a:lnTo>
                    <a:pt x="1114" y="451"/>
                  </a:lnTo>
                  <a:lnTo>
                    <a:pt x="1114" y="449"/>
                  </a:lnTo>
                  <a:lnTo>
                    <a:pt x="1112" y="449"/>
                  </a:lnTo>
                  <a:lnTo>
                    <a:pt x="1112" y="449"/>
                  </a:lnTo>
                  <a:lnTo>
                    <a:pt x="1112" y="448"/>
                  </a:lnTo>
                  <a:lnTo>
                    <a:pt x="1114" y="448"/>
                  </a:lnTo>
                  <a:lnTo>
                    <a:pt x="1114" y="448"/>
                  </a:lnTo>
                  <a:lnTo>
                    <a:pt x="1114" y="446"/>
                  </a:lnTo>
                  <a:lnTo>
                    <a:pt x="1116" y="446"/>
                  </a:lnTo>
                  <a:lnTo>
                    <a:pt x="1116" y="444"/>
                  </a:lnTo>
                  <a:lnTo>
                    <a:pt x="1110" y="442"/>
                  </a:lnTo>
                  <a:lnTo>
                    <a:pt x="1110" y="442"/>
                  </a:lnTo>
                  <a:lnTo>
                    <a:pt x="1110" y="442"/>
                  </a:lnTo>
                  <a:lnTo>
                    <a:pt x="1110" y="444"/>
                  </a:lnTo>
                  <a:lnTo>
                    <a:pt x="1110" y="444"/>
                  </a:lnTo>
                  <a:lnTo>
                    <a:pt x="1110" y="444"/>
                  </a:lnTo>
                  <a:lnTo>
                    <a:pt x="1110" y="446"/>
                  </a:lnTo>
                  <a:lnTo>
                    <a:pt x="1110" y="448"/>
                  </a:lnTo>
                  <a:lnTo>
                    <a:pt x="1108" y="449"/>
                  </a:lnTo>
                  <a:lnTo>
                    <a:pt x="1107" y="449"/>
                  </a:lnTo>
                  <a:lnTo>
                    <a:pt x="1107" y="451"/>
                  </a:lnTo>
                  <a:lnTo>
                    <a:pt x="1103" y="459"/>
                  </a:lnTo>
                  <a:lnTo>
                    <a:pt x="1103" y="459"/>
                  </a:lnTo>
                  <a:lnTo>
                    <a:pt x="1103" y="460"/>
                  </a:lnTo>
                  <a:lnTo>
                    <a:pt x="1103" y="460"/>
                  </a:lnTo>
                  <a:lnTo>
                    <a:pt x="1103" y="462"/>
                  </a:lnTo>
                  <a:lnTo>
                    <a:pt x="1103" y="462"/>
                  </a:lnTo>
                  <a:lnTo>
                    <a:pt x="1101" y="462"/>
                  </a:lnTo>
                  <a:lnTo>
                    <a:pt x="1101" y="464"/>
                  </a:lnTo>
                  <a:lnTo>
                    <a:pt x="1101" y="466"/>
                  </a:lnTo>
                  <a:lnTo>
                    <a:pt x="1101" y="468"/>
                  </a:lnTo>
                  <a:lnTo>
                    <a:pt x="1099" y="469"/>
                  </a:lnTo>
                  <a:lnTo>
                    <a:pt x="1099" y="471"/>
                  </a:lnTo>
                  <a:lnTo>
                    <a:pt x="1099" y="473"/>
                  </a:lnTo>
                  <a:lnTo>
                    <a:pt x="1099" y="473"/>
                  </a:lnTo>
                  <a:lnTo>
                    <a:pt x="1099" y="475"/>
                  </a:lnTo>
                  <a:lnTo>
                    <a:pt x="1099" y="475"/>
                  </a:lnTo>
                  <a:lnTo>
                    <a:pt x="1099" y="477"/>
                  </a:lnTo>
                  <a:lnTo>
                    <a:pt x="1099" y="477"/>
                  </a:lnTo>
                  <a:lnTo>
                    <a:pt x="1098" y="480"/>
                  </a:lnTo>
                  <a:lnTo>
                    <a:pt x="1096" y="482"/>
                  </a:lnTo>
                  <a:lnTo>
                    <a:pt x="1099" y="480"/>
                  </a:lnTo>
                  <a:lnTo>
                    <a:pt x="1101" y="480"/>
                  </a:lnTo>
                  <a:close/>
                  <a:moveTo>
                    <a:pt x="1116" y="455"/>
                  </a:moveTo>
                  <a:lnTo>
                    <a:pt x="1116" y="455"/>
                  </a:lnTo>
                  <a:lnTo>
                    <a:pt x="1117" y="453"/>
                  </a:lnTo>
                  <a:lnTo>
                    <a:pt x="1117" y="453"/>
                  </a:lnTo>
                  <a:lnTo>
                    <a:pt x="1117" y="451"/>
                  </a:lnTo>
                  <a:lnTo>
                    <a:pt x="1117" y="451"/>
                  </a:lnTo>
                  <a:lnTo>
                    <a:pt x="1117" y="451"/>
                  </a:lnTo>
                  <a:lnTo>
                    <a:pt x="1117" y="453"/>
                  </a:lnTo>
                  <a:lnTo>
                    <a:pt x="1117" y="457"/>
                  </a:lnTo>
                  <a:lnTo>
                    <a:pt x="1119" y="459"/>
                  </a:lnTo>
                  <a:lnTo>
                    <a:pt x="1121" y="457"/>
                  </a:lnTo>
                  <a:lnTo>
                    <a:pt x="1123" y="453"/>
                  </a:lnTo>
                  <a:lnTo>
                    <a:pt x="1123" y="453"/>
                  </a:lnTo>
                  <a:lnTo>
                    <a:pt x="1125" y="455"/>
                  </a:lnTo>
                  <a:lnTo>
                    <a:pt x="1125" y="455"/>
                  </a:lnTo>
                  <a:lnTo>
                    <a:pt x="1127" y="453"/>
                  </a:lnTo>
                  <a:lnTo>
                    <a:pt x="1127" y="449"/>
                  </a:lnTo>
                  <a:lnTo>
                    <a:pt x="1127" y="449"/>
                  </a:lnTo>
                  <a:lnTo>
                    <a:pt x="1127" y="448"/>
                  </a:lnTo>
                  <a:lnTo>
                    <a:pt x="1128" y="446"/>
                  </a:lnTo>
                  <a:lnTo>
                    <a:pt x="1128" y="439"/>
                  </a:lnTo>
                  <a:lnTo>
                    <a:pt x="1128" y="439"/>
                  </a:lnTo>
                  <a:lnTo>
                    <a:pt x="1128" y="437"/>
                  </a:lnTo>
                  <a:lnTo>
                    <a:pt x="1127" y="437"/>
                  </a:lnTo>
                  <a:lnTo>
                    <a:pt x="1123" y="435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1" y="440"/>
                  </a:lnTo>
                  <a:lnTo>
                    <a:pt x="1123" y="442"/>
                  </a:lnTo>
                  <a:lnTo>
                    <a:pt x="1125" y="444"/>
                  </a:lnTo>
                  <a:lnTo>
                    <a:pt x="1123" y="448"/>
                  </a:lnTo>
                  <a:lnTo>
                    <a:pt x="1123" y="448"/>
                  </a:lnTo>
                  <a:lnTo>
                    <a:pt x="1121" y="448"/>
                  </a:lnTo>
                  <a:lnTo>
                    <a:pt x="1121" y="444"/>
                  </a:lnTo>
                  <a:lnTo>
                    <a:pt x="1119" y="444"/>
                  </a:lnTo>
                  <a:lnTo>
                    <a:pt x="1119" y="444"/>
                  </a:lnTo>
                  <a:lnTo>
                    <a:pt x="1116" y="448"/>
                  </a:lnTo>
                  <a:lnTo>
                    <a:pt x="1116" y="449"/>
                  </a:lnTo>
                  <a:lnTo>
                    <a:pt x="1116" y="451"/>
                  </a:lnTo>
                  <a:lnTo>
                    <a:pt x="1116" y="453"/>
                  </a:lnTo>
                  <a:lnTo>
                    <a:pt x="1116" y="455"/>
                  </a:lnTo>
                  <a:lnTo>
                    <a:pt x="1116" y="455"/>
                  </a:lnTo>
                  <a:close/>
                  <a:moveTo>
                    <a:pt x="1199" y="421"/>
                  </a:moveTo>
                  <a:lnTo>
                    <a:pt x="1197" y="422"/>
                  </a:lnTo>
                  <a:lnTo>
                    <a:pt x="1199" y="426"/>
                  </a:lnTo>
                  <a:lnTo>
                    <a:pt x="1199" y="426"/>
                  </a:lnTo>
                  <a:lnTo>
                    <a:pt x="1201" y="426"/>
                  </a:lnTo>
                  <a:lnTo>
                    <a:pt x="1202" y="424"/>
                  </a:lnTo>
                  <a:lnTo>
                    <a:pt x="1204" y="419"/>
                  </a:lnTo>
                  <a:lnTo>
                    <a:pt x="1204" y="415"/>
                  </a:lnTo>
                  <a:lnTo>
                    <a:pt x="1202" y="415"/>
                  </a:lnTo>
                  <a:lnTo>
                    <a:pt x="1199" y="421"/>
                  </a:lnTo>
                  <a:close/>
                  <a:moveTo>
                    <a:pt x="1161" y="417"/>
                  </a:moveTo>
                  <a:lnTo>
                    <a:pt x="1163" y="417"/>
                  </a:lnTo>
                  <a:lnTo>
                    <a:pt x="1164" y="417"/>
                  </a:lnTo>
                  <a:lnTo>
                    <a:pt x="1164" y="419"/>
                  </a:lnTo>
                  <a:lnTo>
                    <a:pt x="1164" y="419"/>
                  </a:lnTo>
                  <a:lnTo>
                    <a:pt x="1164" y="421"/>
                  </a:lnTo>
                  <a:lnTo>
                    <a:pt x="1168" y="422"/>
                  </a:lnTo>
                  <a:lnTo>
                    <a:pt x="1170" y="422"/>
                  </a:lnTo>
                  <a:lnTo>
                    <a:pt x="1170" y="419"/>
                  </a:lnTo>
                  <a:lnTo>
                    <a:pt x="1170" y="413"/>
                  </a:lnTo>
                  <a:lnTo>
                    <a:pt x="1166" y="413"/>
                  </a:lnTo>
                  <a:lnTo>
                    <a:pt x="1166" y="413"/>
                  </a:lnTo>
                  <a:lnTo>
                    <a:pt x="1164" y="412"/>
                  </a:lnTo>
                  <a:lnTo>
                    <a:pt x="1163" y="412"/>
                  </a:lnTo>
                  <a:lnTo>
                    <a:pt x="1161" y="412"/>
                  </a:lnTo>
                  <a:lnTo>
                    <a:pt x="1161" y="413"/>
                  </a:lnTo>
                  <a:lnTo>
                    <a:pt x="1159" y="413"/>
                  </a:lnTo>
                  <a:lnTo>
                    <a:pt x="1161" y="417"/>
                  </a:lnTo>
                  <a:close/>
                  <a:moveTo>
                    <a:pt x="1130" y="446"/>
                  </a:moveTo>
                  <a:lnTo>
                    <a:pt x="1132" y="451"/>
                  </a:lnTo>
                  <a:lnTo>
                    <a:pt x="1134" y="451"/>
                  </a:lnTo>
                  <a:lnTo>
                    <a:pt x="1134" y="449"/>
                  </a:lnTo>
                  <a:lnTo>
                    <a:pt x="1134" y="446"/>
                  </a:lnTo>
                  <a:lnTo>
                    <a:pt x="1134" y="448"/>
                  </a:lnTo>
                  <a:lnTo>
                    <a:pt x="1136" y="446"/>
                  </a:lnTo>
                  <a:lnTo>
                    <a:pt x="1136" y="446"/>
                  </a:lnTo>
                  <a:lnTo>
                    <a:pt x="1136" y="444"/>
                  </a:lnTo>
                  <a:lnTo>
                    <a:pt x="1136" y="444"/>
                  </a:lnTo>
                  <a:lnTo>
                    <a:pt x="1134" y="444"/>
                  </a:lnTo>
                  <a:lnTo>
                    <a:pt x="1134" y="444"/>
                  </a:lnTo>
                  <a:lnTo>
                    <a:pt x="1134" y="442"/>
                  </a:lnTo>
                  <a:lnTo>
                    <a:pt x="1136" y="440"/>
                  </a:lnTo>
                  <a:lnTo>
                    <a:pt x="1137" y="440"/>
                  </a:lnTo>
                  <a:lnTo>
                    <a:pt x="1139" y="442"/>
                  </a:lnTo>
                  <a:lnTo>
                    <a:pt x="1139" y="444"/>
                  </a:lnTo>
                  <a:lnTo>
                    <a:pt x="1139" y="446"/>
                  </a:lnTo>
                  <a:lnTo>
                    <a:pt x="1139" y="446"/>
                  </a:lnTo>
                  <a:lnTo>
                    <a:pt x="1139" y="446"/>
                  </a:lnTo>
                  <a:lnTo>
                    <a:pt x="1139" y="446"/>
                  </a:lnTo>
                  <a:lnTo>
                    <a:pt x="1141" y="446"/>
                  </a:lnTo>
                  <a:lnTo>
                    <a:pt x="1141" y="448"/>
                  </a:lnTo>
                  <a:lnTo>
                    <a:pt x="1143" y="448"/>
                  </a:lnTo>
                  <a:lnTo>
                    <a:pt x="1143" y="446"/>
                  </a:lnTo>
                  <a:lnTo>
                    <a:pt x="1143" y="446"/>
                  </a:lnTo>
                  <a:lnTo>
                    <a:pt x="1143" y="444"/>
                  </a:lnTo>
                  <a:lnTo>
                    <a:pt x="1143" y="442"/>
                  </a:lnTo>
                  <a:lnTo>
                    <a:pt x="1143" y="442"/>
                  </a:lnTo>
                  <a:lnTo>
                    <a:pt x="1143" y="440"/>
                  </a:lnTo>
                  <a:lnTo>
                    <a:pt x="1143" y="440"/>
                  </a:lnTo>
                  <a:lnTo>
                    <a:pt x="1145" y="439"/>
                  </a:lnTo>
                  <a:lnTo>
                    <a:pt x="1145" y="440"/>
                  </a:lnTo>
                  <a:lnTo>
                    <a:pt x="1145" y="442"/>
                  </a:lnTo>
                  <a:lnTo>
                    <a:pt x="1145" y="442"/>
                  </a:lnTo>
                  <a:lnTo>
                    <a:pt x="1146" y="442"/>
                  </a:lnTo>
                  <a:lnTo>
                    <a:pt x="1148" y="442"/>
                  </a:lnTo>
                  <a:lnTo>
                    <a:pt x="1148" y="440"/>
                  </a:lnTo>
                  <a:lnTo>
                    <a:pt x="1150" y="440"/>
                  </a:lnTo>
                  <a:lnTo>
                    <a:pt x="1150" y="439"/>
                  </a:lnTo>
                  <a:lnTo>
                    <a:pt x="1148" y="437"/>
                  </a:lnTo>
                  <a:lnTo>
                    <a:pt x="1146" y="437"/>
                  </a:lnTo>
                  <a:lnTo>
                    <a:pt x="1146" y="435"/>
                  </a:lnTo>
                  <a:lnTo>
                    <a:pt x="1150" y="435"/>
                  </a:lnTo>
                  <a:lnTo>
                    <a:pt x="1150" y="435"/>
                  </a:lnTo>
                  <a:lnTo>
                    <a:pt x="1150" y="433"/>
                  </a:lnTo>
                  <a:lnTo>
                    <a:pt x="1150" y="433"/>
                  </a:lnTo>
                  <a:lnTo>
                    <a:pt x="1152" y="431"/>
                  </a:lnTo>
                  <a:lnTo>
                    <a:pt x="1152" y="431"/>
                  </a:lnTo>
                  <a:lnTo>
                    <a:pt x="1152" y="433"/>
                  </a:lnTo>
                  <a:lnTo>
                    <a:pt x="1152" y="433"/>
                  </a:lnTo>
                  <a:lnTo>
                    <a:pt x="1154" y="433"/>
                  </a:lnTo>
                  <a:lnTo>
                    <a:pt x="1154" y="433"/>
                  </a:lnTo>
                  <a:lnTo>
                    <a:pt x="1155" y="433"/>
                  </a:lnTo>
                  <a:lnTo>
                    <a:pt x="1159" y="431"/>
                  </a:lnTo>
                  <a:lnTo>
                    <a:pt x="1159" y="431"/>
                  </a:lnTo>
                  <a:lnTo>
                    <a:pt x="1159" y="431"/>
                  </a:lnTo>
                  <a:lnTo>
                    <a:pt x="1161" y="430"/>
                  </a:lnTo>
                  <a:lnTo>
                    <a:pt x="1163" y="428"/>
                  </a:lnTo>
                  <a:lnTo>
                    <a:pt x="1164" y="422"/>
                  </a:lnTo>
                  <a:lnTo>
                    <a:pt x="1163" y="419"/>
                  </a:lnTo>
                  <a:lnTo>
                    <a:pt x="1161" y="419"/>
                  </a:lnTo>
                  <a:lnTo>
                    <a:pt x="1159" y="421"/>
                  </a:lnTo>
                  <a:lnTo>
                    <a:pt x="1157" y="422"/>
                  </a:lnTo>
                  <a:lnTo>
                    <a:pt x="1155" y="421"/>
                  </a:lnTo>
                  <a:lnTo>
                    <a:pt x="1157" y="417"/>
                  </a:lnTo>
                  <a:lnTo>
                    <a:pt x="1155" y="412"/>
                  </a:lnTo>
                  <a:lnTo>
                    <a:pt x="1154" y="410"/>
                  </a:lnTo>
                  <a:lnTo>
                    <a:pt x="1150" y="412"/>
                  </a:lnTo>
                  <a:lnTo>
                    <a:pt x="1150" y="415"/>
                  </a:lnTo>
                  <a:lnTo>
                    <a:pt x="1148" y="417"/>
                  </a:lnTo>
                  <a:lnTo>
                    <a:pt x="1148" y="417"/>
                  </a:lnTo>
                  <a:lnTo>
                    <a:pt x="1148" y="419"/>
                  </a:lnTo>
                  <a:lnTo>
                    <a:pt x="1146" y="421"/>
                  </a:lnTo>
                  <a:lnTo>
                    <a:pt x="1146" y="421"/>
                  </a:lnTo>
                  <a:lnTo>
                    <a:pt x="1146" y="419"/>
                  </a:lnTo>
                  <a:lnTo>
                    <a:pt x="1145" y="419"/>
                  </a:lnTo>
                  <a:lnTo>
                    <a:pt x="1145" y="419"/>
                  </a:lnTo>
                  <a:lnTo>
                    <a:pt x="1143" y="419"/>
                  </a:lnTo>
                  <a:lnTo>
                    <a:pt x="1143" y="419"/>
                  </a:lnTo>
                  <a:lnTo>
                    <a:pt x="1141" y="417"/>
                  </a:lnTo>
                  <a:lnTo>
                    <a:pt x="1141" y="417"/>
                  </a:lnTo>
                  <a:lnTo>
                    <a:pt x="1141" y="417"/>
                  </a:lnTo>
                  <a:lnTo>
                    <a:pt x="1139" y="417"/>
                  </a:lnTo>
                  <a:lnTo>
                    <a:pt x="1132" y="424"/>
                  </a:lnTo>
                  <a:lnTo>
                    <a:pt x="1136" y="424"/>
                  </a:lnTo>
                  <a:lnTo>
                    <a:pt x="1136" y="424"/>
                  </a:lnTo>
                  <a:lnTo>
                    <a:pt x="1137" y="426"/>
                  </a:lnTo>
                  <a:lnTo>
                    <a:pt x="1137" y="426"/>
                  </a:lnTo>
                  <a:lnTo>
                    <a:pt x="1136" y="428"/>
                  </a:lnTo>
                  <a:lnTo>
                    <a:pt x="1134" y="428"/>
                  </a:lnTo>
                  <a:lnTo>
                    <a:pt x="1132" y="431"/>
                  </a:lnTo>
                  <a:lnTo>
                    <a:pt x="1134" y="431"/>
                  </a:lnTo>
                  <a:lnTo>
                    <a:pt x="1134" y="433"/>
                  </a:lnTo>
                  <a:lnTo>
                    <a:pt x="1132" y="433"/>
                  </a:lnTo>
                  <a:lnTo>
                    <a:pt x="1132" y="435"/>
                  </a:lnTo>
                  <a:lnTo>
                    <a:pt x="1132" y="435"/>
                  </a:lnTo>
                  <a:lnTo>
                    <a:pt x="1132" y="435"/>
                  </a:lnTo>
                  <a:lnTo>
                    <a:pt x="1132" y="437"/>
                  </a:lnTo>
                  <a:lnTo>
                    <a:pt x="1132" y="437"/>
                  </a:lnTo>
                  <a:lnTo>
                    <a:pt x="1132" y="437"/>
                  </a:lnTo>
                  <a:lnTo>
                    <a:pt x="1132" y="437"/>
                  </a:lnTo>
                  <a:lnTo>
                    <a:pt x="1132" y="439"/>
                  </a:lnTo>
                  <a:lnTo>
                    <a:pt x="1132" y="439"/>
                  </a:lnTo>
                  <a:lnTo>
                    <a:pt x="1136" y="435"/>
                  </a:lnTo>
                  <a:lnTo>
                    <a:pt x="1137" y="435"/>
                  </a:lnTo>
                  <a:lnTo>
                    <a:pt x="1132" y="442"/>
                  </a:lnTo>
                  <a:lnTo>
                    <a:pt x="1130" y="446"/>
                  </a:lnTo>
                  <a:close/>
                  <a:moveTo>
                    <a:pt x="1172" y="424"/>
                  </a:moveTo>
                  <a:lnTo>
                    <a:pt x="1172" y="424"/>
                  </a:lnTo>
                  <a:lnTo>
                    <a:pt x="1175" y="424"/>
                  </a:lnTo>
                  <a:lnTo>
                    <a:pt x="1173" y="424"/>
                  </a:lnTo>
                  <a:lnTo>
                    <a:pt x="1168" y="426"/>
                  </a:lnTo>
                  <a:lnTo>
                    <a:pt x="1166" y="430"/>
                  </a:lnTo>
                  <a:lnTo>
                    <a:pt x="1168" y="430"/>
                  </a:lnTo>
                  <a:lnTo>
                    <a:pt x="1168" y="431"/>
                  </a:lnTo>
                  <a:lnTo>
                    <a:pt x="1168" y="431"/>
                  </a:lnTo>
                  <a:lnTo>
                    <a:pt x="1168" y="431"/>
                  </a:lnTo>
                  <a:lnTo>
                    <a:pt x="1168" y="433"/>
                  </a:lnTo>
                  <a:lnTo>
                    <a:pt x="1168" y="433"/>
                  </a:lnTo>
                  <a:lnTo>
                    <a:pt x="1168" y="433"/>
                  </a:lnTo>
                  <a:lnTo>
                    <a:pt x="1168" y="433"/>
                  </a:lnTo>
                  <a:lnTo>
                    <a:pt x="1168" y="433"/>
                  </a:lnTo>
                  <a:lnTo>
                    <a:pt x="1166" y="435"/>
                  </a:lnTo>
                  <a:lnTo>
                    <a:pt x="1168" y="435"/>
                  </a:lnTo>
                  <a:lnTo>
                    <a:pt x="1170" y="435"/>
                  </a:lnTo>
                  <a:lnTo>
                    <a:pt x="1172" y="433"/>
                  </a:lnTo>
                  <a:lnTo>
                    <a:pt x="1173" y="433"/>
                  </a:lnTo>
                  <a:lnTo>
                    <a:pt x="1173" y="433"/>
                  </a:lnTo>
                  <a:lnTo>
                    <a:pt x="1173" y="433"/>
                  </a:lnTo>
                  <a:lnTo>
                    <a:pt x="1173" y="431"/>
                  </a:lnTo>
                  <a:lnTo>
                    <a:pt x="1173" y="431"/>
                  </a:lnTo>
                  <a:lnTo>
                    <a:pt x="1175" y="431"/>
                  </a:lnTo>
                  <a:lnTo>
                    <a:pt x="1177" y="431"/>
                  </a:lnTo>
                  <a:lnTo>
                    <a:pt x="1177" y="431"/>
                  </a:lnTo>
                  <a:lnTo>
                    <a:pt x="1177" y="430"/>
                  </a:lnTo>
                  <a:lnTo>
                    <a:pt x="1179" y="430"/>
                  </a:lnTo>
                  <a:lnTo>
                    <a:pt x="1182" y="430"/>
                  </a:lnTo>
                  <a:lnTo>
                    <a:pt x="1182" y="430"/>
                  </a:lnTo>
                  <a:lnTo>
                    <a:pt x="1184" y="428"/>
                  </a:lnTo>
                  <a:lnTo>
                    <a:pt x="1186" y="426"/>
                  </a:lnTo>
                  <a:lnTo>
                    <a:pt x="1188" y="426"/>
                  </a:lnTo>
                  <a:lnTo>
                    <a:pt x="1190" y="424"/>
                  </a:lnTo>
                  <a:lnTo>
                    <a:pt x="1192" y="422"/>
                  </a:lnTo>
                  <a:lnTo>
                    <a:pt x="1188" y="422"/>
                  </a:lnTo>
                  <a:lnTo>
                    <a:pt x="1188" y="421"/>
                  </a:lnTo>
                  <a:lnTo>
                    <a:pt x="1188" y="421"/>
                  </a:lnTo>
                  <a:lnTo>
                    <a:pt x="1190" y="419"/>
                  </a:lnTo>
                  <a:lnTo>
                    <a:pt x="1190" y="419"/>
                  </a:lnTo>
                  <a:lnTo>
                    <a:pt x="1192" y="419"/>
                  </a:lnTo>
                  <a:lnTo>
                    <a:pt x="1192" y="417"/>
                  </a:lnTo>
                  <a:lnTo>
                    <a:pt x="1192" y="417"/>
                  </a:lnTo>
                  <a:lnTo>
                    <a:pt x="1192" y="415"/>
                  </a:lnTo>
                  <a:lnTo>
                    <a:pt x="1193" y="412"/>
                  </a:lnTo>
                  <a:lnTo>
                    <a:pt x="1193" y="412"/>
                  </a:lnTo>
                  <a:lnTo>
                    <a:pt x="1193" y="412"/>
                  </a:lnTo>
                  <a:lnTo>
                    <a:pt x="1193" y="412"/>
                  </a:lnTo>
                  <a:lnTo>
                    <a:pt x="1195" y="413"/>
                  </a:lnTo>
                  <a:lnTo>
                    <a:pt x="1195" y="413"/>
                  </a:lnTo>
                  <a:lnTo>
                    <a:pt x="1195" y="413"/>
                  </a:lnTo>
                  <a:lnTo>
                    <a:pt x="1193" y="417"/>
                  </a:lnTo>
                  <a:lnTo>
                    <a:pt x="1193" y="419"/>
                  </a:lnTo>
                  <a:lnTo>
                    <a:pt x="1193" y="421"/>
                  </a:lnTo>
                  <a:lnTo>
                    <a:pt x="1193" y="422"/>
                  </a:lnTo>
                  <a:lnTo>
                    <a:pt x="1195" y="421"/>
                  </a:lnTo>
                  <a:lnTo>
                    <a:pt x="1204" y="412"/>
                  </a:lnTo>
                  <a:lnTo>
                    <a:pt x="1206" y="412"/>
                  </a:lnTo>
                  <a:lnTo>
                    <a:pt x="1206" y="410"/>
                  </a:lnTo>
                  <a:lnTo>
                    <a:pt x="1204" y="410"/>
                  </a:lnTo>
                  <a:lnTo>
                    <a:pt x="1208" y="408"/>
                  </a:lnTo>
                  <a:lnTo>
                    <a:pt x="1208" y="406"/>
                  </a:lnTo>
                  <a:lnTo>
                    <a:pt x="1208" y="406"/>
                  </a:lnTo>
                  <a:lnTo>
                    <a:pt x="1208" y="406"/>
                  </a:lnTo>
                  <a:lnTo>
                    <a:pt x="1208" y="404"/>
                  </a:lnTo>
                  <a:lnTo>
                    <a:pt x="1208" y="406"/>
                  </a:lnTo>
                  <a:lnTo>
                    <a:pt x="1208" y="406"/>
                  </a:lnTo>
                  <a:lnTo>
                    <a:pt x="1208" y="408"/>
                  </a:lnTo>
                  <a:lnTo>
                    <a:pt x="1208" y="408"/>
                  </a:lnTo>
                  <a:lnTo>
                    <a:pt x="1210" y="408"/>
                  </a:lnTo>
                  <a:lnTo>
                    <a:pt x="1215" y="397"/>
                  </a:lnTo>
                  <a:lnTo>
                    <a:pt x="1215" y="395"/>
                  </a:lnTo>
                  <a:lnTo>
                    <a:pt x="1211" y="395"/>
                  </a:lnTo>
                  <a:lnTo>
                    <a:pt x="1210" y="395"/>
                  </a:lnTo>
                  <a:lnTo>
                    <a:pt x="1208" y="399"/>
                  </a:lnTo>
                  <a:lnTo>
                    <a:pt x="1204" y="397"/>
                  </a:lnTo>
                  <a:lnTo>
                    <a:pt x="1202" y="397"/>
                  </a:lnTo>
                  <a:lnTo>
                    <a:pt x="1201" y="399"/>
                  </a:lnTo>
                  <a:lnTo>
                    <a:pt x="1201" y="404"/>
                  </a:lnTo>
                  <a:lnTo>
                    <a:pt x="1201" y="404"/>
                  </a:lnTo>
                  <a:lnTo>
                    <a:pt x="1199" y="406"/>
                  </a:lnTo>
                  <a:lnTo>
                    <a:pt x="1197" y="408"/>
                  </a:lnTo>
                  <a:lnTo>
                    <a:pt x="1195" y="410"/>
                  </a:lnTo>
                  <a:lnTo>
                    <a:pt x="1195" y="408"/>
                  </a:lnTo>
                  <a:lnTo>
                    <a:pt x="1199" y="404"/>
                  </a:lnTo>
                  <a:lnTo>
                    <a:pt x="1199" y="403"/>
                  </a:lnTo>
                  <a:lnTo>
                    <a:pt x="1199" y="401"/>
                  </a:lnTo>
                  <a:lnTo>
                    <a:pt x="1199" y="399"/>
                  </a:lnTo>
                  <a:lnTo>
                    <a:pt x="1197" y="399"/>
                  </a:lnTo>
                  <a:lnTo>
                    <a:pt x="1195" y="397"/>
                  </a:lnTo>
                  <a:lnTo>
                    <a:pt x="1195" y="397"/>
                  </a:lnTo>
                  <a:lnTo>
                    <a:pt x="1193" y="399"/>
                  </a:lnTo>
                  <a:lnTo>
                    <a:pt x="1193" y="399"/>
                  </a:lnTo>
                  <a:lnTo>
                    <a:pt x="1193" y="401"/>
                  </a:lnTo>
                  <a:lnTo>
                    <a:pt x="1193" y="404"/>
                  </a:lnTo>
                  <a:lnTo>
                    <a:pt x="1193" y="406"/>
                  </a:lnTo>
                  <a:lnTo>
                    <a:pt x="1192" y="404"/>
                  </a:lnTo>
                  <a:lnTo>
                    <a:pt x="1192" y="403"/>
                  </a:lnTo>
                  <a:lnTo>
                    <a:pt x="1192" y="403"/>
                  </a:lnTo>
                  <a:lnTo>
                    <a:pt x="1192" y="401"/>
                  </a:lnTo>
                  <a:lnTo>
                    <a:pt x="1190" y="399"/>
                  </a:lnTo>
                  <a:lnTo>
                    <a:pt x="1184" y="401"/>
                  </a:lnTo>
                  <a:lnTo>
                    <a:pt x="1184" y="403"/>
                  </a:lnTo>
                  <a:lnTo>
                    <a:pt x="1186" y="404"/>
                  </a:lnTo>
                  <a:lnTo>
                    <a:pt x="1186" y="408"/>
                  </a:lnTo>
                  <a:lnTo>
                    <a:pt x="1186" y="406"/>
                  </a:lnTo>
                  <a:lnTo>
                    <a:pt x="1182" y="404"/>
                  </a:lnTo>
                  <a:lnTo>
                    <a:pt x="1182" y="404"/>
                  </a:lnTo>
                  <a:lnTo>
                    <a:pt x="1177" y="406"/>
                  </a:lnTo>
                  <a:lnTo>
                    <a:pt x="1177" y="406"/>
                  </a:lnTo>
                  <a:lnTo>
                    <a:pt x="1179" y="408"/>
                  </a:lnTo>
                  <a:lnTo>
                    <a:pt x="1179" y="410"/>
                  </a:lnTo>
                  <a:lnTo>
                    <a:pt x="1179" y="412"/>
                  </a:lnTo>
                  <a:lnTo>
                    <a:pt x="1181" y="412"/>
                  </a:lnTo>
                  <a:lnTo>
                    <a:pt x="1181" y="410"/>
                  </a:lnTo>
                  <a:lnTo>
                    <a:pt x="1181" y="412"/>
                  </a:lnTo>
                  <a:lnTo>
                    <a:pt x="1182" y="413"/>
                  </a:lnTo>
                  <a:lnTo>
                    <a:pt x="1182" y="415"/>
                  </a:lnTo>
                  <a:lnTo>
                    <a:pt x="1181" y="415"/>
                  </a:lnTo>
                  <a:lnTo>
                    <a:pt x="1181" y="413"/>
                  </a:lnTo>
                  <a:lnTo>
                    <a:pt x="1179" y="413"/>
                  </a:lnTo>
                  <a:lnTo>
                    <a:pt x="1179" y="413"/>
                  </a:lnTo>
                  <a:lnTo>
                    <a:pt x="1179" y="415"/>
                  </a:lnTo>
                  <a:lnTo>
                    <a:pt x="1179" y="415"/>
                  </a:lnTo>
                  <a:lnTo>
                    <a:pt x="1177" y="417"/>
                  </a:lnTo>
                  <a:lnTo>
                    <a:pt x="1179" y="417"/>
                  </a:lnTo>
                  <a:lnTo>
                    <a:pt x="1179" y="419"/>
                  </a:lnTo>
                  <a:lnTo>
                    <a:pt x="1177" y="417"/>
                  </a:lnTo>
                  <a:lnTo>
                    <a:pt x="1175" y="413"/>
                  </a:lnTo>
                  <a:lnTo>
                    <a:pt x="1173" y="413"/>
                  </a:lnTo>
                  <a:lnTo>
                    <a:pt x="1172" y="415"/>
                  </a:lnTo>
                  <a:lnTo>
                    <a:pt x="1172" y="417"/>
                  </a:lnTo>
                  <a:lnTo>
                    <a:pt x="1172" y="419"/>
                  </a:lnTo>
                  <a:lnTo>
                    <a:pt x="1173" y="421"/>
                  </a:lnTo>
                  <a:lnTo>
                    <a:pt x="1172" y="421"/>
                  </a:lnTo>
                  <a:lnTo>
                    <a:pt x="1170" y="422"/>
                  </a:lnTo>
                  <a:lnTo>
                    <a:pt x="1170" y="422"/>
                  </a:lnTo>
                  <a:lnTo>
                    <a:pt x="1172" y="424"/>
                  </a:lnTo>
                  <a:close/>
                  <a:moveTo>
                    <a:pt x="1280" y="393"/>
                  </a:moveTo>
                  <a:lnTo>
                    <a:pt x="1280" y="393"/>
                  </a:lnTo>
                  <a:lnTo>
                    <a:pt x="1280" y="392"/>
                  </a:lnTo>
                  <a:lnTo>
                    <a:pt x="1278" y="390"/>
                  </a:lnTo>
                  <a:lnTo>
                    <a:pt x="1278" y="390"/>
                  </a:lnTo>
                  <a:lnTo>
                    <a:pt x="1278" y="388"/>
                  </a:lnTo>
                  <a:lnTo>
                    <a:pt x="1278" y="388"/>
                  </a:lnTo>
                  <a:lnTo>
                    <a:pt x="1278" y="386"/>
                  </a:lnTo>
                  <a:lnTo>
                    <a:pt x="1278" y="386"/>
                  </a:lnTo>
                  <a:lnTo>
                    <a:pt x="1276" y="384"/>
                  </a:lnTo>
                  <a:lnTo>
                    <a:pt x="1275" y="384"/>
                  </a:lnTo>
                  <a:lnTo>
                    <a:pt x="1275" y="384"/>
                  </a:lnTo>
                  <a:lnTo>
                    <a:pt x="1269" y="386"/>
                  </a:lnTo>
                  <a:lnTo>
                    <a:pt x="1267" y="386"/>
                  </a:lnTo>
                  <a:lnTo>
                    <a:pt x="1266" y="388"/>
                  </a:lnTo>
                  <a:lnTo>
                    <a:pt x="1264" y="393"/>
                  </a:lnTo>
                  <a:lnTo>
                    <a:pt x="1264" y="397"/>
                  </a:lnTo>
                  <a:lnTo>
                    <a:pt x="1264" y="399"/>
                  </a:lnTo>
                  <a:lnTo>
                    <a:pt x="1266" y="399"/>
                  </a:lnTo>
                  <a:lnTo>
                    <a:pt x="1266" y="399"/>
                  </a:lnTo>
                  <a:lnTo>
                    <a:pt x="1264" y="401"/>
                  </a:lnTo>
                  <a:lnTo>
                    <a:pt x="1262" y="403"/>
                  </a:lnTo>
                  <a:lnTo>
                    <a:pt x="1264" y="404"/>
                  </a:lnTo>
                  <a:lnTo>
                    <a:pt x="1264" y="404"/>
                  </a:lnTo>
                  <a:lnTo>
                    <a:pt x="1264" y="404"/>
                  </a:lnTo>
                  <a:lnTo>
                    <a:pt x="1266" y="403"/>
                  </a:lnTo>
                  <a:lnTo>
                    <a:pt x="1269" y="401"/>
                  </a:lnTo>
                  <a:lnTo>
                    <a:pt x="1276" y="401"/>
                  </a:lnTo>
                  <a:lnTo>
                    <a:pt x="1278" y="401"/>
                  </a:lnTo>
                  <a:lnTo>
                    <a:pt x="1278" y="399"/>
                  </a:lnTo>
                  <a:lnTo>
                    <a:pt x="1276" y="397"/>
                  </a:lnTo>
                  <a:lnTo>
                    <a:pt x="1276" y="395"/>
                  </a:lnTo>
                  <a:lnTo>
                    <a:pt x="1276" y="395"/>
                  </a:lnTo>
                  <a:lnTo>
                    <a:pt x="1280" y="393"/>
                  </a:lnTo>
                  <a:close/>
                  <a:moveTo>
                    <a:pt x="1197" y="379"/>
                  </a:moveTo>
                  <a:lnTo>
                    <a:pt x="1193" y="379"/>
                  </a:lnTo>
                  <a:lnTo>
                    <a:pt x="1192" y="377"/>
                  </a:lnTo>
                  <a:lnTo>
                    <a:pt x="1188" y="379"/>
                  </a:lnTo>
                  <a:lnTo>
                    <a:pt x="1188" y="381"/>
                  </a:lnTo>
                  <a:lnTo>
                    <a:pt x="1188" y="383"/>
                  </a:lnTo>
                  <a:lnTo>
                    <a:pt x="1190" y="384"/>
                  </a:lnTo>
                  <a:lnTo>
                    <a:pt x="1192" y="386"/>
                  </a:lnTo>
                  <a:lnTo>
                    <a:pt x="1193" y="390"/>
                  </a:lnTo>
                  <a:lnTo>
                    <a:pt x="1195" y="390"/>
                  </a:lnTo>
                  <a:lnTo>
                    <a:pt x="1202" y="390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8"/>
                  </a:lnTo>
                  <a:lnTo>
                    <a:pt x="1204" y="386"/>
                  </a:lnTo>
                  <a:lnTo>
                    <a:pt x="1204" y="386"/>
                  </a:lnTo>
                  <a:lnTo>
                    <a:pt x="1204" y="386"/>
                  </a:lnTo>
                  <a:lnTo>
                    <a:pt x="1204" y="386"/>
                  </a:lnTo>
                  <a:lnTo>
                    <a:pt x="1204" y="386"/>
                  </a:lnTo>
                  <a:lnTo>
                    <a:pt x="1204" y="386"/>
                  </a:lnTo>
                  <a:lnTo>
                    <a:pt x="1204" y="386"/>
                  </a:lnTo>
                  <a:lnTo>
                    <a:pt x="1204" y="386"/>
                  </a:lnTo>
                  <a:lnTo>
                    <a:pt x="1204" y="386"/>
                  </a:lnTo>
                  <a:lnTo>
                    <a:pt x="1204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6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6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4"/>
                  </a:lnTo>
                  <a:lnTo>
                    <a:pt x="1208" y="381"/>
                  </a:lnTo>
                  <a:lnTo>
                    <a:pt x="1204" y="381"/>
                  </a:lnTo>
                  <a:lnTo>
                    <a:pt x="1201" y="379"/>
                  </a:lnTo>
                  <a:lnTo>
                    <a:pt x="1197" y="379"/>
                  </a:lnTo>
                  <a:close/>
                  <a:moveTo>
                    <a:pt x="1311" y="345"/>
                  </a:moveTo>
                  <a:lnTo>
                    <a:pt x="1309" y="341"/>
                  </a:lnTo>
                  <a:lnTo>
                    <a:pt x="1309" y="341"/>
                  </a:lnTo>
                  <a:lnTo>
                    <a:pt x="1309" y="339"/>
                  </a:lnTo>
                  <a:lnTo>
                    <a:pt x="1307" y="339"/>
                  </a:lnTo>
                  <a:lnTo>
                    <a:pt x="1305" y="341"/>
                  </a:lnTo>
                  <a:lnTo>
                    <a:pt x="1303" y="348"/>
                  </a:lnTo>
                  <a:lnTo>
                    <a:pt x="1302" y="350"/>
                  </a:lnTo>
                  <a:lnTo>
                    <a:pt x="1300" y="352"/>
                  </a:lnTo>
                  <a:lnTo>
                    <a:pt x="1300" y="352"/>
                  </a:lnTo>
                  <a:lnTo>
                    <a:pt x="1300" y="354"/>
                  </a:lnTo>
                  <a:lnTo>
                    <a:pt x="1298" y="356"/>
                  </a:lnTo>
                  <a:lnTo>
                    <a:pt x="1298" y="356"/>
                  </a:lnTo>
                  <a:lnTo>
                    <a:pt x="1298" y="356"/>
                  </a:lnTo>
                  <a:lnTo>
                    <a:pt x="1300" y="357"/>
                  </a:lnTo>
                  <a:lnTo>
                    <a:pt x="1313" y="354"/>
                  </a:lnTo>
                  <a:lnTo>
                    <a:pt x="1314" y="352"/>
                  </a:lnTo>
                  <a:lnTo>
                    <a:pt x="1314" y="350"/>
                  </a:lnTo>
                  <a:lnTo>
                    <a:pt x="1311" y="347"/>
                  </a:lnTo>
                  <a:lnTo>
                    <a:pt x="1311" y="345"/>
                  </a:lnTo>
                  <a:close/>
                  <a:moveTo>
                    <a:pt x="1316" y="341"/>
                  </a:moveTo>
                  <a:lnTo>
                    <a:pt x="1316" y="345"/>
                  </a:lnTo>
                  <a:lnTo>
                    <a:pt x="1316" y="347"/>
                  </a:lnTo>
                  <a:lnTo>
                    <a:pt x="1318" y="348"/>
                  </a:lnTo>
                  <a:lnTo>
                    <a:pt x="1320" y="348"/>
                  </a:lnTo>
                  <a:lnTo>
                    <a:pt x="1322" y="347"/>
                  </a:lnTo>
                  <a:lnTo>
                    <a:pt x="1325" y="343"/>
                  </a:lnTo>
                  <a:lnTo>
                    <a:pt x="1329" y="337"/>
                  </a:lnTo>
                  <a:lnTo>
                    <a:pt x="1327" y="334"/>
                  </a:lnTo>
                  <a:lnTo>
                    <a:pt x="1325" y="332"/>
                  </a:lnTo>
                  <a:lnTo>
                    <a:pt x="1323" y="330"/>
                  </a:lnTo>
                  <a:lnTo>
                    <a:pt x="1318" y="330"/>
                  </a:lnTo>
                  <a:lnTo>
                    <a:pt x="1318" y="332"/>
                  </a:lnTo>
                  <a:lnTo>
                    <a:pt x="1318" y="334"/>
                  </a:lnTo>
                  <a:lnTo>
                    <a:pt x="1318" y="336"/>
                  </a:lnTo>
                  <a:lnTo>
                    <a:pt x="1320" y="337"/>
                  </a:lnTo>
                  <a:lnTo>
                    <a:pt x="1322" y="339"/>
                  </a:lnTo>
                  <a:lnTo>
                    <a:pt x="1320" y="339"/>
                  </a:lnTo>
                  <a:lnTo>
                    <a:pt x="1318" y="339"/>
                  </a:lnTo>
                  <a:lnTo>
                    <a:pt x="1318" y="337"/>
                  </a:lnTo>
                  <a:lnTo>
                    <a:pt x="1316" y="336"/>
                  </a:lnTo>
                  <a:lnTo>
                    <a:pt x="1314" y="332"/>
                  </a:lnTo>
                  <a:lnTo>
                    <a:pt x="1313" y="330"/>
                  </a:lnTo>
                  <a:lnTo>
                    <a:pt x="1311" y="332"/>
                  </a:lnTo>
                  <a:lnTo>
                    <a:pt x="1313" y="334"/>
                  </a:lnTo>
                  <a:lnTo>
                    <a:pt x="1313" y="336"/>
                  </a:lnTo>
                  <a:lnTo>
                    <a:pt x="1316" y="337"/>
                  </a:lnTo>
                  <a:lnTo>
                    <a:pt x="1316" y="341"/>
                  </a:lnTo>
                  <a:close/>
                  <a:moveTo>
                    <a:pt x="1199" y="336"/>
                  </a:moveTo>
                  <a:lnTo>
                    <a:pt x="1201" y="336"/>
                  </a:lnTo>
                  <a:lnTo>
                    <a:pt x="1202" y="337"/>
                  </a:lnTo>
                  <a:lnTo>
                    <a:pt x="1202" y="337"/>
                  </a:lnTo>
                  <a:lnTo>
                    <a:pt x="1206" y="337"/>
                  </a:lnTo>
                  <a:lnTo>
                    <a:pt x="1206" y="336"/>
                  </a:lnTo>
                  <a:lnTo>
                    <a:pt x="1208" y="334"/>
                  </a:lnTo>
                  <a:lnTo>
                    <a:pt x="1206" y="330"/>
                  </a:lnTo>
                  <a:lnTo>
                    <a:pt x="1206" y="330"/>
                  </a:lnTo>
                  <a:lnTo>
                    <a:pt x="1202" y="328"/>
                  </a:lnTo>
                  <a:lnTo>
                    <a:pt x="1201" y="330"/>
                  </a:lnTo>
                  <a:lnTo>
                    <a:pt x="1201" y="330"/>
                  </a:lnTo>
                  <a:lnTo>
                    <a:pt x="1201" y="330"/>
                  </a:lnTo>
                  <a:lnTo>
                    <a:pt x="1201" y="332"/>
                  </a:lnTo>
                  <a:lnTo>
                    <a:pt x="1201" y="332"/>
                  </a:lnTo>
                  <a:lnTo>
                    <a:pt x="1199" y="336"/>
                  </a:lnTo>
                  <a:lnTo>
                    <a:pt x="1199" y="336"/>
                  </a:lnTo>
                  <a:close/>
                  <a:moveTo>
                    <a:pt x="1229" y="379"/>
                  </a:moveTo>
                  <a:lnTo>
                    <a:pt x="1229" y="381"/>
                  </a:lnTo>
                  <a:lnTo>
                    <a:pt x="1229" y="381"/>
                  </a:lnTo>
                  <a:lnTo>
                    <a:pt x="1228" y="377"/>
                  </a:lnTo>
                  <a:lnTo>
                    <a:pt x="1228" y="377"/>
                  </a:lnTo>
                  <a:lnTo>
                    <a:pt x="1222" y="377"/>
                  </a:lnTo>
                  <a:lnTo>
                    <a:pt x="1224" y="381"/>
                  </a:lnTo>
                  <a:lnTo>
                    <a:pt x="1222" y="381"/>
                  </a:lnTo>
                  <a:lnTo>
                    <a:pt x="1220" y="381"/>
                  </a:lnTo>
                  <a:lnTo>
                    <a:pt x="1219" y="381"/>
                  </a:lnTo>
                  <a:lnTo>
                    <a:pt x="1219" y="381"/>
                  </a:lnTo>
                  <a:lnTo>
                    <a:pt x="1217" y="383"/>
                  </a:lnTo>
                  <a:lnTo>
                    <a:pt x="1217" y="386"/>
                  </a:lnTo>
                  <a:lnTo>
                    <a:pt x="1220" y="386"/>
                  </a:lnTo>
                  <a:lnTo>
                    <a:pt x="1220" y="386"/>
                  </a:lnTo>
                  <a:lnTo>
                    <a:pt x="1220" y="388"/>
                  </a:lnTo>
                  <a:lnTo>
                    <a:pt x="1220" y="388"/>
                  </a:lnTo>
                  <a:lnTo>
                    <a:pt x="1220" y="390"/>
                  </a:lnTo>
                  <a:lnTo>
                    <a:pt x="1224" y="390"/>
                  </a:lnTo>
                  <a:lnTo>
                    <a:pt x="1220" y="390"/>
                  </a:lnTo>
                  <a:lnTo>
                    <a:pt x="1220" y="390"/>
                  </a:lnTo>
                  <a:lnTo>
                    <a:pt x="1219" y="392"/>
                  </a:lnTo>
                  <a:lnTo>
                    <a:pt x="1220" y="393"/>
                  </a:lnTo>
                  <a:lnTo>
                    <a:pt x="1224" y="393"/>
                  </a:lnTo>
                  <a:lnTo>
                    <a:pt x="1226" y="393"/>
                  </a:lnTo>
                  <a:lnTo>
                    <a:pt x="1220" y="393"/>
                  </a:lnTo>
                  <a:lnTo>
                    <a:pt x="1220" y="395"/>
                  </a:lnTo>
                  <a:lnTo>
                    <a:pt x="1219" y="397"/>
                  </a:lnTo>
                  <a:lnTo>
                    <a:pt x="1217" y="397"/>
                  </a:lnTo>
                  <a:lnTo>
                    <a:pt x="1213" y="403"/>
                  </a:lnTo>
                  <a:lnTo>
                    <a:pt x="1213" y="406"/>
                  </a:lnTo>
                  <a:lnTo>
                    <a:pt x="1211" y="410"/>
                  </a:lnTo>
                  <a:lnTo>
                    <a:pt x="1210" y="412"/>
                  </a:lnTo>
                  <a:lnTo>
                    <a:pt x="1210" y="412"/>
                  </a:lnTo>
                  <a:lnTo>
                    <a:pt x="1208" y="413"/>
                  </a:lnTo>
                  <a:lnTo>
                    <a:pt x="1208" y="417"/>
                  </a:lnTo>
                  <a:lnTo>
                    <a:pt x="1208" y="419"/>
                  </a:lnTo>
                  <a:lnTo>
                    <a:pt x="1208" y="419"/>
                  </a:lnTo>
                  <a:lnTo>
                    <a:pt x="1208" y="419"/>
                  </a:lnTo>
                  <a:lnTo>
                    <a:pt x="1206" y="421"/>
                  </a:lnTo>
                  <a:lnTo>
                    <a:pt x="1206" y="421"/>
                  </a:lnTo>
                  <a:lnTo>
                    <a:pt x="1208" y="422"/>
                  </a:lnTo>
                  <a:lnTo>
                    <a:pt x="1210" y="422"/>
                  </a:lnTo>
                  <a:lnTo>
                    <a:pt x="1211" y="421"/>
                  </a:lnTo>
                  <a:lnTo>
                    <a:pt x="1213" y="417"/>
                  </a:lnTo>
                  <a:lnTo>
                    <a:pt x="1213" y="415"/>
                  </a:lnTo>
                  <a:lnTo>
                    <a:pt x="1215" y="413"/>
                  </a:lnTo>
                  <a:lnTo>
                    <a:pt x="1219" y="412"/>
                  </a:lnTo>
                  <a:lnTo>
                    <a:pt x="1219" y="412"/>
                  </a:lnTo>
                  <a:lnTo>
                    <a:pt x="1219" y="410"/>
                  </a:lnTo>
                  <a:lnTo>
                    <a:pt x="1219" y="408"/>
                  </a:lnTo>
                  <a:lnTo>
                    <a:pt x="1217" y="410"/>
                  </a:lnTo>
                  <a:lnTo>
                    <a:pt x="1219" y="406"/>
                  </a:lnTo>
                  <a:lnTo>
                    <a:pt x="1220" y="406"/>
                  </a:lnTo>
                  <a:lnTo>
                    <a:pt x="1222" y="403"/>
                  </a:lnTo>
                  <a:lnTo>
                    <a:pt x="1226" y="401"/>
                  </a:lnTo>
                  <a:lnTo>
                    <a:pt x="1226" y="401"/>
                  </a:lnTo>
                  <a:lnTo>
                    <a:pt x="1226" y="401"/>
                  </a:lnTo>
                  <a:lnTo>
                    <a:pt x="1226" y="399"/>
                  </a:lnTo>
                  <a:lnTo>
                    <a:pt x="1228" y="401"/>
                  </a:lnTo>
                  <a:lnTo>
                    <a:pt x="1228" y="401"/>
                  </a:lnTo>
                  <a:lnTo>
                    <a:pt x="1229" y="401"/>
                  </a:lnTo>
                  <a:lnTo>
                    <a:pt x="1235" y="393"/>
                  </a:lnTo>
                  <a:lnTo>
                    <a:pt x="1235" y="392"/>
                  </a:lnTo>
                  <a:lnTo>
                    <a:pt x="1235" y="390"/>
                  </a:lnTo>
                  <a:lnTo>
                    <a:pt x="1235" y="388"/>
                  </a:lnTo>
                  <a:lnTo>
                    <a:pt x="1235" y="388"/>
                  </a:lnTo>
                  <a:lnTo>
                    <a:pt x="1235" y="388"/>
                  </a:lnTo>
                  <a:lnTo>
                    <a:pt x="1237" y="388"/>
                  </a:lnTo>
                  <a:lnTo>
                    <a:pt x="1237" y="390"/>
                  </a:lnTo>
                  <a:lnTo>
                    <a:pt x="1237" y="390"/>
                  </a:lnTo>
                  <a:lnTo>
                    <a:pt x="1238" y="392"/>
                  </a:lnTo>
                  <a:lnTo>
                    <a:pt x="1235" y="393"/>
                  </a:lnTo>
                  <a:lnTo>
                    <a:pt x="1233" y="399"/>
                  </a:lnTo>
                  <a:lnTo>
                    <a:pt x="1231" y="401"/>
                  </a:lnTo>
                  <a:lnTo>
                    <a:pt x="1228" y="404"/>
                  </a:lnTo>
                  <a:lnTo>
                    <a:pt x="1226" y="404"/>
                  </a:lnTo>
                  <a:lnTo>
                    <a:pt x="1226" y="408"/>
                  </a:lnTo>
                  <a:lnTo>
                    <a:pt x="1224" y="410"/>
                  </a:lnTo>
                  <a:lnTo>
                    <a:pt x="1224" y="410"/>
                  </a:lnTo>
                  <a:lnTo>
                    <a:pt x="1224" y="412"/>
                  </a:lnTo>
                  <a:lnTo>
                    <a:pt x="1226" y="412"/>
                  </a:lnTo>
                  <a:lnTo>
                    <a:pt x="1233" y="412"/>
                  </a:lnTo>
                  <a:lnTo>
                    <a:pt x="1235" y="412"/>
                  </a:lnTo>
                  <a:lnTo>
                    <a:pt x="1237" y="413"/>
                  </a:lnTo>
                  <a:lnTo>
                    <a:pt x="1237" y="413"/>
                  </a:lnTo>
                  <a:lnTo>
                    <a:pt x="1237" y="415"/>
                  </a:lnTo>
                  <a:lnTo>
                    <a:pt x="1237" y="415"/>
                  </a:lnTo>
                  <a:lnTo>
                    <a:pt x="1237" y="415"/>
                  </a:lnTo>
                  <a:lnTo>
                    <a:pt x="1237" y="415"/>
                  </a:lnTo>
                  <a:lnTo>
                    <a:pt x="1238" y="415"/>
                  </a:lnTo>
                  <a:lnTo>
                    <a:pt x="1238" y="415"/>
                  </a:lnTo>
                  <a:lnTo>
                    <a:pt x="1238" y="413"/>
                  </a:lnTo>
                  <a:lnTo>
                    <a:pt x="1242" y="410"/>
                  </a:lnTo>
                  <a:lnTo>
                    <a:pt x="1242" y="408"/>
                  </a:lnTo>
                  <a:lnTo>
                    <a:pt x="1242" y="408"/>
                  </a:lnTo>
                  <a:lnTo>
                    <a:pt x="1242" y="408"/>
                  </a:lnTo>
                  <a:lnTo>
                    <a:pt x="1240" y="408"/>
                  </a:lnTo>
                  <a:lnTo>
                    <a:pt x="1240" y="408"/>
                  </a:lnTo>
                  <a:lnTo>
                    <a:pt x="1240" y="406"/>
                  </a:lnTo>
                  <a:lnTo>
                    <a:pt x="1242" y="406"/>
                  </a:lnTo>
                  <a:lnTo>
                    <a:pt x="1244" y="406"/>
                  </a:lnTo>
                  <a:lnTo>
                    <a:pt x="1244" y="406"/>
                  </a:lnTo>
                  <a:lnTo>
                    <a:pt x="1244" y="404"/>
                  </a:lnTo>
                  <a:lnTo>
                    <a:pt x="1244" y="403"/>
                  </a:lnTo>
                  <a:lnTo>
                    <a:pt x="1244" y="403"/>
                  </a:lnTo>
                  <a:lnTo>
                    <a:pt x="1244" y="401"/>
                  </a:lnTo>
                  <a:lnTo>
                    <a:pt x="1244" y="399"/>
                  </a:lnTo>
                  <a:lnTo>
                    <a:pt x="1246" y="399"/>
                  </a:lnTo>
                  <a:lnTo>
                    <a:pt x="1246" y="401"/>
                  </a:lnTo>
                  <a:lnTo>
                    <a:pt x="1246" y="403"/>
                  </a:lnTo>
                  <a:lnTo>
                    <a:pt x="1247" y="403"/>
                  </a:lnTo>
                  <a:lnTo>
                    <a:pt x="1247" y="403"/>
                  </a:lnTo>
                  <a:lnTo>
                    <a:pt x="1247" y="403"/>
                  </a:lnTo>
                  <a:lnTo>
                    <a:pt x="1246" y="399"/>
                  </a:lnTo>
                  <a:lnTo>
                    <a:pt x="1246" y="399"/>
                  </a:lnTo>
                  <a:lnTo>
                    <a:pt x="1246" y="397"/>
                  </a:lnTo>
                  <a:lnTo>
                    <a:pt x="1247" y="397"/>
                  </a:lnTo>
                  <a:lnTo>
                    <a:pt x="1247" y="399"/>
                  </a:lnTo>
                  <a:lnTo>
                    <a:pt x="1247" y="399"/>
                  </a:lnTo>
                  <a:lnTo>
                    <a:pt x="1249" y="397"/>
                  </a:lnTo>
                  <a:lnTo>
                    <a:pt x="1249" y="397"/>
                  </a:lnTo>
                  <a:lnTo>
                    <a:pt x="1251" y="395"/>
                  </a:lnTo>
                  <a:lnTo>
                    <a:pt x="1251" y="393"/>
                  </a:lnTo>
                  <a:lnTo>
                    <a:pt x="1249" y="392"/>
                  </a:lnTo>
                  <a:lnTo>
                    <a:pt x="1249" y="390"/>
                  </a:lnTo>
                  <a:lnTo>
                    <a:pt x="1251" y="390"/>
                  </a:lnTo>
                  <a:lnTo>
                    <a:pt x="1251" y="392"/>
                  </a:lnTo>
                  <a:lnTo>
                    <a:pt x="1251" y="393"/>
                  </a:lnTo>
                  <a:lnTo>
                    <a:pt x="1251" y="395"/>
                  </a:lnTo>
                  <a:lnTo>
                    <a:pt x="1251" y="397"/>
                  </a:lnTo>
                  <a:lnTo>
                    <a:pt x="1251" y="399"/>
                  </a:lnTo>
                  <a:lnTo>
                    <a:pt x="1251" y="401"/>
                  </a:lnTo>
                  <a:lnTo>
                    <a:pt x="1251" y="403"/>
                  </a:lnTo>
                  <a:lnTo>
                    <a:pt x="1251" y="404"/>
                  </a:lnTo>
                  <a:lnTo>
                    <a:pt x="1251" y="406"/>
                  </a:lnTo>
                  <a:lnTo>
                    <a:pt x="1253" y="406"/>
                  </a:lnTo>
                  <a:lnTo>
                    <a:pt x="1255" y="404"/>
                  </a:lnTo>
                  <a:lnTo>
                    <a:pt x="1255" y="403"/>
                  </a:lnTo>
                  <a:lnTo>
                    <a:pt x="1257" y="399"/>
                  </a:lnTo>
                  <a:lnTo>
                    <a:pt x="1258" y="395"/>
                  </a:lnTo>
                  <a:lnTo>
                    <a:pt x="1260" y="393"/>
                  </a:lnTo>
                  <a:lnTo>
                    <a:pt x="1260" y="390"/>
                  </a:lnTo>
                  <a:lnTo>
                    <a:pt x="1262" y="386"/>
                  </a:lnTo>
                  <a:lnTo>
                    <a:pt x="1262" y="384"/>
                  </a:lnTo>
                  <a:lnTo>
                    <a:pt x="1262" y="383"/>
                  </a:lnTo>
                  <a:lnTo>
                    <a:pt x="1264" y="384"/>
                  </a:lnTo>
                  <a:lnTo>
                    <a:pt x="1264" y="384"/>
                  </a:lnTo>
                  <a:lnTo>
                    <a:pt x="1264" y="386"/>
                  </a:lnTo>
                  <a:lnTo>
                    <a:pt x="1266" y="386"/>
                  </a:lnTo>
                  <a:lnTo>
                    <a:pt x="1269" y="383"/>
                  </a:lnTo>
                  <a:lnTo>
                    <a:pt x="1275" y="381"/>
                  </a:lnTo>
                  <a:lnTo>
                    <a:pt x="1278" y="381"/>
                  </a:lnTo>
                  <a:lnTo>
                    <a:pt x="1280" y="383"/>
                  </a:lnTo>
                  <a:lnTo>
                    <a:pt x="1282" y="383"/>
                  </a:lnTo>
                  <a:lnTo>
                    <a:pt x="1282" y="381"/>
                  </a:lnTo>
                  <a:lnTo>
                    <a:pt x="1282" y="379"/>
                  </a:lnTo>
                  <a:lnTo>
                    <a:pt x="1282" y="379"/>
                  </a:lnTo>
                  <a:lnTo>
                    <a:pt x="1282" y="377"/>
                  </a:lnTo>
                  <a:lnTo>
                    <a:pt x="1282" y="377"/>
                  </a:lnTo>
                  <a:lnTo>
                    <a:pt x="1282" y="375"/>
                  </a:lnTo>
                  <a:lnTo>
                    <a:pt x="1282" y="374"/>
                  </a:lnTo>
                  <a:lnTo>
                    <a:pt x="1282" y="374"/>
                  </a:lnTo>
                  <a:lnTo>
                    <a:pt x="1284" y="374"/>
                  </a:lnTo>
                  <a:lnTo>
                    <a:pt x="1284" y="372"/>
                  </a:lnTo>
                  <a:lnTo>
                    <a:pt x="1284" y="370"/>
                  </a:lnTo>
                  <a:lnTo>
                    <a:pt x="1285" y="368"/>
                  </a:lnTo>
                  <a:lnTo>
                    <a:pt x="1285" y="365"/>
                  </a:lnTo>
                  <a:lnTo>
                    <a:pt x="1284" y="365"/>
                  </a:lnTo>
                  <a:lnTo>
                    <a:pt x="1285" y="361"/>
                  </a:lnTo>
                  <a:lnTo>
                    <a:pt x="1285" y="361"/>
                  </a:lnTo>
                  <a:lnTo>
                    <a:pt x="1284" y="359"/>
                  </a:lnTo>
                  <a:lnTo>
                    <a:pt x="1284" y="356"/>
                  </a:lnTo>
                  <a:lnTo>
                    <a:pt x="1284" y="354"/>
                  </a:lnTo>
                  <a:lnTo>
                    <a:pt x="1284" y="354"/>
                  </a:lnTo>
                  <a:lnTo>
                    <a:pt x="1285" y="352"/>
                  </a:lnTo>
                  <a:lnTo>
                    <a:pt x="1285" y="350"/>
                  </a:lnTo>
                  <a:lnTo>
                    <a:pt x="1284" y="348"/>
                  </a:lnTo>
                  <a:lnTo>
                    <a:pt x="1284" y="348"/>
                  </a:lnTo>
                  <a:lnTo>
                    <a:pt x="1282" y="348"/>
                  </a:lnTo>
                  <a:lnTo>
                    <a:pt x="1282" y="347"/>
                  </a:lnTo>
                  <a:lnTo>
                    <a:pt x="1284" y="345"/>
                  </a:lnTo>
                  <a:lnTo>
                    <a:pt x="1285" y="345"/>
                  </a:lnTo>
                  <a:lnTo>
                    <a:pt x="1284" y="345"/>
                  </a:lnTo>
                  <a:lnTo>
                    <a:pt x="1280" y="345"/>
                  </a:lnTo>
                  <a:lnTo>
                    <a:pt x="1280" y="343"/>
                  </a:lnTo>
                  <a:lnTo>
                    <a:pt x="1280" y="341"/>
                  </a:lnTo>
                  <a:lnTo>
                    <a:pt x="1280" y="341"/>
                  </a:lnTo>
                  <a:lnTo>
                    <a:pt x="1278" y="341"/>
                  </a:lnTo>
                  <a:lnTo>
                    <a:pt x="1276" y="339"/>
                  </a:lnTo>
                  <a:lnTo>
                    <a:pt x="1273" y="337"/>
                  </a:lnTo>
                  <a:lnTo>
                    <a:pt x="1269" y="334"/>
                  </a:lnTo>
                  <a:lnTo>
                    <a:pt x="1269" y="334"/>
                  </a:lnTo>
                  <a:lnTo>
                    <a:pt x="1269" y="336"/>
                  </a:lnTo>
                  <a:lnTo>
                    <a:pt x="1271" y="337"/>
                  </a:lnTo>
                  <a:lnTo>
                    <a:pt x="1273" y="339"/>
                  </a:lnTo>
                  <a:lnTo>
                    <a:pt x="1273" y="341"/>
                  </a:lnTo>
                  <a:lnTo>
                    <a:pt x="1271" y="341"/>
                  </a:lnTo>
                  <a:lnTo>
                    <a:pt x="1271" y="343"/>
                  </a:lnTo>
                  <a:lnTo>
                    <a:pt x="1269" y="341"/>
                  </a:lnTo>
                  <a:lnTo>
                    <a:pt x="1269" y="339"/>
                  </a:lnTo>
                  <a:lnTo>
                    <a:pt x="1267" y="339"/>
                  </a:lnTo>
                  <a:lnTo>
                    <a:pt x="1267" y="339"/>
                  </a:lnTo>
                  <a:lnTo>
                    <a:pt x="1262" y="343"/>
                  </a:lnTo>
                  <a:lnTo>
                    <a:pt x="1262" y="343"/>
                  </a:lnTo>
                  <a:lnTo>
                    <a:pt x="1262" y="345"/>
                  </a:lnTo>
                  <a:lnTo>
                    <a:pt x="1262" y="347"/>
                  </a:lnTo>
                  <a:lnTo>
                    <a:pt x="1262" y="348"/>
                  </a:lnTo>
                  <a:lnTo>
                    <a:pt x="1264" y="350"/>
                  </a:lnTo>
                  <a:lnTo>
                    <a:pt x="1266" y="352"/>
                  </a:lnTo>
                  <a:lnTo>
                    <a:pt x="1267" y="354"/>
                  </a:lnTo>
                  <a:lnTo>
                    <a:pt x="1267" y="356"/>
                  </a:lnTo>
                  <a:lnTo>
                    <a:pt x="1262" y="356"/>
                  </a:lnTo>
                  <a:lnTo>
                    <a:pt x="1260" y="356"/>
                  </a:lnTo>
                  <a:lnTo>
                    <a:pt x="1260" y="357"/>
                  </a:lnTo>
                  <a:lnTo>
                    <a:pt x="1260" y="359"/>
                  </a:lnTo>
                  <a:lnTo>
                    <a:pt x="1258" y="359"/>
                  </a:lnTo>
                  <a:lnTo>
                    <a:pt x="1258" y="361"/>
                  </a:lnTo>
                  <a:lnTo>
                    <a:pt x="1260" y="361"/>
                  </a:lnTo>
                  <a:lnTo>
                    <a:pt x="1260" y="363"/>
                  </a:lnTo>
                  <a:lnTo>
                    <a:pt x="1262" y="365"/>
                  </a:lnTo>
                  <a:lnTo>
                    <a:pt x="1262" y="368"/>
                  </a:lnTo>
                  <a:lnTo>
                    <a:pt x="1262" y="370"/>
                  </a:lnTo>
                  <a:lnTo>
                    <a:pt x="1260" y="370"/>
                  </a:lnTo>
                  <a:lnTo>
                    <a:pt x="1260" y="370"/>
                  </a:lnTo>
                  <a:lnTo>
                    <a:pt x="1258" y="365"/>
                  </a:lnTo>
                  <a:lnTo>
                    <a:pt x="1258" y="365"/>
                  </a:lnTo>
                  <a:lnTo>
                    <a:pt x="1257" y="365"/>
                  </a:lnTo>
                  <a:lnTo>
                    <a:pt x="1255" y="368"/>
                  </a:lnTo>
                  <a:lnTo>
                    <a:pt x="1249" y="370"/>
                  </a:lnTo>
                  <a:lnTo>
                    <a:pt x="1249" y="372"/>
                  </a:lnTo>
                  <a:lnTo>
                    <a:pt x="1247" y="374"/>
                  </a:lnTo>
                  <a:lnTo>
                    <a:pt x="1247" y="375"/>
                  </a:lnTo>
                  <a:lnTo>
                    <a:pt x="1247" y="377"/>
                  </a:lnTo>
                  <a:lnTo>
                    <a:pt x="1247" y="381"/>
                  </a:lnTo>
                  <a:lnTo>
                    <a:pt x="1247" y="381"/>
                  </a:lnTo>
                  <a:lnTo>
                    <a:pt x="1246" y="383"/>
                  </a:lnTo>
                  <a:lnTo>
                    <a:pt x="1244" y="384"/>
                  </a:lnTo>
                  <a:lnTo>
                    <a:pt x="1246" y="383"/>
                  </a:lnTo>
                  <a:lnTo>
                    <a:pt x="1246" y="381"/>
                  </a:lnTo>
                  <a:lnTo>
                    <a:pt x="1246" y="381"/>
                  </a:lnTo>
                  <a:lnTo>
                    <a:pt x="1246" y="377"/>
                  </a:lnTo>
                  <a:lnTo>
                    <a:pt x="1246" y="375"/>
                  </a:lnTo>
                  <a:lnTo>
                    <a:pt x="1246" y="375"/>
                  </a:lnTo>
                  <a:lnTo>
                    <a:pt x="1246" y="374"/>
                  </a:lnTo>
                  <a:lnTo>
                    <a:pt x="1246" y="370"/>
                  </a:lnTo>
                  <a:lnTo>
                    <a:pt x="1247" y="370"/>
                  </a:lnTo>
                  <a:lnTo>
                    <a:pt x="1249" y="368"/>
                  </a:lnTo>
                  <a:lnTo>
                    <a:pt x="1251" y="368"/>
                  </a:lnTo>
                  <a:lnTo>
                    <a:pt x="1251" y="366"/>
                  </a:lnTo>
                  <a:lnTo>
                    <a:pt x="1251" y="365"/>
                  </a:lnTo>
                  <a:lnTo>
                    <a:pt x="1253" y="365"/>
                  </a:lnTo>
                  <a:lnTo>
                    <a:pt x="1253" y="365"/>
                  </a:lnTo>
                  <a:lnTo>
                    <a:pt x="1253" y="365"/>
                  </a:lnTo>
                  <a:lnTo>
                    <a:pt x="1255" y="363"/>
                  </a:lnTo>
                  <a:lnTo>
                    <a:pt x="1255" y="363"/>
                  </a:lnTo>
                  <a:lnTo>
                    <a:pt x="1255" y="361"/>
                  </a:lnTo>
                  <a:lnTo>
                    <a:pt x="1257" y="357"/>
                  </a:lnTo>
                  <a:lnTo>
                    <a:pt x="1257" y="356"/>
                  </a:lnTo>
                  <a:lnTo>
                    <a:pt x="1257" y="352"/>
                  </a:lnTo>
                  <a:lnTo>
                    <a:pt x="1257" y="350"/>
                  </a:lnTo>
                  <a:lnTo>
                    <a:pt x="1255" y="348"/>
                  </a:lnTo>
                  <a:lnTo>
                    <a:pt x="1255" y="350"/>
                  </a:lnTo>
                  <a:lnTo>
                    <a:pt x="1253" y="352"/>
                  </a:lnTo>
                  <a:lnTo>
                    <a:pt x="1249" y="356"/>
                  </a:lnTo>
                  <a:lnTo>
                    <a:pt x="1247" y="356"/>
                  </a:lnTo>
                  <a:lnTo>
                    <a:pt x="1246" y="356"/>
                  </a:lnTo>
                  <a:lnTo>
                    <a:pt x="1249" y="354"/>
                  </a:lnTo>
                  <a:lnTo>
                    <a:pt x="1249" y="352"/>
                  </a:lnTo>
                  <a:lnTo>
                    <a:pt x="1249" y="352"/>
                  </a:lnTo>
                  <a:lnTo>
                    <a:pt x="1251" y="350"/>
                  </a:lnTo>
                  <a:lnTo>
                    <a:pt x="1251" y="348"/>
                  </a:lnTo>
                  <a:lnTo>
                    <a:pt x="1251" y="348"/>
                  </a:lnTo>
                  <a:lnTo>
                    <a:pt x="1251" y="347"/>
                  </a:lnTo>
                  <a:lnTo>
                    <a:pt x="1251" y="345"/>
                  </a:lnTo>
                  <a:lnTo>
                    <a:pt x="1253" y="337"/>
                  </a:lnTo>
                  <a:lnTo>
                    <a:pt x="1253" y="336"/>
                  </a:lnTo>
                  <a:lnTo>
                    <a:pt x="1253" y="334"/>
                  </a:lnTo>
                  <a:lnTo>
                    <a:pt x="1253" y="334"/>
                  </a:lnTo>
                  <a:lnTo>
                    <a:pt x="1253" y="332"/>
                  </a:lnTo>
                  <a:lnTo>
                    <a:pt x="1253" y="328"/>
                  </a:lnTo>
                  <a:lnTo>
                    <a:pt x="1253" y="327"/>
                  </a:lnTo>
                  <a:lnTo>
                    <a:pt x="1253" y="325"/>
                  </a:lnTo>
                  <a:lnTo>
                    <a:pt x="1253" y="325"/>
                  </a:lnTo>
                  <a:lnTo>
                    <a:pt x="1251" y="325"/>
                  </a:lnTo>
                  <a:lnTo>
                    <a:pt x="1249" y="323"/>
                  </a:lnTo>
                  <a:lnTo>
                    <a:pt x="1246" y="327"/>
                  </a:lnTo>
                  <a:lnTo>
                    <a:pt x="1240" y="325"/>
                  </a:lnTo>
                  <a:lnTo>
                    <a:pt x="1240" y="327"/>
                  </a:lnTo>
                  <a:lnTo>
                    <a:pt x="1238" y="327"/>
                  </a:lnTo>
                  <a:lnTo>
                    <a:pt x="1238" y="330"/>
                  </a:lnTo>
                  <a:lnTo>
                    <a:pt x="1237" y="332"/>
                  </a:lnTo>
                  <a:lnTo>
                    <a:pt x="1237" y="334"/>
                  </a:lnTo>
                  <a:lnTo>
                    <a:pt x="1238" y="334"/>
                  </a:lnTo>
                  <a:lnTo>
                    <a:pt x="1238" y="334"/>
                  </a:lnTo>
                  <a:lnTo>
                    <a:pt x="1238" y="336"/>
                  </a:lnTo>
                  <a:lnTo>
                    <a:pt x="1237" y="336"/>
                  </a:lnTo>
                  <a:lnTo>
                    <a:pt x="1235" y="337"/>
                  </a:lnTo>
                  <a:lnTo>
                    <a:pt x="1235" y="341"/>
                  </a:lnTo>
                  <a:lnTo>
                    <a:pt x="1235" y="343"/>
                  </a:lnTo>
                  <a:lnTo>
                    <a:pt x="1237" y="343"/>
                  </a:lnTo>
                  <a:lnTo>
                    <a:pt x="1238" y="343"/>
                  </a:lnTo>
                  <a:lnTo>
                    <a:pt x="1238" y="345"/>
                  </a:lnTo>
                  <a:lnTo>
                    <a:pt x="1238" y="345"/>
                  </a:lnTo>
                  <a:lnTo>
                    <a:pt x="1235" y="345"/>
                  </a:lnTo>
                  <a:lnTo>
                    <a:pt x="1233" y="345"/>
                  </a:lnTo>
                  <a:lnTo>
                    <a:pt x="1233" y="345"/>
                  </a:lnTo>
                  <a:lnTo>
                    <a:pt x="1233" y="347"/>
                  </a:lnTo>
                  <a:lnTo>
                    <a:pt x="1233" y="347"/>
                  </a:lnTo>
                  <a:lnTo>
                    <a:pt x="1231" y="347"/>
                  </a:lnTo>
                  <a:lnTo>
                    <a:pt x="1231" y="347"/>
                  </a:lnTo>
                  <a:lnTo>
                    <a:pt x="1231" y="347"/>
                  </a:lnTo>
                  <a:lnTo>
                    <a:pt x="1229" y="347"/>
                  </a:lnTo>
                  <a:lnTo>
                    <a:pt x="1229" y="348"/>
                  </a:lnTo>
                  <a:lnTo>
                    <a:pt x="1229" y="352"/>
                  </a:lnTo>
                  <a:lnTo>
                    <a:pt x="1229" y="354"/>
                  </a:lnTo>
                  <a:lnTo>
                    <a:pt x="1231" y="356"/>
                  </a:lnTo>
                  <a:lnTo>
                    <a:pt x="1233" y="356"/>
                  </a:lnTo>
                  <a:lnTo>
                    <a:pt x="1238" y="356"/>
                  </a:lnTo>
                  <a:lnTo>
                    <a:pt x="1240" y="356"/>
                  </a:lnTo>
                  <a:lnTo>
                    <a:pt x="1240" y="357"/>
                  </a:lnTo>
                  <a:lnTo>
                    <a:pt x="1240" y="359"/>
                  </a:lnTo>
                  <a:lnTo>
                    <a:pt x="1240" y="359"/>
                  </a:lnTo>
                  <a:lnTo>
                    <a:pt x="1242" y="359"/>
                  </a:lnTo>
                  <a:lnTo>
                    <a:pt x="1242" y="361"/>
                  </a:lnTo>
                  <a:lnTo>
                    <a:pt x="1240" y="359"/>
                  </a:lnTo>
                  <a:lnTo>
                    <a:pt x="1238" y="357"/>
                  </a:lnTo>
                  <a:lnTo>
                    <a:pt x="1238" y="357"/>
                  </a:lnTo>
                  <a:lnTo>
                    <a:pt x="1237" y="356"/>
                  </a:lnTo>
                  <a:lnTo>
                    <a:pt x="1237" y="357"/>
                  </a:lnTo>
                  <a:lnTo>
                    <a:pt x="1237" y="357"/>
                  </a:lnTo>
                  <a:lnTo>
                    <a:pt x="1235" y="357"/>
                  </a:lnTo>
                  <a:lnTo>
                    <a:pt x="1229" y="357"/>
                  </a:lnTo>
                  <a:lnTo>
                    <a:pt x="1229" y="357"/>
                  </a:lnTo>
                  <a:lnTo>
                    <a:pt x="1229" y="361"/>
                  </a:lnTo>
                  <a:lnTo>
                    <a:pt x="1229" y="365"/>
                  </a:lnTo>
                  <a:lnTo>
                    <a:pt x="1229" y="366"/>
                  </a:lnTo>
                  <a:lnTo>
                    <a:pt x="1231" y="368"/>
                  </a:lnTo>
                  <a:lnTo>
                    <a:pt x="1231" y="370"/>
                  </a:lnTo>
                  <a:lnTo>
                    <a:pt x="1233" y="370"/>
                  </a:lnTo>
                  <a:lnTo>
                    <a:pt x="1235" y="370"/>
                  </a:lnTo>
                  <a:lnTo>
                    <a:pt x="1237" y="370"/>
                  </a:lnTo>
                  <a:lnTo>
                    <a:pt x="1237" y="372"/>
                  </a:lnTo>
                  <a:lnTo>
                    <a:pt x="1237" y="372"/>
                  </a:lnTo>
                  <a:lnTo>
                    <a:pt x="1238" y="374"/>
                  </a:lnTo>
                  <a:lnTo>
                    <a:pt x="1238" y="374"/>
                  </a:lnTo>
                  <a:lnTo>
                    <a:pt x="1238" y="374"/>
                  </a:lnTo>
                  <a:lnTo>
                    <a:pt x="1237" y="374"/>
                  </a:lnTo>
                  <a:lnTo>
                    <a:pt x="1237" y="374"/>
                  </a:lnTo>
                  <a:lnTo>
                    <a:pt x="1237" y="374"/>
                  </a:lnTo>
                  <a:lnTo>
                    <a:pt x="1235" y="374"/>
                  </a:lnTo>
                  <a:lnTo>
                    <a:pt x="1235" y="372"/>
                  </a:lnTo>
                  <a:lnTo>
                    <a:pt x="1235" y="372"/>
                  </a:lnTo>
                  <a:lnTo>
                    <a:pt x="1229" y="372"/>
                  </a:lnTo>
                  <a:lnTo>
                    <a:pt x="1229" y="374"/>
                  </a:lnTo>
                  <a:lnTo>
                    <a:pt x="1229" y="374"/>
                  </a:lnTo>
                  <a:lnTo>
                    <a:pt x="1229" y="375"/>
                  </a:lnTo>
                  <a:lnTo>
                    <a:pt x="1229" y="375"/>
                  </a:lnTo>
                  <a:lnTo>
                    <a:pt x="1228" y="374"/>
                  </a:lnTo>
                  <a:lnTo>
                    <a:pt x="1228" y="374"/>
                  </a:lnTo>
                  <a:lnTo>
                    <a:pt x="1229" y="379"/>
                  </a:lnTo>
                  <a:close/>
                  <a:moveTo>
                    <a:pt x="1275" y="328"/>
                  </a:moveTo>
                  <a:lnTo>
                    <a:pt x="1276" y="334"/>
                  </a:lnTo>
                  <a:lnTo>
                    <a:pt x="1278" y="336"/>
                  </a:lnTo>
                  <a:lnTo>
                    <a:pt x="1282" y="336"/>
                  </a:lnTo>
                  <a:lnTo>
                    <a:pt x="1285" y="336"/>
                  </a:lnTo>
                  <a:lnTo>
                    <a:pt x="1287" y="334"/>
                  </a:lnTo>
                  <a:lnTo>
                    <a:pt x="1287" y="330"/>
                  </a:lnTo>
                  <a:lnTo>
                    <a:pt x="1287" y="328"/>
                  </a:lnTo>
                  <a:lnTo>
                    <a:pt x="1287" y="327"/>
                  </a:lnTo>
                  <a:lnTo>
                    <a:pt x="1287" y="325"/>
                  </a:lnTo>
                  <a:lnTo>
                    <a:pt x="1285" y="325"/>
                  </a:lnTo>
                  <a:lnTo>
                    <a:pt x="1284" y="325"/>
                  </a:lnTo>
                  <a:lnTo>
                    <a:pt x="1280" y="325"/>
                  </a:lnTo>
                  <a:lnTo>
                    <a:pt x="1278" y="323"/>
                  </a:lnTo>
                  <a:lnTo>
                    <a:pt x="1275" y="321"/>
                  </a:lnTo>
                  <a:lnTo>
                    <a:pt x="1273" y="321"/>
                  </a:lnTo>
                  <a:lnTo>
                    <a:pt x="1271" y="325"/>
                  </a:lnTo>
                  <a:lnTo>
                    <a:pt x="1271" y="327"/>
                  </a:lnTo>
                  <a:lnTo>
                    <a:pt x="1275" y="328"/>
                  </a:lnTo>
                  <a:close/>
                  <a:moveTo>
                    <a:pt x="1177" y="366"/>
                  </a:moveTo>
                  <a:lnTo>
                    <a:pt x="1177" y="366"/>
                  </a:lnTo>
                  <a:lnTo>
                    <a:pt x="1177" y="366"/>
                  </a:lnTo>
                  <a:lnTo>
                    <a:pt x="1177" y="366"/>
                  </a:lnTo>
                  <a:lnTo>
                    <a:pt x="1179" y="365"/>
                  </a:lnTo>
                  <a:lnTo>
                    <a:pt x="1179" y="366"/>
                  </a:lnTo>
                  <a:lnTo>
                    <a:pt x="1179" y="368"/>
                  </a:lnTo>
                  <a:lnTo>
                    <a:pt x="1177" y="370"/>
                  </a:lnTo>
                  <a:lnTo>
                    <a:pt x="1179" y="372"/>
                  </a:lnTo>
                  <a:lnTo>
                    <a:pt x="1179" y="374"/>
                  </a:lnTo>
                  <a:lnTo>
                    <a:pt x="1182" y="374"/>
                  </a:lnTo>
                  <a:lnTo>
                    <a:pt x="1182" y="374"/>
                  </a:lnTo>
                  <a:lnTo>
                    <a:pt x="1184" y="372"/>
                  </a:lnTo>
                  <a:lnTo>
                    <a:pt x="1184" y="372"/>
                  </a:lnTo>
                  <a:lnTo>
                    <a:pt x="1188" y="372"/>
                  </a:lnTo>
                  <a:lnTo>
                    <a:pt x="1188" y="372"/>
                  </a:lnTo>
                  <a:lnTo>
                    <a:pt x="1188" y="368"/>
                  </a:lnTo>
                  <a:lnTo>
                    <a:pt x="1188" y="368"/>
                  </a:lnTo>
                  <a:lnTo>
                    <a:pt x="1190" y="365"/>
                  </a:lnTo>
                  <a:lnTo>
                    <a:pt x="1192" y="363"/>
                  </a:lnTo>
                  <a:lnTo>
                    <a:pt x="1192" y="361"/>
                  </a:lnTo>
                  <a:lnTo>
                    <a:pt x="1192" y="363"/>
                  </a:lnTo>
                  <a:lnTo>
                    <a:pt x="1193" y="365"/>
                  </a:lnTo>
                  <a:lnTo>
                    <a:pt x="1195" y="366"/>
                  </a:lnTo>
                  <a:lnTo>
                    <a:pt x="1195" y="365"/>
                  </a:lnTo>
                  <a:lnTo>
                    <a:pt x="1197" y="363"/>
                  </a:lnTo>
                  <a:lnTo>
                    <a:pt x="1197" y="361"/>
                  </a:lnTo>
                  <a:lnTo>
                    <a:pt x="1197" y="359"/>
                  </a:lnTo>
                  <a:lnTo>
                    <a:pt x="1199" y="359"/>
                  </a:lnTo>
                  <a:lnTo>
                    <a:pt x="1199" y="361"/>
                  </a:lnTo>
                  <a:lnTo>
                    <a:pt x="1199" y="363"/>
                  </a:lnTo>
                  <a:lnTo>
                    <a:pt x="1197" y="365"/>
                  </a:lnTo>
                  <a:lnTo>
                    <a:pt x="1199" y="365"/>
                  </a:lnTo>
                  <a:lnTo>
                    <a:pt x="1201" y="363"/>
                  </a:lnTo>
                  <a:lnTo>
                    <a:pt x="1201" y="363"/>
                  </a:lnTo>
                  <a:lnTo>
                    <a:pt x="1202" y="365"/>
                  </a:lnTo>
                  <a:lnTo>
                    <a:pt x="1204" y="363"/>
                  </a:lnTo>
                  <a:lnTo>
                    <a:pt x="1204" y="359"/>
                  </a:lnTo>
                  <a:lnTo>
                    <a:pt x="1206" y="357"/>
                  </a:lnTo>
                  <a:lnTo>
                    <a:pt x="1206" y="359"/>
                  </a:lnTo>
                  <a:lnTo>
                    <a:pt x="1206" y="359"/>
                  </a:lnTo>
                  <a:lnTo>
                    <a:pt x="1206" y="359"/>
                  </a:lnTo>
                  <a:lnTo>
                    <a:pt x="1206" y="361"/>
                  </a:lnTo>
                  <a:lnTo>
                    <a:pt x="1206" y="361"/>
                  </a:lnTo>
                  <a:lnTo>
                    <a:pt x="1208" y="359"/>
                  </a:lnTo>
                  <a:lnTo>
                    <a:pt x="1210" y="357"/>
                  </a:lnTo>
                  <a:lnTo>
                    <a:pt x="1211" y="354"/>
                  </a:lnTo>
                  <a:lnTo>
                    <a:pt x="1208" y="352"/>
                  </a:lnTo>
                  <a:lnTo>
                    <a:pt x="1206" y="352"/>
                  </a:lnTo>
                  <a:lnTo>
                    <a:pt x="1208" y="352"/>
                  </a:lnTo>
                  <a:lnTo>
                    <a:pt x="1215" y="354"/>
                  </a:lnTo>
                  <a:lnTo>
                    <a:pt x="1215" y="356"/>
                  </a:lnTo>
                  <a:lnTo>
                    <a:pt x="1215" y="357"/>
                  </a:lnTo>
                  <a:lnTo>
                    <a:pt x="1215" y="359"/>
                  </a:lnTo>
                  <a:lnTo>
                    <a:pt x="1215" y="361"/>
                  </a:lnTo>
                  <a:lnTo>
                    <a:pt x="1215" y="363"/>
                  </a:lnTo>
                  <a:lnTo>
                    <a:pt x="1211" y="363"/>
                  </a:lnTo>
                  <a:lnTo>
                    <a:pt x="1210" y="363"/>
                  </a:lnTo>
                  <a:lnTo>
                    <a:pt x="1210" y="365"/>
                  </a:lnTo>
                  <a:lnTo>
                    <a:pt x="1210" y="365"/>
                  </a:lnTo>
                  <a:lnTo>
                    <a:pt x="1210" y="366"/>
                  </a:lnTo>
                  <a:lnTo>
                    <a:pt x="1210" y="366"/>
                  </a:lnTo>
                  <a:lnTo>
                    <a:pt x="1206" y="366"/>
                  </a:lnTo>
                  <a:lnTo>
                    <a:pt x="1204" y="366"/>
                  </a:lnTo>
                  <a:lnTo>
                    <a:pt x="1201" y="368"/>
                  </a:lnTo>
                  <a:lnTo>
                    <a:pt x="1199" y="368"/>
                  </a:lnTo>
                  <a:lnTo>
                    <a:pt x="1199" y="370"/>
                  </a:lnTo>
                  <a:lnTo>
                    <a:pt x="1197" y="372"/>
                  </a:lnTo>
                  <a:lnTo>
                    <a:pt x="1197" y="374"/>
                  </a:lnTo>
                  <a:lnTo>
                    <a:pt x="1197" y="374"/>
                  </a:lnTo>
                  <a:lnTo>
                    <a:pt x="1201" y="374"/>
                  </a:lnTo>
                  <a:lnTo>
                    <a:pt x="1201" y="375"/>
                  </a:lnTo>
                  <a:lnTo>
                    <a:pt x="1199" y="375"/>
                  </a:lnTo>
                  <a:lnTo>
                    <a:pt x="1199" y="375"/>
                  </a:lnTo>
                  <a:lnTo>
                    <a:pt x="1201" y="377"/>
                  </a:lnTo>
                  <a:lnTo>
                    <a:pt x="1210" y="377"/>
                  </a:lnTo>
                  <a:lnTo>
                    <a:pt x="1224" y="368"/>
                  </a:lnTo>
                  <a:lnTo>
                    <a:pt x="1226" y="365"/>
                  </a:lnTo>
                  <a:lnTo>
                    <a:pt x="1228" y="363"/>
                  </a:lnTo>
                  <a:lnTo>
                    <a:pt x="1228" y="357"/>
                  </a:lnTo>
                  <a:lnTo>
                    <a:pt x="1226" y="356"/>
                  </a:lnTo>
                  <a:lnTo>
                    <a:pt x="1222" y="354"/>
                  </a:lnTo>
                  <a:lnTo>
                    <a:pt x="1220" y="352"/>
                  </a:lnTo>
                  <a:lnTo>
                    <a:pt x="1220" y="352"/>
                  </a:lnTo>
                  <a:lnTo>
                    <a:pt x="1222" y="350"/>
                  </a:lnTo>
                  <a:lnTo>
                    <a:pt x="1220" y="348"/>
                  </a:lnTo>
                  <a:lnTo>
                    <a:pt x="1220" y="348"/>
                  </a:lnTo>
                  <a:lnTo>
                    <a:pt x="1222" y="347"/>
                  </a:lnTo>
                  <a:lnTo>
                    <a:pt x="1222" y="347"/>
                  </a:lnTo>
                  <a:lnTo>
                    <a:pt x="1224" y="348"/>
                  </a:lnTo>
                  <a:lnTo>
                    <a:pt x="1224" y="347"/>
                  </a:lnTo>
                  <a:lnTo>
                    <a:pt x="1226" y="345"/>
                  </a:lnTo>
                  <a:lnTo>
                    <a:pt x="1226" y="343"/>
                  </a:lnTo>
                  <a:lnTo>
                    <a:pt x="1226" y="341"/>
                  </a:lnTo>
                  <a:lnTo>
                    <a:pt x="1224" y="341"/>
                  </a:lnTo>
                  <a:lnTo>
                    <a:pt x="1224" y="341"/>
                  </a:lnTo>
                  <a:lnTo>
                    <a:pt x="1224" y="339"/>
                  </a:lnTo>
                  <a:lnTo>
                    <a:pt x="1224" y="339"/>
                  </a:lnTo>
                  <a:lnTo>
                    <a:pt x="1224" y="339"/>
                  </a:lnTo>
                  <a:lnTo>
                    <a:pt x="1224" y="339"/>
                  </a:lnTo>
                  <a:lnTo>
                    <a:pt x="1222" y="341"/>
                  </a:lnTo>
                  <a:lnTo>
                    <a:pt x="1219" y="345"/>
                  </a:lnTo>
                  <a:lnTo>
                    <a:pt x="1220" y="339"/>
                  </a:lnTo>
                  <a:lnTo>
                    <a:pt x="1220" y="337"/>
                  </a:lnTo>
                  <a:lnTo>
                    <a:pt x="1222" y="332"/>
                  </a:lnTo>
                  <a:lnTo>
                    <a:pt x="1220" y="330"/>
                  </a:lnTo>
                  <a:lnTo>
                    <a:pt x="1219" y="336"/>
                  </a:lnTo>
                  <a:lnTo>
                    <a:pt x="1217" y="336"/>
                  </a:lnTo>
                  <a:lnTo>
                    <a:pt x="1217" y="334"/>
                  </a:lnTo>
                  <a:lnTo>
                    <a:pt x="1217" y="334"/>
                  </a:lnTo>
                  <a:lnTo>
                    <a:pt x="1219" y="332"/>
                  </a:lnTo>
                  <a:lnTo>
                    <a:pt x="1219" y="330"/>
                  </a:lnTo>
                  <a:lnTo>
                    <a:pt x="1217" y="330"/>
                  </a:lnTo>
                  <a:lnTo>
                    <a:pt x="1217" y="330"/>
                  </a:lnTo>
                  <a:lnTo>
                    <a:pt x="1217" y="328"/>
                  </a:lnTo>
                  <a:lnTo>
                    <a:pt x="1217" y="328"/>
                  </a:lnTo>
                  <a:lnTo>
                    <a:pt x="1217" y="328"/>
                  </a:lnTo>
                  <a:lnTo>
                    <a:pt x="1217" y="328"/>
                  </a:lnTo>
                  <a:lnTo>
                    <a:pt x="1215" y="325"/>
                  </a:lnTo>
                  <a:lnTo>
                    <a:pt x="1215" y="323"/>
                  </a:lnTo>
                  <a:lnTo>
                    <a:pt x="1215" y="321"/>
                  </a:lnTo>
                  <a:lnTo>
                    <a:pt x="1215" y="319"/>
                  </a:lnTo>
                  <a:lnTo>
                    <a:pt x="1213" y="318"/>
                  </a:lnTo>
                  <a:lnTo>
                    <a:pt x="1213" y="318"/>
                  </a:lnTo>
                  <a:lnTo>
                    <a:pt x="1213" y="318"/>
                  </a:lnTo>
                  <a:lnTo>
                    <a:pt x="1211" y="318"/>
                  </a:lnTo>
                  <a:lnTo>
                    <a:pt x="1208" y="323"/>
                  </a:lnTo>
                  <a:lnTo>
                    <a:pt x="1208" y="325"/>
                  </a:lnTo>
                  <a:lnTo>
                    <a:pt x="1208" y="327"/>
                  </a:lnTo>
                  <a:lnTo>
                    <a:pt x="1208" y="328"/>
                  </a:lnTo>
                  <a:lnTo>
                    <a:pt x="1210" y="332"/>
                  </a:lnTo>
                  <a:lnTo>
                    <a:pt x="1211" y="334"/>
                  </a:lnTo>
                  <a:lnTo>
                    <a:pt x="1211" y="336"/>
                  </a:lnTo>
                  <a:lnTo>
                    <a:pt x="1211" y="337"/>
                  </a:lnTo>
                  <a:lnTo>
                    <a:pt x="1213" y="339"/>
                  </a:lnTo>
                  <a:lnTo>
                    <a:pt x="1215" y="341"/>
                  </a:lnTo>
                  <a:lnTo>
                    <a:pt x="1215" y="345"/>
                  </a:lnTo>
                  <a:lnTo>
                    <a:pt x="1213" y="345"/>
                  </a:lnTo>
                  <a:lnTo>
                    <a:pt x="1211" y="341"/>
                  </a:lnTo>
                  <a:lnTo>
                    <a:pt x="1210" y="339"/>
                  </a:lnTo>
                  <a:lnTo>
                    <a:pt x="1208" y="345"/>
                  </a:lnTo>
                  <a:lnTo>
                    <a:pt x="1208" y="345"/>
                  </a:lnTo>
                  <a:lnTo>
                    <a:pt x="1208" y="345"/>
                  </a:lnTo>
                  <a:lnTo>
                    <a:pt x="1208" y="347"/>
                  </a:lnTo>
                  <a:lnTo>
                    <a:pt x="1208" y="348"/>
                  </a:lnTo>
                  <a:lnTo>
                    <a:pt x="1208" y="348"/>
                  </a:lnTo>
                  <a:lnTo>
                    <a:pt x="1208" y="348"/>
                  </a:lnTo>
                  <a:lnTo>
                    <a:pt x="1206" y="345"/>
                  </a:lnTo>
                  <a:lnTo>
                    <a:pt x="1206" y="345"/>
                  </a:lnTo>
                  <a:lnTo>
                    <a:pt x="1206" y="343"/>
                  </a:lnTo>
                  <a:lnTo>
                    <a:pt x="1206" y="341"/>
                  </a:lnTo>
                  <a:lnTo>
                    <a:pt x="1206" y="341"/>
                  </a:lnTo>
                  <a:lnTo>
                    <a:pt x="1204" y="337"/>
                  </a:lnTo>
                  <a:lnTo>
                    <a:pt x="1204" y="339"/>
                  </a:lnTo>
                  <a:lnTo>
                    <a:pt x="1202" y="341"/>
                  </a:lnTo>
                  <a:lnTo>
                    <a:pt x="1204" y="345"/>
                  </a:lnTo>
                  <a:lnTo>
                    <a:pt x="1204" y="347"/>
                  </a:lnTo>
                  <a:lnTo>
                    <a:pt x="1204" y="347"/>
                  </a:lnTo>
                  <a:lnTo>
                    <a:pt x="1204" y="348"/>
                  </a:lnTo>
                  <a:lnTo>
                    <a:pt x="1204" y="350"/>
                  </a:lnTo>
                  <a:lnTo>
                    <a:pt x="1204" y="350"/>
                  </a:lnTo>
                  <a:lnTo>
                    <a:pt x="1202" y="354"/>
                  </a:lnTo>
                  <a:lnTo>
                    <a:pt x="1202" y="354"/>
                  </a:lnTo>
                  <a:lnTo>
                    <a:pt x="1201" y="354"/>
                  </a:lnTo>
                  <a:lnTo>
                    <a:pt x="1201" y="352"/>
                  </a:lnTo>
                  <a:lnTo>
                    <a:pt x="1201" y="350"/>
                  </a:lnTo>
                  <a:lnTo>
                    <a:pt x="1201" y="348"/>
                  </a:lnTo>
                  <a:lnTo>
                    <a:pt x="1199" y="348"/>
                  </a:lnTo>
                  <a:lnTo>
                    <a:pt x="1197" y="348"/>
                  </a:lnTo>
                  <a:lnTo>
                    <a:pt x="1193" y="352"/>
                  </a:lnTo>
                  <a:lnTo>
                    <a:pt x="1192" y="354"/>
                  </a:lnTo>
                  <a:lnTo>
                    <a:pt x="1192" y="352"/>
                  </a:lnTo>
                  <a:lnTo>
                    <a:pt x="1192" y="347"/>
                  </a:lnTo>
                  <a:lnTo>
                    <a:pt x="1192" y="345"/>
                  </a:lnTo>
                  <a:lnTo>
                    <a:pt x="1192" y="345"/>
                  </a:lnTo>
                  <a:lnTo>
                    <a:pt x="1192" y="343"/>
                  </a:lnTo>
                  <a:lnTo>
                    <a:pt x="1190" y="343"/>
                  </a:lnTo>
                  <a:lnTo>
                    <a:pt x="1188" y="343"/>
                  </a:lnTo>
                  <a:lnTo>
                    <a:pt x="1188" y="345"/>
                  </a:lnTo>
                  <a:lnTo>
                    <a:pt x="1188" y="347"/>
                  </a:lnTo>
                  <a:lnTo>
                    <a:pt x="1188" y="348"/>
                  </a:lnTo>
                  <a:lnTo>
                    <a:pt x="1190" y="348"/>
                  </a:lnTo>
                  <a:lnTo>
                    <a:pt x="1188" y="350"/>
                  </a:lnTo>
                  <a:lnTo>
                    <a:pt x="1188" y="350"/>
                  </a:lnTo>
                  <a:lnTo>
                    <a:pt x="1188" y="352"/>
                  </a:lnTo>
                  <a:lnTo>
                    <a:pt x="1186" y="354"/>
                  </a:lnTo>
                  <a:lnTo>
                    <a:pt x="1188" y="356"/>
                  </a:lnTo>
                  <a:lnTo>
                    <a:pt x="1188" y="356"/>
                  </a:lnTo>
                  <a:lnTo>
                    <a:pt x="1188" y="356"/>
                  </a:lnTo>
                  <a:lnTo>
                    <a:pt x="1188" y="356"/>
                  </a:lnTo>
                  <a:lnTo>
                    <a:pt x="1188" y="357"/>
                  </a:lnTo>
                  <a:lnTo>
                    <a:pt x="1186" y="356"/>
                  </a:lnTo>
                  <a:lnTo>
                    <a:pt x="1186" y="356"/>
                  </a:lnTo>
                  <a:lnTo>
                    <a:pt x="1186" y="354"/>
                  </a:lnTo>
                  <a:lnTo>
                    <a:pt x="1184" y="352"/>
                  </a:lnTo>
                  <a:lnTo>
                    <a:pt x="1184" y="348"/>
                  </a:lnTo>
                  <a:lnTo>
                    <a:pt x="1184" y="347"/>
                  </a:lnTo>
                  <a:lnTo>
                    <a:pt x="1182" y="347"/>
                  </a:lnTo>
                  <a:lnTo>
                    <a:pt x="1181" y="348"/>
                  </a:lnTo>
                  <a:lnTo>
                    <a:pt x="1181" y="350"/>
                  </a:lnTo>
                  <a:lnTo>
                    <a:pt x="1179" y="354"/>
                  </a:lnTo>
                  <a:lnTo>
                    <a:pt x="1182" y="356"/>
                  </a:lnTo>
                  <a:lnTo>
                    <a:pt x="1184" y="356"/>
                  </a:lnTo>
                  <a:lnTo>
                    <a:pt x="1184" y="356"/>
                  </a:lnTo>
                  <a:lnTo>
                    <a:pt x="1181" y="357"/>
                  </a:lnTo>
                  <a:lnTo>
                    <a:pt x="1179" y="359"/>
                  </a:lnTo>
                  <a:lnTo>
                    <a:pt x="1179" y="361"/>
                  </a:lnTo>
                  <a:lnTo>
                    <a:pt x="1177" y="361"/>
                  </a:lnTo>
                  <a:lnTo>
                    <a:pt x="1177" y="361"/>
                  </a:lnTo>
                  <a:lnTo>
                    <a:pt x="1175" y="363"/>
                  </a:lnTo>
                  <a:lnTo>
                    <a:pt x="1177" y="366"/>
                  </a:lnTo>
                  <a:lnTo>
                    <a:pt x="1177" y="366"/>
                  </a:lnTo>
                  <a:close/>
                  <a:moveTo>
                    <a:pt x="1336" y="309"/>
                  </a:moveTo>
                  <a:lnTo>
                    <a:pt x="1336" y="307"/>
                  </a:lnTo>
                  <a:lnTo>
                    <a:pt x="1336" y="307"/>
                  </a:lnTo>
                  <a:lnTo>
                    <a:pt x="1334" y="307"/>
                  </a:lnTo>
                  <a:lnTo>
                    <a:pt x="1331" y="309"/>
                  </a:lnTo>
                  <a:lnTo>
                    <a:pt x="1329" y="309"/>
                  </a:lnTo>
                  <a:lnTo>
                    <a:pt x="1327" y="310"/>
                  </a:lnTo>
                  <a:lnTo>
                    <a:pt x="1325" y="314"/>
                  </a:lnTo>
                  <a:lnTo>
                    <a:pt x="1325" y="314"/>
                  </a:lnTo>
                  <a:lnTo>
                    <a:pt x="1325" y="316"/>
                  </a:lnTo>
                  <a:lnTo>
                    <a:pt x="1325" y="318"/>
                  </a:lnTo>
                  <a:lnTo>
                    <a:pt x="1325" y="318"/>
                  </a:lnTo>
                  <a:lnTo>
                    <a:pt x="1325" y="319"/>
                  </a:lnTo>
                  <a:lnTo>
                    <a:pt x="1325" y="319"/>
                  </a:lnTo>
                  <a:lnTo>
                    <a:pt x="1327" y="321"/>
                  </a:lnTo>
                  <a:lnTo>
                    <a:pt x="1327" y="321"/>
                  </a:lnTo>
                  <a:lnTo>
                    <a:pt x="1329" y="319"/>
                  </a:lnTo>
                  <a:lnTo>
                    <a:pt x="1329" y="318"/>
                  </a:lnTo>
                  <a:lnTo>
                    <a:pt x="1331" y="316"/>
                  </a:lnTo>
                  <a:lnTo>
                    <a:pt x="1331" y="314"/>
                  </a:lnTo>
                  <a:lnTo>
                    <a:pt x="1332" y="314"/>
                  </a:lnTo>
                  <a:lnTo>
                    <a:pt x="1334" y="312"/>
                  </a:lnTo>
                  <a:lnTo>
                    <a:pt x="1334" y="312"/>
                  </a:lnTo>
                  <a:lnTo>
                    <a:pt x="1334" y="310"/>
                  </a:lnTo>
                  <a:lnTo>
                    <a:pt x="1334" y="310"/>
                  </a:lnTo>
                  <a:lnTo>
                    <a:pt x="1334" y="309"/>
                  </a:lnTo>
                  <a:lnTo>
                    <a:pt x="1334" y="309"/>
                  </a:lnTo>
                  <a:lnTo>
                    <a:pt x="1336" y="309"/>
                  </a:lnTo>
                  <a:close/>
                  <a:moveTo>
                    <a:pt x="1228" y="332"/>
                  </a:moveTo>
                  <a:lnTo>
                    <a:pt x="1229" y="336"/>
                  </a:lnTo>
                  <a:lnTo>
                    <a:pt x="1231" y="336"/>
                  </a:lnTo>
                  <a:lnTo>
                    <a:pt x="1233" y="334"/>
                  </a:lnTo>
                  <a:lnTo>
                    <a:pt x="1233" y="332"/>
                  </a:lnTo>
                  <a:lnTo>
                    <a:pt x="1235" y="327"/>
                  </a:lnTo>
                  <a:lnTo>
                    <a:pt x="1235" y="325"/>
                  </a:lnTo>
                  <a:lnTo>
                    <a:pt x="1235" y="323"/>
                  </a:lnTo>
                  <a:lnTo>
                    <a:pt x="1235" y="321"/>
                  </a:lnTo>
                  <a:lnTo>
                    <a:pt x="1235" y="319"/>
                  </a:lnTo>
                  <a:lnTo>
                    <a:pt x="1233" y="318"/>
                  </a:lnTo>
                  <a:lnTo>
                    <a:pt x="1235" y="318"/>
                  </a:lnTo>
                  <a:lnTo>
                    <a:pt x="1235" y="318"/>
                  </a:lnTo>
                  <a:lnTo>
                    <a:pt x="1237" y="319"/>
                  </a:lnTo>
                  <a:lnTo>
                    <a:pt x="1238" y="321"/>
                  </a:lnTo>
                  <a:lnTo>
                    <a:pt x="1246" y="319"/>
                  </a:lnTo>
                  <a:lnTo>
                    <a:pt x="1247" y="316"/>
                  </a:lnTo>
                  <a:lnTo>
                    <a:pt x="1249" y="316"/>
                  </a:lnTo>
                  <a:lnTo>
                    <a:pt x="1249" y="316"/>
                  </a:lnTo>
                  <a:lnTo>
                    <a:pt x="1251" y="314"/>
                  </a:lnTo>
                  <a:lnTo>
                    <a:pt x="1251" y="312"/>
                  </a:lnTo>
                  <a:lnTo>
                    <a:pt x="1251" y="312"/>
                  </a:lnTo>
                  <a:lnTo>
                    <a:pt x="1251" y="310"/>
                  </a:lnTo>
                  <a:lnTo>
                    <a:pt x="1251" y="310"/>
                  </a:lnTo>
                  <a:lnTo>
                    <a:pt x="1253" y="310"/>
                  </a:lnTo>
                  <a:lnTo>
                    <a:pt x="1253" y="309"/>
                  </a:lnTo>
                  <a:lnTo>
                    <a:pt x="1255" y="307"/>
                  </a:lnTo>
                  <a:lnTo>
                    <a:pt x="1255" y="305"/>
                  </a:lnTo>
                  <a:lnTo>
                    <a:pt x="1255" y="305"/>
                  </a:lnTo>
                  <a:lnTo>
                    <a:pt x="1257" y="305"/>
                  </a:lnTo>
                  <a:lnTo>
                    <a:pt x="1258" y="301"/>
                  </a:lnTo>
                  <a:lnTo>
                    <a:pt x="1260" y="300"/>
                  </a:lnTo>
                  <a:lnTo>
                    <a:pt x="1260" y="298"/>
                  </a:lnTo>
                  <a:lnTo>
                    <a:pt x="1262" y="296"/>
                  </a:lnTo>
                  <a:lnTo>
                    <a:pt x="1262" y="291"/>
                  </a:lnTo>
                  <a:lnTo>
                    <a:pt x="1264" y="287"/>
                  </a:lnTo>
                  <a:lnTo>
                    <a:pt x="1264" y="285"/>
                  </a:lnTo>
                  <a:lnTo>
                    <a:pt x="1264" y="281"/>
                  </a:lnTo>
                  <a:lnTo>
                    <a:pt x="1266" y="280"/>
                  </a:lnTo>
                  <a:lnTo>
                    <a:pt x="1264" y="276"/>
                  </a:lnTo>
                  <a:lnTo>
                    <a:pt x="1262" y="276"/>
                  </a:lnTo>
                  <a:lnTo>
                    <a:pt x="1257" y="280"/>
                  </a:lnTo>
                  <a:lnTo>
                    <a:pt x="1255" y="283"/>
                  </a:lnTo>
                  <a:lnTo>
                    <a:pt x="1253" y="283"/>
                  </a:lnTo>
                  <a:lnTo>
                    <a:pt x="1251" y="283"/>
                  </a:lnTo>
                  <a:lnTo>
                    <a:pt x="1251" y="285"/>
                  </a:lnTo>
                  <a:lnTo>
                    <a:pt x="1251" y="285"/>
                  </a:lnTo>
                  <a:lnTo>
                    <a:pt x="1251" y="287"/>
                  </a:lnTo>
                  <a:lnTo>
                    <a:pt x="1251" y="287"/>
                  </a:lnTo>
                  <a:lnTo>
                    <a:pt x="1249" y="289"/>
                  </a:lnTo>
                  <a:lnTo>
                    <a:pt x="1247" y="298"/>
                  </a:lnTo>
                  <a:lnTo>
                    <a:pt x="1246" y="300"/>
                  </a:lnTo>
                  <a:lnTo>
                    <a:pt x="1240" y="300"/>
                  </a:lnTo>
                  <a:lnTo>
                    <a:pt x="1238" y="301"/>
                  </a:lnTo>
                  <a:lnTo>
                    <a:pt x="1235" y="305"/>
                  </a:lnTo>
                  <a:lnTo>
                    <a:pt x="1235" y="309"/>
                  </a:lnTo>
                  <a:lnTo>
                    <a:pt x="1233" y="312"/>
                  </a:lnTo>
                  <a:lnTo>
                    <a:pt x="1229" y="318"/>
                  </a:lnTo>
                  <a:lnTo>
                    <a:pt x="1229" y="319"/>
                  </a:lnTo>
                  <a:lnTo>
                    <a:pt x="1229" y="323"/>
                  </a:lnTo>
                  <a:lnTo>
                    <a:pt x="1228" y="325"/>
                  </a:lnTo>
                  <a:lnTo>
                    <a:pt x="1228" y="327"/>
                  </a:lnTo>
                  <a:lnTo>
                    <a:pt x="1229" y="328"/>
                  </a:lnTo>
                  <a:lnTo>
                    <a:pt x="1229" y="330"/>
                  </a:lnTo>
                  <a:lnTo>
                    <a:pt x="1228" y="332"/>
                  </a:lnTo>
                  <a:close/>
                  <a:moveTo>
                    <a:pt x="1298" y="310"/>
                  </a:moveTo>
                  <a:lnTo>
                    <a:pt x="1298" y="312"/>
                  </a:lnTo>
                  <a:lnTo>
                    <a:pt x="1313" y="309"/>
                  </a:lnTo>
                  <a:lnTo>
                    <a:pt x="1314" y="310"/>
                  </a:lnTo>
                  <a:lnTo>
                    <a:pt x="1313" y="310"/>
                  </a:lnTo>
                  <a:lnTo>
                    <a:pt x="1313" y="310"/>
                  </a:lnTo>
                  <a:lnTo>
                    <a:pt x="1313" y="310"/>
                  </a:lnTo>
                  <a:lnTo>
                    <a:pt x="1311" y="312"/>
                  </a:lnTo>
                  <a:lnTo>
                    <a:pt x="1313" y="312"/>
                  </a:lnTo>
                  <a:lnTo>
                    <a:pt x="1313" y="314"/>
                  </a:lnTo>
                  <a:lnTo>
                    <a:pt x="1311" y="314"/>
                  </a:lnTo>
                  <a:lnTo>
                    <a:pt x="1311" y="314"/>
                  </a:lnTo>
                  <a:lnTo>
                    <a:pt x="1309" y="316"/>
                  </a:lnTo>
                  <a:lnTo>
                    <a:pt x="1309" y="318"/>
                  </a:lnTo>
                  <a:lnTo>
                    <a:pt x="1311" y="319"/>
                  </a:lnTo>
                  <a:lnTo>
                    <a:pt x="1314" y="318"/>
                  </a:lnTo>
                  <a:lnTo>
                    <a:pt x="1316" y="316"/>
                  </a:lnTo>
                  <a:lnTo>
                    <a:pt x="1318" y="314"/>
                  </a:lnTo>
                  <a:lnTo>
                    <a:pt x="1318" y="312"/>
                  </a:lnTo>
                  <a:lnTo>
                    <a:pt x="1316" y="314"/>
                  </a:lnTo>
                  <a:lnTo>
                    <a:pt x="1316" y="312"/>
                  </a:lnTo>
                  <a:lnTo>
                    <a:pt x="1316" y="309"/>
                  </a:lnTo>
                  <a:lnTo>
                    <a:pt x="1320" y="305"/>
                  </a:lnTo>
                  <a:lnTo>
                    <a:pt x="1327" y="298"/>
                  </a:lnTo>
                  <a:lnTo>
                    <a:pt x="1329" y="294"/>
                  </a:lnTo>
                  <a:lnTo>
                    <a:pt x="1329" y="292"/>
                  </a:lnTo>
                  <a:lnTo>
                    <a:pt x="1331" y="292"/>
                  </a:lnTo>
                  <a:lnTo>
                    <a:pt x="1332" y="291"/>
                  </a:lnTo>
                  <a:lnTo>
                    <a:pt x="1334" y="292"/>
                  </a:lnTo>
                  <a:lnTo>
                    <a:pt x="1332" y="294"/>
                  </a:lnTo>
                  <a:lnTo>
                    <a:pt x="1332" y="296"/>
                  </a:lnTo>
                  <a:lnTo>
                    <a:pt x="1332" y="298"/>
                  </a:lnTo>
                  <a:lnTo>
                    <a:pt x="1332" y="298"/>
                  </a:lnTo>
                  <a:lnTo>
                    <a:pt x="1338" y="298"/>
                  </a:lnTo>
                  <a:lnTo>
                    <a:pt x="1343" y="296"/>
                  </a:lnTo>
                  <a:lnTo>
                    <a:pt x="1349" y="296"/>
                  </a:lnTo>
                  <a:lnTo>
                    <a:pt x="1356" y="294"/>
                  </a:lnTo>
                  <a:lnTo>
                    <a:pt x="1358" y="294"/>
                  </a:lnTo>
                  <a:lnTo>
                    <a:pt x="1358" y="292"/>
                  </a:lnTo>
                  <a:lnTo>
                    <a:pt x="1358" y="291"/>
                  </a:lnTo>
                  <a:lnTo>
                    <a:pt x="1356" y="291"/>
                  </a:lnTo>
                  <a:lnTo>
                    <a:pt x="1354" y="291"/>
                  </a:lnTo>
                  <a:lnTo>
                    <a:pt x="1354" y="289"/>
                  </a:lnTo>
                  <a:lnTo>
                    <a:pt x="1354" y="289"/>
                  </a:lnTo>
                  <a:lnTo>
                    <a:pt x="1352" y="287"/>
                  </a:lnTo>
                  <a:lnTo>
                    <a:pt x="1350" y="285"/>
                  </a:lnTo>
                  <a:lnTo>
                    <a:pt x="1350" y="285"/>
                  </a:lnTo>
                  <a:lnTo>
                    <a:pt x="1354" y="285"/>
                  </a:lnTo>
                  <a:lnTo>
                    <a:pt x="1354" y="285"/>
                  </a:lnTo>
                  <a:lnTo>
                    <a:pt x="1356" y="283"/>
                  </a:lnTo>
                  <a:lnTo>
                    <a:pt x="1356" y="281"/>
                  </a:lnTo>
                  <a:lnTo>
                    <a:pt x="1354" y="281"/>
                  </a:lnTo>
                  <a:lnTo>
                    <a:pt x="1354" y="280"/>
                  </a:lnTo>
                  <a:lnTo>
                    <a:pt x="1354" y="278"/>
                  </a:lnTo>
                  <a:lnTo>
                    <a:pt x="1354" y="276"/>
                  </a:lnTo>
                  <a:lnTo>
                    <a:pt x="1354" y="276"/>
                  </a:lnTo>
                  <a:lnTo>
                    <a:pt x="1352" y="274"/>
                  </a:lnTo>
                  <a:lnTo>
                    <a:pt x="1354" y="272"/>
                  </a:lnTo>
                  <a:lnTo>
                    <a:pt x="1356" y="271"/>
                  </a:lnTo>
                  <a:lnTo>
                    <a:pt x="1358" y="271"/>
                  </a:lnTo>
                  <a:lnTo>
                    <a:pt x="1361" y="271"/>
                  </a:lnTo>
                  <a:lnTo>
                    <a:pt x="1361" y="271"/>
                  </a:lnTo>
                  <a:lnTo>
                    <a:pt x="1361" y="269"/>
                  </a:lnTo>
                  <a:lnTo>
                    <a:pt x="1363" y="269"/>
                  </a:lnTo>
                  <a:lnTo>
                    <a:pt x="1363" y="267"/>
                  </a:lnTo>
                  <a:lnTo>
                    <a:pt x="1361" y="267"/>
                  </a:lnTo>
                  <a:lnTo>
                    <a:pt x="1361" y="265"/>
                  </a:lnTo>
                  <a:lnTo>
                    <a:pt x="1361" y="260"/>
                  </a:lnTo>
                  <a:lnTo>
                    <a:pt x="1361" y="258"/>
                  </a:lnTo>
                  <a:lnTo>
                    <a:pt x="1359" y="258"/>
                  </a:lnTo>
                  <a:lnTo>
                    <a:pt x="1359" y="258"/>
                  </a:lnTo>
                  <a:lnTo>
                    <a:pt x="1358" y="258"/>
                  </a:lnTo>
                  <a:lnTo>
                    <a:pt x="1358" y="260"/>
                  </a:lnTo>
                  <a:lnTo>
                    <a:pt x="1358" y="262"/>
                  </a:lnTo>
                  <a:lnTo>
                    <a:pt x="1356" y="262"/>
                  </a:lnTo>
                  <a:lnTo>
                    <a:pt x="1354" y="260"/>
                  </a:lnTo>
                  <a:lnTo>
                    <a:pt x="1356" y="256"/>
                  </a:lnTo>
                  <a:lnTo>
                    <a:pt x="1358" y="254"/>
                  </a:lnTo>
                  <a:lnTo>
                    <a:pt x="1356" y="251"/>
                  </a:lnTo>
                  <a:lnTo>
                    <a:pt x="1358" y="253"/>
                  </a:lnTo>
                  <a:lnTo>
                    <a:pt x="1359" y="251"/>
                  </a:lnTo>
                  <a:lnTo>
                    <a:pt x="1359" y="249"/>
                  </a:lnTo>
                  <a:lnTo>
                    <a:pt x="1356" y="245"/>
                  </a:lnTo>
                  <a:lnTo>
                    <a:pt x="1354" y="245"/>
                  </a:lnTo>
                  <a:lnTo>
                    <a:pt x="1354" y="245"/>
                  </a:lnTo>
                  <a:lnTo>
                    <a:pt x="1354" y="249"/>
                  </a:lnTo>
                  <a:lnTo>
                    <a:pt x="1352" y="249"/>
                  </a:lnTo>
                  <a:lnTo>
                    <a:pt x="1352" y="251"/>
                  </a:lnTo>
                  <a:lnTo>
                    <a:pt x="1350" y="253"/>
                  </a:lnTo>
                  <a:lnTo>
                    <a:pt x="1350" y="256"/>
                  </a:lnTo>
                  <a:lnTo>
                    <a:pt x="1350" y="256"/>
                  </a:lnTo>
                  <a:lnTo>
                    <a:pt x="1349" y="256"/>
                  </a:lnTo>
                  <a:lnTo>
                    <a:pt x="1349" y="254"/>
                  </a:lnTo>
                  <a:lnTo>
                    <a:pt x="1349" y="254"/>
                  </a:lnTo>
                  <a:lnTo>
                    <a:pt x="1349" y="251"/>
                  </a:lnTo>
                  <a:lnTo>
                    <a:pt x="1349" y="251"/>
                  </a:lnTo>
                  <a:lnTo>
                    <a:pt x="1349" y="249"/>
                  </a:lnTo>
                  <a:lnTo>
                    <a:pt x="1350" y="249"/>
                  </a:lnTo>
                  <a:lnTo>
                    <a:pt x="1350" y="247"/>
                  </a:lnTo>
                  <a:lnTo>
                    <a:pt x="1350" y="247"/>
                  </a:lnTo>
                  <a:lnTo>
                    <a:pt x="1352" y="245"/>
                  </a:lnTo>
                  <a:lnTo>
                    <a:pt x="1352" y="244"/>
                  </a:lnTo>
                  <a:lnTo>
                    <a:pt x="1350" y="238"/>
                  </a:lnTo>
                  <a:lnTo>
                    <a:pt x="1350" y="236"/>
                  </a:lnTo>
                  <a:lnTo>
                    <a:pt x="1349" y="236"/>
                  </a:lnTo>
                  <a:lnTo>
                    <a:pt x="1349" y="236"/>
                  </a:lnTo>
                  <a:lnTo>
                    <a:pt x="1347" y="238"/>
                  </a:lnTo>
                  <a:lnTo>
                    <a:pt x="1347" y="242"/>
                  </a:lnTo>
                  <a:lnTo>
                    <a:pt x="1345" y="244"/>
                  </a:lnTo>
                  <a:lnTo>
                    <a:pt x="1343" y="242"/>
                  </a:lnTo>
                  <a:lnTo>
                    <a:pt x="1343" y="236"/>
                  </a:lnTo>
                  <a:lnTo>
                    <a:pt x="1341" y="236"/>
                  </a:lnTo>
                  <a:lnTo>
                    <a:pt x="1341" y="235"/>
                  </a:lnTo>
                  <a:lnTo>
                    <a:pt x="1341" y="235"/>
                  </a:lnTo>
                  <a:lnTo>
                    <a:pt x="1340" y="235"/>
                  </a:lnTo>
                  <a:lnTo>
                    <a:pt x="1340" y="236"/>
                  </a:lnTo>
                  <a:lnTo>
                    <a:pt x="1340" y="236"/>
                  </a:lnTo>
                  <a:lnTo>
                    <a:pt x="1340" y="236"/>
                  </a:lnTo>
                  <a:lnTo>
                    <a:pt x="1340" y="238"/>
                  </a:lnTo>
                  <a:lnTo>
                    <a:pt x="1340" y="240"/>
                  </a:lnTo>
                  <a:lnTo>
                    <a:pt x="1341" y="242"/>
                  </a:lnTo>
                  <a:lnTo>
                    <a:pt x="1341" y="244"/>
                  </a:lnTo>
                  <a:lnTo>
                    <a:pt x="1341" y="245"/>
                  </a:lnTo>
                  <a:lnTo>
                    <a:pt x="1341" y="245"/>
                  </a:lnTo>
                  <a:lnTo>
                    <a:pt x="1341" y="245"/>
                  </a:lnTo>
                  <a:lnTo>
                    <a:pt x="1341" y="247"/>
                  </a:lnTo>
                  <a:lnTo>
                    <a:pt x="1340" y="247"/>
                  </a:lnTo>
                  <a:lnTo>
                    <a:pt x="1340" y="247"/>
                  </a:lnTo>
                  <a:lnTo>
                    <a:pt x="1338" y="247"/>
                  </a:lnTo>
                  <a:lnTo>
                    <a:pt x="1334" y="238"/>
                  </a:lnTo>
                  <a:lnTo>
                    <a:pt x="1332" y="235"/>
                  </a:lnTo>
                  <a:lnTo>
                    <a:pt x="1331" y="235"/>
                  </a:lnTo>
                  <a:lnTo>
                    <a:pt x="1331" y="236"/>
                  </a:lnTo>
                  <a:lnTo>
                    <a:pt x="1331" y="236"/>
                  </a:lnTo>
                  <a:lnTo>
                    <a:pt x="1331" y="238"/>
                  </a:lnTo>
                  <a:lnTo>
                    <a:pt x="1331" y="238"/>
                  </a:lnTo>
                  <a:lnTo>
                    <a:pt x="1331" y="240"/>
                  </a:lnTo>
                  <a:lnTo>
                    <a:pt x="1331" y="242"/>
                  </a:lnTo>
                  <a:lnTo>
                    <a:pt x="1332" y="244"/>
                  </a:lnTo>
                  <a:lnTo>
                    <a:pt x="1336" y="245"/>
                  </a:lnTo>
                  <a:lnTo>
                    <a:pt x="1336" y="247"/>
                  </a:lnTo>
                  <a:lnTo>
                    <a:pt x="1336" y="249"/>
                  </a:lnTo>
                  <a:lnTo>
                    <a:pt x="1336" y="251"/>
                  </a:lnTo>
                  <a:lnTo>
                    <a:pt x="1338" y="251"/>
                  </a:lnTo>
                  <a:lnTo>
                    <a:pt x="1338" y="253"/>
                  </a:lnTo>
                  <a:lnTo>
                    <a:pt x="1340" y="254"/>
                  </a:lnTo>
                  <a:lnTo>
                    <a:pt x="1340" y="254"/>
                  </a:lnTo>
                  <a:lnTo>
                    <a:pt x="1338" y="254"/>
                  </a:lnTo>
                  <a:lnTo>
                    <a:pt x="1336" y="254"/>
                  </a:lnTo>
                  <a:lnTo>
                    <a:pt x="1334" y="251"/>
                  </a:lnTo>
                  <a:lnTo>
                    <a:pt x="1332" y="251"/>
                  </a:lnTo>
                  <a:lnTo>
                    <a:pt x="1332" y="249"/>
                  </a:lnTo>
                  <a:lnTo>
                    <a:pt x="1331" y="249"/>
                  </a:lnTo>
                  <a:lnTo>
                    <a:pt x="1331" y="247"/>
                  </a:lnTo>
                  <a:lnTo>
                    <a:pt x="1331" y="247"/>
                  </a:lnTo>
                  <a:lnTo>
                    <a:pt x="1329" y="247"/>
                  </a:lnTo>
                  <a:lnTo>
                    <a:pt x="1327" y="245"/>
                  </a:lnTo>
                  <a:lnTo>
                    <a:pt x="1325" y="244"/>
                  </a:lnTo>
                  <a:lnTo>
                    <a:pt x="1325" y="244"/>
                  </a:lnTo>
                  <a:lnTo>
                    <a:pt x="1323" y="244"/>
                  </a:lnTo>
                  <a:lnTo>
                    <a:pt x="1323" y="245"/>
                  </a:lnTo>
                  <a:lnTo>
                    <a:pt x="1323" y="247"/>
                  </a:lnTo>
                  <a:lnTo>
                    <a:pt x="1325" y="251"/>
                  </a:lnTo>
                  <a:lnTo>
                    <a:pt x="1327" y="251"/>
                  </a:lnTo>
                  <a:lnTo>
                    <a:pt x="1325" y="253"/>
                  </a:lnTo>
                  <a:lnTo>
                    <a:pt x="1323" y="251"/>
                  </a:lnTo>
                  <a:lnTo>
                    <a:pt x="1323" y="253"/>
                  </a:lnTo>
                  <a:lnTo>
                    <a:pt x="1323" y="254"/>
                  </a:lnTo>
                  <a:lnTo>
                    <a:pt x="1322" y="254"/>
                  </a:lnTo>
                  <a:lnTo>
                    <a:pt x="1322" y="253"/>
                  </a:lnTo>
                  <a:lnTo>
                    <a:pt x="1320" y="253"/>
                  </a:lnTo>
                  <a:lnTo>
                    <a:pt x="1320" y="249"/>
                  </a:lnTo>
                  <a:lnTo>
                    <a:pt x="1318" y="249"/>
                  </a:lnTo>
                  <a:lnTo>
                    <a:pt x="1316" y="249"/>
                  </a:lnTo>
                  <a:lnTo>
                    <a:pt x="1320" y="256"/>
                  </a:lnTo>
                  <a:lnTo>
                    <a:pt x="1323" y="258"/>
                  </a:lnTo>
                  <a:lnTo>
                    <a:pt x="1332" y="260"/>
                  </a:lnTo>
                  <a:lnTo>
                    <a:pt x="1329" y="262"/>
                  </a:lnTo>
                  <a:lnTo>
                    <a:pt x="1322" y="262"/>
                  </a:lnTo>
                  <a:lnTo>
                    <a:pt x="1322" y="262"/>
                  </a:lnTo>
                  <a:lnTo>
                    <a:pt x="1323" y="263"/>
                  </a:lnTo>
                  <a:lnTo>
                    <a:pt x="1325" y="265"/>
                  </a:lnTo>
                  <a:lnTo>
                    <a:pt x="1327" y="267"/>
                  </a:lnTo>
                  <a:lnTo>
                    <a:pt x="1327" y="269"/>
                  </a:lnTo>
                  <a:lnTo>
                    <a:pt x="1325" y="269"/>
                  </a:lnTo>
                  <a:lnTo>
                    <a:pt x="1322" y="263"/>
                  </a:lnTo>
                  <a:lnTo>
                    <a:pt x="1314" y="263"/>
                  </a:lnTo>
                  <a:lnTo>
                    <a:pt x="1314" y="263"/>
                  </a:lnTo>
                  <a:lnTo>
                    <a:pt x="1313" y="265"/>
                  </a:lnTo>
                  <a:lnTo>
                    <a:pt x="1311" y="265"/>
                  </a:lnTo>
                  <a:lnTo>
                    <a:pt x="1311" y="265"/>
                  </a:lnTo>
                  <a:lnTo>
                    <a:pt x="1309" y="263"/>
                  </a:lnTo>
                  <a:lnTo>
                    <a:pt x="1309" y="263"/>
                  </a:lnTo>
                  <a:lnTo>
                    <a:pt x="1309" y="263"/>
                  </a:lnTo>
                  <a:lnTo>
                    <a:pt x="1307" y="265"/>
                  </a:lnTo>
                  <a:lnTo>
                    <a:pt x="1307" y="265"/>
                  </a:lnTo>
                  <a:lnTo>
                    <a:pt x="1307" y="265"/>
                  </a:lnTo>
                  <a:lnTo>
                    <a:pt x="1307" y="265"/>
                  </a:lnTo>
                  <a:lnTo>
                    <a:pt x="1305" y="263"/>
                  </a:lnTo>
                  <a:lnTo>
                    <a:pt x="1303" y="263"/>
                  </a:lnTo>
                  <a:lnTo>
                    <a:pt x="1303" y="263"/>
                  </a:lnTo>
                  <a:lnTo>
                    <a:pt x="1303" y="265"/>
                  </a:lnTo>
                  <a:lnTo>
                    <a:pt x="1303" y="267"/>
                  </a:lnTo>
                  <a:lnTo>
                    <a:pt x="1303" y="267"/>
                  </a:lnTo>
                  <a:lnTo>
                    <a:pt x="1302" y="269"/>
                  </a:lnTo>
                  <a:lnTo>
                    <a:pt x="1302" y="269"/>
                  </a:lnTo>
                  <a:lnTo>
                    <a:pt x="1302" y="269"/>
                  </a:lnTo>
                  <a:lnTo>
                    <a:pt x="1305" y="269"/>
                  </a:lnTo>
                  <a:lnTo>
                    <a:pt x="1311" y="269"/>
                  </a:lnTo>
                  <a:lnTo>
                    <a:pt x="1311" y="269"/>
                  </a:lnTo>
                  <a:lnTo>
                    <a:pt x="1313" y="271"/>
                  </a:lnTo>
                  <a:lnTo>
                    <a:pt x="1311" y="271"/>
                  </a:lnTo>
                  <a:lnTo>
                    <a:pt x="1311" y="271"/>
                  </a:lnTo>
                  <a:lnTo>
                    <a:pt x="1309" y="271"/>
                  </a:lnTo>
                  <a:lnTo>
                    <a:pt x="1311" y="272"/>
                  </a:lnTo>
                  <a:lnTo>
                    <a:pt x="1311" y="272"/>
                  </a:lnTo>
                  <a:lnTo>
                    <a:pt x="1313" y="272"/>
                  </a:lnTo>
                  <a:lnTo>
                    <a:pt x="1313" y="274"/>
                  </a:lnTo>
                  <a:lnTo>
                    <a:pt x="1314" y="276"/>
                  </a:lnTo>
                  <a:lnTo>
                    <a:pt x="1314" y="276"/>
                  </a:lnTo>
                  <a:lnTo>
                    <a:pt x="1303" y="274"/>
                  </a:lnTo>
                  <a:lnTo>
                    <a:pt x="1302" y="276"/>
                  </a:lnTo>
                  <a:lnTo>
                    <a:pt x="1302" y="278"/>
                  </a:lnTo>
                  <a:lnTo>
                    <a:pt x="1303" y="278"/>
                  </a:lnTo>
                  <a:lnTo>
                    <a:pt x="1307" y="278"/>
                  </a:lnTo>
                  <a:lnTo>
                    <a:pt x="1307" y="280"/>
                  </a:lnTo>
                  <a:lnTo>
                    <a:pt x="1307" y="280"/>
                  </a:lnTo>
                  <a:lnTo>
                    <a:pt x="1307" y="280"/>
                  </a:lnTo>
                  <a:lnTo>
                    <a:pt x="1307" y="281"/>
                  </a:lnTo>
                  <a:lnTo>
                    <a:pt x="1309" y="281"/>
                  </a:lnTo>
                  <a:lnTo>
                    <a:pt x="1311" y="281"/>
                  </a:lnTo>
                  <a:lnTo>
                    <a:pt x="1311" y="280"/>
                  </a:lnTo>
                  <a:lnTo>
                    <a:pt x="1313" y="280"/>
                  </a:lnTo>
                  <a:lnTo>
                    <a:pt x="1313" y="280"/>
                  </a:lnTo>
                  <a:lnTo>
                    <a:pt x="1313" y="281"/>
                  </a:lnTo>
                  <a:lnTo>
                    <a:pt x="1313" y="283"/>
                  </a:lnTo>
                  <a:lnTo>
                    <a:pt x="1313" y="283"/>
                  </a:lnTo>
                  <a:lnTo>
                    <a:pt x="1313" y="283"/>
                  </a:lnTo>
                  <a:lnTo>
                    <a:pt x="1313" y="285"/>
                  </a:lnTo>
                  <a:lnTo>
                    <a:pt x="1313" y="285"/>
                  </a:lnTo>
                  <a:lnTo>
                    <a:pt x="1314" y="285"/>
                  </a:lnTo>
                  <a:lnTo>
                    <a:pt x="1314" y="283"/>
                  </a:lnTo>
                  <a:lnTo>
                    <a:pt x="1313" y="287"/>
                  </a:lnTo>
                  <a:lnTo>
                    <a:pt x="1305" y="287"/>
                  </a:lnTo>
                  <a:lnTo>
                    <a:pt x="1302" y="289"/>
                  </a:lnTo>
                  <a:lnTo>
                    <a:pt x="1302" y="289"/>
                  </a:lnTo>
                  <a:lnTo>
                    <a:pt x="1302" y="289"/>
                  </a:lnTo>
                  <a:lnTo>
                    <a:pt x="1303" y="289"/>
                  </a:lnTo>
                  <a:lnTo>
                    <a:pt x="1303" y="291"/>
                  </a:lnTo>
                  <a:lnTo>
                    <a:pt x="1303" y="291"/>
                  </a:lnTo>
                  <a:lnTo>
                    <a:pt x="1303" y="291"/>
                  </a:lnTo>
                  <a:lnTo>
                    <a:pt x="1302" y="292"/>
                  </a:lnTo>
                  <a:lnTo>
                    <a:pt x="1302" y="292"/>
                  </a:lnTo>
                  <a:lnTo>
                    <a:pt x="1305" y="292"/>
                  </a:lnTo>
                  <a:lnTo>
                    <a:pt x="1309" y="294"/>
                  </a:lnTo>
                  <a:lnTo>
                    <a:pt x="1311" y="294"/>
                  </a:lnTo>
                  <a:lnTo>
                    <a:pt x="1316" y="292"/>
                  </a:lnTo>
                  <a:lnTo>
                    <a:pt x="1314" y="294"/>
                  </a:lnTo>
                  <a:lnTo>
                    <a:pt x="1311" y="298"/>
                  </a:lnTo>
                  <a:lnTo>
                    <a:pt x="1311" y="298"/>
                  </a:lnTo>
                  <a:lnTo>
                    <a:pt x="1311" y="298"/>
                  </a:lnTo>
                  <a:lnTo>
                    <a:pt x="1311" y="300"/>
                  </a:lnTo>
                  <a:lnTo>
                    <a:pt x="1311" y="300"/>
                  </a:lnTo>
                  <a:lnTo>
                    <a:pt x="1311" y="301"/>
                  </a:lnTo>
                  <a:lnTo>
                    <a:pt x="1309" y="301"/>
                  </a:lnTo>
                  <a:lnTo>
                    <a:pt x="1307" y="300"/>
                  </a:lnTo>
                  <a:lnTo>
                    <a:pt x="1302" y="301"/>
                  </a:lnTo>
                  <a:lnTo>
                    <a:pt x="1302" y="305"/>
                  </a:lnTo>
                  <a:lnTo>
                    <a:pt x="1302" y="305"/>
                  </a:lnTo>
                  <a:lnTo>
                    <a:pt x="1298" y="303"/>
                  </a:lnTo>
                  <a:lnTo>
                    <a:pt x="1296" y="305"/>
                  </a:lnTo>
                  <a:lnTo>
                    <a:pt x="1296" y="307"/>
                  </a:lnTo>
                  <a:lnTo>
                    <a:pt x="1296" y="310"/>
                  </a:lnTo>
                  <a:lnTo>
                    <a:pt x="1298" y="310"/>
                  </a:lnTo>
                  <a:close/>
                  <a:moveTo>
                    <a:pt x="1359" y="238"/>
                  </a:moveTo>
                  <a:lnTo>
                    <a:pt x="1363" y="238"/>
                  </a:lnTo>
                  <a:lnTo>
                    <a:pt x="1363" y="240"/>
                  </a:lnTo>
                  <a:lnTo>
                    <a:pt x="1365" y="244"/>
                  </a:lnTo>
                  <a:lnTo>
                    <a:pt x="1367" y="245"/>
                  </a:lnTo>
                  <a:lnTo>
                    <a:pt x="1370" y="245"/>
                  </a:lnTo>
                  <a:lnTo>
                    <a:pt x="1381" y="240"/>
                  </a:lnTo>
                  <a:lnTo>
                    <a:pt x="1385" y="240"/>
                  </a:lnTo>
                  <a:lnTo>
                    <a:pt x="1387" y="240"/>
                  </a:lnTo>
                  <a:lnTo>
                    <a:pt x="1388" y="238"/>
                  </a:lnTo>
                  <a:lnTo>
                    <a:pt x="1388" y="238"/>
                  </a:lnTo>
                  <a:lnTo>
                    <a:pt x="1394" y="240"/>
                  </a:lnTo>
                  <a:lnTo>
                    <a:pt x="1396" y="238"/>
                  </a:lnTo>
                  <a:lnTo>
                    <a:pt x="1399" y="236"/>
                  </a:lnTo>
                  <a:lnTo>
                    <a:pt x="1399" y="235"/>
                  </a:lnTo>
                  <a:lnTo>
                    <a:pt x="1399" y="231"/>
                  </a:lnTo>
                  <a:lnTo>
                    <a:pt x="1397" y="231"/>
                  </a:lnTo>
                  <a:lnTo>
                    <a:pt x="1397" y="231"/>
                  </a:lnTo>
                  <a:lnTo>
                    <a:pt x="1396" y="229"/>
                  </a:lnTo>
                  <a:lnTo>
                    <a:pt x="1396" y="227"/>
                  </a:lnTo>
                  <a:lnTo>
                    <a:pt x="1396" y="227"/>
                  </a:lnTo>
                  <a:lnTo>
                    <a:pt x="1397" y="225"/>
                  </a:lnTo>
                  <a:lnTo>
                    <a:pt x="1397" y="224"/>
                  </a:lnTo>
                  <a:lnTo>
                    <a:pt x="1397" y="224"/>
                  </a:lnTo>
                  <a:lnTo>
                    <a:pt x="1399" y="222"/>
                  </a:lnTo>
                  <a:lnTo>
                    <a:pt x="1401" y="222"/>
                  </a:lnTo>
                  <a:lnTo>
                    <a:pt x="1403" y="220"/>
                  </a:lnTo>
                  <a:lnTo>
                    <a:pt x="1406" y="216"/>
                  </a:lnTo>
                  <a:lnTo>
                    <a:pt x="1408" y="215"/>
                  </a:lnTo>
                  <a:lnTo>
                    <a:pt x="1410" y="211"/>
                  </a:lnTo>
                  <a:lnTo>
                    <a:pt x="1410" y="207"/>
                  </a:lnTo>
                  <a:lnTo>
                    <a:pt x="1410" y="206"/>
                  </a:lnTo>
                  <a:lnTo>
                    <a:pt x="1408" y="204"/>
                  </a:lnTo>
                  <a:lnTo>
                    <a:pt x="1408" y="202"/>
                  </a:lnTo>
                  <a:lnTo>
                    <a:pt x="1406" y="200"/>
                  </a:lnTo>
                  <a:lnTo>
                    <a:pt x="1403" y="198"/>
                  </a:lnTo>
                  <a:lnTo>
                    <a:pt x="1401" y="200"/>
                  </a:lnTo>
                  <a:lnTo>
                    <a:pt x="1399" y="200"/>
                  </a:lnTo>
                  <a:lnTo>
                    <a:pt x="1399" y="198"/>
                  </a:lnTo>
                  <a:lnTo>
                    <a:pt x="1399" y="197"/>
                  </a:lnTo>
                  <a:lnTo>
                    <a:pt x="1401" y="197"/>
                  </a:lnTo>
                  <a:lnTo>
                    <a:pt x="1399" y="195"/>
                  </a:lnTo>
                  <a:lnTo>
                    <a:pt x="1399" y="193"/>
                  </a:lnTo>
                  <a:lnTo>
                    <a:pt x="1397" y="193"/>
                  </a:lnTo>
                  <a:lnTo>
                    <a:pt x="1397" y="195"/>
                  </a:lnTo>
                  <a:lnTo>
                    <a:pt x="1397" y="195"/>
                  </a:lnTo>
                  <a:lnTo>
                    <a:pt x="1396" y="197"/>
                  </a:lnTo>
                  <a:lnTo>
                    <a:pt x="1394" y="195"/>
                  </a:lnTo>
                  <a:lnTo>
                    <a:pt x="1392" y="193"/>
                  </a:lnTo>
                  <a:lnTo>
                    <a:pt x="1390" y="197"/>
                  </a:lnTo>
                  <a:lnTo>
                    <a:pt x="1392" y="198"/>
                  </a:lnTo>
                  <a:lnTo>
                    <a:pt x="1392" y="200"/>
                  </a:lnTo>
                  <a:lnTo>
                    <a:pt x="1396" y="207"/>
                  </a:lnTo>
                  <a:lnTo>
                    <a:pt x="1397" y="207"/>
                  </a:lnTo>
                  <a:lnTo>
                    <a:pt x="1396" y="213"/>
                  </a:lnTo>
                  <a:lnTo>
                    <a:pt x="1394" y="218"/>
                  </a:lnTo>
                  <a:lnTo>
                    <a:pt x="1394" y="220"/>
                  </a:lnTo>
                  <a:lnTo>
                    <a:pt x="1394" y="222"/>
                  </a:lnTo>
                  <a:lnTo>
                    <a:pt x="1396" y="222"/>
                  </a:lnTo>
                  <a:lnTo>
                    <a:pt x="1392" y="222"/>
                  </a:lnTo>
                  <a:lnTo>
                    <a:pt x="1390" y="218"/>
                  </a:lnTo>
                  <a:lnTo>
                    <a:pt x="1390" y="213"/>
                  </a:lnTo>
                  <a:lnTo>
                    <a:pt x="1390" y="206"/>
                  </a:lnTo>
                  <a:lnTo>
                    <a:pt x="1387" y="206"/>
                  </a:lnTo>
                  <a:lnTo>
                    <a:pt x="1385" y="206"/>
                  </a:lnTo>
                  <a:lnTo>
                    <a:pt x="1385" y="209"/>
                  </a:lnTo>
                  <a:lnTo>
                    <a:pt x="1383" y="211"/>
                  </a:lnTo>
                  <a:lnTo>
                    <a:pt x="1383" y="213"/>
                  </a:lnTo>
                  <a:lnTo>
                    <a:pt x="1383" y="213"/>
                  </a:lnTo>
                  <a:lnTo>
                    <a:pt x="1381" y="213"/>
                  </a:lnTo>
                  <a:lnTo>
                    <a:pt x="1381" y="211"/>
                  </a:lnTo>
                  <a:lnTo>
                    <a:pt x="1381" y="211"/>
                  </a:lnTo>
                  <a:lnTo>
                    <a:pt x="1381" y="209"/>
                  </a:lnTo>
                  <a:lnTo>
                    <a:pt x="1381" y="209"/>
                  </a:lnTo>
                  <a:lnTo>
                    <a:pt x="1379" y="209"/>
                  </a:lnTo>
                  <a:lnTo>
                    <a:pt x="1378" y="209"/>
                  </a:lnTo>
                  <a:lnTo>
                    <a:pt x="1378" y="207"/>
                  </a:lnTo>
                  <a:lnTo>
                    <a:pt x="1378" y="206"/>
                  </a:lnTo>
                  <a:lnTo>
                    <a:pt x="1376" y="206"/>
                  </a:lnTo>
                  <a:lnTo>
                    <a:pt x="1376" y="207"/>
                  </a:lnTo>
                  <a:lnTo>
                    <a:pt x="1374" y="209"/>
                  </a:lnTo>
                  <a:lnTo>
                    <a:pt x="1374" y="211"/>
                  </a:lnTo>
                  <a:lnTo>
                    <a:pt x="1374" y="213"/>
                  </a:lnTo>
                  <a:lnTo>
                    <a:pt x="1376" y="216"/>
                  </a:lnTo>
                  <a:lnTo>
                    <a:pt x="1378" y="218"/>
                  </a:lnTo>
                  <a:lnTo>
                    <a:pt x="1387" y="218"/>
                  </a:lnTo>
                  <a:lnTo>
                    <a:pt x="1388" y="220"/>
                  </a:lnTo>
                  <a:lnTo>
                    <a:pt x="1388" y="222"/>
                  </a:lnTo>
                  <a:lnTo>
                    <a:pt x="1381" y="218"/>
                  </a:lnTo>
                  <a:lnTo>
                    <a:pt x="1376" y="220"/>
                  </a:lnTo>
                  <a:lnTo>
                    <a:pt x="1372" y="218"/>
                  </a:lnTo>
                  <a:lnTo>
                    <a:pt x="1374" y="218"/>
                  </a:lnTo>
                  <a:lnTo>
                    <a:pt x="1368" y="218"/>
                  </a:lnTo>
                  <a:lnTo>
                    <a:pt x="1367" y="218"/>
                  </a:lnTo>
                  <a:lnTo>
                    <a:pt x="1372" y="229"/>
                  </a:lnTo>
                  <a:lnTo>
                    <a:pt x="1372" y="229"/>
                  </a:lnTo>
                  <a:lnTo>
                    <a:pt x="1374" y="231"/>
                  </a:lnTo>
                  <a:lnTo>
                    <a:pt x="1378" y="229"/>
                  </a:lnTo>
                  <a:lnTo>
                    <a:pt x="1378" y="229"/>
                  </a:lnTo>
                  <a:lnTo>
                    <a:pt x="1376" y="231"/>
                  </a:lnTo>
                  <a:lnTo>
                    <a:pt x="1376" y="231"/>
                  </a:lnTo>
                  <a:lnTo>
                    <a:pt x="1374" y="233"/>
                  </a:lnTo>
                  <a:lnTo>
                    <a:pt x="1374" y="233"/>
                  </a:lnTo>
                  <a:lnTo>
                    <a:pt x="1374" y="233"/>
                  </a:lnTo>
                  <a:lnTo>
                    <a:pt x="1374" y="233"/>
                  </a:lnTo>
                  <a:lnTo>
                    <a:pt x="1372" y="236"/>
                  </a:lnTo>
                  <a:lnTo>
                    <a:pt x="1372" y="236"/>
                  </a:lnTo>
                  <a:lnTo>
                    <a:pt x="1372" y="236"/>
                  </a:lnTo>
                  <a:lnTo>
                    <a:pt x="1370" y="235"/>
                  </a:lnTo>
                  <a:lnTo>
                    <a:pt x="1372" y="235"/>
                  </a:lnTo>
                  <a:lnTo>
                    <a:pt x="1372" y="235"/>
                  </a:lnTo>
                  <a:lnTo>
                    <a:pt x="1370" y="233"/>
                  </a:lnTo>
                  <a:lnTo>
                    <a:pt x="1370" y="231"/>
                  </a:lnTo>
                  <a:lnTo>
                    <a:pt x="1368" y="231"/>
                  </a:lnTo>
                  <a:lnTo>
                    <a:pt x="1365" y="229"/>
                  </a:lnTo>
                  <a:lnTo>
                    <a:pt x="1363" y="231"/>
                  </a:lnTo>
                  <a:lnTo>
                    <a:pt x="1361" y="231"/>
                  </a:lnTo>
                  <a:lnTo>
                    <a:pt x="1361" y="231"/>
                  </a:lnTo>
                  <a:lnTo>
                    <a:pt x="1361" y="231"/>
                  </a:lnTo>
                  <a:lnTo>
                    <a:pt x="1359" y="231"/>
                  </a:lnTo>
                  <a:lnTo>
                    <a:pt x="1359" y="231"/>
                  </a:lnTo>
                  <a:lnTo>
                    <a:pt x="1359" y="231"/>
                  </a:lnTo>
                  <a:lnTo>
                    <a:pt x="1359" y="231"/>
                  </a:lnTo>
                  <a:lnTo>
                    <a:pt x="1359" y="233"/>
                  </a:lnTo>
                  <a:lnTo>
                    <a:pt x="1359" y="233"/>
                  </a:lnTo>
                  <a:lnTo>
                    <a:pt x="1358" y="235"/>
                  </a:lnTo>
                  <a:lnTo>
                    <a:pt x="1358" y="236"/>
                  </a:lnTo>
                  <a:lnTo>
                    <a:pt x="1358" y="238"/>
                  </a:lnTo>
                  <a:lnTo>
                    <a:pt x="1359" y="238"/>
                  </a:lnTo>
                  <a:close/>
                  <a:moveTo>
                    <a:pt x="1493" y="193"/>
                  </a:moveTo>
                  <a:lnTo>
                    <a:pt x="1493" y="193"/>
                  </a:lnTo>
                  <a:lnTo>
                    <a:pt x="1493" y="193"/>
                  </a:lnTo>
                  <a:lnTo>
                    <a:pt x="1493" y="191"/>
                  </a:lnTo>
                  <a:lnTo>
                    <a:pt x="1493" y="191"/>
                  </a:lnTo>
                  <a:lnTo>
                    <a:pt x="1493" y="189"/>
                  </a:lnTo>
                  <a:lnTo>
                    <a:pt x="1488" y="191"/>
                  </a:lnTo>
                  <a:lnTo>
                    <a:pt x="1486" y="191"/>
                  </a:lnTo>
                  <a:lnTo>
                    <a:pt x="1486" y="191"/>
                  </a:lnTo>
                  <a:lnTo>
                    <a:pt x="1486" y="193"/>
                  </a:lnTo>
                  <a:lnTo>
                    <a:pt x="1486" y="195"/>
                  </a:lnTo>
                  <a:lnTo>
                    <a:pt x="1484" y="195"/>
                  </a:lnTo>
                  <a:lnTo>
                    <a:pt x="1484" y="198"/>
                  </a:lnTo>
                  <a:lnTo>
                    <a:pt x="1484" y="200"/>
                  </a:lnTo>
                  <a:lnTo>
                    <a:pt x="1484" y="202"/>
                  </a:lnTo>
                  <a:lnTo>
                    <a:pt x="1484" y="204"/>
                  </a:lnTo>
                  <a:lnTo>
                    <a:pt x="1486" y="206"/>
                  </a:lnTo>
                  <a:lnTo>
                    <a:pt x="1488" y="207"/>
                  </a:lnTo>
                  <a:lnTo>
                    <a:pt x="1491" y="206"/>
                  </a:lnTo>
                  <a:lnTo>
                    <a:pt x="1493" y="204"/>
                  </a:lnTo>
                  <a:lnTo>
                    <a:pt x="1493" y="200"/>
                  </a:lnTo>
                  <a:lnTo>
                    <a:pt x="1493" y="197"/>
                  </a:lnTo>
                  <a:lnTo>
                    <a:pt x="1493" y="195"/>
                  </a:lnTo>
                  <a:lnTo>
                    <a:pt x="1493" y="193"/>
                  </a:lnTo>
                  <a:lnTo>
                    <a:pt x="1493" y="193"/>
                  </a:lnTo>
                  <a:close/>
                  <a:moveTo>
                    <a:pt x="1952" y="207"/>
                  </a:moveTo>
                  <a:lnTo>
                    <a:pt x="1952" y="209"/>
                  </a:lnTo>
                  <a:lnTo>
                    <a:pt x="1954" y="209"/>
                  </a:lnTo>
                  <a:lnTo>
                    <a:pt x="1954" y="209"/>
                  </a:lnTo>
                  <a:lnTo>
                    <a:pt x="1957" y="206"/>
                  </a:lnTo>
                  <a:lnTo>
                    <a:pt x="1961" y="204"/>
                  </a:lnTo>
                  <a:lnTo>
                    <a:pt x="1963" y="204"/>
                  </a:lnTo>
                  <a:lnTo>
                    <a:pt x="1963" y="202"/>
                  </a:lnTo>
                  <a:lnTo>
                    <a:pt x="1963" y="200"/>
                  </a:lnTo>
                  <a:lnTo>
                    <a:pt x="1959" y="202"/>
                  </a:lnTo>
                  <a:lnTo>
                    <a:pt x="1959" y="200"/>
                  </a:lnTo>
                  <a:lnTo>
                    <a:pt x="1959" y="198"/>
                  </a:lnTo>
                  <a:lnTo>
                    <a:pt x="1959" y="198"/>
                  </a:lnTo>
                  <a:lnTo>
                    <a:pt x="1959" y="197"/>
                  </a:lnTo>
                  <a:lnTo>
                    <a:pt x="1957" y="197"/>
                  </a:lnTo>
                  <a:lnTo>
                    <a:pt x="1957" y="195"/>
                  </a:lnTo>
                  <a:lnTo>
                    <a:pt x="1957" y="193"/>
                  </a:lnTo>
                  <a:lnTo>
                    <a:pt x="1957" y="193"/>
                  </a:lnTo>
                  <a:lnTo>
                    <a:pt x="1957" y="191"/>
                  </a:lnTo>
                  <a:lnTo>
                    <a:pt x="1952" y="189"/>
                  </a:lnTo>
                  <a:lnTo>
                    <a:pt x="1950" y="189"/>
                  </a:lnTo>
                  <a:lnTo>
                    <a:pt x="1948" y="193"/>
                  </a:lnTo>
                  <a:lnTo>
                    <a:pt x="1948" y="197"/>
                  </a:lnTo>
                  <a:lnTo>
                    <a:pt x="1950" y="200"/>
                  </a:lnTo>
                  <a:lnTo>
                    <a:pt x="1948" y="204"/>
                  </a:lnTo>
                  <a:lnTo>
                    <a:pt x="1945" y="207"/>
                  </a:lnTo>
                  <a:lnTo>
                    <a:pt x="1943" y="211"/>
                  </a:lnTo>
                  <a:lnTo>
                    <a:pt x="1948" y="213"/>
                  </a:lnTo>
                  <a:lnTo>
                    <a:pt x="1950" y="211"/>
                  </a:lnTo>
                  <a:lnTo>
                    <a:pt x="1950" y="209"/>
                  </a:lnTo>
                  <a:lnTo>
                    <a:pt x="1950" y="207"/>
                  </a:lnTo>
                  <a:lnTo>
                    <a:pt x="1950" y="206"/>
                  </a:lnTo>
                  <a:lnTo>
                    <a:pt x="1952" y="207"/>
                  </a:lnTo>
                  <a:close/>
                  <a:moveTo>
                    <a:pt x="1542" y="188"/>
                  </a:moveTo>
                  <a:lnTo>
                    <a:pt x="1542" y="188"/>
                  </a:lnTo>
                  <a:lnTo>
                    <a:pt x="1544" y="188"/>
                  </a:lnTo>
                  <a:lnTo>
                    <a:pt x="1544" y="186"/>
                  </a:lnTo>
                  <a:lnTo>
                    <a:pt x="1544" y="186"/>
                  </a:lnTo>
                  <a:lnTo>
                    <a:pt x="1544" y="184"/>
                  </a:lnTo>
                  <a:lnTo>
                    <a:pt x="1544" y="184"/>
                  </a:lnTo>
                  <a:lnTo>
                    <a:pt x="1542" y="184"/>
                  </a:lnTo>
                  <a:lnTo>
                    <a:pt x="1542" y="184"/>
                  </a:lnTo>
                  <a:lnTo>
                    <a:pt x="1540" y="184"/>
                  </a:lnTo>
                  <a:lnTo>
                    <a:pt x="1542" y="186"/>
                  </a:lnTo>
                  <a:lnTo>
                    <a:pt x="1542" y="186"/>
                  </a:lnTo>
                  <a:lnTo>
                    <a:pt x="1542" y="188"/>
                  </a:lnTo>
                  <a:close/>
                  <a:moveTo>
                    <a:pt x="1448" y="177"/>
                  </a:moveTo>
                  <a:lnTo>
                    <a:pt x="1446" y="177"/>
                  </a:lnTo>
                  <a:lnTo>
                    <a:pt x="1444" y="177"/>
                  </a:lnTo>
                  <a:lnTo>
                    <a:pt x="1444" y="180"/>
                  </a:lnTo>
                  <a:lnTo>
                    <a:pt x="1443" y="182"/>
                  </a:lnTo>
                  <a:lnTo>
                    <a:pt x="1437" y="186"/>
                  </a:lnTo>
                  <a:lnTo>
                    <a:pt x="1435" y="188"/>
                  </a:lnTo>
                  <a:lnTo>
                    <a:pt x="1433" y="189"/>
                  </a:lnTo>
                  <a:lnTo>
                    <a:pt x="1433" y="193"/>
                  </a:lnTo>
                  <a:lnTo>
                    <a:pt x="1430" y="197"/>
                  </a:lnTo>
                  <a:lnTo>
                    <a:pt x="1430" y="200"/>
                  </a:lnTo>
                  <a:lnTo>
                    <a:pt x="1432" y="200"/>
                  </a:lnTo>
                  <a:lnTo>
                    <a:pt x="1441" y="198"/>
                  </a:lnTo>
                  <a:lnTo>
                    <a:pt x="1444" y="197"/>
                  </a:lnTo>
                  <a:lnTo>
                    <a:pt x="1446" y="193"/>
                  </a:lnTo>
                  <a:lnTo>
                    <a:pt x="1448" y="188"/>
                  </a:lnTo>
                  <a:lnTo>
                    <a:pt x="1450" y="184"/>
                  </a:lnTo>
                  <a:lnTo>
                    <a:pt x="1450" y="180"/>
                  </a:lnTo>
                  <a:lnTo>
                    <a:pt x="1450" y="177"/>
                  </a:lnTo>
                  <a:lnTo>
                    <a:pt x="1448" y="177"/>
                  </a:lnTo>
                  <a:lnTo>
                    <a:pt x="1448" y="177"/>
                  </a:lnTo>
                  <a:close/>
                  <a:moveTo>
                    <a:pt x="1455" y="173"/>
                  </a:moveTo>
                  <a:lnTo>
                    <a:pt x="1453" y="173"/>
                  </a:lnTo>
                  <a:lnTo>
                    <a:pt x="1452" y="175"/>
                  </a:lnTo>
                  <a:lnTo>
                    <a:pt x="1453" y="175"/>
                  </a:lnTo>
                  <a:lnTo>
                    <a:pt x="1453" y="175"/>
                  </a:lnTo>
                  <a:lnTo>
                    <a:pt x="1455" y="175"/>
                  </a:lnTo>
                  <a:lnTo>
                    <a:pt x="1457" y="175"/>
                  </a:lnTo>
                  <a:lnTo>
                    <a:pt x="1457" y="173"/>
                  </a:lnTo>
                  <a:lnTo>
                    <a:pt x="1455" y="173"/>
                  </a:lnTo>
                  <a:close/>
                  <a:moveTo>
                    <a:pt x="1500" y="169"/>
                  </a:moveTo>
                  <a:lnTo>
                    <a:pt x="1499" y="171"/>
                  </a:lnTo>
                  <a:lnTo>
                    <a:pt x="1497" y="171"/>
                  </a:lnTo>
                  <a:lnTo>
                    <a:pt x="1497" y="173"/>
                  </a:lnTo>
                  <a:lnTo>
                    <a:pt x="1495" y="177"/>
                  </a:lnTo>
                  <a:lnTo>
                    <a:pt x="1495" y="179"/>
                  </a:lnTo>
                  <a:lnTo>
                    <a:pt x="1497" y="180"/>
                  </a:lnTo>
                  <a:lnTo>
                    <a:pt x="1499" y="184"/>
                  </a:lnTo>
                  <a:lnTo>
                    <a:pt x="1500" y="186"/>
                  </a:lnTo>
                  <a:lnTo>
                    <a:pt x="1502" y="186"/>
                  </a:lnTo>
                  <a:lnTo>
                    <a:pt x="1504" y="184"/>
                  </a:lnTo>
                  <a:lnTo>
                    <a:pt x="1506" y="182"/>
                  </a:lnTo>
                  <a:lnTo>
                    <a:pt x="1506" y="180"/>
                  </a:lnTo>
                  <a:lnTo>
                    <a:pt x="1513" y="175"/>
                  </a:lnTo>
                  <a:lnTo>
                    <a:pt x="1506" y="177"/>
                  </a:lnTo>
                  <a:lnTo>
                    <a:pt x="1504" y="175"/>
                  </a:lnTo>
                  <a:lnTo>
                    <a:pt x="1502" y="171"/>
                  </a:lnTo>
                  <a:lnTo>
                    <a:pt x="1500" y="169"/>
                  </a:lnTo>
                  <a:close/>
                  <a:moveTo>
                    <a:pt x="1509" y="171"/>
                  </a:moveTo>
                  <a:lnTo>
                    <a:pt x="1509" y="168"/>
                  </a:lnTo>
                  <a:lnTo>
                    <a:pt x="1509" y="168"/>
                  </a:lnTo>
                  <a:lnTo>
                    <a:pt x="1508" y="169"/>
                  </a:lnTo>
                  <a:lnTo>
                    <a:pt x="1506" y="171"/>
                  </a:lnTo>
                  <a:lnTo>
                    <a:pt x="1506" y="173"/>
                  </a:lnTo>
                  <a:lnTo>
                    <a:pt x="1509" y="173"/>
                  </a:lnTo>
                  <a:lnTo>
                    <a:pt x="1509" y="171"/>
                  </a:lnTo>
                  <a:close/>
                  <a:moveTo>
                    <a:pt x="1401" y="173"/>
                  </a:moveTo>
                  <a:lnTo>
                    <a:pt x="1399" y="175"/>
                  </a:lnTo>
                  <a:lnTo>
                    <a:pt x="1399" y="177"/>
                  </a:lnTo>
                  <a:lnTo>
                    <a:pt x="1399" y="180"/>
                  </a:lnTo>
                  <a:lnTo>
                    <a:pt x="1401" y="180"/>
                  </a:lnTo>
                  <a:lnTo>
                    <a:pt x="1405" y="182"/>
                  </a:lnTo>
                  <a:lnTo>
                    <a:pt x="1403" y="182"/>
                  </a:lnTo>
                  <a:lnTo>
                    <a:pt x="1401" y="184"/>
                  </a:lnTo>
                  <a:lnTo>
                    <a:pt x="1401" y="186"/>
                  </a:lnTo>
                  <a:lnTo>
                    <a:pt x="1396" y="184"/>
                  </a:lnTo>
                  <a:lnTo>
                    <a:pt x="1394" y="184"/>
                  </a:lnTo>
                  <a:lnTo>
                    <a:pt x="1394" y="188"/>
                  </a:lnTo>
                  <a:lnTo>
                    <a:pt x="1396" y="189"/>
                  </a:lnTo>
                  <a:lnTo>
                    <a:pt x="1399" y="191"/>
                  </a:lnTo>
                  <a:lnTo>
                    <a:pt x="1410" y="200"/>
                  </a:lnTo>
                  <a:lnTo>
                    <a:pt x="1410" y="202"/>
                  </a:lnTo>
                  <a:lnTo>
                    <a:pt x="1412" y="206"/>
                  </a:lnTo>
                  <a:lnTo>
                    <a:pt x="1414" y="207"/>
                  </a:lnTo>
                  <a:lnTo>
                    <a:pt x="1424" y="204"/>
                  </a:lnTo>
                  <a:lnTo>
                    <a:pt x="1426" y="202"/>
                  </a:lnTo>
                  <a:lnTo>
                    <a:pt x="1428" y="200"/>
                  </a:lnTo>
                  <a:lnTo>
                    <a:pt x="1428" y="200"/>
                  </a:lnTo>
                  <a:lnTo>
                    <a:pt x="1428" y="198"/>
                  </a:lnTo>
                  <a:lnTo>
                    <a:pt x="1428" y="197"/>
                  </a:lnTo>
                  <a:lnTo>
                    <a:pt x="1430" y="197"/>
                  </a:lnTo>
                  <a:lnTo>
                    <a:pt x="1432" y="193"/>
                  </a:lnTo>
                  <a:lnTo>
                    <a:pt x="1432" y="191"/>
                  </a:lnTo>
                  <a:lnTo>
                    <a:pt x="1432" y="191"/>
                  </a:lnTo>
                  <a:lnTo>
                    <a:pt x="1433" y="191"/>
                  </a:lnTo>
                  <a:lnTo>
                    <a:pt x="1433" y="189"/>
                  </a:lnTo>
                  <a:lnTo>
                    <a:pt x="1433" y="189"/>
                  </a:lnTo>
                  <a:lnTo>
                    <a:pt x="1433" y="188"/>
                  </a:lnTo>
                  <a:lnTo>
                    <a:pt x="1433" y="186"/>
                  </a:lnTo>
                  <a:lnTo>
                    <a:pt x="1433" y="184"/>
                  </a:lnTo>
                  <a:lnTo>
                    <a:pt x="1435" y="184"/>
                  </a:lnTo>
                  <a:lnTo>
                    <a:pt x="1439" y="180"/>
                  </a:lnTo>
                  <a:lnTo>
                    <a:pt x="1441" y="179"/>
                  </a:lnTo>
                  <a:lnTo>
                    <a:pt x="1443" y="177"/>
                  </a:lnTo>
                  <a:lnTo>
                    <a:pt x="1441" y="175"/>
                  </a:lnTo>
                  <a:lnTo>
                    <a:pt x="1441" y="173"/>
                  </a:lnTo>
                  <a:lnTo>
                    <a:pt x="1439" y="173"/>
                  </a:lnTo>
                  <a:lnTo>
                    <a:pt x="1439" y="175"/>
                  </a:lnTo>
                  <a:lnTo>
                    <a:pt x="1437" y="175"/>
                  </a:lnTo>
                  <a:lnTo>
                    <a:pt x="1437" y="177"/>
                  </a:lnTo>
                  <a:lnTo>
                    <a:pt x="1437" y="179"/>
                  </a:lnTo>
                  <a:lnTo>
                    <a:pt x="1435" y="177"/>
                  </a:lnTo>
                  <a:lnTo>
                    <a:pt x="1435" y="175"/>
                  </a:lnTo>
                  <a:lnTo>
                    <a:pt x="1437" y="173"/>
                  </a:lnTo>
                  <a:lnTo>
                    <a:pt x="1437" y="171"/>
                  </a:lnTo>
                  <a:lnTo>
                    <a:pt x="1435" y="169"/>
                  </a:lnTo>
                  <a:lnTo>
                    <a:pt x="1435" y="168"/>
                  </a:lnTo>
                  <a:lnTo>
                    <a:pt x="1433" y="168"/>
                  </a:lnTo>
                  <a:lnTo>
                    <a:pt x="1432" y="169"/>
                  </a:lnTo>
                  <a:lnTo>
                    <a:pt x="1430" y="171"/>
                  </a:lnTo>
                  <a:lnTo>
                    <a:pt x="1428" y="175"/>
                  </a:lnTo>
                  <a:lnTo>
                    <a:pt x="1428" y="179"/>
                  </a:lnTo>
                  <a:lnTo>
                    <a:pt x="1426" y="179"/>
                  </a:lnTo>
                  <a:lnTo>
                    <a:pt x="1424" y="175"/>
                  </a:lnTo>
                  <a:lnTo>
                    <a:pt x="1423" y="173"/>
                  </a:lnTo>
                  <a:lnTo>
                    <a:pt x="1423" y="169"/>
                  </a:lnTo>
                  <a:lnTo>
                    <a:pt x="1423" y="168"/>
                  </a:lnTo>
                  <a:lnTo>
                    <a:pt x="1424" y="166"/>
                  </a:lnTo>
                  <a:lnTo>
                    <a:pt x="1423" y="164"/>
                  </a:lnTo>
                  <a:lnTo>
                    <a:pt x="1421" y="166"/>
                  </a:lnTo>
                  <a:lnTo>
                    <a:pt x="1421" y="168"/>
                  </a:lnTo>
                  <a:lnTo>
                    <a:pt x="1419" y="168"/>
                  </a:lnTo>
                  <a:lnTo>
                    <a:pt x="1419" y="166"/>
                  </a:lnTo>
                  <a:lnTo>
                    <a:pt x="1419" y="164"/>
                  </a:lnTo>
                  <a:lnTo>
                    <a:pt x="1419" y="162"/>
                  </a:lnTo>
                  <a:lnTo>
                    <a:pt x="1417" y="162"/>
                  </a:lnTo>
                  <a:lnTo>
                    <a:pt x="1414" y="166"/>
                  </a:lnTo>
                  <a:lnTo>
                    <a:pt x="1412" y="166"/>
                  </a:lnTo>
                  <a:lnTo>
                    <a:pt x="1412" y="166"/>
                  </a:lnTo>
                  <a:lnTo>
                    <a:pt x="1410" y="166"/>
                  </a:lnTo>
                  <a:lnTo>
                    <a:pt x="1410" y="168"/>
                  </a:lnTo>
                  <a:lnTo>
                    <a:pt x="1412" y="169"/>
                  </a:lnTo>
                  <a:lnTo>
                    <a:pt x="1412" y="171"/>
                  </a:lnTo>
                  <a:lnTo>
                    <a:pt x="1414" y="173"/>
                  </a:lnTo>
                  <a:lnTo>
                    <a:pt x="1412" y="175"/>
                  </a:lnTo>
                  <a:lnTo>
                    <a:pt x="1410" y="175"/>
                  </a:lnTo>
                  <a:lnTo>
                    <a:pt x="1410" y="173"/>
                  </a:lnTo>
                  <a:lnTo>
                    <a:pt x="1410" y="173"/>
                  </a:lnTo>
                  <a:lnTo>
                    <a:pt x="1410" y="171"/>
                  </a:lnTo>
                  <a:lnTo>
                    <a:pt x="1408" y="171"/>
                  </a:lnTo>
                  <a:lnTo>
                    <a:pt x="1408" y="171"/>
                  </a:lnTo>
                  <a:lnTo>
                    <a:pt x="1406" y="173"/>
                  </a:lnTo>
                  <a:lnTo>
                    <a:pt x="1406" y="173"/>
                  </a:lnTo>
                  <a:lnTo>
                    <a:pt x="1405" y="173"/>
                  </a:lnTo>
                  <a:lnTo>
                    <a:pt x="1401" y="173"/>
                  </a:lnTo>
                  <a:close/>
                  <a:moveTo>
                    <a:pt x="1390" y="173"/>
                  </a:moveTo>
                  <a:lnTo>
                    <a:pt x="1392" y="173"/>
                  </a:lnTo>
                  <a:lnTo>
                    <a:pt x="1392" y="173"/>
                  </a:lnTo>
                  <a:lnTo>
                    <a:pt x="1390" y="175"/>
                  </a:lnTo>
                  <a:lnTo>
                    <a:pt x="1390" y="177"/>
                  </a:lnTo>
                  <a:lnTo>
                    <a:pt x="1392" y="179"/>
                  </a:lnTo>
                  <a:lnTo>
                    <a:pt x="1392" y="179"/>
                  </a:lnTo>
                  <a:lnTo>
                    <a:pt x="1392" y="179"/>
                  </a:lnTo>
                  <a:lnTo>
                    <a:pt x="1394" y="179"/>
                  </a:lnTo>
                  <a:lnTo>
                    <a:pt x="1394" y="179"/>
                  </a:lnTo>
                  <a:lnTo>
                    <a:pt x="1394" y="177"/>
                  </a:lnTo>
                  <a:lnTo>
                    <a:pt x="1396" y="175"/>
                  </a:lnTo>
                  <a:lnTo>
                    <a:pt x="1399" y="171"/>
                  </a:lnTo>
                  <a:lnTo>
                    <a:pt x="1403" y="169"/>
                  </a:lnTo>
                  <a:lnTo>
                    <a:pt x="1405" y="169"/>
                  </a:lnTo>
                  <a:lnTo>
                    <a:pt x="1405" y="168"/>
                  </a:lnTo>
                  <a:lnTo>
                    <a:pt x="1406" y="166"/>
                  </a:lnTo>
                  <a:lnTo>
                    <a:pt x="1406" y="164"/>
                  </a:lnTo>
                  <a:lnTo>
                    <a:pt x="1403" y="162"/>
                  </a:lnTo>
                  <a:lnTo>
                    <a:pt x="1403" y="162"/>
                  </a:lnTo>
                  <a:lnTo>
                    <a:pt x="1401" y="160"/>
                  </a:lnTo>
                  <a:lnTo>
                    <a:pt x="1399" y="166"/>
                  </a:lnTo>
                  <a:lnTo>
                    <a:pt x="1399" y="168"/>
                  </a:lnTo>
                  <a:lnTo>
                    <a:pt x="1397" y="168"/>
                  </a:lnTo>
                  <a:lnTo>
                    <a:pt x="1397" y="168"/>
                  </a:lnTo>
                  <a:lnTo>
                    <a:pt x="1397" y="164"/>
                  </a:lnTo>
                  <a:lnTo>
                    <a:pt x="1396" y="162"/>
                  </a:lnTo>
                  <a:lnTo>
                    <a:pt x="1396" y="160"/>
                  </a:lnTo>
                  <a:lnTo>
                    <a:pt x="1394" y="160"/>
                  </a:lnTo>
                  <a:lnTo>
                    <a:pt x="1392" y="160"/>
                  </a:lnTo>
                  <a:lnTo>
                    <a:pt x="1392" y="162"/>
                  </a:lnTo>
                  <a:lnTo>
                    <a:pt x="1394" y="162"/>
                  </a:lnTo>
                  <a:lnTo>
                    <a:pt x="1392" y="164"/>
                  </a:lnTo>
                  <a:lnTo>
                    <a:pt x="1394" y="164"/>
                  </a:lnTo>
                  <a:lnTo>
                    <a:pt x="1392" y="166"/>
                  </a:lnTo>
                  <a:lnTo>
                    <a:pt x="1392" y="168"/>
                  </a:lnTo>
                  <a:lnTo>
                    <a:pt x="1390" y="169"/>
                  </a:lnTo>
                  <a:lnTo>
                    <a:pt x="1390" y="171"/>
                  </a:lnTo>
                  <a:lnTo>
                    <a:pt x="1390" y="173"/>
                  </a:lnTo>
                  <a:close/>
                  <a:moveTo>
                    <a:pt x="1497" y="159"/>
                  </a:moveTo>
                  <a:lnTo>
                    <a:pt x="1497" y="162"/>
                  </a:lnTo>
                  <a:lnTo>
                    <a:pt x="1499" y="166"/>
                  </a:lnTo>
                  <a:lnTo>
                    <a:pt x="1499" y="166"/>
                  </a:lnTo>
                  <a:lnTo>
                    <a:pt x="1500" y="166"/>
                  </a:lnTo>
                  <a:lnTo>
                    <a:pt x="1502" y="166"/>
                  </a:lnTo>
                  <a:lnTo>
                    <a:pt x="1504" y="162"/>
                  </a:lnTo>
                  <a:lnTo>
                    <a:pt x="1504" y="160"/>
                  </a:lnTo>
                  <a:lnTo>
                    <a:pt x="1500" y="155"/>
                  </a:lnTo>
                  <a:lnTo>
                    <a:pt x="1499" y="155"/>
                  </a:lnTo>
                  <a:lnTo>
                    <a:pt x="1499" y="157"/>
                  </a:lnTo>
                  <a:lnTo>
                    <a:pt x="1497" y="159"/>
                  </a:lnTo>
                  <a:close/>
                  <a:moveTo>
                    <a:pt x="1424" y="160"/>
                  </a:moveTo>
                  <a:lnTo>
                    <a:pt x="1428" y="162"/>
                  </a:lnTo>
                  <a:lnTo>
                    <a:pt x="1432" y="162"/>
                  </a:lnTo>
                  <a:lnTo>
                    <a:pt x="1433" y="162"/>
                  </a:lnTo>
                  <a:lnTo>
                    <a:pt x="1435" y="162"/>
                  </a:lnTo>
                  <a:lnTo>
                    <a:pt x="1435" y="162"/>
                  </a:lnTo>
                  <a:lnTo>
                    <a:pt x="1435" y="160"/>
                  </a:lnTo>
                  <a:lnTo>
                    <a:pt x="1435" y="159"/>
                  </a:lnTo>
                  <a:lnTo>
                    <a:pt x="1430" y="153"/>
                  </a:lnTo>
                  <a:lnTo>
                    <a:pt x="1428" y="153"/>
                  </a:lnTo>
                  <a:lnTo>
                    <a:pt x="1426" y="155"/>
                  </a:lnTo>
                  <a:lnTo>
                    <a:pt x="1424" y="157"/>
                  </a:lnTo>
                  <a:lnTo>
                    <a:pt x="1424" y="159"/>
                  </a:lnTo>
                  <a:lnTo>
                    <a:pt x="1424" y="159"/>
                  </a:lnTo>
                  <a:lnTo>
                    <a:pt x="1424" y="160"/>
                  </a:lnTo>
                  <a:close/>
                  <a:moveTo>
                    <a:pt x="1477" y="164"/>
                  </a:moveTo>
                  <a:lnTo>
                    <a:pt x="1479" y="166"/>
                  </a:lnTo>
                  <a:lnTo>
                    <a:pt x="1479" y="168"/>
                  </a:lnTo>
                  <a:lnTo>
                    <a:pt x="1480" y="168"/>
                  </a:lnTo>
                  <a:lnTo>
                    <a:pt x="1480" y="168"/>
                  </a:lnTo>
                  <a:lnTo>
                    <a:pt x="1482" y="168"/>
                  </a:lnTo>
                  <a:lnTo>
                    <a:pt x="1484" y="168"/>
                  </a:lnTo>
                  <a:lnTo>
                    <a:pt x="1484" y="166"/>
                  </a:lnTo>
                  <a:lnTo>
                    <a:pt x="1486" y="166"/>
                  </a:lnTo>
                  <a:lnTo>
                    <a:pt x="1486" y="162"/>
                  </a:lnTo>
                  <a:lnTo>
                    <a:pt x="1486" y="162"/>
                  </a:lnTo>
                  <a:lnTo>
                    <a:pt x="1486" y="160"/>
                  </a:lnTo>
                  <a:lnTo>
                    <a:pt x="1488" y="160"/>
                  </a:lnTo>
                  <a:lnTo>
                    <a:pt x="1488" y="162"/>
                  </a:lnTo>
                  <a:lnTo>
                    <a:pt x="1488" y="164"/>
                  </a:lnTo>
                  <a:lnTo>
                    <a:pt x="1488" y="168"/>
                  </a:lnTo>
                  <a:lnTo>
                    <a:pt x="1488" y="168"/>
                  </a:lnTo>
                  <a:lnTo>
                    <a:pt x="1488" y="169"/>
                  </a:lnTo>
                  <a:lnTo>
                    <a:pt x="1488" y="169"/>
                  </a:lnTo>
                  <a:lnTo>
                    <a:pt x="1488" y="169"/>
                  </a:lnTo>
                  <a:lnTo>
                    <a:pt x="1488" y="169"/>
                  </a:lnTo>
                  <a:lnTo>
                    <a:pt x="1489" y="169"/>
                  </a:lnTo>
                  <a:lnTo>
                    <a:pt x="1489" y="169"/>
                  </a:lnTo>
                  <a:lnTo>
                    <a:pt x="1491" y="169"/>
                  </a:lnTo>
                  <a:lnTo>
                    <a:pt x="1491" y="168"/>
                  </a:lnTo>
                  <a:lnTo>
                    <a:pt x="1491" y="166"/>
                  </a:lnTo>
                  <a:lnTo>
                    <a:pt x="1493" y="168"/>
                  </a:lnTo>
                  <a:lnTo>
                    <a:pt x="1493" y="168"/>
                  </a:lnTo>
                  <a:lnTo>
                    <a:pt x="1495" y="169"/>
                  </a:lnTo>
                  <a:lnTo>
                    <a:pt x="1497" y="168"/>
                  </a:lnTo>
                  <a:lnTo>
                    <a:pt x="1497" y="168"/>
                  </a:lnTo>
                  <a:lnTo>
                    <a:pt x="1497" y="168"/>
                  </a:lnTo>
                  <a:lnTo>
                    <a:pt x="1497" y="166"/>
                  </a:lnTo>
                  <a:lnTo>
                    <a:pt x="1497" y="164"/>
                  </a:lnTo>
                  <a:lnTo>
                    <a:pt x="1497" y="162"/>
                  </a:lnTo>
                  <a:lnTo>
                    <a:pt x="1497" y="160"/>
                  </a:lnTo>
                  <a:lnTo>
                    <a:pt x="1497" y="160"/>
                  </a:lnTo>
                  <a:lnTo>
                    <a:pt x="1497" y="159"/>
                  </a:lnTo>
                  <a:lnTo>
                    <a:pt x="1497" y="159"/>
                  </a:lnTo>
                  <a:lnTo>
                    <a:pt x="1497" y="155"/>
                  </a:lnTo>
                  <a:lnTo>
                    <a:pt x="1497" y="155"/>
                  </a:lnTo>
                  <a:lnTo>
                    <a:pt x="1499" y="151"/>
                  </a:lnTo>
                  <a:lnTo>
                    <a:pt x="1499" y="148"/>
                  </a:lnTo>
                  <a:lnTo>
                    <a:pt x="1499" y="146"/>
                  </a:lnTo>
                  <a:lnTo>
                    <a:pt x="1499" y="144"/>
                  </a:lnTo>
                  <a:lnTo>
                    <a:pt x="1497" y="142"/>
                  </a:lnTo>
                  <a:lnTo>
                    <a:pt x="1495" y="142"/>
                  </a:lnTo>
                  <a:lnTo>
                    <a:pt x="1488" y="142"/>
                  </a:lnTo>
                  <a:lnTo>
                    <a:pt x="1486" y="142"/>
                  </a:lnTo>
                  <a:lnTo>
                    <a:pt x="1486" y="142"/>
                  </a:lnTo>
                  <a:lnTo>
                    <a:pt x="1484" y="144"/>
                  </a:lnTo>
                  <a:lnTo>
                    <a:pt x="1484" y="144"/>
                  </a:lnTo>
                  <a:lnTo>
                    <a:pt x="1484" y="146"/>
                  </a:lnTo>
                  <a:lnTo>
                    <a:pt x="1484" y="146"/>
                  </a:lnTo>
                  <a:lnTo>
                    <a:pt x="1484" y="148"/>
                  </a:lnTo>
                  <a:lnTo>
                    <a:pt x="1480" y="148"/>
                  </a:lnTo>
                  <a:lnTo>
                    <a:pt x="1479" y="150"/>
                  </a:lnTo>
                  <a:lnTo>
                    <a:pt x="1479" y="151"/>
                  </a:lnTo>
                  <a:lnTo>
                    <a:pt x="1477" y="155"/>
                  </a:lnTo>
                  <a:lnTo>
                    <a:pt x="1477" y="159"/>
                  </a:lnTo>
                  <a:lnTo>
                    <a:pt x="1477" y="160"/>
                  </a:lnTo>
                  <a:lnTo>
                    <a:pt x="1477" y="162"/>
                  </a:lnTo>
                  <a:lnTo>
                    <a:pt x="1477" y="162"/>
                  </a:lnTo>
                  <a:lnTo>
                    <a:pt x="1477" y="164"/>
                  </a:lnTo>
                  <a:close/>
                  <a:moveTo>
                    <a:pt x="1408" y="157"/>
                  </a:moveTo>
                  <a:lnTo>
                    <a:pt x="1412" y="160"/>
                  </a:lnTo>
                  <a:lnTo>
                    <a:pt x="1414" y="160"/>
                  </a:lnTo>
                  <a:lnTo>
                    <a:pt x="1415" y="160"/>
                  </a:lnTo>
                  <a:lnTo>
                    <a:pt x="1419" y="157"/>
                  </a:lnTo>
                  <a:lnTo>
                    <a:pt x="1419" y="157"/>
                  </a:lnTo>
                  <a:lnTo>
                    <a:pt x="1419" y="155"/>
                  </a:lnTo>
                  <a:lnTo>
                    <a:pt x="1419" y="155"/>
                  </a:lnTo>
                  <a:lnTo>
                    <a:pt x="1419" y="155"/>
                  </a:lnTo>
                  <a:lnTo>
                    <a:pt x="1419" y="153"/>
                  </a:lnTo>
                  <a:lnTo>
                    <a:pt x="1419" y="151"/>
                  </a:lnTo>
                  <a:lnTo>
                    <a:pt x="1421" y="150"/>
                  </a:lnTo>
                  <a:lnTo>
                    <a:pt x="1419" y="148"/>
                  </a:lnTo>
                  <a:lnTo>
                    <a:pt x="1419" y="148"/>
                  </a:lnTo>
                  <a:lnTo>
                    <a:pt x="1419" y="146"/>
                  </a:lnTo>
                  <a:lnTo>
                    <a:pt x="1419" y="144"/>
                  </a:lnTo>
                  <a:lnTo>
                    <a:pt x="1419" y="142"/>
                  </a:lnTo>
                  <a:lnTo>
                    <a:pt x="1417" y="141"/>
                  </a:lnTo>
                  <a:lnTo>
                    <a:pt x="1417" y="139"/>
                  </a:lnTo>
                  <a:lnTo>
                    <a:pt x="1417" y="139"/>
                  </a:lnTo>
                  <a:lnTo>
                    <a:pt x="1417" y="139"/>
                  </a:lnTo>
                  <a:lnTo>
                    <a:pt x="1417" y="139"/>
                  </a:lnTo>
                  <a:lnTo>
                    <a:pt x="1415" y="139"/>
                  </a:lnTo>
                  <a:lnTo>
                    <a:pt x="1415" y="139"/>
                  </a:lnTo>
                  <a:lnTo>
                    <a:pt x="1415" y="141"/>
                  </a:lnTo>
                  <a:lnTo>
                    <a:pt x="1415" y="141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4" y="141"/>
                  </a:lnTo>
                  <a:lnTo>
                    <a:pt x="1412" y="141"/>
                  </a:lnTo>
                  <a:lnTo>
                    <a:pt x="1412" y="142"/>
                  </a:lnTo>
                  <a:lnTo>
                    <a:pt x="1412" y="142"/>
                  </a:lnTo>
                  <a:lnTo>
                    <a:pt x="1412" y="142"/>
                  </a:lnTo>
                  <a:lnTo>
                    <a:pt x="1414" y="144"/>
                  </a:lnTo>
                  <a:lnTo>
                    <a:pt x="1414" y="144"/>
                  </a:lnTo>
                  <a:lnTo>
                    <a:pt x="1414" y="144"/>
                  </a:lnTo>
                  <a:lnTo>
                    <a:pt x="1414" y="146"/>
                  </a:lnTo>
                  <a:lnTo>
                    <a:pt x="1414" y="148"/>
                  </a:lnTo>
                  <a:lnTo>
                    <a:pt x="1414" y="148"/>
                  </a:lnTo>
                  <a:lnTo>
                    <a:pt x="1414" y="148"/>
                  </a:lnTo>
                  <a:lnTo>
                    <a:pt x="1412" y="150"/>
                  </a:lnTo>
                  <a:lnTo>
                    <a:pt x="1412" y="153"/>
                  </a:lnTo>
                  <a:lnTo>
                    <a:pt x="1412" y="153"/>
                  </a:lnTo>
                  <a:lnTo>
                    <a:pt x="1412" y="153"/>
                  </a:lnTo>
                  <a:lnTo>
                    <a:pt x="1410" y="151"/>
                  </a:lnTo>
                  <a:lnTo>
                    <a:pt x="1410" y="151"/>
                  </a:lnTo>
                  <a:lnTo>
                    <a:pt x="1408" y="153"/>
                  </a:lnTo>
                  <a:lnTo>
                    <a:pt x="1406" y="155"/>
                  </a:lnTo>
                  <a:lnTo>
                    <a:pt x="1408" y="155"/>
                  </a:lnTo>
                  <a:lnTo>
                    <a:pt x="1408" y="157"/>
                  </a:lnTo>
                  <a:close/>
                  <a:moveTo>
                    <a:pt x="1439" y="144"/>
                  </a:moveTo>
                  <a:lnTo>
                    <a:pt x="1441" y="146"/>
                  </a:lnTo>
                  <a:lnTo>
                    <a:pt x="1441" y="148"/>
                  </a:lnTo>
                  <a:lnTo>
                    <a:pt x="1443" y="150"/>
                  </a:lnTo>
                  <a:lnTo>
                    <a:pt x="1443" y="150"/>
                  </a:lnTo>
                  <a:lnTo>
                    <a:pt x="1444" y="155"/>
                  </a:lnTo>
                  <a:lnTo>
                    <a:pt x="1444" y="155"/>
                  </a:lnTo>
                  <a:lnTo>
                    <a:pt x="1444" y="157"/>
                  </a:lnTo>
                  <a:lnTo>
                    <a:pt x="1444" y="157"/>
                  </a:lnTo>
                  <a:lnTo>
                    <a:pt x="1444" y="159"/>
                  </a:lnTo>
                  <a:lnTo>
                    <a:pt x="1444" y="162"/>
                  </a:lnTo>
                  <a:lnTo>
                    <a:pt x="1444" y="164"/>
                  </a:lnTo>
                  <a:lnTo>
                    <a:pt x="1446" y="168"/>
                  </a:lnTo>
                  <a:lnTo>
                    <a:pt x="1448" y="168"/>
                  </a:lnTo>
                  <a:lnTo>
                    <a:pt x="1457" y="168"/>
                  </a:lnTo>
                  <a:lnTo>
                    <a:pt x="1459" y="166"/>
                  </a:lnTo>
                  <a:lnTo>
                    <a:pt x="1459" y="166"/>
                  </a:lnTo>
                  <a:lnTo>
                    <a:pt x="1459" y="164"/>
                  </a:lnTo>
                  <a:lnTo>
                    <a:pt x="1459" y="164"/>
                  </a:lnTo>
                  <a:lnTo>
                    <a:pt x="1461" y="162"/>
                  </a:lnTo>
                  <a:lnTo>
                    <a:pt x="1466" y="160"/>
                  </a:lnTo>
                  <a:lnTo>
                    <a:pt x="1466" y="159"/>
                  </a:lnTo>
                  <a:lnTo>
                    <a:pt x="1462" y="159"/>
                  </a:lnTo>
                  <a:lnTo>
                    <a:pt x="1457" y="155"/>
                  </a:lnTo>
                  <a:lnTo>
                    <a:pt x="1455" y="153"/>
                  </a:lnTo>
                  <a:lnTo>
                    <a:pt x="1455" y="153"/>
                  </a:lnTo>
                  <a:lnTo>
                    <a:pt x="1453" y="151"/>
                  </a:lnTo>
                  <a:lnTo>
                    <a:pt x="1455" y="148"/>
                  </a:lnTo>
                  <a:lnTo>
                    <a:pt x="1452" y="146"/>
                  </a:lnTo>
                  <a:lnTo>
                    <a:pt x="1452" y="144"/>
                  </a:lnTo>
                  <a:lnTo>
                    <a:pt x="1452" y="146"/>
                  </a:lnTo>
                  <a:lnTo>
                    <a:pt x="1450" y="150"/>
                  </a:lnTo>
                  <a:lnTo>
                    <a:pt x="1450" y="151"/>
                  </a:lnTo>
                  <a:lnTo>
                    <a:pt x="1448" y="151"/>
                  </a:lnTo>
                  <a:lnTo>
                    <a:pt x="1448" y="150"/>
                  </a:lnTo>
                  <a:lnTo>
                    <a:pt x="1446" y="146"/>
                  </a:lnTo>
                  <a:lnTo>
                    <a:pt x="1446" y="144"/>
                  </a:lnTo>
                  <a:lnTo>
                    <a:pt x="1444" y="144"/>
                  </a:lnTo>
                  <a:lnTo>
                    <a:pt x="1444" y="142"/>
                  </a:lnTo>
                  <a:lnTo>
                    <a:pt x="1443" y="142"/>
                  </a:lnTo>
                  <a:lnTo>
                    <a:pt x="1443" y="141"/>
                  </a:lnTo>
                  <a:lnTo>
                    <a:pt x="1443" y="139"/>
                  </a:lnTo>
                  <a:lnTo>
                    <a:pt x="1443" y="137"/>
                  </a:lnTo>
                  <a:lnTo>
                    <a:pt x="1443" y="135"/>
                  </a:lnTo>
                  <a:lnTo>
                    <a:pt x="1441" y="133"/>
                  </a:lnTo>
                  <a:lnTo>
                    <a:pt x="1439" y="135"/>
                  </a:lnTo>
                  <a:lnTo>
                    <a:pt x="1437" y="137"/>
                  </a:lnTo>
                  <a:lnTo>
                    <a:pt x="1437" y="139"/>
                  </a:lnTo>
                  <a:lnTo>
                    <a:pt x="1437" y="141"/>
                  </a:lnTo>
                  <a:lnTo>
                    <a:pt x="1435" y="139"/>
                  </a:lnTo>
                  <a:lnTo>
                    <a:pt x="1435" y="139"/>
                  </a:lnTo>
                  <a:lnTo>
                    <a:pt x="1433" y="141"/>
                  </a:lnTo>
                  <a:lnTo>
                    <a:pt x="1435" y="142"/>
                  </a:lnTo>
                  <a:lnTo>
                    <a:pt x="1439" y="144"/>
                  </a:lnTo>
                  <a:close/>
                  <a:moveTo>
                    <a:pt x="1542" y="139"/>
                  </a:moveTo>
                  <a:lnTo>
                    <a:pt x="1544" y="139"/>
                  </a:lnTo>
                  <a:lnTo>
                    <a:pt x="1544" y="137"/>
                  </a:lnTo>
                  <a:lnTo>
                    <a:pt x="1545" y="137"/>
                  </a:lnTo>
                  <a:lnTo>
                    <a:pt x="1545" y="135"/>
                  </a:lnTo>
                  <a:lnTo>
                    <a:pt x="1547" y="130"/>
                  </a:lnTo>
                  <a:lnTo>
                    <a:pt x="1547" y="126"/>
                  </a:lnTo>
                  <a:lnTo>
                    <a:pt x="1547" y="124"/>
                  </a:lnTo>
                  <a:lnTo>
                    <a:pt x="1544" y="121"/>
                  </a:lnTo>
                  <a:lnTo>
                    <a:pt x="1544" y="121"/>
                  </a:lnTo>
                  <a:lnTo>
                    <a:pt x="1544" y="119"/>
                  </a:lnTo>
                  <a:lnTo>
                    <a:pt x="1542" y="119"/>
                  </a:lnTo>
                  <a:lnTo>
                    <a:pt x="1542" y="121"/>
                  </a:lnTo>
                  <a:lnTo>
                    <a:pt x="1542" y="123"/>
                  </a:lnTo>
                  <a:lnTo>
                    <a:pt x="1542" y="123"/>
                  </a:lnTo>
                  <a:lnTo>
                    <a:pt x="1542" y="123"/>
                  </a:lnTo>
                  <a:lnTo>
                    <a:pt x="1542" y="123"/>
                  </a:lnTo>
                  <a:lnTo>
                    <a:pt x="1542" y="124"/>
                  </a:lnTo>
                  <a:lnTo>
                    <a:pt x="1542" y="128"/>
                  </a:lnTo>
                  <a:lnTo>
                    <a:pt x="1542" y="132"/>
                  </a:lnTo>
                  <a:lnTo>
                    <a:pt x="1542" y="135"/>
                  </a:lnTo>
                  <a:lnTo>
                    <a:pt x="1542" y="137"/>
                  </a:lnTo>
                  <a:lnTo>
                    <a:pt x="1542" y="139"/>
                  </a:lnTo>
                  <a:close/>
                  <a:moveTo>
                    <a:pt x="1580" y="126"/>
                  </a:moveTo>
                  <a:lnTo>
                    <a:pt x="1580" y="124"/>
                  </a:lnTo>
                  <a:lnTo>
                    <a:pt x="1578" y="124"/>
                  </a:lnTo>
                  <a:lnTo>
                    <a:pt x="1578" y="124"/>
                  </a:lnTo>
                  <a:lnTo>
                    <a:pt x="1576" y="126"/>
                  </a:lnTo>
                  <a:lnTo>
                    <a:pt x="1576" y="128"/>
                  </a:lnTo>
                  <a:lnTo>
                    <a:pt x="1576" y="128"/>
                  </a:lnTo>
                  <a:lnTo>
                    <a:pt x="1580" y="133"/>
                  </a:lnTo>
                  <a:lnTo>
                    <a:pt x="1594" y="139"/>
                  </a:lnTo>
                  <a:lnTo>
                    <a:pt x="1607" y="141"/>
                  </a:lnTo>
                  <a:lnTo>
                    <a:pt x="1609" y="139"/>
                  </a:lnTo>
                  <a:lnTo>
                    <a:pt x="1609" y="137"/>
                  </a:lnTo>
                  <a:lnTo>
                    <a:pt x="1609" y="135"/>
                  </a:lnTo>
                  <a:lnTo>
                    <a:pt x="1607" y="133"/>
                  </a:lnTo>
                  <a:lnTo>
                    <a:pt x="1605" y="133"/>
                  </a:lnTo>
                  <a:lnTo>
                    <a:pt x="1605" y="133"/>
                  </a:lnTo>
                  <a:lnTo>
                    <a:pt x="1603" y="132"/>
                  </a:lnTo>
                  <a:lnTo>
                    <a:pt x="1603" y="132"/>
                  </a:lnTo>
                  <a:lnTo>
                    <a:pt x="1605" y="130"/>
                  </a:lnTo>
                  <a:lnTo>
                    <a:pt x="1605" y="130"/>
                  </a:lnTo>
                  <a:lnTo>
                    <a:pt x="1605" y="130"/>
                  </a:lnTo>
                  <a:lnTo>
                    <a:pt x="1600" y="128"/>
                  </a:lnTo>
                  <a:lnTo>
                    <a:pt x="1598" y="126"/>
                  </a:lnTo>
                  <a:lnTo>
                    <a:pt x="1598" y="123"/>
                  </a:lnTo>
                  <a:lnTo>
                    <a:pt x="1596" y="119"/>
                  </a:lnTo>
                  <a:lnTo>
                    <a:pt x="1596" y="119"/>
                  </a:lnTo>
                  <a:lnTo>
                    <a:pt x="1594" y="119"/>
                  </a:lnTo>
                  <a:lnTo>
                    <a:pt x="1594" y="123"/>
                  </a:lnTo>
                  <a:lnTo>
                    <a:pt x="1594" y="126"/>
                  </a:lnTo>
                  <a:lnTo>
                    <a:pt x="1592" y="128"/>
                  </a:lnTo>
                  <a:lnTo>
                    <a:pt x="1592" y="124"/>
                  </a:lnTo>
                  <a:lnTo>
                    <a:pt x="1592" y="123"/>
                  </a:lnTo>
                  <a:lnTo>
                    <a:pt x="1592" y="121"/>
                  </a:lnTo>
                  <a:lnTo>
                    <a:pt x="1592" y="119"/>
                  </a:lnTo>
                  <a:lnTo>
                    <a:pt x="1591" y="117"/>
                  </a:lnTo>
                  <a:lnTo>
                    <a:pt x="1591" y="119"/>
                  </a:lnTo>
                  <a:lnTo>
                    <a:pt x="1591" y="119"/>
                  </a:lnTo>
                  <a:lnTo>
                    <a:pt x="1591" y="123"/>
                  </a:lnTo>
                  <a:lnTo>
                    <a:pt x="1589" y="123"/>
                  </a:lnTo>
                  <a:lnTo>
                    <a:pt x="1589" y="121"/>
                  </a:lnTo>
                  <a:lnTo>
                    <a:pt x="1589" y="119"/>
                  </a:lnTo>
                  <a:lnTo>
                    <a:pt x="1587" y="121"/>
                  </a:lnTo>
                  <a:lnTo>
                    <a:pt x="1587" y="123"/>
                  </a:lnTo>
                  <a:lnTo>
                    <a:pt x="1587" y="121"/>
                  </a:lnTo>
                  <a:lnTo>
                    <a:pt x="1583" y="123"/>
                  </a:lnTo>
                  <a:lnTo>
                    <a:pt x="1582" y="121"/>
                  </a:lnTo>
                  <a:lnTo>
                    <a:pt x="1582" y="121"/>
                  </a:lnTo>
                  <a:lnTo>
                    <a:pt x="1582" y="123"/>
                  </a:lnTo>
                  <a:lnTo>
                    <a:pt x="1582" y="124"/>
                  </a:lnTo>
                  <a:lnTo>
                    <a:pt x="1582" y="126"/>
                  </a:lnTo>
                  <a:lnTo>
                    <a:pt x="1583" y="130"/>
                  </a:lnTo>
                  <a:lnTo>
                    <a:pt x="1582" y="128"/>
                  </a:lnTo>
                  <a:lnTo>
                    <a:pt x="1580" y="126"/>
                  </a:lnTo>
                  <a:close/>
                  <a:moveTo>
                    <a:pt x="1627" y="85"/>
                  </a:moveTo>
                  <a:lnTo>
                    <a:pt x="1627" y="86"/>
                  </a:lnTo>
                  <a:lnTo>
                    <a:pt x="1630" y="86"/>
                  </a:lnTo>
                  <a:lnTo>
                    <a:pt x="1630" y="88"/>
                  </a:lnTo>
                  <a:lnTo>
                    <a:pt x="1630" y="90"/>
                  </a:lnTo>
                  <a:lnTo>
                    <a:pt x="1630" y="90"/>
                  </a:lnTo>
                  <a:lnTo>
                    <a:pt x="1632" y="92"/>
                  </a:lnTo>
                  <a:lnTo>
                    <a:pt x="1634" y="94"/>
                  </a:lnTo>
                  <a:lnTo>
                    <a:pt x="1634" y="95"/>
                  </a:lnTo>
                  <a:lnTo>
                    <a:pt x="1632" y="95"/>
                  </a:lnTo>
                  <a:lnTo>
                    <a:pt x="1629" y="94"/>
                  </a:lnTo>
                  <a:lnTo>
                    <a:pt x="1627" y="95"/>
                  </a:lnTo>
                  <a:lnTo>
                    <a:pt x="1627" y="97"/>
                  </a:lnTo>
                  <a:lnTo>
                    <a:pt x="1629" y="97"/>
                  </a:lnTo>
                  <a:lnTo>
                    <a:pt x="1627" y="97"/>
                  </a:lnTo>
                  <a:lnTo>
                    <a:pt x="1625" y="95"/>
                  </a:lnTo>
                  <a:lnTo>
                    <a:pt x="1625" y="95"/>
                  </a:lnTo>
                  <a:lnTo>
                    <a:pt x="1623" y="95"/>
                  </a:lnTo>
                  <a:lnTo>
                    <a:pt x="1623" y="95"/>
                  </a:lnTo>
                  <a:lnTo>
                    <a:pt x="1623" y="97"/>
                  </a:lnTo>
                  <a:lnTo>
                    <a:pt x="1623" y="97"/>
                  </a:lnTo>
                  <a:lnTo>
                    <a:pt x="1623" y="101"/>
                  </a:lnTo>
                  <a:lnTo>
                    <a:pt x="1621" y="104"/>
                  </a:lnTo>
                  <a:lnTo>
                    <a:pt x="1621" y="106"/>
                  </a:lnTo>
                  <a:lnTo>
                    <a:pt x="1621" y="106"/>
                  </a:lnTo>
                  <a:lnTo>
                    <a:pt x="1621" y="104"/>
                  </a:lnTo>
                  <a:lnTo>
                    <a:pt x="1621" y="103"/>
                  </a:lnTo>
                  <a:lnTo>
                    <a:pt x="1621" y="99"/>
                  </a:lnTo>
                  <a:lnTo>
                    <a:pt x="1621" y="97"/>
                  </a:lnTo>
                  <a:lnTo>
                    <a:pt x="1619" y="95"/>
                  </a:lnTo>
                  <a:lnTo>
                    <a:pt x="1618" y="95"/>
                  </a:lnTo>
                  <a:lnTo>
                    <a:pt x="1618" y="95"/>
                  </a:lnTo>
                  <a:lnTo>
                    <a:pt x="1616" y="95"/>
                  </a:lnTo>
                  <a:lnTo>
                    <a:pt x="1616" y="97"/>
                  </a:lnTo>
                  <a:lnTo>
                    <a:pt x="1618" y="99"/>
                  </a:lnTo>
                  <a:lnTo>
                    <a:pt x="1619" y="99"/>
                  </a:lnTo>
                  <a:lnTo>
                    <a:pt x="1619" y="101"/>
                  </a:lnTo>
                  <a:lnTo>
                    <a:pt x="1618" y="101"/>
                  </a:lnTo>
                  <a:lnTo>
                    <a:pt x="1616" y="103"/>
                  </a:lnTo>
                  <a:lnTo>
                    <a:pt x="1616" y="103"/>
                  </a:lnTo>
                  <a:lnTo>
                    <a:pt x="1614" y="101"/>
                  </a:lnTo>
                  <a:lnTo>
                    <a:pt x="1614" y="99"/>
                  </a:lnTo>
                  <a:lnTo>
                    <a:pt x="1609" y="103"/>
                  </a:lnTo>
                  <a:lnTo>
                    <a:pt x="1609" y="104"/>
                  </a:lnTo>
                  <a:lnTo>
                    <a:pt x="1609" y="106"/>
                  </a:lnTo>
                  <a:lnTo>
                    <a:pt x="1607" y="106"/>
                  </a:lnTo>
                  <a:lnTo>
                    <a:pt x="1607" y="106"/>
                  </a:lnTo>
                  <a:lnTo>
                    <a:pt x="1607" y="106"/>
                  </a:lnTo>
                  <a:lnTo>
                    <a:pt x="1605" y="106"/>
                  </a:lnTo>
                  <a:lnTo>
                    <a:pt x="1605" y="108"/>
                  </a:lnTo>
                  <a:lnTo>
                    <a:pt x="1605" y="108"/>
                  </a:lnTo>
                  <a:lnTo>
                    <a:pt x="1605" y="108"/>
                  </a:lnTo>
                  <a:lnTo>
                    <a:pt x="1605" y="108"/>
                  </a:lnTo>
                  <a:lnTo>
                    <a:pt x="1605" y="108"/>
                  </a:lnTo>
                  <a:lnTo>
                    <a:pt x="1603" y="110"/>
                  </a:lnTo>
                  <a:lnTo>
                    <a:pt x="1603" y="110"/>
                  </a:lnTo>
                  <a:lnTo>
                    <a:pt x="1603" y="112"/>
                  </a:lnTo>
                  <a:lnTo>
                    <a:pt x="1603" y="112"/>
                  </a:lnTo>
                  <a:lnTo>
                    <a:pt x="1603" y="113"/>
                  </a:lnTo>
                  <a:lnTo>
                    <a:pt x="1605" y="115"/>
                  </a:lnTo>
                  <a:lnTo>
                    <a:pt x="1605" y="117"/>
                  </a:lnTo>
                  <a:lnTo>
                    <a:pt x="1601" y="115"/>
                  </a:lnTo>
                  <a:lnTo>
                    <a:pt x="1600" y="117"/>
                  </a:lnTo>
                  <a:lnTo>
                    <a:pt x="1601" y="117"/>
                  </a:lnTo>
                  <a:lnTo>
                    <a:pt x="1605" y="123"/>
                  </a:lnTo>
                  <a:lnTo>
                    <a:pt x="1605" y="124"/>
                  </a:lnTo>
                  <a:lnTo>
                    <a:pt x="1605" y="124"/>
                  </a:lnTo>
                  <a:lnTo>
                    <a:pt x="1607" y="124"/>
                  </a:lnTo>
                  <a:lnTo>
                    <a:pt x="1607" y="124"/>
                  </a:lnTo>
                  <a:lnTo>
                    <a:pt x="1609" y="126"/>
                  </a:lnTo>
                  <a:lnTo>
                    <a:pt x="1609" y="126"/>
                  </a:lnTo>
                  <a:lnTo>
                    <a:pt x="1610" y="124"/>
                  </a:lnTo>
                  <a:lnTo>
                    <a:pt x="1614" y="115"/>
                  </a:lnTo>
                  <a:lnTo>
                    <a:pt x="1614" y="117"/>
                  </a:lnTo>
                  <a:lnTo>
                    <a:pt x="1614" y="121"/>
                  </a:lnTo>
                  <a:lnTo>
                    <a:pt x="1614" y="123"/>
                  </a:lnTo>
                  <a:lnTo>
                    <a:pt x="1614" y="124"/>
                  </a:lnTo>
                  <a:lnTo>
                    <a:pt x="1612" y="128"/>
                  </a:lnTo>
                  <a:lnTo>
                    <a:pt x="1612" y="132"/>
                  </a:lnTo>
                  <a:lnTo>
                    <a:pt x="1612" y="135"/>
                  </a:lnTo>
                  <a:lnTo>
                    <a:pt x="1616" y="135"/>
                  </a:lnTo>
                  <a:lnTo>
                    <a:pt x="1618" y="135"/>
                  </a:lnTo>
                  <a:lnTo>
                    <a:pt x="1627" y="130"/>
                  </a:lnTo>
                  <a:lnTo>
                    <a:pt x="1625" y="128"/>
                  </a:lnTo>
                  <a:lnTo>
                    <a:pt x="1625" y="128"/>
                  </a:lnTo>
                  <a:lnTo>
                    <a:pt x="1623" y="128"/>
                  </a:lnTo>
                  <a:lnTo>
                    <a:pt x="1623" y="128"/>
                  </a:lnTo>
                  <a:lnTo>
                    <a:pt x="1623" y="126"/>
                  </a:lnTo>
                  <a:lnTo>
                    <a:pt x="1629" y="124"/>
                  </a:lnTo>
                  <a:lnTo>
                    <a:pt x="1638" y="115"/>
                  </a:lnTo>
                  <a:lnTo>
                    <a:pt x="1639" y="112"/>
                  </a:lnTo>
                  <a:lnTo>
                    <a:pt x="1641" y="108"/>
                  </a:lnTo>
                  <a:lnTo>
                    <a:pt x="1641" y="106"/>
                  </a:lnTo>
                  <a:lnTo>
                    <a:pt x="1639" y="104"/>
                  </a:lnTo>
                  <a:lnTo>
                    <a:pt x="1639" y="104"/>
                  </a:lnTo>
                  <a:lnTo>
                    <a:pt x="1639" y="104"/>
                  </a:lnTo>
                  <a:lnTo>
                    <a:pt x="1639" y="103"/>
                  </a:lnTo>
                  <a:lnTo>
                    <a:pt x="1641" y="103"/>
                  </a:lnTo>
                  <a:lnTo>
                    <a:pt x="1639" y="101"/>
                  </a:lnTo>
                  <a:lnTo>
                    <a:pt x="1638" y="101"/>
                  </a:lnTo>
                  <a:lnTo>
                    <a:pt x="1638" y="101"/>
                  </a:lnTo>
                  <a:lnTo>
                    <a:pt x="1638" y="97"/>
                  </a:lnTo>
                  <a:lnTo>
                    <a:pt x="1638" y="97"/>
                  </a:lnTo>
                  <a:lnTo>
                    <a:pt x="1638" y="95"/>
                  </a:lnTo>
                  <a:lnTo>
                    <a:pt x="1638" y="94"/>
                  </a:lnTo>
                  <a:lnTo>
                    <a:pt x="1638" y="92"/>
                  </a:lnTo>
                  <a:lnTo>
                    <a:pt x="1636" y="88"/>
                  </a:lnTo>
                  <a:lnTo>
                    <a:pt x="1636" y="86"/>
                  </a:lnTo>
                  <a:lnTo>
                    <a:pt x="1636" y="86"/>
                  </a:lnTo>
                  <a:lnTo>
                    <a:pt x="1636" y="85"/>
                  </a:lnTo>
                  <a:lnTo>
                    <a:pt x="1634" y="86"/>
                  </a:lnTo>
                  <a:lnTo>
                    <a:pt x="1632" y="85"/>
                  </a:lnTo>
                  <a:lnTo>
                    <a:pt x="1632" y="85"/>
                  </a:lnTo>
                  <a:lnTo>
                    <a:pt x="1630" y="85"/>
                  </a:lnTo>
                  <a:lnTo>
                    <a:pt x="1627" y="85"/>
                  </a:lnTo>
                  <a:close/>
                  <a:moveTo>
                    <a:pt x="1643" y="77"/>
                  </a:moveTo>
                  <a:lnTo>
                    <a:pt x="1641" y="79"/>
                  </a:lnTo>
                  <a:lnTo>
                    <a:pt x="1641" y="79"/>
                  </a:lnTo>
                  <a:lnTo>
                    <a:pt x="1641" y="81"/>
                  </a:lnTo>
                  <a:lnTo>
                    <a:pt x="1641" y="83"/>
                  </a:lnTo>
                  <a:lnTo>
                    <a:pt x="1641" y="85"/>
                  </a:lnTo>
                  <a:lnTo>
                    <a:pt x="1641" y="86"/>
                  </a:lnTo>
                  <a:lnTo>
                    <a:pt x="1639" y="88"/>
                  </a:lnTo>
                  <a:lnTo>
                    <a:pt x="1641" y="88"/>
                  </a:lnTo>
                  <a:lnTo>
                    <a:pt x="1643" y="88"/>
                  </a:lnTo>
                  <a:lnTo>
                    <a:pt x="1643" y="90"/>
                  </a:lnTo>
                  <a:lnTo>
                    <a:pt x="1643" y="92"/>
                  </a:lnTo>
                  <a:lnTo>
                    <a:pt x="1643" y="92"/>
                  </a:lnTo>
                  <a:lnTo>
                    <a:pt x="1643" y="94"/>
                  </a:lnTo>
                  <a:lnTo>
                    <a:pt x="1645" y="97"/>
                  </a:lnTo>
                  <a:lnTo>
                    <a:pt x="1645" y="99"/>
                  </a:lnTo>
                  <a:lnTo>
                    <a:pt x="1648" y="101"/>
                  </a:lnTo>
                  <a:lnTo>
                    <a:pt x="1650" y="101"/>
                  </a:lnTo>
                  <a:lnTo>
                    <a:pt x="1654" y="99"/>
                  </a:lnTo>
                  <a:lnTo>
                    <a:pt x="1657" y="92"/>
                  </a:lnTo>
                  <a:lnTo>
                    <a:pt x="1663" y="90"/>
                  </a:lnTo>
                  <a:lnTo>
                    <a:pt x="1665" y="85"/>
                  </a:lnTo>
                  <a:lnTo>
                    <a:pt x="1661" y="83"/>
                  </a:lnTo>
                  <a:lnTo>
                    <a:pt x="1661" y="81"/>
                  </a:lnTo>
                  <a:lnTo>
                    <a:pt x="1661" y="79"/>
                  </a:lnTo>
                  <a:lnTo>
                    <a:pt x="1661" y="77"/>
                  </a:lnTo>
                  <a:lnTo>
                    <a:pt x="1661" y="76"/>
                  </a:lnTo>
                  <a:lnTo>
                    <a:pt x="1659" y="76"/>
                  </a:lnTo>
                  <a:lnTo>
                    <a:pt x="1659" y="74"/>
                  </a:lnTo>
                  <a:lnTo>
                    <a:pt x="1657" y="72"/>
                  </a:lnTo>
                  <a:lnTo>
                    <a:pt x="1656" y="72"/>
                  </a:lnTo>
                  <a:lnTo>
                    <a:pt x="1650" y="72"/>
                  </a:lnTo>
                  <a:lnTo>
                    <a:pt x="1650" y="72"/>
                  </a:lnTo>
                  <a:lnTo>
                    <a:pt x="1650" y="72"/>
                  </a:lnTo>
                  <a:lnTo>
                    <a:pt x="1648" y="72"/>
                  </a:lnTo>
                  <a:lnTo>
                    <a:pt x="1648" y="72"/>
                  </a:lnTo>
                  <a:lnTo>
                    <a:pt x="1648" y="72"/>
                  </a:lnTo>
                  <a:lnTo>
                    <a:pt x="1650" y="70"/>
                  </a:lnTo>
                  <a:lnTo>
                    <a:pt x="1650" y="70"/>
                  </a:lnTo>
                  <a:lnTo>
                    <a:pt x="1650" y="68"/>
                  </a:lnTo>
                  <a:lnTo>
                    <a:pt x="1650" y="68"/>
                  </a:lnTo>
                  <a:lnTo>
                    <a:pt x="1648" y="68"/>
                  </a:lnTo>
                  <a:lnTo>
                    <a:pt x="1648" y="67"/>
                  </a:lnTo>
                  <a:lnTo>
                    <a:pt x="1650" y="67"/>
                  </a:lnTo>
                  <a:lnTo>
                    <a:pt x="1648" y="65"/>
                  </a:lnTo>
                  <a:lnTo>
                    <a:pt x="1643" y="65"/>
                  </a:lnTo>
                  <a:lnTo>
                    <a:pt x="1643" y="67"/>
                  </a:lnTo>
                  <a:lnTo>
                    <a:pt x="1641" y="68"/>
                  </a:lnTo>
                  <a:lnTo>
                    <a:pt x="1639" y="72"/>
                  </a:lnTo>
                  <a:lnTo>
                    <a:pt x="1639" y="72"/>
                  </a:lnTo>
                  <a:lnTo>
                    <a:pt x="1639" y="74"/>
                  </a:lnTo>
                  <a:lnTo>
                    <a:pt x="1639" y="76"/>
                  </a:lnTo>
                  <a:lnTo>
                    <a:pt x="1643" y="77"/>
                  </a:lnTo>
                  <a:close/>
                  <a:moveTo>
                    <a:pt x="1558" y="83"/>
                  </a:moveTo>
                  <a:lnTo>
                    <a:pt x="1562" y="83"/>
                  </a:lnTo>
                  <a:lnTo>
                    <a:pt x="1560" y="85"/>
                  </a:lnTo>
                  <a:lnTo>
                    <a:pt x="1558" y="86"/>
                  </a:lnTo>
                  <a:lnTo>
                    <a:pt x="1558" y="88"/>
                  </a:lnTo>
                  <a:lnTo>
                    <a:pt x="1560" y="88"/>
                  </a:lnTo>
                  <a:lnTo>
                    <a:pt x="1562" y="88"/>
                  </a:lnTo>
                  <a:lnTo>
                    <a:pt x="1562" y="88"/>
                  </a:lnTo>
                  <a:lnTo>
                    <a:pt x="1562" y="86"/>
                  </a:lnTo>
                  <a:lnTo>
                    <a:pt x="1562" y="86"/>
                  </a:lnTo>
                  <a:lnTo>
                    <a:pt x="1574" y="86"/>
                  </a:lnTo>
                  <a:lnTo>
                    <a:pt x="1573" y="88"/>
                  </a:lnTo>
                  <a:lnTo>
                    <a:pt x="1569" y="92"/>
                  </a:lnTo>
                  <a:lnTo>
                    <a:pt x="1571" y="92"/>
                  </a:lnTo>
                  <a:lnTo>
                    <a:pt x="1571" y="92"/>
                  </a:lnTo>
                  <a:lnTo>
                    <a:pt x="1571" y="94"/>
                  </a:lnTo>
                  <a:lnTo>
                    <a:pt x="1567" y="95"/>
                  </a:lnTo>
                  <a:lnTo>
                    <a:pt x="1567" y="97"/>
                  </a:lnTo>
                  <a:lnTo>
                    <a:pt x="1565" y="101"/>
                  </a:lnTo>
                  <a:lnTo>
                    <a:pt x="1565" y="103"/>
                  </a:lnTo>
                  <a:lnTo>
                    <a:pt x="1565" y="104"/>
                  </a:lnTo>
                  <a:lnTo>
                    <a:pt x="1565" y="106"/>
                  </a:lnTo>
                  <a:lnTo>
                    <a:pt x="1567" y="106"/>
                  </a:lnTo>
                  <a:lnTo>
                    <a:pt x="1569" y="106"/>
                  </a:lnTo>
                  <a:lnTo>
                    <a:pt x="1569" y="104"/>
                  </a:lnTo>
                  <a:lnTo>
                    <a:pt x="1571" y="99"/>
                  </a:lnTo>
                  <a:lnTo>
                    <a:pt x="1573" y="97"/>
                  </a:lnTo>
                  <a:lnTo>
                    <a:pt x="1573" y="97"/>
                  </a:lnTo>
                  <a:lnTo>
                    <a:pt x="1573" y="101"/>
                  </a:lnTo>
                  <a:lnTo>
                    <a:pt x="1573" y="103"/>
                  </a:lnTo>
                  <a:lnTo>
                    <a:pt x="1574" y="103"/>
                  </a:lnTo>
                  <a:lnTo>
                    <a:pt x="1576" y="103"/>
                  </a:lnTo>
                  <a:lnTo>
                    <a:pt x="1578" y="101"/>
                  </a:lnTo>
                  <a:lnTo>
                    <a:pt x="1578" y="101"/>
                  </a:lnTo>
                  <a:lnTo>
                    <a:pt x="1578" y="101"/>
                  </a:lnTo>
                  <a:lnTo>
                    <a:pt x="1580" y="103"/>
                  </a:lnTo>
                  <a:lnTo>
                    <a:pt x="1580" y="103"/>
                  </a:lnTo>
                  <a:lnTo>
                    <a:pt x="1582" y="104"/>
                  </a:lnTo>
                  <a:lnTo>
                    <a:pt x="1582" y="101"/>
                  </a:lnTo>
                  <a:lnTo>
                    <a:pt x="1582" y="97"/>
                  </a:lnTo>
                  <a:lnTo>
                    <a:pt x="1583" y="99"/>
                  </a:lnTo>
                  <a:lnTo>
                    <a:pt x="1585" y="103"/>
                  </a:lnTo>
                  <a:lnTo>
                    <a:pt x="1587" y="103"/>
                  </a:lnTo>
                  <a:lnTo>
                    <a:pt x="1587" y="101"/>
                  </a:lnTo>
                  <a:lnTo>
                    <a:pt x="1587" y="101"/>
                  </a:lnTo>
                  <a:lnTo>
                    <a:pt x="1587" y="99"/>
                  </a:lnTo>
                  <a:lnTo>
                    <a:pt x="1587" y="99"/>
                  </a:lnTo>
                  <a:lnTo>
                    <a:pt x="1587" y="99"/>
                  </a:lnTo>
                  <a:lnTo>
                    <a:pt x="1589" y="99"/>
                  </a:lnTo>
                  <a:lnTo>
                    <a:pt x="1589" y="99"/>
                  </a:lnTo>
                  <a:lnTo>
                    <a:pt x="1589" y="99"/>
                  </a:lnTo>
                  <a:lnTo>
                    <a:pt x="1589" y="97"/>
                  </a:lnTo>
                  <a:lnTo>
                    <a:pt x="1589" y="95"/>
                  </a:lnTo>
                  <a:lnTo>
                    <a:pt x="1589" y="95"/>
                  </a:lnTo>
                  <a:lnTo>
                    <a:pt x="1591" y="94"/>
                  </a:lnTo>
                  <a:lnTo>
                    <a:pt x="1592" y="94"/>
                  </a:lnTo>
                  <a:lnTo>
                    <a:pt x="1596" y="95"/>
                  </a:lnTo>
                  <a:lnTo>
                    <a:pt x="1596" y="97"/>
                  </a:lnTo>
                  <a:lnTo>
                    <a:pt x="1596" y="97"/>
                  </a:lnTo>
                  <a:lnTo>
                    <a:pt x="1596" y="99"/>
                  </a:lnTo>
                  <a:lnTo>
                    <a:pt x="1598" y="99"/>
                  </a:lnTo>
                  <a:lnTo>
                    <a:pt x="1598" y="99"/>
                  </a:lnTo>
                  <a:lnTo>
                    <a:pt x="1598" y="95"/>
                  </a:lnTo>
                  <a:lnTo>
                    <a:pt x="1600" y="95"/>
                  </a:lnTo>
                  <a:lnTo>
                    <a:pt x="1600" y="95"/>
                  </a:lnTo>
                  <a:lnTo>
                    <a:pt x="1601" y="97"/>
                  </a:lnTo>
                  <a:lnTo>
                    <a:pt x="1601" y="97"/>
                  </a:lnTo>
                  <a:lnTo>
                    <a:pt x="1603" y="97"/>
                  </a:lnTo>
                  <a:lnTo>
                    <a:pt x="1603" y="95"/>
                  </a:lnTo>
                  <a:lnTo>
                    <a:pt x="1603" y="95"/>
                  </a:lnTo>
                  <a:lnTo>
                    <a:pt x="1605" y="94"/>
                  </a:lnTo>
                  <a:lnTo>
                    <a:pt x="1601" y="92"/>
                  </a:lnTo>
                  <a:lnTo>
                    <a:pt x="1601" y="92"/>
                  </a:lnTo>
                  <a:lnTo>
                    <a:pt x="1603" y="92"/>
                  </a:lnTo>
                  <a:lnTo>
                    <a:pt x="1605" y="94"/>
                  </a:lnTo>
                  <a:lnTo>
                    <a:pt x="1607" y="94"/>
                  </a:lnTo>
                  <a:lnTo>
                    <a:pt x="1607" y="92"/>
                  </a:lnTo>
                  <a:lnTo>
                    <a:pt x="1609" y="90"/>
                  </a:lnTo>
                  <a:lnTo>
                    <a:pt x="1609" y="88"/>
                  </a:lnTo>
                  <a:lnTo>
                    <a:pt x="1607" y="88"/>
                  </a:lnTo>
                  <a:lnTo>
                    <a:pt x="1609" y="86"/>
                  </a:lnTo>
                  <a:lnTo>
                    <a:pt x="1610" y="88"/>
                  </a:lnTo>
                  <a:lnTo>
                    <a:pt x="1612" y="90"/>
                  </a:lnTo>
                  <a:lnTo>
                    <a:pt x="1614" y="86"/>
                  </a:lnTo>
                  <a:lnTo>
                    <a:pt x="1610" y="85"/>
                  </a:lnTo>
                  <a:lnTo>
                    <a:pt x="1612" y="83"/>
                  </a:lnTo>
                  <a:lnTo>
                    <a:pt x="1614" y="85"/>
                  </a:lnTo>
                  <a:lnTo>
                    <a:pt x="1614" y="85"/>
                  </a:lnTo>
                  <a:lnTo>
                    <a:pt x="1616" y="83"/>
                  </a:lnTo>
                  <a:lnTo>
                    <a:pt x="1616" y="81"/>
                  </a:lnTo>
                  <a:lnTo>
                    <a:pt x="1616" y="79"/>
                  </a:lnTo>
                  <a:lnTo>
                    <a:pt x="1616" y="79"/>
                  </a:lnTo>
                  <a:lnTo>
                    <a:pt x="1614" y="79"/>
                  </a:lnTo>
                  <a:lnTo>
                    <a:pt x="1614" y="77"/>
                  </a:lnTo>
                  <a:lnTo>
                    <a:pt x="1614" y="77"/>
                  </a:lnTo>
                  <a:lnTo>
                    <a:pt x="1616" y="77"/>
                  </a:lnTo>
                  <a:lnTo>
                    <a:pt x="1616" y="76"/>
                  </a:lnTo>
                  <a:lnTo>
                    <a:pt x="1616" y="74"/>
                  </a:lnTo>
                  <a:lnTo>
                    <a:pt x="1616" y="74"/>
                  </a:lnTo>
                  <a:lnTo>
                    <a:pt x="1616" y="74"/>
                  </a:lnTo>
                  <a:lnTo>
                    <a:pt x="1621" y="76"/>
                  </a:lnTo>
                  <a:lnTo>
                    <a:pt x="1621" y="76"/>
                  </a:lnTo>
                  <a:lnTo>
                    <a:pt x="1619" y="74"/>
                  </a:lnTo>
                  <a:lnTo>
                    <a:pt x="1621" y="72"/>
                  </a:lnTo>
                  <a:lnTo>
                    <a:pt x="1623" y="72"/>
                  </a:lnTo>
                  <a:lnTo>
                    <a:pt x="1623" y="72"/>
                  </a:lnTo>
                  <a:lnTo>
                    <a:pt x="1623" y="72"/>
                  </a:lnTo>
                  <a:lnTo>
                    <a:pt x="1623" y="72"/>
                  </a:lnTo>
                  <a:lnTo>
                    <a:pt x="1623" y="70"/>
                  </a:lnTo>
                  <a:lnTo>
                    <a:pt x="1623" y="67"/>
                  </a:lnTo>
                  <a:lnTo>
                    <a:pt x="1625" y="65"/>
                  </a:lnTo>
                  <a:lnTo>
                    <a:pt x="1625" y="65"/>
                  </a:lnTo>
                  <a:lnTo>
                    <a:pt x="1627" y="67"/>
                  </a:lnTo>
                  <a:lnTo>
                    <a:pt x="1629" y="67"/>
                  </a:lnTo>
                  <a:lnTo>
                    <a:pt x="1629" y="65"/>
                  </a:lnTo>
                  <a:lnTo>
                    <a:pt x="1629" y="63"/>
                  </a:lnTo>
                  <a:lnTo>
                    <a:pt x="1629" y="63"/>
                  </a:lnTo>
                  <a:lnTo>
                    <a:pt x="1629" y="63"/>
                  </a:lnTo>
                  <a:lnTo>
                    <a:pt x="1630" y="63"/>
                  </a:lnTo>
                  <a:lnTo>
                    <a:pt x="1630" y="61"/>
                  </a:lnTo>
                  <a:lnTo>
                    <a:pt x="1629" y="61"/>
                  </a:lnTo>
                  <a:lnTo>
                    <a:pt x="1629" y="61"/>
                  </a:lnTo>
                  <a:lnTo>
                    <a:pt x="1627" y="59"/>
                  </a:lnTo>
                  <a:lnTo>
                    <a:pt x="1629" y="59"/>
                  </a:lnTo>
                  <a:lnTo>
                    <a:pt x="1630" y="59"/>
                  </a:lnTo>
                  <a:lnTo>
                    <a:pt x="1632" y="58"/>
                  </a:lnTo>
                  <a:lnTo>
                    <a:pt x="1630" y="58"/>
                  </a:lnTo>
                  <a:lnTo>
                    <a:pt x="1630" y="58"/>
                  </a:lnTo>
                  <a:lnTo>
                    <a:pt x="1630" y="56"/>
                  </a:lnTo>
                  <a:lnTo>
                    <a:pt x="1630" y="54"/>
                  </a:lnTo>
                  <a:lnTo>
                    <a:pt x="1629" y="54"/>
                  </a:lnTo>
                  <a:lnTo>
                    <a:pt x="1627" y="50"/>
                  </a:lnTo>
                  <a:lnTo>
                    <a:pt x="1627" y="50"/>
                  </a:lnTo>
                  <a:lnTo>
                    <a:pt x="1627" y="48"/>
                  </a:lnTo>
                  <a:lnTo>
                    <a:pt x="1625" y="48"/>
                  </a:lnTo>
                  <a:lnTo>
                    <a:pt x="1625" y="47"/>
                  </a:lnTo>
                  <a:lnTo>
                    <a:pt x="1623" y="47"/>
                  </a:lnTo>
                  <a:lnTo>
                    <a:pt x="1623" y="48"/>
                  </a:lnTo>
                  <a:lnTo>
                    <a:pt x="1623" y="50"/>
                  </a:lnTo>
                  <a:lnTo>
                    <a:pt x="1623" y="52"/>
                  </a:lnTo>
                  <a:lnTo>
                    <a:pt x="1623" y="54"/>
                  </a:lnTo>
                  <a:lnTo>
                    <a:pt x="1623" y="54"/>
                  </a:lnTo>
                  <a:lnTo>
                    <a:pt x="1625" y="58"/>
                  </a:lnTo>
                  <a:lnTo>
                    <a:pt x="1625" y="59"/>
                  </a:lnTo>
                  <a:lnTo>
                    <a:pt x="1625" y="61"/>
                  </a:lnTo>
                  <a:lnTo>
                    <a:pt x="1621" y="61"/>
                  </a:lnTo>
                  <a:lnTo>
                    <a:pt x="1621" y="61"/>
                  </a:lnTo>
                  <a:lnTo>
                    <a:pt x="1619" y="59"/>
                  </a:lnTo>
                  <a:lnTo>
                    <a:pt x="1618" y="56"/>
                  </a:lnTo>
                  <a:lnTo>
                    <a:pt x="1616" y="54"/>
                  </a:lnTo>
                  <a:lnTo>
                    <a:pt x="1616" y="54"/>
                  </a:lnTo>
                  <a:lnTo>
                    <a:pt x="1616" y="56"/>
                  </a:lnTo>
                  <a:lnTo>
                    <a:pt x="1618" y="58"/>
                  </a:lnTo>
                  <a:lnTo>
                    <a:pt x="1616" y="58"/>
                  </a:lnTo>
                  <a:lnTo>
                    <a:pt x="1616" y="59"/>
                  </a:lnTo>
                  <a:lnTo>
                    <a:pt x="1614" y="58"/>
                  </a:lnTo>
                  <a:lnTo>
                    <a:pt x="1612" y="56"/>
                  </a:lnTo>
                  <a:lnTo>
                    <a:pt x="1610" y="56"/>
                  </a:lnTo>
                  <a:lnTo>
                    <a:pt x="1610" y="56"/>
                  </a:lnTo>
                  <a:lnTo>
                    <a:pt x="1612" y="58"/>
                  </a:lnTo>
                  <a:lnTo>
                    <a:pt x="1612" y="58"/>
                  </a:lnTo>
                  <a:lnTo>
                    <a:pt x="1612" y="58"/>
                  </a:lnTo>
                  <a:lnTo>
                    <a:pt x="1610" y="58"/>
                  </a:lnTo>
                  <a:lnTo>
                    <a:pt x="1609" y="59"/>
                  </a:lnTo>
                  <a:lnTo>
                    <a:pt x="1610" y="61"/>
                  </a:lnTo>
                  <a:lnTo>
                    <a:pt x="1610" y="63"/>
                  </a:lnTo>
                  <a:lnTo>
                    <a:pt x="1614" y="65"/>
                  </a:lnTo>
                  <a:lnTo>
                    <a:pt x="1614" y="65"/>
                  </a:lnTo>
                  <a:lnTo>
                    <a:pt x="1614" y="65"/>
                  </a:lnTo>
                  <a:lnTo>
                    <a:pt x="1614" y="67"/>
                  </a:lnTo>
                  <a:lnTo>
                    <a:pt x="1614" y="67"/>
                  </a:lnTo>
                  <a:lnTo>
                    <a:pt x="1616" y="67"/>
                  </a:lnTo>
                  <a:lnTo>
                    <a:pt x="1616" y="67"/>
                  </a:lnTo>
                  <a:lnTo>
                    <a:pt x="1616" y="67"/>
                  </a:lnTo>
                  <a:lnTo>
                    <a:pt x="1616" y="68"/>
                  </a:lnTo>
                  <a:lnTo>
                    <a:pt x="1612" y="67"/>
                  </a:lnTo>
                  <a:lnTo>
                    <a:pt x="1612" y="68"/>
                  </a:lnTo>
                  <a:lnTo>
                    <a:pt x="1612" y="68"/>
                  </a:lnTo>
                  <a:lnTo>
                    <a:pt x="1612" y="70"/>
                  </a:lnTo>
                  <a:lnTo>
                    <a:pt x="1614" y="72"/>
                  </a:lnTo>
                  <a:lnTo>
                    <a:pt x="1612" y="72"/>
                  </a:lnTo>
                  <a:lnTo>
                    <a:pt x="1610" y="70"/>
                  </a:lnTo>
                  <a:lnTo>
                    <a:pt x="1609" y="68"/>
                  </a:lnTo>
                  <a:lnTo>
                    <a:pt x="1609" y="72"/>
                  </a:lnTo>
                  <a:lnTo>
                    <a:pt x="1609" y="74"/>
                  </a:lnTo>
                  <a:lnTo>
                    <a:pt x="1607" y="74"/>
                  </a:lnTo>
                  <a:lnTo>
                    <a:pt x="1607" y="76"/>
                  </a:lnTo>
                  <a:lnTo>
                    <a:pt x="1607" y="77"/>
                  </a:lnTo>
                  <a:lnTo>
                    <a:pt x="1607" y="79"/>
                  </a:lnTo>
                  <a:lnTo>
                    <a:pt x="1605" y="77"/>
                  </a:lnTo>
                  <a:lnTo>
                    <a:pt x="1603" y="76"/>
                  </a:lnTo>
                  <a:lnTo>
                    <a:pt x="1603" y="74"/>
                  </a:lnTo>
                  <a:lnTo>
                    <a:pt x="1603" y="72"/>
                  </a:lnTo>
                  <a:lnTo>
                    <a:pt x="1605" y="70"/>
                  </a:lnTo>
                  <a:lnTo>
                    <a:pt x="1603" y="68"/>
                  </a:lnTo>
                  <a:lnTo>
                    <a:pt x="1603" y="68"/>
                  </a:lnTo>
                  <a:lnTo>
                    <a:pt x="1601" y="68"/>
                  </a:lnTo>
                  <a:lnTo>
                    <a:pt x="1600" y="68"/>
                  </a:lnTo>
                  <a:lnTo>
                    <a:pt x="1600" y="68"/>
                  </a:lnTo>
                  <a:lnTo>
                    <a:pt x="1601" y="68"/>
                  </a:lnTo>
                  <a:lnTo>
                    <a:pt x="1600" y="67"/>
                  </a:lnTo>
                  <a:lnTo>
                    <a:pt x="1598" y="67"/>
                  </a:lnTo>
                  <a:lnTo>
                    <a:pt x="1598" y="65"/>
                  </a:lnTo>
                  <a:lnTo>
                    <a:pt x="1598" y="65"/>
                  </a:lnTo>
                  <a:lnTo>
                    <a:pt x="1598" y="63"/>
                  </a:lnTo>
                  <a:lnTo>
                    <a:pt x="1596" y="65"/>
                  </a:lnTo>
                  <a:lnTo>
                    <a:pt x="1594" y="65"/>
                  </a:lnTo>
                  <a:lnTo>
                    <a:pt x="1594" y="67"/>
                  </a:lnTo>
                  <a:lnTo>
                    <a:pt x="1594" y="67"/>
                  </a:lnTo>
                  <a:lnTo>
                    <a:pt x="1594" y="68"/>
                  </a:lnTo>
                  <a:lnTo>
                    <a:pt x="1596" y="70"/>
                  </a:lnTo>
                  <a:lnTo>
                    <a:pt x="1596" y="72"/>
                  </a:lnTo>
                  <a:lnTo>
                    <a:pt x="1598" y="74"/>
                  </a:lnTo>
                  <a:lnTo>
                    <a:pt x="1596" y="77"/>
                  </a:lnTo>
                  <a:lnTo>
                    <a:pt x="1598" y="77"/>
                  </a:lnTo>
                  <a:lnTo>
                    <a:pt x="1600" y="81"/>
                  </a:lnTo>
                  <a:lnTo>
                    <a:pt x="1596" y="81"/>
                  </a:lnTo>
                  <a:lnTo>
                    <a:pt x="1594" y="81"/>
                  </a:lnTo>
                  <a:lnTo>
                    <a:pt x="1594" y="83"/>
                  </a:lnTo>
                  <a:lnTo>
                    <a:pt x="1594" y="85"/>
                  </a:lnTo>
                  <a:lnTo>
                    <a:pt x="1594" y="86"/>
                  </a:lnTo>
                  <a:lnTo>
                    <a:pt x="1594" y="86"/>
                  </a:lnTo>
                  <a:lnTo>
                    <a:pt x="1592" y="86"/>
                  </a:lnTo>
                  <a:lnTo>
                    <a:pt x="1592" y="85"/>
                  </a:lnTo>
                  <a:lnTo>
                    <a:pt x="1592" y="83"/>
                  </a:lnTo>
                  <a:lnTo>
                    <a:pt x="1592" y="79"/>
                  </a:lnTo>
                  <a:lnTo>
                    <a:pt x="1592" y="79"/>
                  </a:lnTo>
                  <a:lnTo>
                    <a:pt x="1591" y="79"/>
                  </a:lnTo>
                  <a:lnTo>
                    <a:pt x="1591" y="81"/>
                  </a:lnTo>
                  <a:lnTo>
                    <a:pt x="1589" y="83"/>
                  </a:lnTo>
                  <a:lnTo>
                    <a:pt x="1589" y="81"/>
                  </a:lnTo>
                  <a:lnTo>
                    <a:pt x="1587" y="79"/>
                  </a:lnTo>
                  <a:lnTo>
                    <a:pt x="1587" y="79"/>
                  </a:lnTo>
                  <a:lnTo>
                    <a:pt x="1589" y="77"/>
                  </a:lnTo>
                  <a:lnTo>
                    <a:pt x="1591" y="76"/>
                  </a:lnTo>
                  <a:lnTo>
                    <a:pt x="1591" y="74"/>
                  </a:lnTo>
                  <a:lnTo>
                    <a:pt x="1585" y="70"/>
                  </a:lnTo>
                  <a:lnTo>
                    <a:pt x="1585" y="70"/>
                  </a:lnTo>
                  <a:lnTo>
                    <a:pt x="1583" y="70"/>
                  </a:lnTo>
                  <a:lnTo>
                    <a:pt x="1583" y="72"/>
                  </a:lnTo>
                  <a:lnTo>
                    <a:pt x="1582" y="72"/>
                  </a:lnTo>
                  <a:lnTo>
                    <a:pt x="1582" y="74"/>
                  </a:lnTo>
                  <a:lnTo>
                    <a:pt x="1583" y="76"/>
                  </a:lnTo>
                  <a:lnTo>
                    <a:pt x="1582" y="76"/>
                  </a:lnTo>
                  <a:lnTo>
                    <a:pt x="1582" y="76"/>
                  </a:lnTo>
                  <a:lnTo>
                    <a:pt x="1580" y="76"/>
                  </a:lnTo>
                  <a:lnTo>
                    <a:pt x="1580" y="74"/>
                  </a:lnTo>
                  <a:lnTo>
                    <a:pt x="1578" y="72"/>
                  </a:lnTo>
                  <a:lnTo>
                    <a:pt x="1578" y="72"/>
                  </a:lnTo>
                  <a:lnTo>
                    <a:pt x="1578" y="72"/>
                  </a:lnTo>
                  <a:lnTo>
                    <a:pt x="1576" y="72"/>
                  </a:lnTo>
                  <a:lnTo>
                    <a:pt x="1576" y="74"/>
                  </a:lnTo>
                  <a:lnTo>
                    <a:pt x="1576" y="77"/>
                  </a:lnTo>
                  <a:lnTo>
                    <a:pt x="1578" y="81"/>
                  </a:lnTo>
                  <a:lnTo>
                    <a:pt x="1578" y="83"/>
                  </a:lnTo>
                  <a:lnTo>
                    <a:pt x="1578" y="85"/>
                  </a:lnTo>
                  <a:lnTo>
                    <a:pt x="1574" y="79"/>
                  </a:lnTo>
                  <a:lnTo>
                    <a:pt x="1571" y="76"/>
                  </a:lnTo>
                  <a:lnTo>
                    <a:pt x="1569" y="77"/>
                  </a:lnTo>
                  <a:lnTo>
                    <a:pt x="1569" y="77"/>
                  </a:lnTo>
                  <a:lnTo>
                    <a:pt x="1571" y="79"/>
                  </a:lnTo>
                  <a:lnTo>
                    <a:pt x="1571" y="81"/>
                  </a:lnTo>
                  <a:lnTo>
                    <a:pt x="1569" y="81"/>
                  </a:lnTo>
                  <a:lnTo>
                    <a:pt x="1569" y="83"/>
                  </a:lnTo>
                  <a:lnTo>
                    <a:pt x="1567" y="83"/>
                  </a:lnTo>
                  <a:lnTo>
                    <a:pt x="1560" y="79"/>
                  </a:lnTo>
                  <a:lnTo>
                    <a:pt x="1556" y="79"/>
                  </a:lnTo>
                  <a:lnTo>
                    <a:pt x="1554" y="81"/>
                  </a:lnTo>
                  <a:lnTo>
                    <a:pt x="1556" y="83"/>
                  </a:lnTo>
                  <a:lnTo>
                    <a:pt x="1558" y="83"/>
                  </a:lnTo>
                  <a:close/>
                  <a:moveTo>
                    <a:pt x="1656" y="30"/>
                  </a:moveTo>
                  <a:lnTo>
                    <a:pt x="1657" y="30"/>
                  </a:lnTo>
                  <a:lnTo>
                    <a:pt x="1659" y="30"/>
                  </a:lnTo>
                  <a:lnTo>
                    <a:pt x="1657" y="32"/>
                  </a:lnTo>
                  <a:lnTo>
                    <a:pt x="1654" y="32"/>
                  </a:lnTo>
                  <a:lnTo>
                    <a:pt x="1654" y="34"/>
                  </a:lnTo>
                  <a:lnTo>
                    <a:pt x="1657" y="36"/>
                  </a:lnTo>
                  <a:lnTo>
                    <a:pt x="1657" y="38"/>
                  </a:lnTo>
                  <a:lnTo>
                    <a:pt x="1657" y="39"/>
                  </a:lnTo>
                  <a:lnTo>
                    <a:pt x="1659" y="39"/>
                  </a:lnTo>
                  <a:lnTo>
                    <a:pt x="1659" y="39"/>
                  </a:lnTo>
                  <a:lnTo>
                    <a:pt x="1661" y="39"/>
                  </a:lnTo>
                  <a:lnTo>
                    <a:pt x="1663" y="39"/>
                  </a:lnTo>
                  <a:lnTo>
                    <a:pt x="1663" y="38"/>
                  </a:lnTo>
                  <a:lnTo>
                    <a:pt x="1663" y="38"/>
                  </a:lnTo>
                  <a:lnTo>
                    <a:pt x="1665" y="38"/>
                  </a:lnTo>
                  <a:lnTo>
                    <a:pt x="1665" y="38"/>
                  </a:lnTo>
                  <a:lnTo>
                    <a:pt x="1666" y="38"/>
                  </a:lnTo>
                  <a:lnTo>
                    <a:pt x="1666" y="38"/>
                  </a:lnTo>
                  <a:lnTo>
                    <a:pt x="1666" y="36"/>
                  </a:lnTo>
                  <a:lnTo>
                    <a:pt x="1666" y="36"/>
                  </a:lnTo>
                  <a:lnTo>
                    <a:pt x="1668" y="36"/>
                  </a:lnTo>
                  <a:lnTo>
                    <a:pt x="1668" y="36"/>
                  </a:lnTo>
                  <a:lnTo>
                    <a:pt x="1668" y="34"/>
                  </a:lnTo>
                  <a:lnTo>
                    <a:pt x="1670" y="34"/>
                  </a:lnTo>
                  <a:lnTo>
                    <a:pt x="1668" y="32"/>
                  </a:lnTo>
                  <a:lnTo>
                    <a:pt x="1661" y="32"/>
                  </a:lnTo>
                  <a:lnTo>
                    <a:pt x="1663" y="32"/>
                  </a:lnTo>
                  <a:lnTo>
                    <a:pt x="1661" y="30"/>
                  </a:lnTo>
                  <a:lnTo>
                    <a:pt x="1661" y="30"/>
                  </a:lnTo>
                  <a:lnTo>
                    <a:pt x="1661" y="30"/>
                  </a:lnTo>
                  <a:lnTo>
                    <a:pt x="1661" y="30"/>
                  </a:lnTo>
                  <a:lnTo>
                    <a:pt x="1663" y="29"/>
                  </a:lnTo>
                  <a:lnTo>
                    <a:pt x="1666" y="29"/>
                  </a:lnTo>
                  <a:lnTo>
                    <a:pt x="1668" y="27"/>
                  </a:lnTo>
                  <a:lnTo>
                    <a:pt x="1666" y="27"/>
                  </a:lnTo>
                  <a:lnTo>
                    <a:pt x="1663" y="27"/>
                  </a:lnTo>
                  <a:lnTo>
                    <a:pt x="1661" y="25"/>
                  </a:lnTo>
                  <a:lnTo>
                    <a:pt x="1661" y="25"/>
                  </a:lnTo>
                  <a:lnTo>
                    <a:pt x="1663" y="23"/>
                  </a:lnTo>
                  <a:lnTo>
                    <a:pt x="1656" y="23"/>
                  </a:lnTo>
                  <a:lnTo>
                    <a:pt x="1654" y="25"/>
                  </a:lnTo>
                  <a:lnTo>
                    <a:pt x="1654" y="25"/>
                  </a:lnTo>
                  <a:lnTo>
                    <a:pt x="1654" y="25"/>
                  </a:lnTo>
                  <a:lnTo>
                    <a:pt x="1656" y="27"/>
                  </a:lnTo>
                  <a:lnTo>
                    <a:pt x="1652" y="27"/>
                  </a:lnTo>
                  <a:lnTo>
                    <a:pt x="1652" y="27"/>
                  </a:lnTo>
                  <a:lnTo>
                    <a:pt x="1654" y="30"/>
                  </a:lnTo>
                  <a:lnTo>
                    <a:pt x="1656" y="30"/>
                  </a:lnTo>
                  <a:close/>
                  <a:moveTo>
                    <a:pt x="1692" y="20"/>
                  </a:moveTo>
                  <a:lnTo>
                    <a:pt x="1692" y="21"/>
                  </a:lnTo>
                  <a:lnTo>
                    <a:pt x="1694" y="21"/>
                  </a:lnTo>
                  <a:lnTo>
                    <a:pt x="1694" y="23"/>
                  </a:lnTo>
                  <a:lnTo>
                    <a:pt x="1695" y="23"/>
                  </a:lnTo>
                  <a:lnTo>
                    <a:pt x="1695" y="23"/>
                  </a:lnTo>
                  <a:lnTo>
                    <a:pt x="1697" y="20"/>
                  </a:lnTo>
                  <a:lnTo>
                    <a:pt x="1697" y="20"/>
                  </a:lnTo>
                  <a:lnTo>
                    <a:pt x="1697" y="18"/>
                  </a:lnTo>
                  <a:lnTo>
                    <a:pt x="1697" y="16"/>
                  </a:lnTo>
                  <a:lnTo>
                    <a:pt x="1699" y="16"/>
                  </a:lnTo>
                  <a:lnTo>
                    <a:pt x="1699" y="16"/>
                  </a:lnTo>
                  <a:lnTo>
                    <a:pt x="1699" y="14"/>
                  </a:lnTo>
                  <a:lnTo>
                    <a:pt x="1699" y="14"/>
                  </a:lnTo>
                  <a:lnTo>
                    <a:pt x="1699" y="12"/>
                  </a:lnTo>
                  <a:lnTo>
                    <a:pt x="1699" y="12"/>
                  </a:lnTo>
                  <a:lnTo>
                    <a:pt x="1699" y="12"/>
                  </a:lnTo>
                  <a:lnTo>
                    <a:pt x="1697" y="12"/>
                  </a:lnTo>
                  <a:lnTo>
                    <a:pt x="1697" y="12"/>
                  </a:lnTo>
                  <a:lnTo>
                    <a:pt x="1697" y="12"/>
                  </a:lnTo>
                  <a:lnTo>
                    <a:pt x="1697" y="12"/>
                  </a:lnTo>
                  <a:lnTo>
                    <a:pt x="1695" y="12"/>
                  </a:lnTo>
                  <a:lnTo>
                    <a:pt x="1695" y="11"/>
                  </a:lnTo>
                  <a:lnTo>
                    <a:pt x="1695" y="11"/>
                  </a:lnTo>
                  <a:lnTo>
                    <a:pt x="1694" y="11"/>
                  </a:lnTo>
                  <a:lnTo>
                    <a:pt x="1694" y="12"/>
                  </a:lnTo>
                  <a:lnTo>
                    <a:pt x="1694" y="14"/>
                  </a:lnTo>
                  <a:lnTo>
                    <a:pt x="1695" y="16"/>
                  </a:lnTo>
                  <a:lnTo>
                    <a:pt x="1694" y="16"/>
                  </a:lnTo>
                  <a:lnTo>
                    <a:pt x="1694" y="16"/>
                  </a:lnTo>
                  <a:lnTo>
                    <a:pt x="1694" y="16"/>
                  </a:lnTo>
                  <a:lnTo>
                    <a:pt x="1694" y="16"/>
                  </a:lnTo>
                  <a:lnTo>
                    <a:pt x="1694" y="14"/>
                  </a:lnTo>
                  <a:lnTo>
                    <a:pt x="1692" y="14"/>
                  </a:lnTo>
                  <a:lnTo>
                    <a:pt x="1692" y="14"/>
                  </a:lnTo>
                  <a:lnTo>
                    <a:pt x="1690" y="14"/>
                  </a:lnTo>
                  <a:lnTo>
                    <a:pt x="1688" y="16"/>
                  </a:lnTo>
                  <a:lnTo>
                    <a:pt x="1688" y="18"/>
                  </a:lnTo>
                  <a:lnTo>
                    <a:pt x="1690" y="20"/>
                  </a:lnTo>
                  <a:lnTo>
                    <a:pt x="1692" y="20"/>
                  </a:lnTo>
                  <a:close/>
                  <a:moveTo>
                    <a:pt x="2011" y="133"/>
                  </a:moveTo>
                  <a:lnTo>
                    <a:pt x="2011" y="132"/>
                  </a:lnTo>
                  <a:lnTo>
                    <a:pt x="2010" y="130"/>
                  </a:lnTo>
                  <a:lnTo>
                    <a:pt x="2010" y="130"/>
                  </a:lnTo>
                  <a:lnTo>
                    <a:pt x="2010" y="126"/>
                  </a:lnTo>
                  <a:lnTo>
                    <a:pt x="2010" y="126"/>
                  </a:lnTo>
                  <a:lnTo>
                    <a:pt x="2010" y="124"/>
                  </a:lnTo>
                  <a:lnTo>
                    <a:pt x="2011" y="123"/>
                  </a:lnTo>
                  <a:lnTo>
                    <a:pt x="2008" y="117"/>
                  </a:lnTo>
                  <a:lnTo>
                    <a:pt x="2008" y="115"/>
                  </a:lnTo>
                  <a:lnTo>
                    <a:pt x="2006" y="115"/>
                  </a:lnTo>
                  <a:lnTo>
                    <a:pt x="2006" y="110"/>
                  </a:lnTo>
                  <a:lnTo>
                    <a:pt x="2004" y="110"/>
                  </a:lnTo>
                  <a:lnTo>
                    <a:pt x="2001" y="113"/>
                  </a:lnTo>
                  <a:lnTo>
                    <a:pt x="1999" y="113"/>
                  </a:lnTo>
                  <a:lnTo>
                    <a:pt x="1999" y="115"/>
                  </a:lnTo>
                  <a:lnTo>
                    <a:pt x="1997" y="115"/>
                  </a:lnTo>
                  <a:lnTo>
                    <a:pt x="1995" y="112"/>
                  </a:lnTo>
                  <a:lnTo>
                    <a:pt x="1995" y="108"/>
                  </a:lnTo>
                  <a:lnTo>
                    <a:pt x="1986" y="101"/>
                  </a:lnTo>
                  <a:lnTo>
                    <a:pt x="1988" y="99"/>
                  </a:lnTo>
                  <a:lnTo>
                    <a:pt x="1988" y="97"/>
                  </a:lnTo>
                  <a:lnTo>
                    <a:pt x="1982" y="94"/>
                  </a:lnTo>
                  <a:lnTo>
                    <a:pt x="1981" y="94"/>
                  </a:lnTo>
                  <a:lnTo>
                    <a:pt x="1966" y="99"/>
                  </a:lnTo>
                  <a:lnTo>
                    <a:pt x="1957" y="97"/>
                  </a:lnTo>
                  <a:lnTo>
                    <a:pt x="1957" y="95"/>
                  </a:lnTo>
                  <a:lnTo>
                    <a:pt x="1961" y="95"/>
                  </a:lnTo>
                  <a:lnTo>
                    <a:pt x="1964" y="97"/>
                  </a:lnTo>
                  <a:lnTo>
                    <a:pt x="1966" y="97"/>
                  </a:lnTo>
                  <a:lnTo>
                    <a:pt x="1966" y="97"/>
                  </a:lnTo>
                  <a:lnTo>
                    <a:pt x="1966" y="95"/>
                  </a:lnTo>
                  <a:lnTo>
                    <a:pt x="1964" y="95"/>
                  </a:lnTo>
                  <a:lnTo>
                    <a:pt x="1964" y="95"/>
                  </a:lnTo>
                  <a:lnTo>
                    <a:pt x="1964" y="95"/>
                  </a:lnTo>
                  <a:lnTo>
                    <a:pt x="1966" y="94"/>
                  </a:lnTo>
                  <a:lnTo>
                    <a:pt x="1972" y="92"/>
                  </a:lnTo>
                  <a:lnTo>
                    <a:pt x="1975" y="90"/>
                  </a:lnTo>
                  <a:lnTo>
                    <a:pt x="1975" y="88"/>
                  </a:lnTo>
                  <a:lnTo>
                    <a:pt x="1975" y="86"/>
                  </a:lnTo>
                  <a:lnTo>
                    <a:pt x="1970" y="83"/>
                  </a:lnTo>
                  <a:lnTo>
                    <a:pt x="1964" y="83"/>
                  </a:lnTo>
                  <a:lnTo>
                    <a:pt x="1963" y="81"/>
                  </a:lnTo>
                  <a:lnTo>
                    <a:pt x="1966" y="79"/>
                  </a:lnTo>
                  <a:lnTo>
                    <a:pt x="1968" y="77"/>
                  </a:lnTo>
                  <a:lnTo>
                    <a:pt x="1968" y="76"/>
                  </a:lnTo>
                  <a:lnTo>
                    <a:pt x="1963" y="70"/>
                  </a:lnTo>
                  <a:lnTo>
                    <a:pt x="1961" y="70"/>
                  </a:lnTo>
                  <a:lnTo>
                    <a:pt x="1957" y="70"/>
                  </a:lnTo>
                  <a:lnTo>
                    <a:pt x="1955" y="72"/>
                  </a:lnTo>
                  <a:lnTo>
                    <a:pt x="1952" y="77"/>
                  </a:lnTo>
                  <a:lnTo>
                    <a:pt x="1952" y="79"/>
                  </a:lnTo>
                  <a:lnTo>
                    <a:pt x="1950" y="81"/>
                  </a:lnTo>
                  <a:lnTo>
                    <a:pt x="1950" y="81"/>
                  </a:lnTo>
                  <a:lnTo>
                    <a:pt x="1950" y="83"/>
                  </a:lnTo>
                  <a:lnTo>
                    <a:pt x="1943" y="85"/>
                  </a:lnTo>
                  <a:lnTo>
                    <a:pt x="1943" y="81"/>
                  </a:lnTo>
                  <a:lnTo>
                    <a:pt x="1946" y="77"/>
                  </a:lnTo>
                  <a:lnTo>
                    <a:pt x="1946" y="74"/>
                  </a:lnTo>
                  <a:lnTo>
                    <a:pt x="1946" y="68"/>
                  </a:lnTo>
                  <a:lnTo>
                    <a:pt x="1945" y="67"/>
                  </a:lnTo>
                  <a:lnTo>
                    <a:pt x="1943" y="67"/>
                  </a:lnTo>
                  <a:lnTo>
                    <a:pt x="1934" y="72"/>
                  </a:lnTo>
                  <a:lnTo>
                    <a:pt x="1928" y="74"/>
                  </a:lnTo>
                  <a:lnTo>
                    <a:pt x="1926" y="74"/>
                  </a:lnTo>
                  <a:lnTo>
                    <a:pt x="1925" y="79"/>
                  </a:lnTo>
                  <a:lnTo>
                    <a:pt x="1923" y="79"/>
                  </a:lnTo>
                  <a:lnTo>
                    <a:pt x="1923" y="79"/>
                  </a:lnTo>
                  <a:lnTo>
                    <a:pt x="1923" y="77"/>
                  </a:lnTo>
                  <a:lnTo>
                    <a:pt x="1923" y="76"/>
                  </a:lnTo>
                  <a:lnTo>
                    <a:pt x="1923" y="76"/>
                  </a:lnTo>
                  <a:lnTo>
                    <a:pt x="1923" y="76"/>
                  </a:lnTo>
                  <a:lnTo>
                    <a:pt x="1923" y="74"/>
                  </a:lnTo>
                  <a:lnTo>
                    <a:pt x="1925" y="74"/>
                  </a:lnTo>
                  <a:lnTo>
                    <a:pt x="1925" y="74"/>
                  </a:lnTo>
                  <a:lnTo>
                    <a:pt x="1926" y="72"/>
                  </a:lnTo>
                  <a:lnTo>
                    <a:pt x="1925" y="72"/>
                  </a:lnTo>
                  <a:lnTo>
                    <a:pt x="1925" y="72"/>
                  </a:lnTo>
                  <a:lnTo>
                    <a:pt x="1925" y="70"/>
                  </a:lnTo>
                  <a:lnTo>
                    <a:pt x="1925" y="68"/>
                  </a:lnTo>
                  <a:lnTo>
                    <a:pt x="1926" y="68"/>
                  </a:lnTo>
                  <a:lnTo>
                    <a:pt x="1928" y="68"/>
                  </a:lnTo>
                  <a:lnTo>
                    <a:pt x="1928" y="67"/>
                  </a:lnTo>
                  <a:lnTo>
                    <a:pt x="1925" y="67"/>
                  </a:lnTo>
                  <a:lnTo>
                    <a:pt x="1923" y="67"/>
                  </a:lnTo>
                  <a:lnTo>
                    <a:pt x="1926" y="63"/>
                  </a:lnTo>
                  <a:lnTo>
                    <a:pt x="1928" y="59"/>
                  </a:lnTo>
                  <a:lnTo>
                    <a:pt x="1926" y="59"/>
                  </a:lnTo>
                  <a:lnTo>
                    <a:pt x="1923" y="58"/>
                  </a:lnTo>
                  <a:lnTo>
                    <a:pt x="1923" y="58"/>
                  </a:lnTo>
                  <a:lnTo>
                    <a:pt x="1921" y="56"/>
                  </a:lnTo>
                  <a:lnTo>
                    <a:pt x="1921" y="56"/>
                  </a:lnTo>
                  <a:lnTo>
                    <a:pt x="1921" y="54"/>
                  </a:lnTo>
                  <a:lnTo>
                    <a:pt x="1921" y="52"/>
                  </a:lnTo>
                  <a:lnTo>
                    <a:pt x="1921" y="52"/>
                  </a:lnTo>
                  <a:lnTo>
                    <a:pt x="1919" y="48"/>
                  </a:lnTo>
                  <a:lnTo>
                    <a:pt x="1910" y="48"/>
                  </a:lnTo>
                  <a:lnTo>
                    <a:pt x="1910" y="47"/>
                  </a:lnTo>
                  <a:lnTo>
                    <a:pt x="1914" y="47"/>
                  </a:lnTo>
                  <a:lnTo>
                    <a:pt x="1914" y="47"/>
                  </a:lnTo>
                  <a:lnTo>
                    <a:pt x="1912" y="45"/>
                  </a:lnTo>
                  <a:lnTo>
                    <a:pt x="1910" y="45"/>
                  </a:lnTo>
                  <a:lnTo>
                    <a:pt x="1898" y="47"/>
                  </a:lnTo>
                  <a:lnTo>
                    <a:pt x="1896" y="48"/>
                  </a:lnTo>
                  <a:lnTo>
                    <a:pt x="1894" y="50"/>
                  </a:lnTo>
                  <a:lnTo>
                    <a:pt x="1892" y="52"/>
                  </a:lnTo>
                  <a:lnTo>
                    <a:pt x="1890" y="59"/>
                  </a:lnTo>
                  <a:lnTo>
                    <a:pt x="1885" y="65"/>
                  </a:lnTo>
                  <a:lnTo>
                    <a:pt x="1885" y="70"/>
                  </a:lnTo>
                  <a:lnTo>
                    <a:pt x="1885" y="72"/>
                  </a:lnTo>
                  <a:lnTo>
                    <a:pt x="1887" y="72"/>
                  </a:lnTo>
                  <a:lnTo>
                    <a:pt x="1889" y="74"/>
                  </a:lnTo>
                  <a:lnTo>
                    <a:pt x="1889" y="76"/>
                  </a:lnTo>
                  <a:lnTo>
                    <a:pt x="1889" y="77"/>
                  </a:lnTo>
                  <a:lnTo>
                    <a:pt x="1887" y="77"/>
                  </a:lnTo>
                  <a:lnTo>
                    <a:pt x="1885" y="76"/>
                  </a:lnTo>
                  <a:lnTo>
                    <a:pt x="1883" y="76"/>
                  </a:lnTo>
                  <a:lnTo>
                    <a:pt x="1883" y="77"/>
                  </a:lnTo>
                  <a:lnTo>
                    <a:pt x="1883" y="79"/>
                  </a:lnTo>
                  <a:lnTo>
                    <a:pt x="1881" y="83"/>
                  </a:lnTo>
                  <a:lnTo>
                    <a:pt x="1881" y="85"/>
                  </a:lnTo>
                  <a:lnTo>
                    <a:pt x="1878" y="94"/>
                  </a:lnTo>
                  <a:lnTo>
                    <a:pt x="1878" y="95"/>
                  </a:lnTo>
                  <a:lnTo>
                    <a:pt x="1878" y="95"/>
                  </a:lnTo>
                  <a:lnTo>
                    <a:pt x="1881" y="101"/>
                  </a:lnTo>
                  <a:lnTo>
                    <a:pt x="1881" y="101"/>
                  </a:lnTo>
                  <a:lnTo>
                    <a:pt x="1885" y="101"/>
                  </a:lnTo>
                  <a:lnTo>
                    <a:pt x="1885" y="103"/>
                  </a:lnTo>
                  <a:lnTo>
                    <a:pt x="1885" y="103"/>
                  </a:lnTo>
                  <a:lnTo>
                    <a:pt x="1883" y="104"/>
                  </a:lnTo>
                  <a:lnTo>
                    <a:pt x="1883" y="104"/>
                  </a:lnTo>
                  <a:lnTo>
                    <a:pt x="1883" y="106"/>
                  </a:lnTo>
                  <a:lnTo>
                    <a:pt x="1883" y="108"/>
                  </a:lnTo>
                  <a:lnTo>
                    <a:pt x="1883" y="110"/>
                  </a:lnTo>
                  <a:lnTo>
                    <a:pt x="1883" y="110"/>
                  </a:lnTo>
                  <a:lnTo>
                    <a:pt x="1883" y="112"/>
                  </a:lnTo>
                  <a:lnTo>
                    <a:pt x="1881" y="110"/>
                  </a:lnTo>
                  <a:lnTo>
                    <a:pt x="1881" y="106"/>
                  </a:lnTo>
                  <a:lnTo>
                    <a:pt x="1881" y="104"/>
                  </a:lnTo>
                  <a:lnTo>
                    <a:pt x="1880" y="103"/>
                  </a:lnTo>
                  <a:lnTo>
                    <a:pt x="1878" y="104"/>
                  </a:lnTo>
                  <a:lnTo>
                    <a:pt x="1876" y="104"/>
                  </a:lnTo>
                  <a:lnTo>
                    <a:pt x="1874" y="108"/>
                  </a:lnTo>
                  <a:lnTo>
                    <a:pt x="1874" y="108"/>
                  </a:lnTo>
                  <a:lnTo>
                    <a:pt x="1874" y="110"/>
                  </a:lnTo>
                  <a:lnTo>
                    <a:pt x="1874" y="112"/>
                  </a:lnTo>
                  <a:lnTo>
                    <a:pt x="1872" y="113"/>
                  </a:lnTo>
                  <a:lnTo>
                    <a:pt x="1871" y="115"/>
                  </a:lnTo>
                  <a:lnTo>
                    <a:pt x="1871" y="115"/>
                  </a:lnTo>
                  <a:lnTo>
                    <a:pt x="1869" y="117"/>
                  </a:lnTo>
                  <a:lnTo>
                    <a:pt x="1869" y="121"/>
                  </a:lnTo>
                  <a:lnTo>
                    <a:pt x="1869" y="123"/>
                  </a:lnTo>
                  <a:lnTo>
                    <a:pt x="1869" y="126"/>
                  </a:lnTo>
                  <a:lnTo>
                    <a:pt x="1869" y="128"/>
                  </a:lnTo>
                  <a:lnTo>
                    <a:pt x="1867" y="132"/>
                  </a:lnTo>
                  <a:lnTo>
                    <a:pt x="1867" y="135"/>
                  </a:lnTo>
                  <a:lnTo>
                    <a:pt x="1869" y="139"/>
                  </a:lnTo>
                  <a:lnTo>
                    <a:pt x="1869" y="139"/>
                  </a:lnTo>
                  <a:lnTo>
                    <a:pt x="1869" y="141"/>
                  </a:lnTo>
                  <a:lnTo>
                    <a:pt x="1869" y="144"/>
                  </a:lnTo>
                  <a:lnTo>
                    <a:pt x="1869" y="144"/>
                  </a:lnTo>
                  <a:lnTo>
                    <a:pt x="1869" y="148"/>
                  </a:lnTo>
                  <a:lnTo>
                    <a:pt x="1869" y="150"/>
                  </a:lnTo>
                  <a:lnTo>
                    <a:pt x="1869" y="151"/>
                  </a:lnTo>
                  <a:lnTo>
                    <a:pt x="1869" y="155"/>
                  </a:lnTo>
                  <a:lnTo>
                    <a:pt x="1867" y="160"/>
                  </a:lnTo>
                  <a:lnTo>
                    <a:pt x="1865" y="164"/>
                  </a:lnTo>
                  <a:lnTo>
                    <a:pt x="1861" y="168"/>
                  </a:lnTo>
                  <a:lnTo>
                    <a:pt x="1858" y="166"/>
                  </a:lnTo>
                  <a:lnTo>
                    <a:pt x="1860" y="166"/>
                  </a:lnTo>
                  <a:lnTo>
                    <a:pt x="1861" y="166"/>
                  </a:lnTo>
                  <a:lnTo>
                    <a:pt x="1863" y="164"/>
                  </a:lnTo>
                  <a:lnTo>
                    <a:pt x="1865" y="160"/>
                  </a:lnTo>
                  <a:lnTo>
                    <a:pt x="1865" y="159"/>
                  </a:lnTo>
                  <a:lnTo>
                    <a:pt x="1867" y="157"/>
                  </a:lnTo>
                  <a:lnTo>
                    <a:pt x="1867" y="155"/>
                  </a:lnTo>
                  <a:lnTo>
                    <a:pt x="1867" y="150"/>
                  </a:lnTo>
                  <a:lnTo>
                    <a:pt x="1865" y="141"/>
                  </a:lnTo>
                  <a:lnTo>
                    <a:pt x="1865" y="135"/>
                  </a:lnTo>
                  <a:lnTo>
                    <a:pt x="1867" y="130"/>
                  </a:lnTo>
                  <a:lnTo>
                    <a:pt x="1867" y="128"/>
                  </a:lnTo>
                  <a:lnTo>
                    <a:pt x="1867" y="126"/>
                  </a:lnTo>
                  <a:lnTo>
                    <a:pt x="1865" y="123"/>
                  </a:lnTo>
                  <a:lnTo>
                    <a:pt x="1865" y="121"/>
                  </a:lnTo>
                  <a:lnTo>
                    <a:pt x="1867" y="119"/>
                  </a:lnTo>
                  <a:lnTo>
                    <a:pt x="1869" y="115"/>
                  </a:lnTo>
                  <a:lnTo>
                    <a:pt x="1871" y="110"/>
                  </a:lnTo>
                  <a:lnTo>
                    <a:pt x="1871" y="108"/>
                  </a:lnTo>
                  <a:lnTo>
                    <a:pt x="1872" y="106"/>
                  </a:lnTo>
                  <a:lnTo>
                    <a:pt x="1872" y="104"/>
                  </a:lnTo>
                  <a:lnTo>
                    <a:pt x="1874" y="103"/>
                  </a:lnTo>
                  <a:lnTo>
                    <a:pt x="1874" y="101"/>
                  </a:lnTo>
                  <a:lnTo>
                    <a:pt x="1872" y="101"/>
                  </a:lnTo>
                  <a:lnTo>
                    <a:pt x="1871" y="101"/>
                  </a:lnTo>
                  <a:lnTo>
                    <a:pt x="1869" y="103"/>
                  </a:lnTo>
                  <a:lnTo>
                    <a:pt x="1867" y="106"/>
                  </a:lnTo>
                  <a:lnTo>
                    <a:pt x="1865" y="110"/>
                  </a:lnTo>
                  <a:lnTo>
                    <a:pt x="1865" y="112"/>
                  </a:lnTo>
                  <a:lnTo>
                    <a:pt x="1863" y="112"/>
                  </a:lnTo>
                  <a:lnTo>
                    <a:pt x="1863" y="110"/>
                  </a:lnTo>
                  <a:lnTo>
                    <a:pt x="1863" y="108"/>
                  </a:lnTo>
                  <a:lnTo>
                    <a:pt x="1865" y="108"/>
                  </a:lnTo>
                  <a:lnTo>
                    <a:pt x="1865" y="108"/>
                  </a:lnTo>
                  <a:lnTo>
                    <a:pt x="1863" y="108"/>
                  </a:lnTo>
                  <a:lnTo>
                    <a:pt x="1861" y="110"/>
                  </a:lnTo>
                  <a:lnTo>
                    <a:pt x="1860" y="112"/>
                  </a:lnTo>
                  <a:lnTo>
                    <a:pt x="1860" y="112"/>
                  </a:lnTo>
                  <a:lnTo>
                    <a:pt x="1860" y="108"/>
                  </a:lnTo>
                  <a:lnTo>
                    <a:pt x="1861" y="106"/>
                  </a:lnTo>
                  <a:lnTo>
                    <a:pt x="1867" y="103"/>
                  </a:lnTo>
                  <a:lnTo>
                    <a:pt x="1861" y="104"/>
                  </a:lnTo>
                  <a:lnTo>
                    <a:pt x="1854" y="108"/>
                  </a:lnTo>
                  <a:lnTo>
                    <a:pt x="1856" y="104"/>
                  </a:lnTo>
                  <a:lnTo>
                    <a:pt x="1856" y="103"/>
                  </a:lnTo>
                  <a:lnTo>
                    <a:pt x="1854" y="104"/>
                  </a:lnTo>
                  <a:lnTo>
                    <a:pt x="1854" y="106"/>
                  </a:lnTo>
                  <a:lnTo>
                    <a:pt x="1854" y="106"/>
                  </a:lnTo>
                  <a:lnTo>
                    <a:pt x="1852" y="112"/>
                  </a:lnTo>
                  <a:lnTo>
                    <a:pt x="1852" y="113"/>
                  </a:lnTo>
                  <a:lnTo>
                    <a:pt x="1851" y="110"/>
                  </a:lnTo>
                  <a:lnTo>
                    <a:pt x="1851" y="108"/>
                  </a:lnTo>
                  <a:lnTo>
                    <a:pt x="1851" y="104"/>
                  </a:lnTo>
                  <a:lnTo>
                    <a:pt x="1852" y="103"/>
                  </a:lnTo>
                  <a:lnTo>
                    <a:pt x="1854" y="101"/>
                  </a:lnTo>
                  <a:lnTo>
                    <a:pt x="1858" y="99"/>
                  </a:lnTo>
                  <a:lnTo>
                    <a:pt x="1860" y="97"/>
                  </a:lnTo>
                  <a:lnTo>
                    <a:pt x="1861" y="94"/>
                  </a:lnTo>
                  <a:lnTo>
                    <a:pt x="1867" y="90"/>
                  </a:lnTo>
                  <a:lnTo>
                    <a:pt x="1869" y="85"/>
                  </a:lnTo>
                  <a:lnTo>
                    <a:pt x="1872" y="79"/>
                  </a:lnTo>
                  <a:lnTo>
                    <a:pt x="1872" y="72"/>
                  </a:lnTo>
                  <a:lnTo>
                    <a:pt x="1872" y="70"/>
                  </a:lnTo>
                  <a:lnTo>
                    <a:pt x="1871" y="70"/>
                  </a:lnTo>
                  <a:lnTo>
                    <a:pt x="1865" y="76"/>
                  </a:lnTo>
                  <a:lnTo>
                    <a:pt x="1847" y="86"/>
                  </a:lnTo>
                  <a:lnTo>
                    <a:pt x="1840" y="86"/>
                  </a:lnTo>
                  <a:lnTo>
                    <a:pt x="1842" y="85"/>
                  </a:lnTo>
                  <a:lnTo>
                    <a:pt x="1843" y="85"/>
                  </a:lnTo>
                  <a:lnTo>
                    <a:pt x="1845" y="83"/>
                  </a:lnTo>
                  <a:lnTo>
                    <a:pt x="1847" y="83"/>
                  </a:lnTo>
                  <a:lnTo>
                    <a:pt x="1852" y="79"/>
                  </a:lnTo>
                  <a:lnTo>
                    <a:pt x="1852" y="77"/>
                  </a:lnTo>
                  <a:lnTo>
                    <a:pt x="1851" y="77"/>
                  </a:lnTo>
                  <a:lnTo>
                    <a:pt x="1854" y="74"/>
                  </a:lnTo>
                  <a:lnTo>
                    <a:pt x="1861" y="72"/>
                  </a:lnTo>
                  <a:lnTo>
                    <a:pt x="1865" y="67"/>
                  </a:lnTo>
                  <a:lnTo>
                    <a:pt x="1863" y="67"/>
                  </a:lnTo>
                  <a:lnTo>
                    <a:pt x="1861" y="67"/>
                  </a:lnTo>
                  <a:lnTo>
                    <a:pt x="1858" y="67"/>
                  </a:lnTo>
                  <a:lnTo>
                    <a:pt x="1858" y="67"/>
                  </a:lnTo>
                  <a:lnTo>
                    <a:pt x="1858" y="65"/>
                  </a:lnTo>
                  <a:lnTo>
                    <a:pt x="1858" y="65"/>
                  </a:lnTo>
                  <a:lnTo>
                    <a:pt x="1852" y="63"/>
                  </a:lnTo>
                  <a:lnTo>
                    <a:pt x="1851" y="63"/>
                  </a:lnTo>
                  <a:lnTo>
                    <a:pt x="1847" y="67"/>
                  </a:lnTo>
                  <a:lnTo>
                    <a:pt x="1847" y="65"/>
                  </a:lnTo>
                  <a:lnTo>
                    <a:pt x="1847" y="63"/>
                  </a:lnTo>
                  <a:lnTo>
                    <a:pt x="1849" y="63"/>
                  </a:lnTo>
                  <a:lnTo>
                    <a:pt x="1849" y="61"/>
                  </a:lnTo>
                  <a:lnTo>
                    <a:pt x="1849" y="61"/>
                  </a:lnTo>
                  <a:lnTo>
                    <a:pt x="1847" y="61"/>
                  </a:lnTo>
                  <a:lnTo>
                    <a:pt x="1845" y="59"/>
                  </a:lnTo>
                  <a:lnTo>
                    <a:pt x="1847" y="59"/>
                  </a:lnTo>
                  <a:lnTo>
                    <a:pt x="1847" y="58"/>
                  </a:lnTo>
                  <a:lnTo>
                    <a:pt x="1849" y="58"/>
                  </a:lnTo>
                  <a:lnTo>
                    <a:pt x="1849" y="59"/>
                  </a:lnTo>
                  <a:lnTo>
                    <a:pt x="1856" y="58"/>
                  </a:lnTo>
                  <a:lnTo>
                    <a:pt x="1856" y="58"/>
                  </a:lnTo>
                  <a:lnTo>
                    <a:pt x="1856" y="56"/>
                  </a:lnTo>
                  <a:lnTo>
                    <a:pt x="1858" y="56"/>
                  </a:lnTo>
                  <a:lnTo>
                    <a:pt x="1858" y="56"/>
                  </a:lnTo>
                  <a:lnTo>
                    <a:pt x="1858" y="56"/>
                  </a:lnTo>
                  <a:lnTo>
                    <a:pt x="1858" y="58"/>
                  </a:lnTo>
                  <a:lnTo>
                    <a:pt x="1860" y="59"/>
                  </a:lnTo>
                  <a:lnTo>
                    <a:pt x="1861" y="58"/>
                  </a:lnTo>
                  <a:lnTo>
                    <a:pt x="1861" y="58"/>
                  </a:lnTo>
                  <a:lnTo>
                    <a:pt x="1865" y="59"/>
                  </a:lnTo>
                  <a:lnTo>
                    <a:pt x="1867" y="59"/>
                  </a:lnTo>
                  <a:lnTo>
                    <a:pt x="1869" y="59"/>
                  </a:lnTo>
                  <a:lnTo>
                    <a:pt x="1871" y="58"/>
                  </a:lnTo>
                  <a:lnTo>
                    <a:pt x="1872" y="56"/>
                  </a:lnTo>
                  <a:lnTo>
                    <a:pt x="1871" y="54"/>
                  </a:lnTo>
                  <a:lnTo>
                    <a:pt x="1871" y="54"/>
                  </a:lnTo>
                  <a:lnTo>
                    <a:pt x="1869" y="52"/>
                  </a:lnTo>
                  <a:lnTo>
                    <a:pt x="1876" y="54"/>
                  </a:lnTo>
                  <a:lnTo>
                    <a:pt x="1876" y="52"/>
                  </a:lnTo>
                  <a:lnTo>
                    <a:pt x="1876" y="52"/>
                  </a:lnTo>
                  <a:lnTo>
                    <a:pt x="1876" y="52"/>
                  </a:lnTo>
                  <a:lnTo>
                    <a:pt x="1876" y="52"/>
                  </a:lnTo>
                  <a:lnTo>
                    <a:pt x="1876" y="50"/>
                  </a:lnTo>
                  <a:lnTo>
                    <a:pt x="1878" y="50"/>
                  </a:lnTo>
                  <a:lnTo>
                    <a:pt x="1880" y="50"/>
                  </a:lnTo>
                  <a:lnTo>
                    <a:pt x="1880" y="47"/>
                  </a:lnTo>
                  <a:lnTo>
                    <a:pt x="1880" y="47"/>
                  </a:lnTo>
                  <a:lnTo>
                    <a:pt x="1878" y="47"/>
                  </a:lnTo>
                  <a:lnTo>
                    <a:pt x="1878" y="47"/>
                  </a:lnTo>
                  <a:lnTo>
                    <a:pt x="1876" y="45"/>
                  </a:lnTo>
                  <a:lnTo>
                    <a:pt x="1880" y="45"/>
                  </a:lnTo>
                  <a:lnTo>
                    <a:pt x="1881" y="43"/>
                  </a:lnTo>
                  <a:lnTo>
                    <a:pt x="1883" y="41"/>
                  </a:lnTo>
                  <a:lnTo>
                    <a:pt x="1883" y="39"/>
                  </a:lnTo>
                  <a:lnTo>
                    <a:pt x="1885" y="36"/>
                  </a:lnTo>
                  <a:lnTo>
                    <a:pt x="1885" y="34"/>
                  </a:lnTo>
                  <a:lnTo>
                    <a:pt x="1885" y="32"/>
                  </a:lnTo>
                  <a:lnTo>
                    <a:pt x="1885" y="30"/>
                  </a:lnTo>
                  <a:lnTo>
                    <a:pt x="1885" y="30"/>
                  </a:lnTo>
                  <a:lnTo>
                    <a:pt x="1885" y="30"/>
                  </a:lnTo>
                  <a:lnTo>
                    <a:pt x="1885" y="29"/>
                  </a:lnTo>
                  <a:lnTo>
                    <a:pt x="1883" y="27"/>
                  </a:lnTo>
                  <a:lnTo>
                    <a:pt x="1876" y="27"/>
                  </a:lnTo>
                  <a:lnTo>
                    <a:pt x="1869" y="30"/>
                  </a:lnTo>
                  <a:lnTo>
                    <a:pt x="1869" y="30"/>
                  </a:lnTo>
                  <a:lnTo>
                    <a:pt x="1869" y="29"/>
                  </a:lnTo>
                  <a:lnTo>
                    <a:pt x="1869" y="29"/>
                  </a:lnTo>
                  <a:lnTo>
                    <a:pt x="1871" y="27"/>
                  </a:lnTo>
                  <a:lnTo>
                    <a:pt x="1871" y="25"/>
                  </a:lnTo>
                  <a:lnTo>
                    <a:pt x="1869" y="27"/>
                  </a:lnTo>
                  <a:lnTo>
                    <a:pt x="1867" y="27"/>
                  </a:lnTo>
                  <a:lnTo>
                    <a:pt x="1867" y="27"/>
                  </a:lnTo>
                  <a:lnTo>
                    <a:pt x="1869" y="25"/>
                  </a:lnTo>
                  <a:lnTo>
                    <a:pt x="1869" y="25"/>
                  </a:lnTo>
                  <a:lnTo>
                    <a:pt x="1869" y="25"/>
                  </a:lnTo>
                  <a:lnTo>
                    <a:pt x="1869" y="25"/>
                  </a:lnTo>
                  <a:lnTo>
                    <a:pt x="1869" y="23"/>
                  </a:lnTo>
                  <a:lnTo>
                    <a:pt x="1869" y="21"/>
                  </a:lnTo>
                  <a:lnTo>
                    <a:pt x="1871" y="21"/>
                  </a:lnTo>
                  <a:lnTo>
                    <a:pt x="1871" y="18"/>
                  </a:lnTo>
                  <a:lnTo>
                    <a:pt x="1871" y="16"/>
                  </a:lnTo>
                  <a:lnTo>
                    <a:pt x="1869" y="14"/>
                  </a:lnTo>
                  <a:lnTo>
                    <a:pt x="1869" y="14"/>
                  </a:lnTo>
                  <a:lnTo>
                    <a:pt x="1867" y="14"/>
                  </a:lnTo>
                  <a:lnTo>
                    <a:pt x="1867" y="14"/>
                  </a:lnTo>
                  <a:lnTo>
                    <a:pt x="1865" y="16"/>
                  </a:lnTo>
                  <a:lnTo>
                    <a:pt x="1861" y="21"/>
                  </a:lnTo>
                  <a:lnTo>
                    <a:pt x="1861" y="21"/>
                  </a:lnTo>
                  <a:lnTo>
                    <a:pt x="1861" y="20"/>
                  </a:lnTo>
                  <a:lnTo>
                    <a:pt x="1861" y="20"/>
                  </a:lnTo>
                  <a:lnTo>
                    <a:pt x="1861" y="18"/>
                  </a:lnTo>
                  <a:lnTo>
                    <a:pt x="1861" y="18"/>
                  </a:lnTo>
                  <a:lnTo>
                    <a:pt x="1861" y="16"/>
                  </a:lnTo>
                  <a:lnTo>
                    <a:pt x="1860" y="16"/>
                  </a:lnTo>
                  <a:lnTo>
                    <a:pt x="1860" y="16"/>
                  </a:lnTo>
                  <a:lnTo>
                    <a:pt x="1858" y="16"/>
                  </a:lnTo>
                  <a:lnTo>
                    <a:pt x="1858" y="18"/>
                  </a:lnTo>
                  <a:lnTo>
                    <a:pt x="1856" y="20"/>
                  </a:lnTo>
                  <a:lnTo>
                    <a:pt x="1852" y="21"/>
                  </a:lnTo>
                  <a:lnTo>
                    <a:pt x="1851" y="21"/>
                  </a:lnTo>
                  <a:lnTo>
                    <a:pt x="1849" y="18"/>
                  </a:lnTo>
                  <a:lnTo>
                    <a:pt x="1847" y="18"/>
                  </a:lnTo>
                  <a:lnTo>
                    <a:pt x="1843" y="18"/>
                  </a:lnTo>
                  <a:lnTo>
                    <a:pt x="1843" y="16"/>
                  </a:lnTo>
                  <a:lnTo>
                    <a:pt x="1843" y="12"/>
                  </a:lnTo>
                  <a:lnTo>
                    <a:pt x="1843" y="11"/>
                  </a:lnTo>
                  <a:lnTo>
                    <a:pt x="1840" y="7"/>
                  </a:lnTo>
                  <a:lnTo>
                    <a:pt x="1840" y="12"/>
                  </a:lnTo>
                  <a:lnTo>
                    <a:pt x="1838" y="12"/>
                  </a:lnTo>
                  <a:lnTo>
                    <a:pt x="1836" y="12"/>
                  </a:lnTo>
                  <a:lnTo>
                    <a:pt x="1834" y="14"/>
                  </a:lnTo>
                  <a:lnTo>
                    <a:pt x="1834" y="16"/>
                  </a:lnTo>
                  <a:lnTo>
                    <a:pt x="1834" y="16"/>
                  </a:lnTo>
                  <a:lnTo>
                    <a:pt x="1834" y="18"/>
                  </a:lnTo>
                  <a:lnTo>
                    <a:pt x="1834" y="21"/>
                  </a:lnTo>
                  <a:lnTo>
                    <a:pt x="1834" y="23"/>
                  </a:lnTo>
                  <a:lnTo>
                    <a:pt x="1834" y="23"/>
                  </a:lnTo>
                  <a:lnTo>
                    <a:pt x="1836" y="25"/>
                  </a:lnTo>
                  <a:lnTo>
                    <a:pt x="1836" y="27"/>
                  </a:lnTo>
                  <a:lnTo>
                    <a:pt x="1836" y="29"/>
                  </a:lnTo>
                  <a:lnTo>
                    <a:pt x="1836" y="30"/>
                  </a:lnTo>
                  <a:lnTo>
                    <a:pt x="1836" y="32"/>
                  </a:lnTo>
                  <a:lnTo>
                    <a:pt x="1836" y="34"/>
                  </a:lnTo>
                  <a:lnTo>
                    <a:pt x="1834" y="34"/>
                  </a:lnTo>
                  <a:lnTo>
                    <a:pt x="1833" y="32"/>
                  </a:lnTo>
                  <a:lnTo>
                    <a:pt x="1833" y="29"/>
                  </a:lnTo>
                  <a:lnTo>
                    <a:pt x="1831" y="25"/>
                  </a:lnTo>
                  <a:lnTo>
                    <a:pt x="1820" y="23"/>
                  </a:lnTo>
                  <a:lnTo>
                    <a:pt x="1818" y="23"/>
                  </a:lnTo>
                  <a:lnTo>
                    <a:pt x="1820" y="27"/>
                  </a:lnTo>
                  <a:lnTo>
                    <a:pt x="1820" y="29"/>
                  </a:lnTo>
                  <a:lnTo>
                    <a:pt x="1822" y="30"/>
                  </a:lnTo>
                  <a:lnTo>
                    <a:pt x="1824" y="30"/>
                  </a:lnTo>
                  <a:lnTo>
                    <a:pt x="1824" y="32"/>
                  </a:lnTo>
                  <a:lnTo>
                    <a:pt x="1825" y="34"/>
                  </a:lnTo>
                  <a:lnTo>
                    <a:pt x="1825" y="36"/>
                  </a:lnTo>
                  <a:lnTo>
                    <a:pt x="1816" y="32"/>
                  </a:lnTo>
                  <a:lnTo>
                    <a:pt x="1815" y="32"/>
                  </a:lnTo>
                  <a:lnTo>
                    <a:pt x="1815" y="34"/>
                  </a:lnTo>
                  <a:lnTo>
                    <a:pt x="1815" y="39"/>
                  </a:lnTo>
                  <a:lnTo>
                    <a:pt x="1816" y="41"/>
                  </a:lnTo>
                  <a:lnTo>
                    <a:pt x="1818" y="43"/>
                  </a:lnTo>
                  <a:lnTo>
                    <a:pt x="1825" y="45"/>
                  </a:lnTo>
                  <a:lnTo>
                    <a:pt x="1825" y="45"/>
                  </a:lnTo>
                  <a:lnTo>
                    <a:pt x="1827" y="43"/>
                  </a:lnTo>
                  <a:lnTo>
                    <a:pt x="1827" y="41"/>
                  </a:lnTo>
                  <a:lnTo>
                    <a:pt x="1829" y="39"/>
                  </a:lnTo>
                  <a:lnTo>
                    <a:pt x="1827" y="41"/>
                  </a:lnTo>
                  <a:lnTo>
                    <a:pt x="1827" y="43"/>
                  </a:lnTo>
                  <a:lnTo>
                    <a:pt x="1827" y="45"/>
                  </a:lnTo>
                  <a:lnTo>
                    <a:pt x="1827" y="47"/>
                  </a:lnTo>
                  <a:lnTo>
                    <a:pt x="1829" y="47"/>
                  </a:lnTo>
                  <a:lnTo>
                    <a:pt x="1831" y="45"/>
                  </a:lnTo>
                  <a:lnTo>
                    <a:pt x="1831" y="45"/>
                  </a:lnTo>
                  <a:lnTo>
                    <a:pt x="1831" y="45"/>
                  </a:lnTo>
                  <a:lnTo>
                    <a:pt x="1831" y="47"/>
                  </a:lnTo>
                  <a:lnTo>
                    <a:pt x="1831" y="47"/>
                  </a:lnTo>
                  <a:lnTo>
                    <a:pt x="1831" y="47"/>
                  </a:lnTo>
                  <a:lnTo>
                    <a:pt x="1833" y="47"/>
                  </a:lnTo>
                  <a:lnTo>
                    <a:pt x="1833" y="47"/>
                  </a:lnTo>
                  <a:lnTo>
                    <a:pt x="1833" y="48"/>
                  </a:lnTo>
                  <a:lnTo>
                    <a:pt x="1834" y="50"/>
                  </a:lnTo>
                  <a:lnTo>
                    <a:pt x="1834" y="50"/>
                  </a:lnTo>
                  <a:lnTo>
                    <a:pt x="1834" y="50"/>
                  </a:lnTo>
                  <a:lnTo>
                    <a:pt x="1833" y="52"/>
                  </a:lnTo>
                  <a:lnTo>
                    <a:pt x="1833" y="52"/>
                  </a:lnTo>
                  <a:lnTo>
                    <a:pt x="1833" y="52"/>
                  </a:lnTo>
                  <a:lnTo>
                    <a:pt x="1833" y="54"/>
                  </a:lnTo>
                  <a:lnTo>
                    <a:pt x="1840" y="58"/>
                  </a:lnTo>
                  <a:lnTo>
                    <a:pt x="1825" y="54"/>
                  </a:lnTo>
                  <a:lnTo>
                    <a:pt x="1824" y="54"/>
                  </a:lnTo>
                  <a:lnTo>
                    <a:pt x="1824" y="54"/>
                  </a:lnTo>
                  <a:lnTo>
                    <a:pt x="1822" y="58"/>
                  </a:lnTo>
                  <a:lnTo>
                    <a:pt x="1822" y="61"/>
                  </a:lnTo>
                  <a:lnTo>
                    <a:pt x="1822" y="63"/>
                  </a:lnTo>
                  <a:lnTo>
                    <a:pt x="1824" y="63"/>
                  </a:lnTo>
                  <a:lnTo>
                    <a:pt x="1825" y="65"/>
                  </a:lnTo>
                  <a:lnTo>
                    <a:pt x="1824" y="67"/>
                  </a:lnTo>
                  <a:lnTo>
                    <a:pt x="1824" y="67"/>
                  </a:lnTo>
                  <a:lnTo>
                    <a:pt x="1822" y="67"/>
                  </a:lnTo>
                  <a:lnTo>
                    <a:pt x="1815" y="67"/>
                  </a:lnTo>
                  <a:lnTo>
                    <a:pt x="1813" y="68"/>
                  </a:lnTo>
                  <a:lnTo>
                    <a:pt x="1813" y="72"/>
                  </a:lnTo>
                  <a:lnTo>
                    <a:pt x="1813" y="74"/>
                  </a:lnTo>
                  <a:lnTo>
                    <a:pt x="1815" y="74"/>
                  </a:lnTo>
                  <a:lnTo>
                    <a:pt x="1816" y="76"/>
                  </a:lnTo>
                  <a:lnTo>
                    <a:pt x="1813" y="79"/>
                  </a:lnTo>
                  <a:lnTo>
                    <a:pt x="1813" y="81"/>
                  </a:lnTo>
                  <a:lnTo>
                    <a:pt x="1815" y="85"/>
                  </a:lnTo>
                  <a:lnTo>
                    <a:pt x="1820" y="88"/>
                  </a:lnTo>
                  <a:lnTo>
                    <a:pt x="1822" y="90"/>
                  </a:lnTo>
                  <a:lnTo>
                    <a:pt x="1820" y="90"/>
                  </a:lnTo>
                  <a:lnTo>
                    <a:pt x="1816" y="88"/>
                  </a:lnTo>
                  <a:lnTo>
                    <a:pt x="1815" y="88"/>
                  </a:lnTo>
                  <a:lnTo>
                    <a:pt x="1815" y="88"/>
                  </a:lnTo>
                  <a:lnTo>
                    <a:pt x="1813" y="88"/>
                  </a:lnTo>
                  <a:lnTo>
                    <a:pt x="1813" y="86"/>
                  </a:lnTo>
                  <a:lnTo>
                    <a:pt x="1813" y="86"/>
                  </a:lnTo>
                  <a:lnTo>
                    <a:pt x="1811" y="86"/>
                  </a:lnTo>
                  <a:lnTo>
                    <a:pt x="1809" y="88"/>
                  </a:lnTo>
                  <a:lnTo>
                    <a:pt x="1807" y="90"/>
                  </a:lnTo>
                  <a:lnTo>
                    <a:pt x="1807" y="94"/>
                  </a:lnTo>
                  <a:lnTo>
                    <a:pt x="1807" y="94"/>
                  </a:lnTo>
                  <a:lnTo>
                    <a:pt x="1807" y="94"/>
                  </a:lnTo>
                  <a:lnTo>
                    <a:pt x="1807" y="95"/>
                  </a:lnTo>
                  <a:lnTo>
                    <a:pt x="1807" y="95"/>
                  </a:lnTo>
                  <a:lnTo>
                    <a:pt x="1806" y="97"/>
                  </a:lnTo>
                  <a:lnTo>
                    <a:pt x="1807" y="99"/>
                  </a:lnTo>
                  <a:lnTo>
                    <a:pt x="1809" y="103"/>
                  </a:lnTo>
                  <a:lnTo>
                    <a:pt x="1811" y="104"/>
                  </a:lnTo>
                  <a:lnTo>
                    <a:pt x="1811" y="104"/>
                  </a:lnTo>
                  <a:lnTo>
                    <a:pt x="1813" y="106"/>
                  </a:lnTo>
                  <a:lnTo>
                    <a:pt x="1813" y="108"/>
                  </a:lnTo>
                  <a:lnTo>
                    <a:pt x="1811" y="106"/>
                  </a:lnTo>
                  <a:lnTo>
                    <a:pt x="1811" y="106"/>
                  </a:lnTo>
                  <a:lnTo>
                    <a:pt x="1806" y="108"/>
                  </a:lnTo>
                  <a:lnTo>
                    <a:pt x="1804" y="108"/>
                  </a:lnTo>
                  <a:lnTo>
                    <a:pt x="1806" y="104"/>
                  </a:lnTo>
                  <a:lnTo>
                    <a:pt x="1798" y="106"/>
                  </a:lnTo>
                  <a:lnTo>
                    <a:pt x="1798" y="108"/>
                  </a:lnTo>
                  <a:lnTo>
                    <a:pt x="1798" y="110"/>
                  </a:lnTo>
                  <a:lnTo>
                    <a:pt x="1796" y="112"/>
                  </a:lnTo>
                  <a:lnTo>
                    <a:pt x="1795" y="113"/>
                  </a:lnTo>
                  <a:lnTo>
                    <a:pt x="1795" y="115"/>
                  </a:lnTo>
                  <a:lnTo>
                    <a:pt x="1793" y="115"/>
                  </a:lnTo>
                  <a:lnTo>
                    <a:pt x="1791" y="113"/>
                  </a:lnTo>
                  <a:lnTo>
                    <a:pt x="1791" y="113"/>
                  </a:lnTo>
                  <a:lnTo>
                    <a:pt x="1789" y="115"/>
                  </a:lnTo>
                  <a:lnTo>
                    <a:pt x="1789" y="117"/>
                  </a:lnTo>
                  <a:lnTo>
                    <a:pt x="1789" y="117"/>
                  </a:lnTo>
                  <a:lnTo>
                    <a:pt x="1791" y="121"/>
                  </a:lnTo>
                  <a:lnTo>
                    <a:pt x="1789" y="121"/>
                  </a:lnTo>
                  <a:lnTo>
                    <a:pt x="1787" y="121"/>
                  </a:lnTo>
                  <a:lnTo>
                    <a:pt x="1787" y="121"/>
                  </a:lnTo>
                  <a:lnTo>
                    <a:pt x="1787" y="121"/>
                  </a:lnTo>
                  <a:lnTo>
                    <a:pt x="1787" y="123"/>
                  </a:lnTo>
                  <a:lnTo>
                    <a:pt x="1787" y="123"/>
                  </a:lnTo>
                  <a:lnTo>
                    <a:pt x="1786" y="124"/>
                  </a:lnTo>
                  <a:lnTo>
                    <a:pt x="1786" y="124"/>
                  </a:lnTo>
                  <a:lnTo>
                    <a:pt x="1784" y="124"/>
                  </a:lnTo>
                  <a:lnTo>
                    <a:pt x="1784" y="123"/>
                  </a:lnTo>
                  <a:lnTo>
                    <a:pt x="1784" y="123"/>
                  </a:lnTo>
                  <a:lnTo>
                    <a:pt x="1784" y="121"/>
                  </a:lnTo>
                  <a:lnTo>
                    <a:pt x="1784" y="121"/>
                  </a:lnTo>
                  <a:lnTo>
                    <a:pt x="1784" y="119"/>
                  </a:lnTo>
                  <a:lnTo>
                    <a:pt x="1784" y="117"/>
                  </a:lnTo>
                  <a:lnTo>
                    <a:pt x="1784" y="117"/>
                  </a:lnTo>
                  <a:lnTo>
                    <a:pt x="1784" y="115"/>
                  </a:lnTo>
                  <a:lnTo>
                    <a:pt x="1784" y="113"/>
                  </a:lnTo>
                  <a:lnTo>
                    <a:pt x="1784" y="113"/>
                  </a:lnTo>
                  <a:lnTo>
                    <a:pt x="1784" y="110"/>
                  </a:lnTo>
                  <a:lnTo>
                    <a:pt x="1786" y="108"/>
                  </a:lnTo>
                  <a:lnTo>
                    <a:pt x="1787" y="106"/>
                  </a:lnTo>
                  <a:lnTo>
                    <a:pt x="1786" y="104"/>
                  </a:lnTo>
                  <a:lnTo>
                    <a:pt x="1786" y="103"/>
                  </a:lnTo>
                  <a:lnTo>
                    <a:pt x="1786" y="103"/>
                  </a:lnTo>
                  <a:lnTo>
                    <a:pt x="1786" y="101"/>
                  </a:lnTo>
                  <a:lnTo>
                    <a:pt x="1786" y="99"/>
                  </a:lnTo>
                  <a:lnTo>
                    <a:pt x="1787" y="97"/>
                  </a:lnTo>
                  <a:lnTo>
                    <a:pt x="1787" y="95"/>
                  </a:lnTo>
                  <a:lnTo>
                    <a:pt x="1787" y="94"/>
                  </a:lnTo>
                  <a:lnTo>
                    <a:pt x="1791" y="81"/>
                  </a:lnTo>
                  <a:lnTo>
                    <a:pt x="1789" y="79"/>
                  </a:lnTo>
                  <a:lnTo>
                    <a:pt x="1784" y="79"/>
                  </a:lnTo>
                  <a:lnTo>
                    <a:pt x="1782" y="79"/>
                  </a:lnTo>
                  <a:lnTo>
                    <a:pt x="1777" y="83"/>
                  </a:lnTo>
                  <a:lnTo>
                    <a:pt x="1775" y="81"/>
                  </a:lnTo>
                  <a:lnTo>
                    <a:pt x="1789" y="72"/>
                  </a:lnTo>
                  <a:lnTo>
                    <a:pt x="1793" y="67"/>
                  </a:lnTo>
                  <a:lnTo>
                    <a:pt x="1793" y="65"/>
                  </a:lnTo>
                  <a:lnTo>
                    <a:pt x="1793" y="61"/>
                  </a:lnTo>
                  <a:lnTo>
                    <a:pt x="1793" y="59"/>
                  </a:lnTo>
                  <a:lnTo>
                    <a:pt x="1795" y="58"/>
                  </a:lnTo>
                  <a:lnTo>
                    <a:pt x="1795" y="56"/>
                  </a:lnTo>
                  <a:lnTo>
                    <a:pt x="1795" y="54"/>
                  </a:lnTo>
                  <a:lnTo>
                    <a:pt x="1795" y="52"/>
                  </a:lnTo>
                  <a:lnTo>
                    <a:pt x="1795" y="52"/>
                  </a:lnTo>
                  <a:lnTo>
                    <a:pt x="1795" y="52"/>
                  </a:lnTo>
                  <a:lnTo>
                    <a:pt x="1793" y="54"/>
                  </a:lnTo>
                  <a:lnTo>
                    <a:pt x="1793" y="54"/>
                  </a:lnTo>
                  <a:lnTo>
                    <a:pt x="1791" y="54"/>
                  </a:lnTo>
                  <a:lnTo>
                    <a:pt x="1791" y="52"/>
                  </a:lnTo>
                  <a:lnTo>
                    <a:pt x="1791" y="52"/>
                  </a:lnTo>
                  <a:lnTo>
                    <a:pt x="1791" y="50"/>
                  </a:lnTo>
                  <a:lnTo>
                    <a:pt x="1791" y="48"/>
                  </a:lnTo>
                  <a:lnTo>
                    <a:pt x="1791" y="48"/>
                  </a:lnTo>
                  <a:lnTo>
                    <a:pt x="1793" y="48"/>
                  </a:lnTo>
                  <a:lnTo>
                    <a:pt x="1793" y="47"/>
                  </a:lnTo>
                  <a:lnTo>
                    <a:pt x="1795" y="45"/>
                  </a:lnTo>
                  <a:lnTo>
                    <a:pt x="1795" y="45"/>
                  </a:lnTo>
                  <a:lnTo>
                    <a:pt x="1795" y="43"/>
                  </a:lnTo>
                  <a:lnTo>
                    <a:pt x="1795" y="41"/>
                  </a:lnTo>
                  <a:lnTo>
                    <a:pt x="1795" y="41"/>
                  </a:lnTo>
                  <a:lnTo>
                    <a:pt x="1795" y="39"/>
                  </a:lnTo>
                  <a:lnTo>
                    <a:pt x="1795" y="38"/>
                  </a:lnTo>
                  <a:lnTo>
                    <a:pt x="1791" y="36"/>
                  </a:lnTo>
                  <a:lnTo>
                    <a:pt x="1793" y="34"/>
                  </a:lnTo>
                  <a:lnTo>
                    <a:pt x="1793" y="34"/>
                  </a:lnTo>
                  <a:lnTo>
                    <a:pt x="1789" y="34"/>
                  </a:lnTo>
                  <a:lnTo>
                    <a:pt x="1777" y="47"/>
                  </a:lnTo>
                  <a:lnTo>
                    <a:pt x="1773" y="52"/>
                  </a:lnTo>
                  <a:lnTo>
                    <a:pt x="1771" y="58"/>
                  </a:lnTo>
                  <a:lnTo>
                    <a:pt x="1768" y="61"/>
                  </a:lnTo>
                  <a:lnTo>
                    <a:pt x="1766" y="65"/>
                  </a:lnTo>
                  <a:lnTo>
                    <a:pt x="1766" y="65"/>
                  </a:lnTo>
                  <a:lnTo>
                    <a:pt x="1766" y="68"/>
                  </a:lnTo>
                  <a:lnTo>
                    <a:pt x="1764" y="68"/>
                  </a:lnTo>
                  <a:lnTo>
                    <a:pt x="1764" y="70"/>
                  </a:lnTo>
                  <a:lnTo>
                    <a:pt x="1762" y="70"/>
                  </a:lnTo>
                  <a:lnTo>
                    <a:pt x="1762" y="70"/>
                  </a:lnTo>
                  <a:lnTo>
                    <a:pt x="1760" y="74"/>
                  </a:lnTo>
                  <a:lnTo>
                    <a:pt x="1759" y="85"/>
                  </a:lnTo>
                  <a:lnTo>
                    <a:pt x="1757" y="86"/>
                  </a:lnTo>
                  <a:lnTo>
                    <a:pt x="1755" y="90"/>
                  </a:lnTo>
                  <a:lnTo>
                    <a:pt x="1755" y="92"/>
                  </a:lnTo>
                  <a:lnTo>
                    <a:pt x="1753" y="92"/>
                  </a:lnTo>
                  <a:lnTo>
                    <a:pt x="1751" y="94"/>
                  </a:lnTo>
                  <a:lnTo>
                    <a:pt x="1740" y="112"/>
                  </a:lnTo>
                  <a:lnTo>
                    <a:pt x="1730" y="126"/>
                  </a:lnTo>
                  <a:lnTo>
                    <a:pt x="1730" y="130"/>
                  </a:lnTo>
                  <a:lnTo>
                    <a:pt x="1733" y="132"/>
                  </a:lnTo>
                  <a:lnTo>
                    <a:pt x="1735" y="133"/>
                  </a:lnTo>
                  <a:lnTo>
                    <a:pt x="1733" y="135"/>
                  </a:lnTo>
                  <a:lnTo>
                    <a:pt x="1730" y="141"/>
                  </a:lnTo>
                  <a:lnTo>
                    <a:pt x="1730" y="142"/>
                  </a:lnTo>
                  <a:lnTo>
                    <a:pt x="1730" y="144"/>
                  </a:lnTo>
                  <a:lnTo>
                    <a:pt x="1728" y="146"/>
                  </a:lnTo>
                  <a:lnTo>
                    <a:pt x="1728" y="148"/>
                  </a:lnTo>
                  <a:lnTo>
                    <a:pt x="1726" y="148"/>
                  </a:lnTo>
                  <a:lnTo>
                    <a:pt x="1726" y="148"/>
                  </a:lnTo>
                  <a:lnTo>
                    <a:pt x="1724" y="150"/>
                  </a:lnTo>
                  <a:lnTo>
                    <a:pt x="1724" y="150"/>
                  </a:lnTo>
                  <a:lnTo>
                    <a:pt x="1722" y="151"/>
                  </a:lnTo>
                  <a:lnTo>
                    <a:pt x="1721" y="159"/>
                  </a:lnTo>
                  <a:lnTo>
                    <a:pt x="1721" y="162"/>
                  </a:lnTo>
                  <a:lnTo>
                    <a:pt x="1719" y="164"/>
                  </a:lnTo>
                  <a:lnTo>
                    <a:pt x="1719" y="164"/>
                  </a:lnTo>
                  <a:lnTo>
                    <a:pt x="1715" y="164"/>
                  </a:lnTo>
                  <a:lnTo>
                    <a:pt x="1715" y="166"/>
                  </a:lnTo>
                  <a:lnTo>
                    <a:pt x="1713" y="164"/>
                  </a:lnTo>
                  <a:lnTo>
                    <a:pt x="1713" y="164"/>
                  </a:lnTo>
                  <a:lnTo>
                    <a:pt x="1712" y="162"/>
                  </a:lnTo>
                  <a:lnTo>
                    <a:pt x="1712" y="160"/>
                  </a:lnTo>
                  <a:lnTo>
                    <a:pt x="1712" y="160"/>
                  </a:lnTo>
                  <a:lnTo>
                    <a:pt x="1713" y="159"/>
                  </a:lnTo>
                  <a:lnTo>
                    <a:pt x="1715" y="159"/>
                  </a:lnTo>
                  <a:lnTo>
                    <a:pt x="1713" y="157"/>
                  </a:lnTo>
                  <a:lnTo>
                    <a:pt x="1713" y="157"/>
                  </a:lnTo>
                  <a:lnTo>
                    <a:pt x="1712" y="159"/>
                  </a:lnTo>
                  <a:lnTo>
                    <a:pt x="1712" y="159"/>
                  </a:lnTo>
                  <a:lnTo>
                    <a:pt x="1712" y="155"/>
                  </a:lnTo>
                  <a:lnTo>
                    <a:pt x="1712" y="155"/>
                  </a:lnTo>
                  <a:lnTo>
                    <a:pt x="1710" y="155"/>
                  </a:lnTo>
                  <a:lnTo>
                    <a:pt x="1708" y="157"/>
                  </a:lnTo>
                  <a:lnTo>
                    <a:pt x="1708" y="159"/>
                  </a:lnTo>
                  <a:lnTo>
                    <a:pt x="1708" y="160"/>
                  </a:lnTo>
                  <a:lnTo>
                    <a:pt x="1708" y="162"/>
                  </a:lnTo>
                  <a:lnTo>
                    <a:pt x="1710" y="164"/>
                  </a:lnTo>
                  <a:lnTo>
                    <a:pt x="1710" y="168"/>
                  </a:lnTo>
                  <a:lnTo>
                    <a:pt x="1708" y="168"/>
                  </a:lnTo>
                  <a:lnTo>
                    <a:pt x="1706" y="166"/>
                  </a:lnTo>
                  <a:lnTo>
                    <a:pt x="1704" y="162"/>
                  </a:lnTo>
                  <a:lnTo>
                    <a:pt x="1704" y="155"/>
                  </a:lnTo>
                  <a:lnTo>
                    <a:pt x="1704" y="153"/>
                  </a:lnTo>
                  <a:lnTo>
                    <a:pt x="1706" y="151"/>
                  </a:lnTo>
                  <a:lnTo>
                    <a:pt x="1706" y="151"/>
                  </a:lnTo>
                  <a:lnTo>
                    <a:pt x="1706" y="148"/>
                  </a:lnTo>
                  <a:lnTo>
                    <a:pt x="1706" y="148"/>
                  </a:lnTo>
                  <a:lnTo>
                    <a:pt x="1706" y="146"/>
                  </a:lnTo>
                  <a:lnTo>
                    <a:pt x="1706" y="146"/>
                  </a:lnTo>
                  <a:lnTo>
                    <a:pt x="1706" y="144"/>
                  </a:lnTo>
                  <a:lnTo>
                    <a:pt x="1706" y="144"/>
                  </a:lnTo>
                  <a:lnTo>
                    <a:pt x="1706" y="142"/>
                  </a:lnTo>
                  <a:lnTo>
                    <a:pt x="1708" y="142"/>
                  </a:lnTo>
                  <a:lnTo>
                    <a:pt x="1708" y="142"/>
                  </a:lnTo>
                  <a:lnTo>
                    <a:pt x="1708" y="142"/>
                  </a:lnTo>
                  <a:lnTo>
                    <a:pt x="1708" y="141"/>
                  </a:lnTo>
                  <a:lnTo>
                    <a:pt x="1710" y="141"/>
                  </a:lnTo>
                  <a:lnTo>
                    <a:pt x="1710" y="139"/>
                  </a:lnTo>
                  <a:lnTo>
                    <a:pt x="1717" y="132"/>
                  </a:lnTo>
                  <a:lnTo>
                    <a:pt x="1719" y="130"/>
                  </a:lnTo>
                  <a:lnTo>
                    <a:pt x="1719" y="128"/>
                  </a:lnTo>
                  <a:lnTo>
                    <a:pt x="1717" y="126"/>
                  </a:lnTo>
                  <a:lnTo>
                    <a:pt x="1715" y="128"/>
                  </a:lnTo>
                  <a:lnTo>
                    <a:pt x="1715" y="130"/>
                  </a:lnTo>
                  <a:lnTo>
                    <a:pt x="1713" y="130"/>
                  </a:lnTo>
                  <a:lnTo>
                    <a:pt x="1713" y="130"/>
                  </a:lnTo>
                  <a:lnTo>
                    <a:pt x="1713" y="128"/>
                  </a:lnTo>
                  <a:lnTo>
                    <a:pt x="1713" y="126"/>
                  </a:lnTo>
                  <a:lnTo>
                    <a:pt x="1715" y="124"/>
                  </a:lnTo>
                  <a:lnTo>
                    <a:pt x="1713" y="124"/>
                  </a:lnTo>
                  <a:lnTo>
                    <a:pt x="1712" y="124"/>
                  </a:lnTo>
                  <a:lnTo>
                    <a:pt x="1712" y="124"/>
                  </a:lnTo>
                  <a:lnTo>
                    <a:pt x="1715" y="119"/>
                  </a:lnTo>
                  <a:lnTo>
                    <a:pt x="1717" y="117"/>
                  </a:lnTo>
                  <a:lnTo>
                    <a:pt x="1721" y="119"/>
                  </a:lnTo>
                  <a:lnTo>
                    <a:pt x="1721" y="119"/>
                  </a:lnTo>
                  <a:lnTo>
                    <a:pt x="1721" y="117"/>
                  </a:lnTo>
                  <a:lnTo>
                    <a:pt x="1721" y="112"/>
                  </a:lnTo>
                  <a:lnTo>
                    <a:pt x="1721" y="110"/>
                  </a:lnTo>
                  <a:lnTo>
                    <a:pt x="1721" y="110"/>
                  </a:lnTo>
                  <a:lnTo>
                    <a:pt x="1722" y="110"/>
                  </a:lnTo>
                  <a:lnTo>
                    <a:pt x="1721" y="106"/>
                  </a:lnTo>
                  <a:lnTo>
                    <a:pt x="1713" y="106"/>
                  </a:lnTo>
                  <a:lnTo>
                    <a:pt x="1712" y="104"/>
                  </a:lnTo>
                  <a:lnTo>
                    <a:pt x="1721" y="104"/>
                  </a:lnTo>
                  <a:lnTo>
                    <a:pt x="1722" y="101"/>
                  </a:lnTo>
                  <a:lnTo>
                    <a:pt x="1721" y="99"/>
                  </a:lnTo>
                  <a:lnTo>
                    <a:pt x="1712" y="103"/>
                  </a:lnTo>
                  <a:lnTo>
                    <a:pt x="1713" y="99"/>
                  </a:lnTo>
                  <a:lnTo>
                    <a:pt x="1719" y="94"/>
                  </a:lnTo>
                  <a:lnTo>
                    <a:pt x="1721" y="92"/>
                  </a:lnTo>
                  <a:lnTo>
                    <a:pt x="1722" y="88"/>
                  </a:lnTo>
                  <a:lnTo>
                    <a:pt x="1722" y="88"/>
                  </a:lnTo>
                  <a:lnTo>
                    <a:pt x="1726" y="86"/>
                  </a:lnTo>
                  <a:lnTo>
                    <a:pt x="1730" y="81"/>
                  </a:lnTo>
                  <a:lnTo>
                    <a:pt x="1730" y="79"/>
                  </a:lnTo>
                  <a:lnTo>
                    <a:pt x="1733" y="77"/>
                  </a:lnTo>
                  <a:lnTo>
                    <a:pt x="1735" y="72"/>
                  </a:lnTo>
                  <a:lnTo>
                    <a:pt x="1737" y="72"/>
                  </a:lnTo>
                  <a:lnTo>
                    <a:pt x="1739" y="70"/>
                  </a:lnTo>
                  <a:lnTo>
                    <a:pt x="1740" y="68"/>
                  </a:lnTo>
                  <a:lnTo>
                    <a:pt x="1740" y="67"/>
                  </a:lnTo>
                  <a:lnTo>
                    <a:pt x="1740" y="65"/>
                  </a:lnTo>
                  <a:lnTo>
                    <a:pt x="1739" y="65"/>
                  </a:lnTo>
                  <a:lnTo>
                    <a:pt x="1739" y="63"/>
                  </a:lnTo>
                  <a:lnTo>
                    <a:pt x="1744" y="61"/>
                  </a:lnTo>
                  <a:lnTo>
                    <a:pt x="1746" y="59"/>
                  </a:lnTo>
                  <a:lnTo>
                    <a:pt x="1748" y="56"/>
                  </a:lnTo>
                  <a:lnTo>
                    <a:pt x="1750" y="54"/>
                  </a:lnTo>
                  <a:lnTo>
                    <a:pt x="1751" y="52"/>
                  </a:lnTo>
                  <a:lnTo>
                    <a:pt x="1753" y="50"/>
                  </a:lnTo>
                  <a:lnTo>
                    <a:pt x="1753" y="48"/>
                  </a:lnTo>
                  <a:lnTo>
                    <a:pt x="1755" y="48"/>
                  </a:lnTo>
                  <a:lnTo>
                    <a:pt x="1753" y="47"/>
                  </a:lnTo>
                  <a:lnTo>
                    <a:pt x="1753" y="45"/>
                  </a:lnTo>
                  <a:lnTo>
                    <a:pt x="1751" y="43"/>
                  </a:lnTo>
                  <a:lnTo>
                    <a:pt x="1750" y="43"/>
                  </a:lnTo>
                  <a:lnTo>
                    <a:pt x="1750" y="45"/>
                  </a:lnTo>
                  <a:lnTo>
                    <a:pt x="1748" y="45"/>
                  </a:lnTo>
                  <a:lnTo>
                    <a:pt x="1748" y="45"/>
                  </a:lnTo>
                  <a:lnTo>
                    <a:pt x="1746" y="47"/>
                  </a:lnTo>
                  <a:lnTo>
                    <a:pt x="1746" y="48"/>
                  </a:lnTo>
                  <a:lnTo>
                    <a:pt x="1746" y="48"/>
                  </a:lnTo>
                  <a:lnTo>
                    <a:pt x="1746" y="48"/>
                  </a:lnTo>
                  <a:lnTo>
                    <a:pt x="1744" y="47"/>
                  </a:lnTo>
                  <a:lnTo>
                    <a:pt x="1744" y="45"/>
                  </a:lnTo>
                  <a:lnTo>
                    <a:pt x="1744" y="45"/>
                  </a:lnTo>
                  <a:lnTo>
                    <a:pt x="1742" y="43"/>
                  </a:lnTo>
                  <a:lnTo>
                    <a:pt x="1740" y="43"/>
                  </a:lnTo>
                  <a:lnTo>
                    <a:pt x="1739" y="45"/>
                  </a:lnTo>
                  <a:lnTo>
                    <a:pt x="1737" y="45"/>
                  </a:lnTo>
                  <a:lnTo>
                    <a:pt x="1735" y="48"/>
                  </a:lnTo>
                  <a:lnTo>
                    <a:pt x="1735" y="50"/>
                  </a:lnTo>
                  <a:lnTo>
                    <a:pt x="1735" y="48"/>
                  </a:lnTo>
                  <a:lnTo>
                    <a:pt x="1733" y="47"/>
                  </a:lnTo>
                  <a:lnTo>
                    <a:pt x="1733" y="47"/>
                  </a:lnTo>
                  <a:lnTo>
                    <a:pt x="1731" y="50"/>
                  </a:lnTo>
                  <a:lnTo>
                    <a:pt x="1730" y="50"/>
                  </a:lnTo>
                  <a:lnTo>
                    <a:pt x="1730" y="48"/>
                  </a:lnTo>
                  <a:lnTo>
                    <a:pt x="1730" y="48"/>
                  </a:lnTo>
                  <a:lnTo>
                    <a:pt x="1733" y="45"/>
                  </a:lnTo>
                  <a:lnTo>
                    <a:pt x="1733" y="45"/>
                  </a:lnTo>
                  <a:lnTo>
                    <a:pt x="1733" y="43"/>
                  </a:lnTo>
                  <a:lnTo>
                    <a:pt x="1735" y="41"/>
                  </a:lnTo>
                  <a:lnTo>
                    <a:pt x="1735" y="39"/>
                  </a:lnTo>
                  <a:lnTo>
                    <a:pt x="1728" y="32"/>
                  </a:lnTo>
                  <a:lnTo>
                    <a:pt x="1726" y="30"/>
                  </a:lnTo>
                  <a:lnTo>
                    <a:pt x="1724" y="34"/>
                  </a:lnTo>
                  <a:lnTo>
                    <a:pt x="1724" y="36"/>
                  </a:lnTo>
                  <a:lnTo>
                    <a:pt x="1726" y="38"/>
                  </a:lnTo>
                  <a:lnTo>
                    <a:pt x="1726" y="39"/>
                  </a:lnTo>
                  <a:lnTo>
                    <a:pt x="1728" y="41"/>
                  </a:lnTo>
                  <a:lnTo>
                    <a:pt x="1728" y="41"/>
                  </a:lnTo>
                  <a:lnTo>
                    <a:pt x="1728" y="45"/>
                  </a:lnTo>
                  <a:lnTo>
                    <a:pt x="1726" y="54"/>
                  </a:lnTo>
                  <a:lnTo>
                    <a:pt x="1724" y="56"/>
                  </a:lnTo>
                  <a:lnTo>
                    <a:pt x="1722" y="56"/>
                  </a:lnTo>
                  <a:lnTo>
                    <a:pt x="1722" y="56"/>
                  </a:lnTo>
                  <a:lnTo>
                    <a:pt x="1722" y="56"/>
                  </a:lnTo>
                  <a:lnTo>
                    <a:pt x="1721" y="58"/>
                  </a:lnTo>
                  <a:lnTo>
                    <a:pt x="1721" y="58"/>
                  </a:lnTo>
                  <a:lnTo>
                    <a:pt x="1721" y="59"/>
                  </a:lnTo>
                  <a:lnTo>
                    <a:pt x="1721" y="59"/>
                  </a:lnTo>
                  <a:lnTo>
                    <a:pt x="1721" y="54"/>
                  </a:lnTo>
                  <a:lnTo>
                    <a:pt x="1721" y="48"/>
                  </a:lnTo>
                  <a:lnTo>
                    <a:pt x="1719" y="47"/>
                  </a:lnTo>
                  <a:lnTo>
                    <a:pt x="1717" y="41"/>
                  </a:lnTo>
                  <a:lnTo>
                    <a:pt x="1715" y="41"/>
                  </a:lnTo>
                  <a:lnTo>
                    <a:pt x="1715" y="41"/>
                  </a:lnTo>
                  <a:lnTo>
                    <a:pt x="1715" y="39"/>
                  </a:lnTo>
                  <a:lnTo>
                    <a:pt x="1715" y="39"/>
                  </a:lnTo>
                  <a:lnTo>
                    <a:pt x="1715" y="39"/>
                  </a:lnTo>
                  <a:lnTo>
                    <a:pt x="1715" y="39"/>
                  </a:lnTo>
                  <a:lnTo>
                    <a:pt x="1713" y="41"/>
                  </a:lnTo>
                  <a:lnTo>
                    <a:pt x="1712" y="45"/>
                  </a:lnTo>
                  <a:lnTo>
                    <a:pt x="1712" y="47"/>
                  </a:lnTo>
                  <a:lnTo>
                    <a:pt x="1712" y="50"/>
                  </a:lnTo>
                  <a:lnTo>
                    <a:pt x="1710" y="48"/>
                  </a:lnTo>
                  <a:lnTo>
                    <a:pt x="1708" y="48"/>
                  </a:lnTo>
                  <a:lnTo>
                    <a:pt x="1708" y="47"/>
                  </a:lnTo>
                  <a:lnTo>
                    <a:pt x="1706" y="47"/>
                  </a:lnTo>
                  <a:lnTo>
                    <a:pt x="1704" y="47"/>
                  </a:lnTo>
                  <a:lnTo>
                    <a:pt x="1704" y="47"/>
                  </a:lnTo>
                  <a:lnTo>
                    <a:pt x="1704" y="45"/>
                  </a:lnTo>
                  <a:lnTo>
                    <a:pt x="1708" y="43"/>
                  </a:lnTo>
                  <a:lnTo>
                    <a:pt x="1710" y="41"/>
                  </a:lnTo>
                  <a:lnTo>
                    <a:pt x="1710" y="38"/>
                  </a:lnTo>
                  <a:lnTo>
                    <a:pt x="1712" y="34"/>
                  </a:lnTo>
                  <a:lnTo>
                    <a:pt x="1710" y="32"/>
                  </a:lnTo>
                  <a:lnTo>
                    <a:pt x="1708" y="30"/>
                  </a:lnTo>
                  <a:lnTo>
                    <a:pt x="1706" y="32"/>
                  </a:lnTo>
                  <a:lnTo>
                    <a:pt x="1708" y="34"/>
                  </a:lnTo>
                  <a:lnTo>
                    <a:pt x="1706" y="36"/>
                  </a:lnTo>
                  <a:lnTo>
                    <a:pt x="1706" y="38"/>
                  </a:lnTo>
                  <a:lnTo>
                    <a:pt x="1706" y="39"/>
                  </a:lnTo>
                  <a:lnTo>
                    <a:pt x="1699" y="41"/>
                  </a:lnTo>
                  <a:lnTo>
                    <a:pt x="1699" y="39"/>
                  </a:lnTo>
                  <a:lnTo>
                    <a:pt x="1701" y="39"/>
                  </a:lnTo>
                  <a:lnTo>
                    <a:pt x="1701" y="38"/>
                  </a:lnTo>
                  <a:lnTo>
                    <a:pt x="1701" y="36"/>
                  </a:lnTo>
                  <a:lnTo>
                    <a:pt x="1699" y="36"/>
                  </a:lnTo>
                  <a:lnTo>
                    <a:pt x="1699" y="36"/>
                  </a:lnTo>
                  <a:lnTo>
                    <a:pt x="1697" y="34"/>
                  </a:lnTo>
                  <a:lnTo>
                    <a:pt x="1697" y="32"/>
                  </a:lnTo>
                  <a:lnTo>
                    <a:pt x="1697" y="32"/>
                  </a:lnTo>
                  <a:lnTo>
                    <a:pt x="1697" y="32"/>
                  </a:lnTo>
                  <a:lnTo>
                    <a:pt x="1692" y="30"/>
                  </a:lnTo>
                  <a:lnTo>
                    <a:pt x="1690" y="30"/>
                  </a:lnTo>
                  <a:lnTo>
                    <a:pt x="1688" y="32"/>
                  </a:lnTo>
                  <a:lnTo>
                    <a:pt x="1686" y="32"/>
                  </a:lnTo>
                  <a:lnTo>
                    <a:pt x="1688" y="34"/>
                  </a:lnTo>
                  <a:lnTo>
                    <a:pt x="1690" y="34"/>
                  </a:lnTo>
                  <a:lnTo>
                    <a:pt x="1690" y="34"/>
                  </a:lnTo>
                  <a:lnTo>
                    <a:pt x="1690" y="34"/>
                  </a:lnTo>
                  <a:lnTo>
                    <a:pt x="1688" y="36"/>
                  </a:lnTo>
                  <a:lnTo>
                    <a:pt x="1688" y="36"/>
                  </a:lnTo>
                  <a:lnTo>
                    <a:pt x="1686" y="38"/>
                  </a:lnTo>
                  <a:lnTo>
                    <a:pt x="1686" y="38"/>
                  </a:lnTo>
                  <a:lnTo>
                    <a:pt x="1688" y="39"/>
                  </a:lnTo>
                  <a:lnTo>
                    <a:pt x="1690" y="41"/>
                  </a:lnTo>
                  <a:lnTo>
                    <a:pt x="1688" y="41"/>
                  </a:lnTo>
                  <a:lnTo>
                    <a:pt x="1688" y="43"/>
                  </a:lnTo>
                  <a:lnTo>
                    <a:pt x="1690" y="43"/>
                  </a:lnTo>
                  <a:lnTo>
                    <a:pt x="1694" y="47"/>
                  </a:lnTo>
                  <a:lnTo>
                    <a:pt x="1694" y="48"/>
                  </a:lnTo>
                  <a:lnTo>
                    <a:pt x="1692" y="48"/>
                  </a:lnTo>
                  <a:lnTo>
                    <a:pt x="1690" y="47"/>
                  </a:lnTo>
                  <a:lnTo>
                    <a:pt x="1690" y="47"/>
                  </a:lnTo>
                  <a:lnTo>
                    <a:pt x="1688" y="48"/>
                  </a:lnTo>
                  <a:lnTo>
                    <a:pt x="1688" y="50"/>
                  </a:lnTo>
                  <a:lnTo>
                    <a:pt x="1688" y="52"/>
                  </a:lnTo>
                  <a:lnTo>
                    <a:pt x="1688" y="54"/>
                  </a:lnTo>
                  <a:lnTo>
                    <a:pt x="1690" y="56"/>
                  </a:lnTo>
                  <a:lnTo>
                    <a:pt x="1690" y="56"/>
                  </a:lnTo>
                  <a:lnTo>
                    <a:pt x="1690" y="58"/>
                  </a:lnTo>
                  <a:lnTo>
                    <a:pt x="1690" y="61"/>
                  </a:lnTo>
                  <a:lnTo>
                    <a:pt x="1688" y="61"/>
                  </a:lnTo>
                  <a:lnTo>
                    <a:pt x="1686" y="58"/>
                  </a:lnTo>
                  <a:lnTo>
                    <a:pt x="1685" y="56"/>
                  </a:lnTo>
                  <a:lnTo>
                    <a:pt x="1681" y="54"/>
                  </a:lnTo>
                  <a:lnTo>
                    <a:pt x="1681" y="52"/>
                  </a:lnTo>
                  <a:lnTo>
                    <a:pt x="1681" y="52"/>
                  </a:lnTo>
                  <a:lnTo>
                    <a:pt x="1677" y="50"/>
                  </a:lnTo>
                  <a:lnTo>
                    <a:pt x="1679" y="50"/>
                  </a:lnTo>
                  <a:lnTo>
                    <a:pt x="1677" y="47"/>
                  </a:lnTo>
                  <a:lnTo>
                    <a:pt x="1675" y="48"/>
                  </a:lnTo>
                  <a:lnTo>
                    <a:pt x="1672" y="52"/>
                  </a:lnTo>
                  <a:lnTo>
                    <a:pt x="1672" y="54"/>
                  </a:lnTo>
                  <a:lnTo>
                    <a:pt x="1672" y="58"/>
                  </a:lnTo>
                  <a:lnTo>
                    <a:pt x="1670" y="59"/>
                  </a:lnTo>
                  <a:lnTo>
                    <a:pt x="1672" y="63"/>
                  </a:lnTo>
                  <a:lnTo>
                    <a:pt x="1672" y="63"/>
                  </a:lnTo>
                  <a:lnTo>
                    <a:pt x="1675" y="63"/>
                  </a:lnTo>
                  <a:lnTo>
                    <a:pt x="1681" y="65"/>
                  </a:lnTo>
                  <a:lnTo>
                    <a:pt x="1683" y="65"/>
                  </a:lnTo>
                  <a:lnTo>
                    <a:pt x="1685" y="65"/>
                  </a:lnTo>
                  <a:lnTo>
                    <a:pt x="1685" y="67"/>
                  </a:lnTo>
                  <a:lnTo>
                    <a:pt x="1686" y="68"/>
                  </a:lnTo>
                  <a:lnTo>
                    <a:pt x="1686" y="70"/>
                  </a:lnTo>
                  <a:lnTo>
                    <a:pt x="1690" y="72"/>
                  </a:lnTo>
                  <a:lnTo>
                    <a:pt x="1690" y="72"/>
                  </a:lnTo>
                  <a:lnTo>
                    <a:pt x="1690" y="72"/>
                  </a:lnTo>
                  <a:lnTo>
                    <a:pt x="1690" y="74"/>
                  </a:lnTo>
                  <a:lnTo>
                    <a:pt x="1694" y="77"/>
                  </a:lnTo>
                  <a:lnTo>
                    <a:pt x="1695" y="81"/>
                  </a:lnTo>
                  <a:lnTo>
                    <a:pt x="1694" y="85"/>
                  </a:lnTo>
                  <a:lnTo>
                    <a:pt x="1692" y="86"/>
                  </a:lnTo>
                  <a:lnTo>
                    <a:pt x="1690" y="85"/>
                  </a:lnTo>
                  <a:lnTo>
                    <a:pt x="1688" y="85"/>
                  </a:lnTo>
                  <a:lnTo>
                    <a:pt x="1683" y="76"/>
                  </a:lnTo>
                  <a:lnTo>
                    <a:pt x="1681" y="76"/>
                  </a:lnTo>
                  <a:lnTo>
                    <a:pt x="1677" y="76"/>
                  </a:lnTo>
                  <a:lnTo>
                    <a:pt x="1675" y="74"/>
                  </a:lnTo>
                  <a:lnTo>
                    <a:pt x="1675" y="74"/>
                  </a:lnTo>
                  <a:lnTo>
                    <a:pt x="1674" y="76"/>
                  </a:lnTo>
                  <a:lnTo>
                    <a:pt x="1672" y="77"/>
                  </a:lnTo>
                  <a:lnTo>
                    <a:pt x="1672" y="79"/>
                  </a:lnTo>
                  <a:lnTo>
                    <a:pt x="1672" y="81"/>
                  </a:lnTo>
                  <a:lnTo>
                    <a:pt x="1672" y="85"/>
                  </a:lnTo>
                  <a:lnTo>
                    <a:pt x="1672" y="86"/>
                  </a:lnTo>
                  <a:lnTo>
                    <a:pt x="1670" y="86"/>
                  </a:lnTo>
                  <a:lnTo>
                    <a:pt x="1670" y="86"/>
                  </a:lnTo>
                  <a:lnTo>
                    <a:pt x="1670" y="88"/>
                  </a:lnTo>
                  <a:lnTo>
                    <a:pt x="1670" y="88"/>
                  </a:lnTo>
                  <a:lnTo>
                    <a:pt x="1668" y="90"/>
                  </a:lnTo>
                  <a:lnTo>
                    <a:pt x="1663" y="95"/>
                  </a:lnTo>
                  <a:lnTo>
                    <a:pt x="1663" y="97"/>
                  </a:lnTo>
                  <a:lnTo>
                    <a:pt x="1663" y="97"/>
                  </a:lnTo>
                  <a:lnTo>
                    <a:pt x="1670" y="99"/>
                  </a:lnTo>
                  <a:lnTo>
                    <a:pt x="1670" y="101"/>
                  </a:lnTo>
                  <a:lnTo>
                    <a:pt x="1674" y="104"/>
                  </a:lnTo>
                  <a:lnTo>
                    <a:pt x="1675" y="106"/>
                  </a:lnTo>
                  <a:lnTo>
                    <a:pt x="1675" y="106"/>
                  </a:lnTo>
                  <a:lnTo>
                    <a:pt x="1675" y="108"/>
                  </a:lnTo>
                  <a:lnTo>
                    <a:pt x="1675" y="110"/>
                  </a:lnTo>
                  <a:lnTo>
                    <a:pt x="1674" y="108"/>
                  </a:lnTo>
                  <a:lnTo>
                    <a:pt x="1674" y="108"/>
                  </a:lnTo>
                  <a:lnTo>
                    <a:pt x="1672" y="106"/>
                  </a:lnTo>
                  <a:lnTo>
                    <a:pt x="1666" y="104"/>
                  </a:lnTo>
                  <a:lnTo>
                    <a:pt x="1654" y="101"/>
                  </a:lnTo>
                  <a:lnTo>
                    <a:pt x="1650" y="103"/>
                  </a:lnTo>
                  <a:lnTo>
                    <a:pt x="1648" y="104"/>
                  </a:lnTo>
                  <a:lnTo>
                    <a:pt x="1645" y="110"/>
                  </a:lnTo>
                  <a:lnTo>
                    <a:pt x="1639" y="115"/>
                  </a:lnTo>
                  <a:lnTo>
                    <a:pt x="1638" y="119"/>
                  </a:lnTo>
                  <a:lnTo>
                    <a:pt x="1636" y="121"/>
                  </a:lnTo>
                  <a:lnTo>
                    <a:pt x="1634" y="123"/>
                  </a:lnTo>
                  <a:lnTo>
                    <a:pt x="1634" y="123"/>
                  </a:lnTo>
                  <a:lnTo>
                    <a:pt x="1632" y="128"/>
                  </a:lnTo>
                  <a:lnTo>
                    <a:pt x="1630" y="130"/>
                  </a:lnTo>
                  <a:lnTo>
                    <a:pt x="1632" y="130"/>
                  </a:lnTo>
                  <a:lnTo>
                    <a:pt x="1634" y="130"/>
                  </a:lnTo>
                  <a:lnTo>
                    <a:pt x="1636" y="130"/>
                  </a:lnTo>
                  <a:lnTo>
                    <a:pt x="1634" y="132"/>
                  </a:lnTo>
                  <a:lnTo>
                    <a:pt x="1634" y="133"/>
                  </a:lnTo>
                  <a:lnTo>
                    <a:pt x="1638" y="132"/>
                  </a:lnTo>
                  <a:lnTo>
                    <a:pt x="1636" y="133"/>
                  </a:lnTo>
                  <a:lnTo>
                    <a:pt x="1627" y="135"/>
                  </a:lnTo>
                  <a:lnTo>
                    <a:pt x="1623" y="139"/>
                  </a:lnTo>
                  <a:lnTo>
                    <a:pt x="1623" y="141"/>
                  </a:lnTo>
                  <a:lnTo>
                    <a:pt x="1630" y="139"/>
                  </a:lnTo>
                  <a:lnTo>
                    <a:pt x="1632" y="139"/>
                  </a:lnTo>
                  <a:lnTo>
                    <a:pt x="1634" y="141"/>
                  </a:lnTo>
                  <a:lnTo>
                    <a:pt x="1632" y="141"/>
                  </a:lnTo>
                  <a:lnTo>
                    <a:pt x="1632" y="142"/>
                  </a:lnTo>
                  <a:lnTo>
                    <a:pt x="1632" y="142"/>
                  </a:lnTo>
                  <a:lnTo>
                    <a:pt x="1629" y="142"/>
                  </a:lnTo>
                  <a:lnTo>
                    <a:pt x="1627" y="142"/>
                  </a:lnTo>
                  <a:lnTo>
                    <a:pt x="1621" y="144"/>
                  </a:lnTo>
                  <a:lnTo>
                    <a:pt x="1619" y="144"/>
                  </a:lnTo>
                  <a:lnTo>
                    <a:pt x="1621" y="148"/>
                  </a:lnTo>
                  <a:lnTo>
                    <a:pt x="1625" y="148"/>
                  </a:lnTo>
                  <a:lnTo>
                    <a:pt x="1629" y="148"/>
                  </a:lnTo>
                  <a:lnTo>
                    <a:pt x="1629" y="150"/>
                  </a:lnTo>
                  <a:lnTo>
                    <a:pt x="1623" y="151"/>
                  </a:lnTo>
                  <a:lnTo>
                    <a:pt x="1623" y="151"/>
                  </a:lnTo>
                  <a:lnTo>
                    <a:pt x="1623" y="153"/>
                  </a:lnTo>
                  <a:lnTo>
                    <a:pt x="1627" y="155"/>
                  </a:lnTo>
                  <a:lnTo>
                    <a:pt x="1629" y="157"/>
                  </a:lnTo>
                  <a:lnTo>
                    <a:pt x="1627" y="159"/>
                  </a:lnTo>
                  <a:lnTo>
                    <a:pt x="1625" y="160"/>
                  </a:lnTo>
                  <a:lnTo>
                    <a:pt x="1621" y="160"/>
                  </a:lnTo>
                  <a:lnTo>
                    <a:pt x="1621" y="160"/>
                  </a:lnTo>
                  <a:lnTo>
                    <a:pt x="1619" y="162"/>
                  </a:lnTo>
                  <a:lnTo>
                    <a:pt x="1619" y="162"/>
                  </a:lnTo>
                  <a:lnTo>
                    <a:pt x="1618" y="162"/>
                  </a:lnTo>
                  <a:lnTo>
                    <a:pt x="1616" y="164"/>
                  </a:lnTo>
                  <a:lnTo>
                    <a:pt x="1621" y="169"/>
                  </a:lnTo>
                  <a:lnTo>
                    <a:pt x="1623" y="171"/>
                  </a:lnTo>
                  <a:lnTo>
                    <a:pt x="1632" y="171"/>
                  </a:lnTo>
                  <a:lnTo>
                    <a:pt x="1634" y="173"/>
                  </a:lnTo>
                  <a:lnTo>
                    <a:pt x="1634" y="175"/>
                  </a:lnTo>
                  <a:lnTo>
                    <a:pt x="1632" y="175"/>
                  </a:lnTo>
                  <a:lnTo>
                    <a:pt x="1632" y="177"/>
                  </a:lnTo>
                  <a:lnTo>
                    <a:pt x="1632" y="179"/>
                  </a:lnTo>
                  <a:lnTo>
                    <a:pt x="1630" y="179"/>
                  </a:lnTo>
                  <a:lnTo>
                    <a:pt x="1629" y="180"/>
                  </a:lnTo>
                  <a:lnTo>
                    <a:pt x="1625" y="184"/>
                  </a:lnTo>
                  <a:lnTo>
                    <a:pt x="1623" y="184"/>
                  </a:lnTo>
                  <a:lnTo>
                    <a:pt x="1623" y="184"/>
                  </a:lnTo>
                  <a:lnTo>
                    <a:pt x="1625" y="180"/>
                  </a:lnTo>
                  <a:lnTo>
                    <a:pt x="1625" y="180"/>
                  </a:lnTo>
                  <a:lnTo>
                    <a:pt x="1625" y="180"/>
                  </a:lnTo>
                  <a:lnTo>
                    <a:pt x="1623" y="179"/>
                  </a:lnTo>
                  <a:lnTo>
                    <a:pt x="1623" y="179"/>
                  </a:lnTo>
                  <a:lnTo>
                    <a:pt x="1623" y="177"/>
                  </a:lnTo>
                  <a:lnTo>
                    <a:pt x="1623" y="177"/>
                  </a:lnTo>
                  <a:lnTo>
                    <a:pt x="1621" y="179"/>
                  </a:lnTo>
                  <a:lnTo>
                    <a:pt x="1616" y="184"/>
                  </a:lnTo>
                  <a:lnTo>
                    <a:pt x="1614" y="186"/>
                  </a:lnTo>
                  <a:lnTo>
                    <a:pt x="1612" y="184"/>
                  </a:lnTo>
                  <a:lnTo>
                    <a:pt x="1612" y="184"/>
                  </a:lnTo>
                  <a:lnTo>
                    <a:pt x="1614" y="182"/>
                  </a:lnTo>
                  <a:lnTo>
                    <a:pt x="1614" y="182"/>
                  </a:lnTo>
                  <a:lnTo>
                    <a:pt x="1616" y="180"/>
                  </a:lnTo>
                  <a:lnTo>
                    <a:pt x="1614" y="179"/>
                  </a:lnTo>
                  <a:lnTo>
                    <a:pt x="1614" y="177"/>
                  </a:lnTo>
                  <a:lnTo>
                    <a:pt x="1614" y="175"/>
                  </a:lnTo>
                  <a:lnTo>
                    <a:pt x="1614" y="171"/>
                  </a:lnTo>
                  <a:lnTo>
                    <a:pt x="1614" y="171"/>
                  </a:lnTo>
                  <a:lnTo>
                    <a:pt x="1612" y="171"/>
                  </a:lnTo>
                  <a:lnTo>
                    <a:pt x="1610" y="171"/>
                  </a:lnTo>
                  <a:lnTo>
                    <a:pt x="1609" y="173"/>
                  </a:lnTo>
                  <a:lnTo>
                    <a:pt x="1609" y="171"/>
                  </a:lnTo>
                  <a:lnTo>
                    <a:pt x="1609" y="169"/>
                  </a:lnTo>
                  <a:lnTo>
                    <a:pt x="1607" y="168"/>
                  </a:lnTo>
                  <a:lnTo>
                    <a:pt x="1607" y="164"/>
                  </a:lnTo>
                  <a:lnTo>
                    <a:pt x="1607" y="162"/>
                  </a:lnTo>
                  <a:lnTo>
                    <a:pt x="1607" y="160"/>
                  </a:lnTo>
                  <a:lnTo>
                    <a:pt x="1609" y="155"/>
                  </a:lnTo>
                  <a:lnTo>
                    <a:pt x="1607" y="155"/>
                  </a:lnTo>
                  <a:lnTo>
                    <a:pt x="1601" y="160"/>
                  </a:lnTo>
                  <a:lnTo>
                    <a:pt x="1592" y="162"/>
                  </a:lnTo>
                  <a:lnTo>
                    <a:pt x="1591" y="166"/>
                  </a:lnTo>
                  <a:lnTo>
                    <a:pt x="1578" y="168"/>
                  </a:lnTo>
                  <a:lnTo>
                    <a:pt x="1576" y="169"/>
                  </a:lnTo>
                  <a:lnTo>
                    <a:pt x="1574" y="171"/>
                  </a:lnTo>
                  <a:lnTo>
                    <a:pt x="1573" y="171"/>
                  </a:lnTo>
                  <a:lnTo>
                    <a:pt x="1573" y="169"/>
                  </a:lnTo>
                  <a:lnTo>
                    <a:pt x="1578" y="168"/>
                  </a:lnTo>
                  <a:lnTo>
                    <a:pt x="1580" y="164"/>
                  </a:lnTo>
                  <a:lnTo>
                    <a:pt x="1582" y="164"/>
                  </a:lnTo>
                  <a:lnTo>
                    <a:pt x="1585" y="164"/>
                  </a:lnTo>
                  <a:lnTo>
                    <a:pt x="1594" y="162"/>
                  </a:lnTo>
                  <a:lnTo>
                    <a:pt x="1598" y="160"/>
                  </a:lnTo>
                  <a:lnTo>
                    <a:pt x="1600" y="159"/>
                  </a:lnTo>
                  <a:lnTo>
                    <a:pt x="1601" y="159"/>
                  </a:lnTo>
                  <a:lnTo>
                    <a:pt x="1607" y="150"/>
                  </a:lnTo>
                  <a:lnTo>
                    <a:pt x="1607" y="148"/>
                  </a:lnTo>
                  <a:lnTo>
                    <a:pt x="1607" y="146"/>
                  </a:lnTo>
                  <a:lnTo>
                    <a:pt x="1591" y="144"/>
                  </a:lnTo>
                  <a:lnTo>
                    <a:pt x="1587" y="144"/>
                  </a:lnTo>
                  <a:lnTo>
                    <a:pt x="1587" y="144"/>
                  </a:lnTo>
                  <a:lnTo>
                    <a:pt x="1587" y="142"/>
                  </a:lnTo>
                  <a:lnTo>
                    <a:pt x="1587" y="141"/>
                  </a:lnTo>
                  <a:lnTo>
                    <a:pt x="1587" y="141"/>
                  </a:lnTo>
                  <a:lnTo>
                    <a:pt x="1585" y="142"/>
                  </a:lnTo>
                  <a:lnTo>
                    <a:pt x="1585" y="142"/>
                  </a:lnTo>
                  <a:lnTo>
                    <a:pt x="1583" y="139"/>
                  </a:lnTo>
                  <a:lnTo>
                    <a:pt x="1582" y="139"/>
                  </a:lnTo>
                  <a:lnTo>
                    <a:pt x="1580" y="139"/>
                  </a:lnTo>
                  <a:lnTo>
                    <a:pt x="1578" y="139"/>
                  </a:lnTo>
                  <a:lnTo>
                    <a:pt x="1576" y="141"/>
                  </a:lnTo>
                  <a:lnTo>
                    <a:pt x="1576" y="141"/>
                  </a:lnTo>
                  <a:lnTo>
                    <a:pt x="1576" y="144"/>
                  </a:lnTo>
                  <a:lnTo>
                    <a:pt x="1574" y="150"/>
                  </a:lnTo>
                  <a:lnTo>
                    <a:pt x="1574" y="151"/>
                  </a:lnTo>
                  <a:lnTo>
                    <a:pt x="1583" y="155"/>
                  </a:lnTo>
                  <a:lnTo>
                    <a:pt x="1585" y="157"/>
                  </a:lnTo>
                  <a:lnTo>
                    <a:pt x="1585" y="159"/>
                  </a:lnTo>
                  <a:lnTo>
                    <a:pt x="1583" y="159"/>
                  </a:lnTo>
                  <a:lnTo>
                    <a:pt x="1578" y="155"/>
                  </a:lnTo>
                  <a:lnTo>
                    <a:pt x="1571" y="157"/>
                  </a:lnTo>
                  <a:lnTo>
                    <a:pt x="1569" y="157"/>
                  </a:lnTo>
                  <a:lnTo>
                    <a:pt x="1571" y="155"/>
                  </a:lnTo>
                  <a:lnTo>
                    <a:pt x="1571" y="153"/>
                  </a:lnTo>
                  <a:lnTo>
                    <a:pt x="1573" y="151"/>
                  </a:lnTo>
                  <a:lnTo>
                    <a:pt x="1573" y="150"/>
                  </a:lnTo>
                  <a:lnTo>
                    <a:pt x="1571" y="148"/>
                  </a:lnTo>
                  <a:lnTo>
                    <a:pt x="1571" y="144"/>
                  </a:lnTo>
                  <a:lnTo>
                    <a:pt x="1571" y="142"/>
                  </a:lnTo>
                  <a:lnTo>
                    <a:pt x="1571" y="142"/>
                  </a:lnTo>
                  <a:lnTo>
                    <a:pt x="1573" y="139"/>
                  </a:lnTo>
                  <a:lnTo>
                    <a:pt x="1573" y="137"/>
                  </a:lnTo>
                  <a:lnTo>
                    <a:pt x="1573" y="135"/>
                  </a:lnTo>
                  <a:lnTo>
                    <a:pt x="1571" y="133"/>
                  </a:lnTo>
                  <a:lnTo>
                    <a:pt x="1565" y="135"/>
                  </a:lnTo>
                  <a:lnTo>
                    <a:pt x="1565" y="139"/>
                  </a:lnTo>
                  <a:lnTo>
                    <a:pt x="1565" y="141"/>
                  </a:lnTo>
                  <a:lnTo>
                    <a:pt x="1565" y="142"/>
                  </a:lnTo>
                  <a:lnTo>
                    <a:pt x="1564" y="142"/>
                  </a:lnTo>
                  <a:lnTo>
                    <a:pt x="1564" y="141"/>
                  </a:lnTo>
                  <a:lnTo>
                    <a:pt x="1564" y="133"/>
                  </a:lnTo>
                  <a:lnTo>
                    <a:pt x="1564" y="132"/>
                  </a:lnTo>
                  <a:lnTo>
                    <a:pt x="1562" y="132"/>
                  </a:lnTo>
                  <a:lnTo>
                    <a:pt x="1562" y="132"/>
                  </a:lnTo>
                  <a:lnTo>
                    <a:pt x="1558" y="135"/>
                  </a:lnTo>
                  <a:lnTo>
                    <a:pt x="1556" y="135"/>
                  </a:lnTo>
                  <a:lnTo>
                    <a:pt x="1556" y="133"/>
                  </a:lnTo>
                  <a:lnTo>
                    <a:pt x="1558" y="132"/>
                  </a:lnTo>
                  <a:lnTo>
                    <a:pt x="1560" y="130"/>
                  </a:lnTo>
                  <a:lnTo>
                    <a:pt x="1558" y="130"/>
                  </a:lnTo>
                  <a:lnTo>
                    <a:pt x="1556" y="130"/>
                  </a:lnTo>
                  <a:lnTo>
                    <a:pt x="1549" y="137"/>
                  </a:lnTo>
                  <a:lnTo>
                    <a:pt x="1547" y="139"/>
                  </a:lnTo>
                  <a:lnTo>
                    <a:pt x="1547" y="141"/>
                  </a:lnTo>
                  <a:lnTo>
                    <a:pt x="1549" y="144"/>
                  </a:lnTo>
                  <a:lnTo>
                    <a:pt x="1551" y="144"/>
                  </a:lnTo>
                  <a:lnTo>
                    <a:pt x="1553" y="146"/>
                  </a:lnTo>
                  <a:lnTo>
                    <a:pt x="1553" y="146"/>
                  </a:lnTo>
                  <a:lnTo>
                    <a:pt x="1551" y="146"/>
                  </a:lnTo>
                  <a:lnTo>
                    <a:pt x="1551" y="146"/>
                  </a:lnTo>
                  <a:lnTo>
                    <a:pt x="1551" y="148"/>
                  </a:lnTo>
                  <a:lnTo>
                    <a:pt x="1551" y="148"/>
                  </a:lnTo>
                  <a:lnTo>
                    <a:pt x="1551" y="148"/>
                  </a:lnTo>
                  <a:lnTo>
                    <a:pt x="1551" y="150"/>
                  </a:lnTo>
                  <a:lnTo>
                    <a:pt x="1551" y="150"/>
                  </a:lnTo>
                  <a:lnTo>
                    <a:pt x="1551" y="151"/>
                  </a:lnTo>
                  <a:lnTo>
                    <a:pt x="1551" y="151"/>
                  </a:lnTo>
                  <a:lnTo>
                    <a:pt x="1551" y="153"/>
                  </a:lnTo>
                  <a:lnTo>
                    <a:pt x="1551" y="155"/>
                  </a:lnTo>
                  <a:lnTo>
                    <a:pt x="1549" y="151"/>
                  </a:lnTo>
                  <a:lnTo>
                    <a:pt x="1549" y="151"/>
                  </a:lnTo>
                  <a:lnTo>
                    <a:pt x="1547" y="150"/>
                  </a:lnTo>
                  <a:lnTo>
                    <a:pt x="1547" y="148"/>
                  </a:lnTo>
                  <a:lnTo>
                    <a:pt x="1547" y="146"/>
                  </a:lnTo>
                  <a:lnTo>
                    <a:pt x="1544" y="141"/>
                  </a:lnTo>
                  <a:lnTo>
                    <a:pt x="1542" y="139"/>
                  </a:lnTo>
                  <a:lnTo>
                    <a:pt x="1540" y="139"/>
                  </a:lnTo>
                  <a:lnTo>
                    <a:pt x="1538" y="137"/>
                  </a:lnTo>
                  <a:lnTo>
                    <a:pt x="1536" y="135"/>
                  </a:lnTo>
                  <a:lnTo>
                    <a:pt x="1536" y="133"/>
                  </a:lnTo>
                  <a:lnTo>
                    <a:pt x="1536" y="132"/>
                  </a:lnTo>
                  <a:lnTo>
                    <a:pt x="1536" y="132"/>
                  </a:lnTo>
                  <a:lnTo>
                    <a:pt x="1536" y="130"/>
                  </a:lnTo>
                  <a:lnTo>
                    <a:pt x="1535" y="130"/>
                  </a:lnTo>
                  <a:lnTo>
                    <a:pt x="1535" y="130"/>
                  </a:lnTo>
                  <a:lnTo>
                    <a:pt x="1533" y="132"/>
                  </a:lnTo>
                  <a:lnTo>
                    <a:pt x="1533" y="133"/>
                  </a:lnTo>
                  <a:lnTo>
                    <a:pt x="1533" y="135"/>
                  </a:lnTo>
                  <a:lnTo>
                    <a:pt x="1533" y="137"/>
                  </a:lnTo>
                  <a:lnTo>
                    <a:pt x="1533" y="139"/>
                  </a:lnTo>
                  <a:lnTo>
                    <a:pt x="1533" y="141"/>
                  </a:lnTo>
                  <a:lnTo>
                    <a:pt x="1533" y="141"/>
                  </a:lnTo>
                  <a:lnTo>
                    <a:pt x="1533" y="142"/>
                  </a:lnTo>
                  <a:lnTo>
                    <a:pt x="1533" y="144"/>
                  </a:lnTo>
                  <a:lnTo>
                    <a:pt x="1533" y="144"/>
                  </a:lnTo>
                  <a:lnTo>
                    <a:pt x="1533" y="144"/>
                  </a:lnTo>
                  <a:lnTo>
                    <a:pt x="1533" y="146"/>
                  </a:lnTo>
                  <a:lnTo>
                    <a:pt x="1529" y="142"/>
                  </a:lnTo>
                  <a:lnTo>
                    <a:pt x="1529" y="141"/>
                  </a:lnTo>
                  <a:lnTo>
                    <a:pt x="1529" y="137"/>
                  </a:lnTo>
                  <a:lnTo>
                    <a:pt x="1527" y="137"/>
                  </a:lnTo>
                  <a:lnTo>
                    <a:pt x="1524" y="141"/>
                  </a:lnTo>
                  <a:lnTo>
                    <a:pt x="1522" y="141"/>
                  </a:lnTo>
                  <a:lnTo>
                    <a:pt x="1520" y="142"/>
                  </a:lnTo>
                  <a:lnTo>
                    <a:pt x="1520" y="144"/>
                  </a:lnTo>
                  <a:lnTo>
                    <a:pt x="1518" y="144"/>
                  </a:lnTo>
                  <a:lnTo>
                    <a:pt x="1518" y="146"/>
                  </a:lnTo>
                  <a:lnTo>
                    <a:pt x="1518" y="146"/>
                  </a:lnTo>
                  <a:lnTo>
                    <a:pt x="1520" y="148"/>
                  </a:lnTo>
                  <a:lnTo>
                    <a:pt x="1520" y="148"/>
                  </a:lnTo>
                  <a:lnTo>
                    <a:pt x="1522" y="150"/>
                  </a:lnTo>
                  <a:lnTo>
                    <a:pt x="1522" y="151"/>
                  </a:lnTo>
                  <a:lnTo>
                    <a:pt x="1522" y="151"/>
                  </a:lnTo>
                  <a:lnTo>
                    <a:pt x="1524" y="151"/>
                  </a:lnTo>
                  <a:lnTo>
                    <a:pt x="1526" y="153"/>
                  </a:lnTo>
                  <a:lnTo>
                    <a:pt x="1533" y="151"/>
                  </a:lnTo>
                  <a:lnTo>
                    <a:pt x="1531" y="153"/>
                  </a:lnTo>
                  <a:lnTo>
                    <a:pt x="1531" y="153"/>
                  </a:lnTo>
                  <a:lnTo>
                    <a:pt x="1529" y="155"/>
                  </a:lnTo>
                  <a:lnTo>
                    <a:pt x="1529" y="157"/>
                  </a:lnTo>
                  <a:lnTo>
                    <a:pt x="1531" y="160"/>
                  </a:lnTo>
                  <a:lnTo>
                    <a:pt x="1531" y="162"/>
                  </a:lnTo>
                  <a:lnTo>
                    <a:pt x="1533" y="164"/>
                  </a:lnTo>
                  <a:lnTo>
                    <a:pt x="1538" y="162"/>
                  </a:lnTo>
                  <a:lnTo>
                    <a:pt x="1538" y="162"/>
                  </a:lnTo>
                  <a:lnTo>
                    <a:pt x="1542" y="168"/>
                  </a:lnTo>
                  <a:lnTo>
                    <a:pt x="1544" y="168"/>
                  </a:lnTo>
                  <a:lnTo>
                    <a:pt x="1547" y="166"/>
                  </a:lnTo>
                  <a:lnTo>
                    <a:pt x="1549" y="166"/>
                  </a:lnTo>
                  <a:lnTo>
                    <a:pt x="1549" y="164"/>
                  </a:lnTo>
                  <a:lnTo>
                    <a:pt x="1549" y="164"/>
                  </a:lnTo>
                  <a:lnTo>
                    <a:pt x="1556" y="164"/>
                  </a:lnTo>
                  <a:lnTo>
                    <a:pt x="1556" y="164"/>
                  </a:lnTo>
                  <a:lnTo>
                    <a:pt x="1558" y="162"/>
                  </a:lnTo>
                  <a:lnTo>
                    <a:pt x="1558" y="162"/>
                  </a:lnTo>
                  <a:lnTo>
                    <a:pt x="1562" y="159"/>
                  </a:lnTo>
                  <a:lnTo>
                    <a:pt x="1562" y="162"/>
                  </a:lnTo>
                  <a:lnTo>
                    <a:pt x="1562" y="162"/>
                  </a:lnTo>
                  <a:lnTo>
                    <a:pt x="1560" y="164"/>
                  </a:lnTo>
                  <a:lnTo>
                    <a:pt x="1558" y="168"/>
                  </a:lnTo>
                  <a:lnTo>
                    <a:pt x="1558" y="168"/>
                  </a:lnTo>
                  <a:lnTo>
                    <a:pt x="1556" y="168"/>
                  </a:lnTo>
                  <a:lnTo>
                    <a:pt x="1549" y="169"/>
                  </a:lnTo>
                  <a:lnTo>
                    <a:pt x="1547" y="171"/>
                  </a:lnTo>
                  <a:lnTo>
                    <a:pt x="1551" y="175"/>
                  </a:lnTo>
                  <a:lnTo>
                    <a:pt x="1554" y="175"/>
                  </a:lnTo>
                  <a:lnTo>
                    <a:pt x="1564" y="173"/>
                  </a:lnTo>
                  <a:lnTo>
                    <a:pt x="1564" y="173"/>
                  </a:lnTo>
                  <a:lnTo>
                    <a:pt x="1562" y="173"/>
                  </a:lnTo>
                  <a:lnTo>
                    <a:pt x="1562" y="175"/>
                  </a:lnTo>
                  <a:lnTo>
                    <a:pt x="1560" y="175"/>
                  </a:lnTo>
                  <a:lnTo>
                    <a:pt x="1560" y="179"/>
                  </a:lnTo>
                  <a:lnTo>
                    <a:pt x="1560" y="184"/>
                  </a:lnTo>
                  <a:lnTo>
                    <a:pt x="1560" y="186"/>
                  </a:lnTo>
                  <a:lnTo>
                    <a:pt x="1558" y="184"/>
                  </a:lnTo>
                  <a:lnTo>
                    <a:pt x="1560" y="180"/>
                  </a:lnTo>
                  <a:lnTo>
                    <a:pt x="1560" y="180"/>
                  </a:lnTo>
                  <a:lnTo>
                    <a:pt x="1558" y="179"/>
                  </a:lnTo>
                  <a:lnTo>
                    <a:pt x="1558" y="179"/>
                  </a:lnTo>
                  <a:lnTo>
                    <a:pt x="1556" y="179"/>
                  </a:lnTo>
                  <a:lnTo>
                    <a:pt x="1554" y="179"/>
                  </a:lnTo>
                  <a:lnTo>
                    <a:pt x="1554" y="179"/>
                  </a:lnTo>
                  <a:lnTo>
                    <a:pt x="1554" y="180"/>
                  </a:lnTo>
                  <a:lnTo>
                    <a:pt x="1554" y="180"/>
                  </a:lnTo>
                  <a:lnTo>
                    <a:pt x="1554" y="182"/>
                  </a:lnTo>
                  <a:lnTo>
                    <a:pt x="1554" y="182"/>
                  </a:lnTo>
                  <a:lnTo>
                    <a:pt x="1553" y="184"/>
                  </a:lnTo>
                  <a:lnTo>
                    <a:pt x="1553" y="186"/>
                  </a:lnTo>
                  <a:lnTo>
                    <a:pt x="1554" y="188"/>
                  </a:lnTo>
                  <a:lnTo>
                    <a:pt x="1554" y="189"/>
                  </a:lnTo>
                  <a:lnTo>
                    <a:pt x="1554" y="193"/>
                  </a:lnTo>
                  <a:lnTo>
                    <a:pt x="1554" y="195"/>
                  </a:lnTo>
                  <a:lnTo>
                    <a:pt x="1554" y="195"/>
                  </a:lnTo>
                  <a:lnTo>
                    <a:pt x="1556" y="197"/>
                  </a:lnTo>
                  <a:lnTo>
                    <a:pt x="1558" y="197"/>
                  </a:lnTo>
                  <a:lnTo>
                    <a:pt x="1558" y="200"/>
                  </a:lnTo>
                  <a:lnTo>
                    <a:pt x="1558" y="200"/>
                  </a:lnTo>
                  <a:lnTo>
                    <a:pt x="1554" y="200"/>
                  </a:lnTo>
                  <a:lnTo>
                    <a:pt x="1553" y="200"/>
                  </a:lnTo>
                  <a:lnTo>
                    <a:pt x="1558" y="204"/>
                  </a:lnTo>
                  <a:lnTo>
                    <a:pt x="1560" y="207"/>
                  </a:lnTo>
                  <a:lnTo>
                    <a:pt x="1560" y="211"/>
                  </a:lnTo>
                  <a:lnTo>
                    <a:pt x="1562" y="213"/>
                  </a:lnTo>
                  <a:lnTo>
                    <a:pt x="1562" y="213"/>
                  </a:lnTo>
                  <a:lnTo>
                    <a:pt x="1562" y="215"/>
                  </a:lnTo>
                  <a:lnTo>
                    <a:pt x="1560" y="216"/>
                  </a:lnTo>
                  <a:lnTo>
                    <a:pt x="1560" y="215"/>
                  </a:lnTo>
                  <a:lnTo>
                    <a:pt x="1558" y="215"/>
                  </a:lnTo>
                  <a:lnTo>
                    <a:pt x="1556" y="213"/>
                  </a:lnTo>
                  <a:lnTo>
                    <a:pt x="1558" y="215"/>
                  </a:lnTo>
                  <a:lnTo>
                    <a:pt x="1560" y="215"/>
                  </a:lnTo>
                  <a:lnTo>
                    <a:pt x="1560" y="213"/>
                  </a:lnTo>
                  <a:lnTo>
                    <a:pt x="1556" y="209"/>
                  </a:lnTo>
                  <a:lnTo>
                    <a:pt x="1554" y="207"/>
                  </a:lnTo>
                  <a:lnTo>
                    <a:pt x="1554" y="206"/>
                  </a:lnTo>
                  <a:lnTo>
                    <a:pt x="1553" y="202"/>
                  </a:lnTo>
                  <a:lnTo>
                    <a:pt x="1545" y="195"/>
                  </a:lnTo>
                  <a:lnTo>
                    <a:pt x="1542" y="193"/>
                  </a:lnTo>
                  <a:lnTo>
                    <a:pt x="1540" y="191"/>
                  </a:lnTo>
                  <a:lnTo>
                    <a:pt x="1538" y="189"/>
                  </a:lnTo>
                  <a:lnTo>
                    <a:pt x="1536" y="188"/>
                  </a:lnTo>
                  <a:lnTo>
                    <a:pt x="1538" y="184"/>
                  </a:lnTo>
                  <a:lnTo>
                    <a:pt x="1536" y="182"/>
                  </a:lnTo>
                  <a:lnTo>
                    <a:pt x="1535" y="180"/>
                  </a:lnTo>
                  <a:lnTo>
                    <a:pt x="1535" y="179"/>
                  </a:lnTo>
                  <a:lnTo>
                    <a:pt x="1527" y="173"/>
                  </a:lnTo>
                  <a:lnTo>
                    <a:pt x="1524" y="173"/>
                  </a:lnTo>
                  <a:lnTo>
                    <a:pt x="1522" y="173"/>
                  </a:lnTo>
                  <a:lnTo>
                    <a:pt x="1520" y="177"/>
                  </a:lnTo>
                  <a:lnTo>
                    <a:pt x="1518" y="180"/>
                  </a:lnTo>
                  <a:lnTo>
                    <a:pt x="1518" y="186"/>
                  </a:lnTo>
                  <a:lnTo>
                    <a:pt x="1520" y="186"/>
                  </a:lnTo>
                  <a:lnTo>
                    <a:pt x="1520" y="188"/>
                  </a:lnTo>
                  <a:lnTo>
                    <a:pt x="1522" y="188"/>
                  </a:lnTo>
                  <a:lnTo>
                    <a:pt x="1524" y="191"/>
                  </a:lnTo>
                  <a:lnTo>
                    <a:pt x="1518" y="191"/>
                  </a:lnTo>
                  <a:lnTo>
                    <a:pt x="1518" y="198"/>
                  </a:lnTo>
                  <a:lnTo>
                    <a:pt x="1518" y="200"/>
                  </a:lnTo>
                  <a:lnTo>
                    <a:pt x="1518" y="202"/>
                  </a:lnTo>
                  <a:lnTo>
                    <a:pt x="1517" y="204"/>
                  </a:lnTo>
                  <a:lnTo>
                    <a:pt x="1515" y="204"/>
                  </a:lnTo>
                  <a:lnTo>
                    <a:pt x="1513" y="204"/>
                  </a:lnTo>
                  <a:lnTo>
                    <a:pt x="1515" y="202"/>
                  </a:lnTo>
                  <a:lnTo>
                    <a:pt x="1517" y="198"/>
                  </a:lnTo>
                  <a:lnTo>
                    <a:pt x="1517" y="197"/>
                  </a:lnTo>
                  <a:lnTo>
                    <a:pt x="1517" y="195"/>
                  </a:lnTo>
                  <a:lnTo>
                    <a:pt x="1511" y="197"/>
                  </a:lnTo>
                  <a:lnTo>
                    <a:pt x="1511" y="197"/>
                  </a:lnTo>
                  <a:lnTo>
                    <a:pt x="1511" y="200"/>
                  </a:lnTo>
                  <a:lnTo>
                    <a:pt x="1509" y="202"/>
                  </a:lnTo>
                  <a:lnTo>
                    <a:pt x="1508" y="202"/>
                  </a:lnTo>
                  <a:lnTo>
                    <a:pt x="1508" y="202"/>
                  </a:lnTo>
                  <a:lnTo>
                    <a:pt x="1508" y="204"/>
                  </a:lnTo>
                  <a:lnTo>
                    <a:pt x="1509" y="206"/>
                  </a:lnTo>
                  <a:lnTo>
                    <a:pt x="1509" y="206"/>
                  </a:lnTo>
                  <a:lnTo>
                    <a:pt x="1509" y="207"/>
                  </a:lnTo>
                  <a:lnTo>
                    <a:pt x="1508" y="207"/>
                  </a:lnTo>
                  <a:lnTo>
                    <a:pt x="1504" y="204"/>
                  </a:lnTo>
                  <a:lnTo>
                    <a:pt x="1504" y="202"/>
                  </a:lnTo>
                  <a:lnTo>
                    <a:pt x="1506" y="202"/>
                  </a:lnTo>
                  <a:lnTo>
                    <a:pt x="1506" y="202"/>
                  </a:lnTo>
                  <a:lnTo>
                    <a:pt x="1506" y="202"/>
                  </a:lnTo>
                  <a:lnTo>
                    <a:pt x="1506" y="198"/>
                  </a:lnTo>
                  <a:lnTo>
                    <a:pt x="1504" y="198"/>
                  </a:lnTo>
                  <a:lnTo>
                    <a:pt x="1504" y="198"/>
                  </a:lnTo>
                  <a:lnTo>
                    <a:pt x="1502" y="198"/>
                  </a:lnTo>
                  <a:lnTo>
                    <a:pt x="1502" y="197"/>
                  </a:lnTo>
                  <a:lnTo>
                    <a:pt x="1504" y="197"/>
                  </a:lnTo>
                  <a:lnTo>
                    <a:pt x="1506" y="191"/>
                  </a:lnTo>
                  <a:lnTo>
                    <a:pt x="1513" y="186"/>
                  </a:lnTo>
                  <a:lnTo>
                    <a:pt x="1513" y="184"/>
                  </a:lnTo>
                  <a:lnTo>
                    <a:pt x="1509" y="186"/>
                  </a:lnTo>
                  <a:lnTo>
                    <a:pt x="1499" y="195"/>
                  </a:lnTo>
                  <a:lnTo>
                    <a:pt x="1497" y="195"/>
                  </a:lnTo>
                  <a:lnTo>
                    <a:pt x="1497" y="197"/>
                  </a:lnTo>
                  <a:lnTo>
                    <a:pt x="1499" y="198"/>
                  </a:lnTo>
                  <a:lnTo>
                    <a:pt x="1499" y="200"/>
                  </a:lnTo>
                  <a:lnTo>
                    <a:pt x="1499" y="202"/>
                  </a:lnTo>
                  <a:lnTo>
                    <a:pt x="1499" y="204"/>
                  </a:lnTo>
                  <a:lnTo>
                    <a:pt x="1497" y="206"/>
                  </a:lnTo>
                  <a:lnTo>
                    <a:pt x="1489" y="209"/>
                  </a:lnTo>
                  <a:lnTo>
                    <a:pt x="1482" y="211"/>
                  </a:lnTo>
                  <a:lnTo>
                    <a:pt x="1482" y="211"/>
                  </a:lnTo>
                  <a:lnTo>
                    <a:pt x="1482" y="213"/>
                  </a:lnTo>
                  <a:lnTo>
                    <a:pt x="1482" y="213"/>
                  </a:lnTo>
                  <a:lnTo>
                    <a:pt x="1484" y="216"/>
                  </a:lnTo>
                  <a:lnTo>
                    <a:pt x="1484" y="220"/>
                  </a:lnTo>
                  <a:lnTo>
                    <a:pt x="1484" y="224"/>
                  </a:lnTo>
                  <a:lnTo>
                    <a:pt x="1482" y="227"/>
                  </a:lnTo>
                  <a:lnTo>
                    <a:pt x="1482" y="229"/>
                  </a:lnTo>
                  <a:lnTo>
                    <a:pt x="1482" y="231"/>
                  </a:lnTo>
                  <a:lnTo>
                    <a:pt x="1484" y="233"/>
                  </a:lnTo>
                  <a:lnTo>
                    <a:pt x="1489" y="236"/>
                  </a:lnTo>
                  <a:lnTo>
                    <a:pt x="1489" y="236"/>
                  </a:lnTo>
                  <a:lnTo>
                    <a:pt x="1491" y="238"/>
                  </a:lnTo>
                  <a:lnTo>
                    <a:pt x="1491" y="242"/>
                  </a:lnTo>
                  <a:lnTo>
                    <a:pt x="1493" y="245"/>
                  </a:lnTo>
                  <a:lnTo>
                    <a:pt x="1499" y="247"/>
                  </a:lnTo>
                  <a:lnTo>
                    <a:pt x="1500" y="249"/>
                  </a:lnTo>
                  <a:lnTo>
                    <a:pt x="1499" y="251"/>
                  </a:lnTo>
                  <a:lnTo>
                    <a:pt x="1499" y="251"/>
                  </a:lnTo>
                  <a:lnTo>
                    <a:pt x="1499" y="249"/>
                  </a:lnTo>
                  <a:lnTo>
                    <a:pt x="1497" y="247"/>
                  </a:lnTo>
                  <a:lnTo>
                    <a:pt x="1489" y="245"/>
                  </a:lnTo>
                  <a:lnTo>
                    <a:pt x="1486" y="244"/>
                  </a:lnTo>
                  <a:lnTo>
                    <a:pt x="1484" y="240"/>
                  </a:lnTo>
                  <a:lnTo>
                    <a:pt x="1482" y="238"/>
                  </a:lnTo>
                  <a:lnTo>
                    <a:pt x="1482" y="238"/>
                  </a:lnTo>
                  <a:lnTo>
                    <a:pt x="1482" y="238"/>
                  </a:lnTo>
                  <a:lnTo>
                    <a:pt x="1480" y="238"/>
                  </a:lnTo>
                  <a:lnTo>
                    <a:pt x="1480" y="240"/>
                  </a:lnTo>
                  <a:lnTo>
                    <a:pt x="1480" y="242"/>
                  </a:lnTo>
                  <a:lnTo>
                    <a:pt x="1480" y="242"/>
                  </a:lnTo>
                  <a:lnTo>
                    <a:pt x="1479" y="245"/>
                  </a:lnTo>
                  <a:lnTo>
                    <a:pt x="1479" y="249"/>
                  </a:lnTo>
                  <a:lnTo>
                    <a:pt x="1477" y="251"/>
                  </a:lnTo>
                  <a:lnTo>
                    <a:pt x="1475" y="254"/>
                  </a:lnTo>
                  <a:lnTo>
                    <a:pt x="1471" y="265"/>
                  </a:lnTo>
                  <a:lnTo>
                    <a:pt x="1471" y="265"/>
                  </a:lnTo>
                  <a:lnTo>
                    <a:pt x="1470" y="265"/>
                  </a:lnTo>
                  <a:lnTo>
                    <a:pt x="1461" y="272"/>
                  </a:lnTo>
                  <a:lnTo>
                    <a:pt x="1461" y="274"/>
                  </a:lnTo>
                  <a:lnTo>
                    <a:pt x="1459" y="276"/>
                  </a:lnTo>
                  <a:lnTo>
                    <a:pt x="1457" y="280"/>
                  </a:lnTo>
                  <a:lnTo>
                    <a:pt x="1455" y="281"/>
                  </a:lnTo>
                  <a:lnTo>
                    <a:pt x="1455" y="283"/>
                  </a:lnTo>
                  <a:lnTo>
                    <a:pt x="1453" y="281"/>
                  </a:lnTo>
                  <a:lnTo>
                    <a:pt x="1455" y="280"/>
                  </a:lnTo>
                  <a:lnTo>
                    <a:pt x="1457" y="274"/>
                  </a:lnTo>
                  <a:lnTo>
                    <a:pt x="1457" y="274"/>
                  </a:lnTo>
                  <a:lnTo>
                    <a:pt x="1457" y="272"/>
                  </a:lnTo>
                  <a:lnTo>
                    <a:pt x="1457" y="272"/>
                  </a:lnTo>
                  <a:lnTo>
                    <a:pt x="1457" y="271"/>
                  </a:lnTo>
                  <a:lnTo>
                    <a:pt x="1461" y="269"/>
                  </a:lnTo>
                  <a:lnTo>
                    <a:pt x="1462" y="265"/>
                  </a:lnTo>
                  <a:lnTo>
                    <a:pt x="1466" y="263"/>
                  </a:lnTo>
                  <a:lnTo>
                    <a:pt x="1468" y="262"/>
                  </a:lnTo>
                  <a:lnTo>
                    <a:pt x="1468" y="258"/>
                  </a:lnTo>
                  <a:lnTo>
                    <a:pt x="1468" y="254"/>
                  </a:lnTo>
                  <a:lnTo>
                    <a:pt x="1470" y="254"/>
                  </a:lnTo>
                  <a:lnTo>
                    <a:pt x="1471" y="254"/>
                  </a:lnTo>
                  <a:lnTo>
                    <a:pt x="1471" y="251"/>
                  </a:lnTo>
                  <a:lnTo>
                    <a:pt x="1471" y="249"/>
                  </a:lnTo>
                  <a:lnTo>
                    <a:pt x="1471" y="247"/>
                  </a:lnTo>
                  <a:lnTo>
                    <a:pt x="1471" y="245"/>
                  </a:lnTo>
                  <a:lnTo>
                    <a:pt x="1471" y="244"/>
                  </a:lnTo>
                  <a:lnTo>
                    <a:pt x="1473" y="244"/>
                  </a:lnTo>
                  <a:lnTo>
                    <a:pt x="1471" y="240"/>
                  </a:lnTo>
                  <a:lnTo>
                    <a:pt x="1471" y="238"/>
                  </a:lnTo>
                  <a:lnTo>
                    <a:pt x="1473" y="238"/>
                  </a:lnTo>
                  <a:lnTo>
                    <a:pt x="1475" y="236"/>
                  </a:lnTo>
                  <a:lnTo>
                    <a:pt x="1477" y="236"/>
                  </a:lnTo>
                  <a:lnTo>
                    <a:pt x="1477" y="235"/>
                  </a:lnTo>
                  <a:lnTo>
                    <a:pt x="1477" y="233"/>
                  </a:lnTo>
                  <a:lnTo>
                    <a:pt x="1477" y="231"/>
                  </a:lnTo>
                  <a:lnTo>
                    <a:pt x="1477" y="229"/>
                  </a:lnTo>
                  <a:lnTo>
                    <a:pt x="1477" y="229"/>
                  </a:lnTo>
                  <a:lnTo>
                    <a:pt x="1473" y="225"/>
                  </a:lnTo>
                  <a:lnTo>
                    <a:pt x="1473" y="225"/>
                  </a:lnTo>
                  <a:lnTo>
                    <a:pt x="1473" y="224"/>
                  </a:lnTo>
                  <a:lnTo>
                    <a:pt x="1473" y="222"/>
                  </a:lnTo>
                  <a:lnTo>
                    <a:pt x="1475" y="216"/>
                  </a:lnTo>
                  <a:lnTo>
                    <a:pt x="1475" y="215"/>
                  </a:lnTo>
                  <a:lnTo>
                    <a:pt x="1475" y="215"/>
                  </a:lnTo>
                  <a:lnTo>
                    <a:pt x="1475" y="213"/>
                  </a:lnTo>
                  <a:lnTo>
                    <a:pt x="1475" y="211"/>
                  </a:lnTo>
                  <a:lnTo>
                    <a:pt x="1475" y="209"/>
                  </a:lnTo>
                  <a:lnTo>
                    <a:pt x="1477" y="207"/>
                  </a:lnTo>
                  <a:lnTo>
                    <a:pt x="1477" y="206"/>
                  </a:lnTo>
                  <a:lnTo>
                    <a:pt x="1477" y="206"/>
                  </a:lnTo>
                  <a:lnTo>
                    <a:pt x="1477" y="204"/>
                  </a:lnTo>
                  <a:lnTo>
                    <a:pt x="1477" y="200"/>
                  </a:lnTo>
                  <a:lnTo>
                    <a:pt x="1477" y="200"/>
                  </a:lnTo>
                  <a:lnTo>
                    <a:pt x="1479" y="198"/>
                  </a:lnTo>
                  <a:lnTo>
                    <a:pt x="1479" y="197"/>
                  </a:lnTo>
                  <a:lnTo>
                    <a:pt x="1479" y="195"/>
                  </a:lnTo>
                  <a:lnTo>
                    <a:pt x="1479" y="193"/>
                  </a:lnTo>
                  <a:lnTo>
                    <a:pt x="1473" y="182"/>
                  </a:lnTo>
                  <a:lnTo>
                    <a:pt x="1471" y="180"/>
                  </a:lnTo>
                  <a:lnTo>
                    <a:pt x="1471" y="182"/>
                  </a:lnTo>
                  <a:lnTo>
                    <a:pt x="1470" y="184"/>
                  </a:lnTo>
                  <a:lnTo>
                    <a:pt x="1468" y="188"/>
                  </a:lnTo>
                  <a:lnTo>
                    <a:pt x="1468" y="188"/>
                  </a:lnTo>
                  <a:lnTo>
                    <a:pt x="1468" y="195"/>
                  </a:lnTo>
                  <a:lnTo>
                    <a:pt x="1468" y="197"/>
                  </a:lnTo>
                  <a:lnTo>
                    <a:pt x="1468" y="197"/>
                  </a:lnTo>
                  <a:lnTo>
                    <a:pt x="1468" y="197"/>
                  </a:lnTo>
                  <a:lnTo>
                    <a:pt x="1466" y="195"/>
                  </a:lnTo>
                  <a:lnTo>
                    <a:pt x="1466" y="195"/>
                  </a:lnTo>
                  <a:lnTo>
                    <a:pt x="1466" y="191"/>
                  </a:lnTo>
                  <a:lnTo>
                    <a:pt x="1466" y="188"/>
                  </a:lnTo>
                  <a:lnTo>
                    <a:pt x="1466" y="188"/>
                  </a:lnTo>
                  <a:lnTo>
                    <a:pt x="1466" y="188"/>
                  </a:lnTo>
                  <a:lnTo>
                    <a:pt x="1466" y="186"/>
                  </a:lnTo>
                  <a:lnTo>
                    <a:pt x="1466" y="186"/>
                  </a:lnTo>
                  <a:lnTo>
                    <a:pt x="1464" y="188"/>
                  </a:lnTo>
                  <a:lnTo>
                    <a:pt x="1462" y="195"/>
                  </a:lnTo>
                  <a:lnTo>
                    <a:pt x="1461" y="200"/>
                  </a:lnTo>
                  <a:lnTo>
                    <a:pt x="1459" y="207"/>
                  </a:lnTo>
                  <a:lnTo>
                    <a:pt x="1457" y="211"/>
                  </a:lnTo>
                  <a:lnTo>
                    <a:pt x="1455" y="211"/>
                  </a:lnTo>
                  <a:lnTo>
                    <a:pt x="1457" y="206"/>
                  </a:lnTo>
                  <a:lnTo>
                    <a:pt x="1457" y="202"/>
                  </a:lnTo>
                  <a:lnTo>
                    <a:pt x="1459" y="200"/>
                  </a:lnTo>
                  <a:lnTo>
                    <a:pt x="1457" y="200"/>
                  </a:lnTo>
                  <a:lnTo>
                    <a:pt x="1457" y="200"/>
                  </a:lnTo>
                  <a:lnTo>
                    <a:pt x="1457" y="202"/>
                  </a:lnTo>
                  <a:lnTo>
                    <a:pt x="1455" y="207"/>
                  </a:lnTo>
                  <a:lnTo>
                    <a:pt x="1453" y="207"/>
                  </a:lnTo>
                  <a:lnTo>
                    <a:pt x="1452" y="209"/>
                  </a:lnTo>
                  <a:lnTo>
                    <a:pt x="1452" y="211"/>
                  </a:lnTo>
                  <a:lnTo>
                    <a:pt x="1452" y="215"/>
                  </a:lnTo>
                  <a:lnTo>
                    <a:pt x="1450" y="216"/>
                  </a:lnTo>
                  <a:lnTo>
                    <a:pt x="1450" y="216"/>
                  </a:lnTo>
                  <a:lnTo>
                    <a:pt x="1448" y="218"/>
                  </a:lnTo>
                  <a:lnTo>
                    <a:pt x="1448" y="222"/>
                  </a:lnTo>
                  <a:lnTo>
                    <a:pt x="1448" y="224"/>
                  </a:lnTo>
                  <a:lnTo>
                    <a:pt x="1450" y="224"/>
                  </a:lnTo>
                  <a:lnTo>
                    <a:pt x="1450" y="225"/>
                  </a:lnTo>
                  <a:lnTo>
                    <a:pt x="1450" y="227"/>
                  </a:lnTo>
                  <a:lnTo>
                    <a:pt x="1450" y="231"/>
                  </a:lnTo>
                  <a:lnTo>
                    <a:pt x="1452" y="233"/>
                  </a:lnTo>
                  <a:lnTo>
                    <a:pt x="1453" y="233"/>
                  </a:lnTo>
                  <a:lnTo>
                    <a:pt x="1455" y="233"/>
                  </a:lnTo>
                  <a:lnTo>
                    <a:pt x="1457" y="235"/>
                  </a:lnTo>
                  <a:lnTo>
                    <a:pt x="1459" y="236"/>
                  </a:lnTo>
                  <a:lnTo>
                    <a:pt x="1461" y="236"/>
                  </a:lnTo>
                  <a:lnTo>
                    <a:pt x="1462" y="236"/>
                  </a:lnTo>
                  <a:lnTo>
                    <a:pt x="1461" y="238"/>
                  </a:lnTo>
                  <a:lnTo>
                    <a:pt x="1457" y="236"/>
                  </a:lnTo>
                  <a:lnTo>
                    <a:pt x="1453" y="235"/>
                  </a:lnTo>
                  <a:lnTo>
                    <a:pt x="1448" y="233"/>
                  </a:lnTo>
                  <a:lnTo>
                    <a:pt x="1446" y="233"/>
                  </a:lnTo>
                  <a:lnTo>
                    <a:pt x="1444" y="233"/>
                  </a:lnTo>
                  <a:lnTo>
                    <a:pt x="1444" y="233"/>
                  </a:lnTo>
                  <a:lnTo>
                    <a:pt x="1444" y="235"/>
                  </a:lnTo>
                  <a:lnTo>
                    <a:pt x="1444" y="235"/>
                  </a:lnTo>
                  <a:lnTo>
                    <a:pt x="1446" y="235"/>
                  </a:lnTo>
                  <a:lnTo>
                    <a:pt x="1443" y="245"/>
                  </a:lnTo>
                  <a:lnTo>
                    <a:pt x="1444" y="247"/>
                  </a:lnTo>
                  <a:lnTo>
                    <a:pt x="1443" y="251"/>
                  </a:lnTo>
                  <a:lnTo>
                    <a:pt x="1443" y="254"/>
                  </a:lnTo>
                  <a:lnTo>
                    <a:pt x="1443" y="256"/>
                  </a:lnTo>
                  <a:lnTo>
                    <a:pt x="1433" y="263"/>
                  </a:lnTo>
                  <a:lnTo>
                    <a:pt x="1435" y="260"/>
                  </a:lnTo>
                  <a:lnTo>
                    <a:pt x="1437" y="258"/>
                  </a:lnTo>
                  <a:lnTo>
                    <a:pt x="1439" y="256"/>
                  </a:lnTo>
                  <a:lnTo>
                    <a:pt x="1439" y="256"/>
                  </a:lnTo>
                  <a:lnTo>
                    <a:pt x="1441" y="254"/>
                  </a:lnTo>
                  <a:lnTo>
                    <a:pt x="1439" y="253"/>
                  </a:lnTo>
                  <a:lnTo>
                    <a:pt x="1439" y="251"/>
                  </a:lnTo>
                  <a:lnTo>
                    <a:pt x="1439" y="249"/>
                  </a:lnTo>
                  <a:lnTo>
                    <a:pt x="1439" y="247"/>
                  </a:lnTo>
                  <a:lnTo>
                    <a:pt x="1439" y="245"/>
                  </a:lnTo>
                  <a:lnTo>
                    <a:pt x="1439" y="245"/>
                  </a:lnTo>
                  <a:lnTo>
                    <a:pt x="1439" y="244"/>
                  </a:lnTo>
                  <a:lnTo>
                    <a:pt x="1443" y="236"/>
                  </a:lnTo>
                  <a:lnTo>
                    <a:pt x="1443" y="233"/>
                  </a:lnTo>
                  <a:lnTo>
                    <a:pt x="1444" y="229"/>
                  </a:lnTo>
                  <a:lnTo>
                    <a:pt x="1443" y="227"/>
                  </a:lnTo>
                  <a:lnTo>
                    <a:pt x="1443" y="225"/>
                  </a:lnTo>
                  <a:lnTo>
                    <a:pt x="1441" y="224"/>
                  </a:lnTo>
                  <a:lnTo>
                    <a:pt x="1443" y="222"/>
                  </a:lnTo>
                  <a:lnTo>
                    <a:pt x="1443" y="220"/>
                  </a:lnTo>
                  <a:lnTo>
                    <a:pt x="1444" y="216"/>
                  </a:lnTo>
                  <a:lnTo>
                    <a:pt x="1444" y="215"/>
                  </a:lnTo>
                  <a:lnTo>
                    <a:pt x="1444" y="213"/>
                  </a:lnTo>
                  <a:lnTo>
                    <a:pt x="1444" y="213"/>
                  </a:lnTo>
                  <a:lnTo>
                    <a:pt x="1446" y="207"/>
                  </a:lnTo>
                  <a:lnTo>
                    <a:pt x="1446" y="207"/>
                  </a:lnTo>
                  <a:lnTo>
                    <a:pt x="1446" y="206"/>
                  </a:lnTo>
                  <a:lnTo>
                    <a:pt x="1444" y="204"/>
                  </a:lnTo>
                  <a:lnTo>
                    <a:pt x="1435" y="206"/>
                  </a:lnTo>
                  <a:lnTo>
                    <a:pt x="1432" y="209"/>
                  </a:lnTo>
                  <a:lnTo>
                    <a:pt x="1430" y="209"/>
                  </a:lnTo>
                  <a:lnTo>
                    <a:pt x="1423" y="209"/>
                  </a:lnTo>
                  <a:lnTo>
                    <a:pt x="1419" y="209"/>
                  </a:lnTo>
                  <a:lnTo>
                    <a:pt x="1419" y="211"/>
                  </a:lnTo>
                  <a:lnTo>
                    <a:pt x="1417" y="213"/>
                  </a:lnTo>
                  <a:lnTo>
                    <a:pt x="1417" y="213"/>
                  </a:lnTo>
                  <a:lnTo>
                    <a:pt x="1414" y="213"/>
                  </a:lnTo>
                  <a:lnTo>
                    <a:pt x="1414" y="215"/>
                  </a:lnTo>
                  <a:lnTo>
                    <a:pt x="1412" y="215"/>
                  </a:lnTo>
                  <a:lnTo>
                    <a:pt x="1412" y="222"/>
                  </a:lnTo>
                  <a:lnTo>
                    <a:pt x="1405" y="233"/>
                  </a:lnTo>
                  <a:lnTo>
                    <a:pt x="1405" y="240"/>
                  </a:lnTo>
                  <a:lnTo>
                    <a:pt x="1406" y="242"/>
                  </a:lnTo>
                  <a:lnTo>
                    <a:pt x="1406" y="244"/>
                  </a:lnTo>
                  <a:lnTo>
                    <a:pt x="1408" y="244"/>
                  </a:lnTo>
                  <a:lnTo>
                    <a:pt x="1408" y="244"/>
                  </a:lnTo>
                  <a:lnTo>
                    <a:pt x="1410" y="242"/>
                  </a:lnTo>
                  <a:lnTo>
                    <a:pt x="1412" y="242"/>
                  </a:lnTo>
                  <a:lnTo>
                    <a:pt x="1415" y="240"/>
                  </a:lnTo>
                  <a:lnTo>
                    <a:pt x="1419" y="240"/>
                  </a:lnTo>
                  <a:lnTo>
                    <a:pt x="1419" y="242"/>
                  </a:lnTo>
                  <a:lnTo>
                    <a:pt x="1419" y="244"/>
                  </a:lnTo>
                  <a:lnTo>
                    <a:pt x="1421" y="244"/>
                  </a:lnTo>
                  <a:lnTo>
                    <a:pt x="1421" y="245"/>
                  </a:lnTo>
                  <a:lnTo>
                    <a:pt x="1419" y="245"/>
                  </a:lnTo>
                  <a:lnTo>
                    <a:pt x="1419" y="245"/>
                  </a:lnTo>
                  <a:lnTo>
                    <a:pt x="1419" y="244"/>
                  </a:lnTo>
                  <a:lnTo>
                    <a:pt x="1417" y="242"/>
                  </a:lnTo>
                  <a:lnTo>
                    <a:pt x="1415" y="242"/>
                  </a:lnTo>
                  <a:lnTo>
                    <a:pt x="1410" y="244"/>
                  </a:lnTo>
                  <a:lnTo>
                    <a:pt x="1408" y="245"/>
                  </a:lnTo>
                  <a:lnTo>
                    <a:pt x="1408" y="249"/>
                  </a:lnTo>
                  <a:lnTo>
                    <a:pt x="1406" y="251"/>
                  </a:lnTo>
                  <a:lnTo>
                    <a:pt x="1408" y="254"/>
                  </a:lnTo>
                  <a:lnTo>
                    <a:pt x="1408" y="256"/>
                  </a:lnTo>
                  <a:lnTo>
                    <a:pt x="1410" y="258"/>
                  </a:lnTo>
                  <a:lnTo>
                    <a:pt x="1410" y="258"/>
                  </a:lnTo>
                  <a:lnTo>
                    <a:pt x="1412" y="258"/>
                  </a:lnTo>
                  <a:lnTo>
                    <a:pt x="1412" y="260"/>
                  </a:lnTo>
                  <a:lnTo>
                    <a:pt x="1412" y="260"/>
                  </a:lnTo>
                  <a:lnTo>
                    <a:pt x="1412" y="262"/>
                  </a:lnTo>
                  <a:lnTo>
                    <a:pt x="1412" y="262"/>
                  </a:lnTo>
                  <a:lnTo>
                    <a:pt x="1414" y="265"/>
                  </a:lnTo>
                  <a:lnTo>
                    <a:pt x="1414" y="265"/>
                  </a:lnTo>
                  <a:lnTo>
                    <a:pt x="1415" y="267"/>
                  </a:lnTo>
                  <a:lnTo>
                    <a:pt x="1423" y="265"/>
                  </a:lnTo>
                  <a:lnTo>
                    <a:pt x="1424" y="265"/>
                  </a:lnTo>
                  <a:lnTo>
                    <a:pt x="1424" y="267"/>
                  </a:lnTo>
                  <a:lnTo>
                    <a:pt x="1428" y="272"/>
                  </a:lnTo>
                  <a:lnTo>
                    <a:pt x="1430" y="274"/>
                  </a:lnTo>
                  <a:lnTo>
                    <a:pt x="1430" y="274"/>
                  </a:lnTo>
                  <a:lnTo>
                    <a:pt x="1430" y="276"/>
                  </a:lnTo>
                  <a:lnTo>
                    <a:pt x="1430" y="278"/>
                  </a:lnTo>
                  <a:lnTo>
                    <a:pt x="1430" y="278"/>
                  </a:lnTo>
                  <a:lnTo>
                    <a:pt x="1430" y="280"/>
                  </a:lnTo>
                  <a:lnTo>
                    <a:pt x="1430" y="283"/>
                  </a:lnTo>
                  <a:lnTo>
                    <a:pt x="1430" y="285"/>
                  </a:lnTo>
                  <a:lnTo>
                    <a:pt x="1432" y="285"/>
                  </a:lnTo>
                  <a:lnTo>
                    <a:pt x="1433" y="287"/>
                  </a:lnTo>
                  <a:lnTo>
                    <a:pt x="1432" y="289"/>
                  </a:lnTo>
                  <a:lnTo>
                    <a:pt x="1428" y="285"/>
                  </a:lnTo>
                  <a:lnTo>
                    <a:pt x="1426" y="285"/>
                  </a:lnTo>
                  <a:lnTo>
                    <a:pt x="1426" y="287"/>
                  </a:lnTo>
                  <a:lnTo>
                    <a:pt x="1424" y="289"/>
                  </a:lnTo>
                  <a:lnTo>
                    <a:pt x="1423" y="289"/>
                  </a:lnTo>
                  <a:lnTo>
                    <a:pt x="1423" y="289"/>
                  </a:lnTo>
                  <a:lnTo>
                    <a:pt x="1421" y="287"/>
                  </a:lnTo>
                  <a:lnTo>
                    <a:pt x="1419" y="285"/>
                  </a:lnTo>
                  <a:lnTo>
                    <a:pt x="1421" y="285"/>
                  </a:lnTo>
                  <a:lnTo>
                    <a:pt x="1421" y="281"/>
                  </a:lnTo>
                  <a:lnTo>
                    <a:pt x="1419" y="281"/>
                  </a:lnTo>
                  <a:lnTo>
                    <a:pt x="1419" y="281"/>
                  </a:lnTo>
                  <a:lnTo>
                    <a:pt x="1419" y="283"/>
                  </a:lnTo>
                  <a:lnTo>
                    <a:pt x="1417" y="285"/>
                  </a:lnTo>
                  <a:lnTo>
                    <a:pt x="1417" y="285"/>
                  </a:lnTo>
                  <a:lnTo>
                    <a:pt x="1415" y="283"/>
                  </a:lnTo>
                  <a:lnTo>
                    <a:pt x="1415" y="283"/>
                  </a:lnTo>
                  <a:lnTo>
                    <a:pt x="1415" y="281"/>
                  </a:lnTo>
                  <a:lnTo>
                    <a:pt x="1417" y="281"/>
                  </a:lnTo>
                  <a:lnTo>
                    <a:pt x="1419" y="280"/>
                  </a:lnTo>
                  <a:lnTo>
                    <a:pt x="1419" y="280"/>
                  </a:lnTo>
                  <a:lnTo>
                    <a:pt x="1421" y="281"/>
                  </a:lnTo>
                  <a:lnTo>
                    <a:pt x="1424" y="280"/>
                  </a:lnTo>
                  <a:lnTo>
                    <a:pt x="1426" y="278"/>
                  </a:lnTo>
                  <a:lnTo>
                    <a:pt x="1426" y="274"/>
                  </a:lnTo>
                  <a:lnTo>
                    <a:pt x="1424" y="271"/>
                  </a:lnTo>
                  <a:lnTo>
                    <a:pt x="1415" y="271"/>
                  </a:lnTo>
                  <a:lnTo>
                    <a:pt x="1414" y="269"/>
                  </a:lnTo>
                  <a:lnTo>
                    <a:pt x="1410" y="265"/>
                  </a:lnTo>
                  <a:lnTo>
                    <a:pt x="1408" y="263"/>
                  </a:lnTo>
                  <a:lnTo>
                    <a:pt x="1408" y="262"/>
                  </a:lnTo>
                  <a:lnTo>
                    <a:pt x="1408" y="260"/>
                  </a:lnTo>
                  <a:lnTo>
                    <a:pt x="1405" y="256"/>
                  </a:lnTo>
                  <a:lnTo>
                    <a:pt x="1403" y="254"/>
                  </a:lnTo>
                  <a:lnTo>
                    <a:pt x="1403" y="254"/>
                  </a:lnTo>
                  <a:lnTo>
                    <a:pt x="1403" y="253"/>
                  </a:lnTo>
                  <a:lnTo>
                    <a:pt x="1403" y="251"/>
                  </a:lnTo>
                  <a:lnTo>
                    <a:pt x="1403" y="249"/>
                  </a:lnTo>
                  <a:lnTo>
                    <a:pt x="1401" y="249"/>
                  </a:lnTo>
                  <a:lnTo>
                    <a:pt x="1401" y="249"/>
                  </a:lnTo>
                  <a:lnTo>
                    <a:pt x="1399" y="249"/>
                  </a:lnTo>
                  <a:lnTo>
                    <a:pt x="1399" y="247"/>
                  </a:lnTo>
                  <a:lnTo>
                    <a:pt x="1401" y="247"/>
                  </a:lnTo>
                  <a:lnTo>
                    <a:pt x="1401" y="245"/>
                  </a:lnTo>
                  <a:lnTo>
                    <a:pt x="1401" y="245"/>
                  </a:lnTo>
                  <a:lnTo>
                    <a:pt x="1401" y="242"/>
                  </a:lnTo>
                  <a:lnTo>
                    <a:pt x="1399" y="242"/>
                  </a:lnTo>
                  <a:lnTo>
                    <a:pt x="1388" y="244"/>
                  </a:lnTo>
                  <a:lnTo>
                    <a:pt x="1385" y="245"/>
                  </a:lnTo>
                  <a:lnTo>
                    <a:pt x="1383" y="245"/>
                  </a:lnTo>
                  <a:lnTo>
                    <a:pt x="1381" y="247"/>
                  </a:lnTo>
                  <a:lnTo>
                    <a:pt x="1381" y="249"/>
                  </a:lnTo>
                  <a:lnTo>
                    <a:pt x="1381" y="251"/>
                  </a:lnTo>
                  <a:lnTo>
                    <a:pt x="1381" y="253"/>
                  </a:lnTo>
                  <a:lnTo>
                    <a:pt x="1381" y="253"/>
                  </a:lnTo>
                  <a:lnTo>
                    <a:pt x="1379" y="254"/>
                  </a:lnTo>
                  <a:lnTo>
                    <a:pt x="1379" y="256"/>
                  </a:lnTo>
                  <a:lnTo>
                    <a:pt x="1381" y="256"/>
                  </a:lnTo>
                  <a:lnTo>
                    <a:pt x="1381" y="258"/>
                  </a:lnTo>
                  <a:lnTo>
                    <a:pt x="1385" y="258"/>
                  </a:lnTo>
                  <a:lnTo>
                    <a:pt x="1385" y="258"/>
                  </a:lnTo>
                  <a:lnTo>
                    <a:pt x="1387" y="258"/>
                  </a:lnTo>
                  <a:lnTo>
                    <a:pt x="1387" y="260"/>
                  </a:lnTo>
                  <a:lnTo>
                    <a:pt x="1387" y="262"/>
                  </a:lnTo>
                  <a:lnTo>
                    <a:pt x="1387" y="263"/>
                  </a:lnTo>
                  <a:lnTo>
                    <a:pt x="1388" y="265"/>
                  </a:lnTo>
                  <a:lnTo>
                    <a:pt x="1388" y="265"/>
                  </a:lnTo>
                  <a:lnTo>
                    <a:pt x="1388" y="265"/>
                  </a:lnTo>
                  <a:lnTo>
                    <a:pt x="1390" y="267"/>
                  </a:lnTo>
                  <a:lnTo>
                    <a:pt x="1405" y="272"/>
                  </a:lnTo>
                  <a:lnTo>
                    <a:pt x="1405" y="274"/>
                  </a:lnTo>
                  <a:lnTo>
                    <a:pt x="1406" y="276"/>
                  </a:lnTo>
                  <a:lnTo>
                    <a:pt x="1408" y="276"/>
                  </a:lnTo>
                  <a:lnTo>
                    <a:pt x="1408" y="278"/>
                  </a:lnTo>
                  <a:lnTo>
                    <a:pt x="1408" y="278"/>
                  </a:lnTo>
                  <a:lnTo>
                    <a:pt x="1408" y="278"/>
                  </a:lnTo>
                  <a:lnTo>
                    <a:pt x="1408" y="280"/>
                  </a:lnTo>
                  <a:lnTo>
                    <a:pt x="1408" y="280"/>
                  </a:lnTo>
                  <a:lnTo>
                    <a:pt x="1405" y="278"/>
                  </a:lnTo>
                  <a:lnTo>
                    <a:pt x="1401" y="274"/>
                  </a:lnTo>
                  <a:lnTo>
                    <a:pt x="1399" y="274"/>
                  </a:lnTo>
                  <a:lnTo>
                    <a:pt x="1394" y="274"/>
                  </a:lnTo>
                  <a:lnTo>
                    <a:pt x="1392" y="274"/>
                  </a:lnTo>
                  <a:lnTo>
                    <a:pt x="1390" y="276"/>
                  </a:lnTo>
                  <a:lnTo>
                    <a:pt x="1392" y="278"/>
                  </a:lnTo>
                  <a:lnTo>
                    <a:pt x="1392" y="278"/>
                  </a:lnTo>
                  <a:lnTo>
                    <a:pt x="1392" y="280"/>
                  </a:lnTo>
                  <a:lnTo>
                    <a:pt x="1392" y="281"/>
                  </a:lnTo>
                  <a:lnTo>
                    <a:pt x="1392" y="283"/>
                  </a:lnTo>
                  <a:lnTo>
                    <a:pt x="1392" y="283"/>
                  </a:lnTo>
                  <a:lnTo>
                    <a:pt x="1392" y="281"/>
                  </a:lnTo>
                  <a:lnTo>
                    <a:pt x="1390" y="280"/>
                  </a:lnTo>
                  <a:lnTo>
                    <a:pt x="1390" y="280"/>
                  </a:lnTo>
                  <a:lnTo>
                    <a:pt x="1388" y="278"/>
                  </a:lnTo>
                  <a:lnTo>
                    <a:pt x="1388" y="278"/>
                  </a:lnTo>
                  <a:lnTo>
                    <a:pt x="1387" y="276"/>
                  </a:lnTo>
                  <a:lnTo>
                    <a:pt x="1387" y="272"/>
                  </a:lnTo>
                  <a:lnTo>
                    <a:pt x="1387" y="271"/>
                  </a:lnTo>
                  <a:lnTo>
                    <a:pt x="1385" y="269"/>
                  </a:lnTo>
                  <a:lnTo>
                    <a:pt x="1385" y="269"/>
                  </a:lnTo>
                  <a:lnTo>
                    <a:pt x="1385" y="271"/>
                  </a:lnTo>
                  <a:lnTo>
                    <a:pt x="1385" y="274"/>
                  </a:lnTo>
                  <a:lnTo>
                    <a:pt x="1385" y="278"/>
                  </a:lnTo>
                  <a:lnTo>
                    <a:pt x="1385" y="281"/>
                  </a:lnTo>
                  <a:lnTo>
                    <a:pt x="1383" y="283"/>
                  </a:lnTo>
                  <a:lnTo>
                    <a:pt x="1383" y="287"/>
                  </a:lnTo>
                  <a:lnTo>
                    <a:pt x="1383" y="285"/>
                  </a:lnTo>
                  <a:lnTo>
                    <a:pt x="1383" y="285"/>
                  </a:lnTo>
                  <a:lnTo>
                    <a:pt x="1383" y="283"/>
                  </a:lnTo>
                  <a:lnTo>
                    <a:pt x="1383" y="281"/>
                  </a:lnTo>
                  <a:lnTo>
                    <a:pt x="1383" y="281"/>
                  </a:lnTo>
                  <a:lnTo>
                    <a:pt x="1383" y="280"/>
                  </a:lnTo>
                  <a:lnTo>
                    <a:pt x="1383" y="280"/>
                  </a:lnTo>
                  <a:lnTo>
                    <a:pt x="1383" y="276"/>
                  </a:lnTo>
                  <a:lnTo>
                    <a:pt x="1383" y="272"/>
                  </a:lnTo>
                  <a:lnTo>
                    <a:pt x="1383" y="269"/>
                  </a:lnTo>
                  <a:lnTo>
                    <a:pt x="1383" y="267"/>
                  </a:lnTo>
                  <a:lnTo>
                    <a:pt x="1381" y="265"/>
                  </a:lnTo>
                  <a:lnTo>
                    <a:pt x="1381" y="265"/>
                  </a:lnTo>
                  <a:lnTo>
                    <a:pt x="1379" y="263"/>
                  </a:lnTo>
                  <a:lnTo>
                    <a:pt x="1376" y="265"/>
                  </a:lnTo>
                  <a:lnTo>
                    <a:pt x="1376" y="265"/>
                  </a:lnTo>
                  <a:lnTo>
                    <a:pt x="1376" y="263"/>
                  </a:lnTo>
                  <a:lnTo>
                    <a:pt x="1376" y="262"/>
                  </a:lnTo>
                  <a:lnTo>
                    <a:pt x="1376" y="262"/>
                  </a:lnTo>
                  <a:lnTo>
                    <a:pt x="1378" y="260"/>
                  </a:lnTo>
                  <a:lnTo>
                    <a:pt x="1376" y="258"/>
                  </a:lnTo>
                  <a:lnTo>
                    <a:pt x="1374" y="254"/>
                  </a:lnTo>
                  <a:lnTo>
                    <a:pt x="1374" y="253"/>
                  </a:lnTo>
                  <a:lnTo>
                    <a:pt x="1372" y="251"/>
                  </a:lnTo>
                  <a:lnTo>
                    <a:pt x="1370" y="251"/>
                  </a:lnTo>
                  <a:lnTo>
                    <a:pt x="1370" y="251"/>
                  </a:lnTo>
                  <a:lnTo>
                    <a:pt x="1370" y="251"/>
                  </a:lnTo>
                  <a:lnTo>
                    <a:pt x="1370" y="253"/>
                  </a:lnTo>
                  <a:lnTo>
                    <a:pt x="1370" y="253"/>
                  </a:lnTo>
                  <a:lnTo>
                    <a:pt x="1367" y="253"/>
                  </a:lnTo>
                  <a:lnTo>
                    <a:pt x="1365" y="254"/>
                  </a:lnTo>
                  <a:lnTo>
                    <a:pt x="1365" y="254"/>
                  </a:lnTo>
                  <a:lnTo>
                    <a:pt x="1365" y="254"/>
                  </a:lnTo>
                  <a:lnTo>
                    <a:pt x="1365" y="256"/>
                  </a:lnTo>
                  <a:lnTo>
                    <a:pt x="1365" y="258"/>
                  </a:lnTo>
                  <a:lnTo>
                    <a:pt x="1365" y="258"/>
                  </a:lnTo>
                  <a:lnTo>
                    <a:pt x="1367" y="258"/>
                  </a:lnTo>
                  <a:lnTo>
                    <a:pt x="1365" y="260"/>
                  </a:lnTo>
                  <a:lnTo>
                    <a:pt x="1367" y="262"/>
                  </a:lnTo>
                  <a:lnTo>
                    <a:pt x="1367" y="262"/>
                  </a:lnTo>
                  <a:lnTo>
                    <a:pt x="1367" y="262"/>
                  </a:lnTo>
                  <a:lnTo>
                    <a:pt x="1365" y="263"/>
                  </a:lnTo>
                  <a:lnTo>
                    <a:pt x="1365" y="265"/>
                  </a:lnTo>
                  <a:lnTo>
                    <a:pt x="1363" y="267"/>
                  </a:lnTo>
                  <a:lnTo>
                    <a:pt x="1365" y="271"/>
                  </a:lnTo>
                  <a:lnTo>
                    <a:pt x="1363" y="272"/>
                  </a:lnTo>
                  <a:lnTo>
                    <a:pt x="1359" y="274"/>
                  </a:lnTo>
                  <a:lnTo>
                    <a:pt x="1358" y="276"/>
                  </a:lnTo>
                  <a:lnTo>
                    <a:pt x="1358" y="280"/>
                  </a:lnTo>
                  <a:lnTo>
                    <a:pt x="1358" y="285"/>
                  </a:lnTo>
                  <a:lnTo>
                    <a:pt x="1358" y="287"/>
                  </a:lnTo>
                  <a:lnTo>
                    <a:pt x="1358" y="287"/>
                  </a:lnTo>
                  <a:lnTo>
                    <a:pt x="1361" y="287"/>
                  </a:lnTo>
                  <a:lnTo>
                    <a:pt x="1363" y="287"/>
                  </a:lnTo>
                  <a:lnTo>
                    <a:pt x="1361" y="289"/>
                  </a:lnTo>
                  <a:lnTo>
                    <a:pt x="1361" y="291"/>
                  </a:lnTo>
                  <a:lnTo>
                    <a:pt x="1361" y="292"/>
                  </a:lnTo>
                  <a:lnTo>
                    <a:pt x="1361" y="294"/>
                  </a:lnTo>
                  <a:lnTo>
                    <a:pt x="1361" y="296"/>
                  </a:lnTo>
                  <a:lnTo>
                    <a:pt x="1365" y="298"/>
                  </a:lnTo>
                  <a:lnTo>
                    <a:pt x="1358" y="298"/>
                  </a:lnTo>
                  <a:lnTo>
                    <a:pt x="1356" y="300"/>
                  </a:lnTo>
                  <a:lnTo>
                    <a:pt x="1350" y="303"/>
                  </a:lnTo>
                  <a:lnTo>
                    <a:pt x="1340" y="303"/>
                  </a:lnTo>
                  <a:lnTo>
                    <a:pt x="1340" y="305"/>
                  </a:lnTo>
                  <a:lnTo>
                    <a:pt x="1340" y="305"/>
                  </a:lnTo>
                  <a:lnTo>
                    <a:pt x="1341" y="307"/>
                  </a:lnTo>
                  <a:lnTo>
                    <a:pt x="1341" y="307"/>
                  </a:lnTo>
                  <a:lnTo>
                    <a:pt x="1340" y="309"/>
                  </a:lnTo>
                  <a:lnTo>
                    <a:pt x="1338" y="310"/>
                  </a:lnTo>
                  <a:lnTo>
                    <a:pt x="1336" y="316"/>
                  </a:lnTo>
                  <a:lnTo>
                    <a:pt x="1332" y="319"/>
                  </a:lnTo>
                  <a:lnTo>
                    <a:pt x="1332" y="321"/>
                  </a:lnTo>
                  <a:lnTo>
                    <a:pt x="1332" y="321"/>
                  </a:lnTo>
                  <a:lnTo>
                    <a:pt x="1334" y="321"/>
                  </a:lnTo>
                  <a:lnTo>
                    <a:pt x="1334" y="323"/>
                  </a:lnTo>
                  <a:lnTo>
                    <a:pt x="1334" y="325"/>
                  </a:lnTo>
                  <a:lnTo>
                    <a:pt x="1334" y="327"/>
                  </a:lnTo>
                  <a:lnTo>
                    <a:pt x="1332" y="327"/>
                  </a:lnTo>
                  <a:lnTo>
                    <a:pt x="1331" y="327"/>
                  </a:lnTo>
                  <a:lnTo>
                    <a:pt x="1329" y="332"/>
                  </a:lnTo>
                  <a:lnTo>
                    <a:pt x="1329" y="334"/>
                  </a:lnTo>
                  <a:lnTo>
                    <a:pt x="1331" y="334"/>
                  </a:lnTo>
                  <a:lnTo>
                    <a:pt x="1334" y="332"/>
                  </a:lnTo>
                  <a:lnTo>
                    <a:pt x="1343" y="328"/>
                  </a:lnTo>
                  <a:lnTo>
                    <a:pt x="1343" y="330"/>
                  </a:lnTo>
                  <a:lnTo>
                    <a:pt x="1343" y="332"/>
                  </a:lnTo>
                  <a:lnTo>
                    <a:pt x="1349" y="334"/>
                  </a:lnTo>
                  <a:lnTo>
                    <a:pt x="1350" y="337"/>
                  </a:lnTo>
                  <a:lnTo>
                    <a:pt x="1349" y="337"/>
                  </a:lnTo>
                  <a:lnTo>
                    <a:pt x="1347" y="337"/>
                  </a:lnTo>
                  <a:lnTo>
                    <a:pt x="1345" y="337"/>
                  </a:lnTo>
                  <a:lnTo>
                    <a:pt x="1345" y="336"/>
                  </a:lnTo>
                  <a:lnTo>
                    <a:pt x="1343" y="336"/>
                  </a:lnTo>
                  <a:lnTo>
                    <a:pt x="1343" y="334"/>
                  </a:lnTo>
                  <a:lnTo>
                    <a:pt x="1341" y="336"/>
                  </a:lnTo>
                  <a:lnTo>
                    <a:pt x="1341" y="336"/>
                  </a:lnTo>
                  <a:lnTo>
                    <a:pt x="1340" y="337"/>
                  </a:lnTo>
                  <a:lnTo>
                    <a:pt x="1338" y="337"/>
                  </a:lnTo>
                  <a:lnTo>
                    <a:pt x="1334" y="341"/>
                  </a:lnTo>
                  <a:lnTo>
                    <a:pt x="1331" y="343"/>
                  </a:lnTo>
                  <a:lnTo>
                    <a:pt x="1340" y="348"/>
                  </a:lnTo>
                  <a:lnTo>
                    <a:pt x="1345" y="348"/>
                  </a:lnTo>
                  <a:lnTo>
                    <a:pt x="1347" y="350"/>
                  </a:lnTo>
                  <a:lnTo>
                    <a:pt x="1347" y="354"/>
                  </a:lnTo>
                  <a:lnTo>
                    <a:pt x="1343" y="350"/>
                  </a:lnTo>
                  <a:lnTo>
                    <a:pt x="1336" y="348"/>
                  </a:lnTo>
                  <a:lnTo>
                    <a:pt x="1331" y="345"/>
                  </a:lnTo>
                  <a:lnTo>
                    <a:pt x="1329" y="347"/>
                  </a:lnTo>
                  <a:lnTo>
                    <a:pt x="1327" y="348"/>
                  </a:lnTo>
                  <a:lnTo>
                    <a:pt x="1323" y="350"/>
                  </a:lnTo>
                  <a:lnTo>
                    <a:pt x="1320" y="352"/>
                  </a:lnTo>
                  <a:lnTo>
                    <a:pt x="1320" y="354"/>
                  </a:lnTo>
                  <a:lnTo>
                    <a:pt x="1322" y="356"/>
                  </a:lnTo>
                  <a:lnTo>
                    <a:pt x="1323" y="357"/>
                  </a:lnTo>
                  <a:lnTo>
                    <a:pt x="1325" y="356"/>
                  </a:lnTo>
                  <a:lnTo>
                    <a:pt x="1325" y="354"/>
                  </a:lnTo>
                  <a:lnTo>
                    <a:pt x="1327" y="356"/>
                  </a:lnTo>
                  <a:lnTo>
                    <a:pt x="1329" y="357"/>
                  </a:lnTo>
                  <a:lnTo>
                    <a:pt x="1331" y="359"/>
                  </a:lnTo>
                  <a:lnTo>
                    <a:pt x="1332" y="363"/>
                  </a:lnTo>
                  <a:lnTo>
                    <a:pt x="1338" y="365"/>
                  </a:lnTo>
                  <a:lnTo>
                    <a:pt x="1341" y="366"/>
                  </a:lnTo>
                  <a:lnTo>
                    <a:pt x="1340" y="366"/>
                  </a:lnTo>
                  <a:lnTo>
                    <a:pt x="1336" y="365"/>
                  </a:lnTo>
                  <a:lnTo>
                    <a:pt x="1332" y="366"/>
                  </a:lnTo>
                  <a:lnTo>
                    <a:pt x="1331" y="366"/>
                  </a:lnTo>
                  <a:lnTo>
                    <a:pt x="1329" y="365"/>
                  </a:lnTo>
                  <a:lnTo>
                    <a:pt x="1329" y="365"/>
                  </a:lnTo>
                  <a:lnTo>
                    <a:pt x="1327" y="363"/>
                  </a:lnTo>
                  <a:lnTo>
                    <a:pt x="1325" y="359"/>
                  </a:lnTo>
                  <a:lnTo>
                    <a:pt x="1325" y="359"/>
                  </a:lnTo>
                  <a:lnTo>
                    <a:pt x="1323" y="361"/>
                  </a:lnTo>
                  <a:lnTo>
                    <a:pt x="1323" y="361"/>
                  </a:lnTo>
                  <a:lnTo>
                    <a:pt x="1322" y="359"/>
                  </a:lnTo>
                  <a:lnTo>
                    <a:pt x="1320" y="357"/>
                  </a:lnTo>
                  <a:lnTo>
                    <a:pt x="1318" y="359"/>
                  </a:lnTo>
                  <a:lnTo>
                    <a:pt x="1313" y="361"/>
                  </a:lnTo>
                  <a:lnTo>
                    <a:pt x="1313" y="361"/>
                  </a:lnTo>
                  <a:lnTo>
                    <a:pt x="1313" y="363"/>
                  </a:lnTo>
                  <a:lnTo>
                    <a:pt x="1313" y="363"/>
                  </a:lnTo>
                  <a:lnTo>
                    <a:pt x="1313" y="365"/>
                  </a:lnTo>
                  <a:lnTo>
                    <a:pt x="1313" y="366"/>
                  </a:lnTo>
                  <a:lnTo>
                    <a:pt x="1313" y="366"/>
                  </a:lnTo>
                  <a:lnTo>
                    <a:pt x="1313" y="366"/>
                  </a:lnTo>
                  <a:lnTo>
                    <a:pt x="1314" y="368"/>
                  </a:lnTo>
                  <a:lnTo>
                    <a:pt x="1314" y="368"/>
                  </a:lnTo>
                  <a:lnTo>
                    <a:pt x="1316" y="368"/>
                  </a:lnTo>
                  <a:lnTo>
                    <a:pt x="1316" y="368"/>
                  </a:lnTo>
                  <a:lnTo>
                    <a:pt x="1316" y="370"/>
                  </a:lnTo>
                  <a:lnTo>
                    <a:pt x="1316" y="370"/>
                  </a:lnTo>
                  <a:lnTo>
                    <a:pt x="1314" y="370"/>
                  </a:lnTo>
                  <a:lnTo>
                    <a:pt x="1314" y="370"/>
                  </a:lnTo>
                  <a:lnTo>
                    <a:pt x="1313" y="368"/>
                  </a:lnTo>
                  <a:lnTo>
                    <a:pt x="1311" y="368"/>
                  </a:lnTo>
                  <a:lnTo>
                    <a:pt x="1311" y="368"/>
                  </a:lnTo>
                  <a:lnTo>
                    <a:pt x="1311" y="366"/>
                  </a:lnTo>
                  <a:lnTo>
                    <a:pt x="1311" y="366"/>
                  </a:lnTo>
                  <a:lnTo>
                    <a:pt x="1309" y="365"/>
                  </a:lnTo>
                  <a:lnTo>
                    <a:pt x="1309" y="363"/>
                  </a:lnTo>
                  <a:lnTo>
                    <a:pt x="1307" y="361"/>
                  </a:lnTo>
                  <a:lnTo>
                    <a:pt x="1305" y="361"/>
                  </a:lnTo>
                  <a:lnTo>
                    <a:pt x="1303" y="363"/>
                  </a:lnTo>
                  <a:lnTo>
                    <a:pt x="1298" y="365"/>
                  </a:lnTo>
                  <a:lnTo>
                    <a:pt x="1293" y="368"/>
                  </a:lnTo>
                  <a:lnTo>
                    <a:pt x="1289" y="370"/>
                  </a:lnTo>
                  <a:lnTo>
                    <a:pt x="1287" y="372"/>
                  </a:lnTo>
                  <a:lnTo>
                    <a:pt x="1285" y="374"/>
                  </a:lnTo>
                  <a:lnTo>
                    <a:pt x="1285" y="375"/>
                  </a:lnTo>
                  <a:lnTo>
                    <a:pt x="1285" y="377"/>
                  </a:lnTo>
                  <a:lnTo>
                    <a:pt x="1285" y="379"/>
                  </a:lnTo>
                  <a:lnTo>
                    <a:pt x="1287" y="381"/>
                  </a:lnTo>
                  <a:lnTo>
                    <a:pt x="1287" y="381"/>
                  </a:lnTo>
                  <a:lnTo>
                    <a:pt x="1287" y="381"/>
                  </a:lnTo>
                  <a:lnTo>
                    <a:pt x="1289" y="383"/>
                  </a:lnTo>
                  <a:lnTo>
                    <a:pt x="1289" y="383"/>
                  </a:lnTo>
                  <a:lnTo>
                    <a:pt x="1289" y="384"/>
                  </a:lnTo>
                  <a:lnTo>
                    <a:pt x="1287" y="384"/>
                  </a:lnTo>
                  <a:lnTo>
                    <a:pt x="1285" y="384"/>
                  </a:lnTo>
                  <a:lnTo>
                    <a:pt x="1284" y="383"/>
                  </a:lnTo>
                  <a:lnTo>
                    <a:pt x="1282" y="384"/>
                  </a:lnTo>
                  <a:lnTo>
                    <a:pt x="1282" y="386"/>
                  </a:lnTo>
                  <a:lnTo>
                    <a:pt x="1280" y="388"/>
                  </a:lnTo>
                  <a:lnTo>
                    <a:pt x="1280" y="388"/>
                  </a:lnTo>
                  <a:lnTo>
                    <a:pt x="1282" y="390"/>
                  </a:lnTo>
                  <a:lnTo>
                    <a:pt x="1282" y="390"/>
                  </a:lnTo>
                  <a:lnTo>
                    <a:pt x="1282" y="392"/>
                  </a:lnTo>
                  <a:lnTo>
                    <a:pt x="1282" y="393"/>
                  </a:lnTo>
                  <a:lnTo>
                    <a:pt x="1282" y="395"/>
                  </a:lnTo>
                  <a:lnTo>
                    <a:pt x="1284" y="397"/>
                  </a:lnTo>
                  <a:lnTo>
                    <a:pt x="1284" y="397"/>
                  </a:lnTo>
                  <a:lnTo>
                    <a:pt x="1291" y="397"/>
                  </a:lnTo>
                  <a:lnTo>
                    <a:pt x="1294" y="395"/>
                  </a:lnTo>
                  <a:lnTo>
                    <a:pt x="1300" y="395"/>
                  </a:lnTo>
                  <a:lnTo>
                    <a:pt x="1302" y="393"/>
                  </a:lnTo>
                  <a:lnTo>
                    <a:pt x="1302" y="392"/>
                  </a:lnTo>
                  <a:lnTo>
                    <a:pt x="1305" y="388"/>
                  </a:lnTo>
                  <a:lnTo>
                    <a:pt x="1307" y="388"/>
                  </a:lnTo>
                  <a:lnTo>
                    <a:pt x="1307" y="388"/>
                  </a:lnTo>
                  <a:lnTo>
                    <a:pt x="1309" y="390"/>
                  </a:lnTo>
                  <a:lnTo>
                    <a:pt x="1309" y="390"/>
                  </a:lnTo>
                  <a:lnTo>
                    <a:pt x="1309" y="390"/>
                  </a:lnTo>
                  <a:lnTo>
                    <a:pt x="1311" y="390"/>
                  </a:lnTo>
                  <a:lnTo>
                    <a:pt x="1313" y="392"/>
                  </a:lnTo>
                  <a:lnTo>
                    <a:pt x="1313" y="393"/>
                  </a:lnTo>
                  <a:lnTo>
                    <a:pt x="1311" y="395"/>
                  </a:lnTo>
                  <a:lnTo>
                    <a:pt x="1309" y="395"/>
                  </a:lnTo>
                  <a:lnTo>
                    <a:pt x="1307" y="395"/>
                  </a:lnTo>
                  <a:lnTo>
                    <a:pt x="1309" y="397"/>
                  </a:lnTo>
                  <a:lnTo>
                    <a:pt x="1320" y="395"/>
                  </a:lnTo>
                  <a:lnTo>
                    <a:pt x="1323" y="390"/>
                  </a:lnTo>
                  <a:lnTo>
                    <a:pt x="1325" y="388"/>
                  </a:lnTo>
                  <a:lnTo>
                    <a:pt x="1329" y="388"/>
                  </a:lnTo>
                  <a:lnTo>
                    <a:pt x="1331" y="386"/>
                  </a:lnTo>
                  <a:lnTo>
                    <a:pt x="1334" y="384"/>
                  </a:lnTo>
                  <a:lnTo>
                    <a:pt x="1334" y="384"/>
                  </a:lnTo>
                  <a:lnTo>
                    <a:pt x="1334" y="386"/>
                  </a:lnTo>
                  <a:lnTo>
                    <a:pt x="1331" y="395"/>
                  </a:lnTo>
                  <a:lnTo>
                    <a:pt x="1338" y="395"/>
                  </a:lnTo>
                  <a:lnTo>
                    <a:pt x="1349" y="403"/>
                  </a:lnTo>
                  <a:lnTo>
                    <a:pt x="1350" y="403"/>
                  </a:lnTo>
                  <a:lnTo>
                    <a:pt x="1349" y="404"/>
                  </a:lnTo>
                  <a:lnTo>
                    <a:pt x="1343" y="401"/>
                  </a:lnTo>
                  <a:lnTo>
                    <a:pt x="1334" y="399"/>
                  </a:lnTo>
                  <a:lnTo>
                    <a:pt x="1327" y="399"/>
                  </a:lnTo>
                  <a:lnTo>
                    <a:pt x="1325" y="401"/>
                  </a:lnTo>
                  <a:lnTo>
                    <a:pt x="1334" y="406"/>
                  </a:lnTo>
                  <a:lnTo>
                    <a:pt x="1336" y="408"/>
                  </a:lnTo>
                  <a:lnTo>
                    <a:pt x="1332" y="408"/>
                  </a:lnTo>
                  <a:lnTo>
                    <a:pt x="1323" y="401"/>
                  </a:lnTo>
                  <a:lnTo>
                    <a:pt x="1320" y="401"/>
                  </a:lnTo>
                  <a:lnTo>
                    <a:pt x="1320" y="403"/>
                  </a:lnTo>
                  <a:lnTo>
                    <a:pt x="1320" y="403"/>
                  </a:lnTo>
                  <a:lnTo>
                    <a:pt x="1320" y="404"/>
                  </a:lnTo>
                  <a:lnTo>
                    <a:pt x="1318" y="406"/>
                  </a:lnTo>
                  <a:lnTo>
                    <a:pt x="1318" y="406"/>
                  </a:lnTo>
                  <a:lnTo>
                    <a:pt x="1318" y="410"/>
                  </a:lnTo>
                  <a:lnTo>
                    <a:pt x="1318" y="410"/>
                  </a:lnTo>
                  <a:lnTo>
                    <a:pt x="1320" y="412"/>
                  </a:lnTo>
                  <a:lnTo>
                    <a:pt x="1320" y="413"/>
                  </a:lnTo>
                  <a:lnTo>
                    <a:pt x="1322" y="415"/>
                  </a:lnTo>
                  <a:lnTo>
                    <a:pt x="1325" y="419"/>
                  </a:lnTo>
                  <a:lnTo>
                    <a:pt x="1327" y="421"/>
                  </a:lnTo>
                  <a:lnTo>
                    <a:pt x="1329" y="424"/>
                  </a:lnTo>
                  <a:lnTo>
                    <a:pt x="1325" y="424"/>
                  </a:lnTo>
                  <a:lnTo>
                    <a:pt x="1325" y="426"/>
                  </a:lnTo>
                  <a:lnTo>
                    <a:pt x="1325" y="428"/>
                  </a:lnTo>
                  <a:lnTo>
                    <a:pt x="1325" y="430"/>
                  </a:lnTo>
                  <a:lnTo>
                    <a:pt x="1325" y="431"/>
                  </a:lnTo>
                  <a:lnTo>
                    <a:pt x="1325" y="433"/>
                  </a:lnTo>
                  <a:lnTo>
                    <a:pt x="1323" y="433"/>
                  </a:lnTo>
                  <a:lnTo>
                    <a:pt x="1323" y="433"/>
                  </a:lnTo>
                  <a:lnTo>
                    <a:pt x="1323" y="431"/>
                  </a:lnTo>
                  <a:lnTo>
                    <a:pt x="1323" y="431"/>
                  </a:lnTo>
                  <a:lnTo>
                    <a:pt x="1323" y="428"/>
                  </a:lnTo>
                  <a:lnTo>
                    <a:pt x="1323" y="428"/>
                  </a:lnTo>
                  <a:lnTo>
                    <a:pt x="1323" y="428"/>
                  </a:lnTo>
                  <a:lnTo>
                    <a:pt x="1323" y="426"/>
                  </a:lnTo>
                  <a:lnTo>
                    <a:pt x="1323" y="424"/>
                  </a:lnTo>
                  <a:lnTo>
                    <a:pt x="1323" y="424"/>
                  </a:lnTo>
                  <a:lnTo>
                    <a:pt x="1323" y="422"/>
                  </a:lnTo>
                  <a:lnTo>
                    <a:pt x="1318" y="419"/>
                  </a:lnTo>
                  <a:lnTo>
                    <a:pt x="1318" y="415"/>
                  </a:lnTo>
                  <a:lnTo>
                    <a:pt x="1316" y="415"/>
                  </a:lnTo>
                  <a:lnTo>
                    <a:pt x="1316" y="412"/>
                  </a:lnTo>
                  <a:lnTo>
                    <a:pt x="1316" y="410"/>
                  </a:lnTo>
                  <a:lnTo>
                    <a:pt x="1314" y="406"/>
                  </a:lnTo>
                  <a:lnTo>
                    <a:pt x="1314" y="406"/>
                  </a:lnTo>
                  <a:lnTo>
                    <a:pt x="1309" y="408"/>
                  </a:lnTo>
                  <a:lnTo>
                    <a:pt x="1309" y="408"/>
                  </a:lnTo>
                  <a:lnTo>
                    <a:pt x="1307" y="410"/>
                  </a:lnTo>
                  <a:lnTo>
                    <a:pt x="1300" y="413"/>
                  </a:lnTo>
                  <a:lnTo>
                    <a:pt x="1298" y="413"/>
                  </a:lnTo>
                  <a:lnTo>
                    <a:pt x="1300" y="412"/>
                  </a:lnTo>
                  <a:lnTo>
                    <a:pt x="1302" y="410"/>
                  </a:lnTo>
                  <a:lnTo>
                    <a:pt x="1302" y="408"/>
                  </a:lnTo>
                  <a:lnTo>
                    <a:pt x="1300" y="406"/>
                  </a:lnTo>
                  <a:lnTo>
                    <a:pt x="1300" y="406"/>
                  </a:lnTo>
                  <a:lnTo>
                    <a:pt x="1298" y="404"/>
                  </a:lnTo>
                  <a:lnTo>
                    <a:pt x="1293" y="403"/>
                  </a:lnTo>
                  <a:lnTo>
                    <a:pt x="1293" y="401"/>
                  </a:lnTo>
                  <a:lnTo>
                    <a:pt x="1278" y="404"/>
                  </a:lnTo>
                  <a:lnTo>
                    <a:pt x="1275" y="406"/>
                  </a:lnTo>
                  <a:lnTo>
                    <a:pt x="1271" y="408"/>
                  </a:lnTo>
                  <a:lnTo>
                    <a:pt x="1267" y="410"/>
                  </a:lnTo>
                  <a:lnTo>
                    <a:pt x="1269" y="410"/>
                  </a:lnTo>
                  <a:lnTo>
                    <a:pt x="1271" y="410"/>
                  </a:lnTo>
                  <a:lnTo>
                    <a:pt x="1271" y="410"/>
                  </a:lnTo>
                  <a:lnTo>
                    <a:pt x="1269" y="412"/>
                  </a:lnTo>
                  <a:lnTo>
                    <a:pt x="1271" y="413"/>
                  </a:lnTo>
                  <a:lnTo>
                    <a:pt x="1273" y="412"/>
                  </a:lnTo>
                  <a:lnTo>
                    <a:pt x="1275" y="413"/>
                  </a:lnTo>
                  <a:lnTo>
                    <a:pt x="1275" y="415"/>
                  </a:lnTo>
                  <a:lnTo>
                    <a:pt x="1278" y="417"/>
                  </a:lnTo>
                  <a:lnTo>
                    <a:pt x="1284" y="417"/>
                  </a:lnTo>
                  <a:lnTo>
                    <a:pt x="1285" y="419"/>
                  </a:lnTo>
                  <a:lnTo>
                    <a:pt x="1287" y="422"/>
                  </a:lnTo>
                  <a:lnTo>
                    <a:pt x="1287" y="424"/>
                  </a:lnTo>
                  <a:lnTo>
                    <a:pt x="1287" y="426"/>
                  </a:lnTo>
                  <a:lnTo>
                    <a:pt x="1289" y="430"/>
                  </a:lnTo>
                  <a:lnTo>
                    <a:pt x="1294" y="433"/>
                  </a:lnTo>
                  <a:lnTo>
                    <a:pt x="1294" y="433"/>
                  </a:lnTo>
                  <a:lnTo>
                    <a:pt x="1294" y="435"/>
                  </a:lnTo>
                  <a:lnTo>
                    <a:pt x="1298" y="439"/>
                  </a:lnTo>
                  <a:lnTo>
                    <a:pt x="1296" y="439"/>
                  </a:lnTo>
                  <a:lnTo>
                    <a:pt x="1294" y="437"/>
                  </a:lnTo>
                  <a:lnTo>
                    <a:pt x="1285" y="430"/>
                  </a:lnTo>
                  <a:lnTo>
                    <a:pt x="1285" y="424"/>
                  </a:lnTo>
                  <a:lnTo>
                    <a:pt x="1282" y="422"/>
                  </a:lnTo>
                  <a:lnTo>
                    <a:pt x="1276" y="419"/>
                  </a:lnTo>
                  <a:lnTo>
                    <a:pt x="1276" y="419"/>
                  </a:lnTo>
                  <a:lnTo>
                    <a:pt x="1275" y="419"/>
                  </a:lnTo>
                  <a:lnTo>
                    <a:pt x="1273" y="419"/>
                  </a:lnTo>
                  <a:lnTo>
                    <a:pt x="1273" y="417"/>
                  </a:lnTo>
                  <a:lnTo>
                    <a:pt x="1273" y="415"/>
                  </a:lnTo>
                  <a:lnTo>
                    <a:pt x="1273" y="415"/>
                  </a:lnTo>
                  <a:lnTo>
                    <a:pt x="1271" y="415"/>
                  </a:lnTo>
                  <a:lnTo>
                    <a:pt x="1271" y="415"/>
                  </a:lnTo>
                  <a:lnTo>
                    <a:pt x="1271" y="415"/>
                  </a:lnTo>
                  <a:lnTo>
                    <a:pt x="1269" y="415"/>
                  </a:lnTo>
                  <a:lnTo>
                    <a:pt x="1269" y="415"/>
                  </a:lnTo>
                  <a:lnTo>
                    <a:pt x="1267" y="413"/>
                  </a:lnTo>
                  <a:lnTo>
                    <a:pt x="1266" y="413"/>
                  </a:lnTo>
                  <a:lnTo>
                    <a:pt x="1266" y="413"/>
                  </a:lnTo>
                  <a:lnTo>
                    <a:pt x="1264" y="417"/>
                  </a:lnTo>
                  <a:lnTo>
                    <a:pt x="1262" y="419"/>
                  </a:lnTo>
                  <a:lnTo>
                    <a:pt x="1264" y="419"/>
                  </a:lnTo>
                  <a:lnTo>
                    <a:pt x="1267" y="422"/>
                  </a:lnTo>
                  <a:lnTo>
                    <a:pt x="1275" y="422"/>
                  </a:lnTo>
                  <a:lnTo>
                    <a:pt x="1275" y="422"/>
                  </a:lnTo>
                  <a:lnTo>
                    <a:pt x="1275" y="424"/>
                  </a:lnTo>
                  <a:lnTo>
                    <a:pt x="1275" y="426"/>
                  </a:lnTo>
                  <a:lnTo>
                    <a:pt x="1275" y="426"/>
                  </a:lnTo>
                  <a:lnTo>
                    <a:pt x="1267" y="426"/>
                  </a:lnTo>
                  <a:lnTo>
                    <a:pt x="1266" y="426"/>
                  </a:lnTo>
                  <a:lnTo>
                    <a:pt x="1266" y="428"/>
                  </a:lnTo>
                  <a:lnTo>
                    <a:pt x="1266" y="430"/>
                  </a:lnTo>
                  <a:lnTo>
                    <a:pt x="1278" y="428"/>
                  </a:lnTo>
                  <a:lnTo>
                    <a:pt x="1278" y="428"/>
                  </a:lnTo>
                  <a:lnTo>
                    <a:pt x="1280" y="426"/>
                  </a:lnTo>
                  <a:lnTo>
                    <a:pt x="1280" y="426"/>
                  </a:lnTo>
                  <a:lnTo>
                    <a:pt x="1280" y="426"/>
                  </a:lnTo>
                  <a:lnTo>
                    <a:pt x="1280" y="428"/>
                  </a:lnTo>
                  <a:lnTo>
                    <a:pt x="1280" y="430"/>
                  </a:lnTo>
                  <a:lnTo>
                    <a:pt x="1282" y="430"/>
                  </a:lnTo>
                  <a:lnTo>
                    <a:pt x="1284" y="433"/>
                  </a:lnTo>
                  <a:lnTo>
                    <a:pt x="1285" y="433"/>
                  </a:lnTo>
                  <a:lnTo>
                    <a:pt x="1287" y="433"/>
                  </a:lnTo>
                  <a:lnTo>
                    <a:pt x="1284" y="433"/>
                  </a:lnTo>
                  <a:lnTo>
                    <a:pt x="1278" y="431"/>
                  </a:lnTo>
                  <a:lnTo>
                    <a:pt x="1278" y="431"/>
                  </a:lnTo>
                  <a:lnTo>
                    <a:pt x="1280" y="433"/>
                  </a:lnTo>
                  <a:lnTo>
                    <a:pt x="1280" y="433"/>
                  </a:lnTo>
                  <a:lnTo>
                    <a:pt x="1282" y="435"/>
                  </a:lnTo>
                  <a:lnTo>
                    <a:pt x="1280" y="435"/>
                  </a:lnTo>
                  <a:lnTo>
                    <a:pt x="1278" y="435"/>
                  </a:lnTo>
                  <a:lnTo>
                    <a:pt x="1278" y="435"/>
                  </a:lnTo>
                  <a:lnTo>
                    <a:pt x="1276" y="435"/>
                  </a:lnTo>
                  <a:lnTo>
                    <a:pt x="1278" y="437"/>
                  </a:lnTo>
                  <a:lnTo>
                    <a:pt x="1278" y="437"/>
                  </a:lnTo>
                  <a:lnTo>
                    <a:pt x="1278" y="439"/>
                  </a:lnTo>
                  <a:lnTo>
                    <a:pt x="1275" y="437"/>
                  </a:lnTo>
                  <a:lnTo>
                    <a:pt x="1273" y="439"/>
                  </a:lnTo>
                  <a:lnTo>
                    <a:pt x="1273" y="439"/>
                  </a:lnTo>
                  <a:lnTo>
                    <a:pt x="1269" y="439"/>
                  </a:lnTo>
                  <a:lnTo>
                    <a:pt x="1269" y="440"/>
                  </a:lnTo>
                  <a:lnTo>
                    <a:pt x="1271" y="440"/>
                  </a:lnTo>
                  <a:lnTo>
                    <a:pt x="1273" y="440"/>
                  </a:lnTo>
                  <a:lnTo>
                    <a:pt x="1273" y="444"/>
                  </a:lnTo>
                  <a:lnTo>
                    <a:pt x="1271" y="444"/>
                  </a:lnTo>
                  <a:lnTo>
                    <a:pt x="1275" y="446"/>
                  </a:lnTo>
                  <a:lnTo>
                    <a:pt x="1280" y="440"/>
                  </a:lnTo>
                  <a:lnTo>
                    <a:pt x="1282" y="440"/>
                  </a:lnTo>
                  <a:lnTo>
                    <a:pt x="1284" y="440"/>
                  </a:lnTo>
                  <a:lnTo>
                    <a:pt x="1285" y="444"/>
                  </a:lnTo>
                  <a:lnTo>
                    <a:pt x="1285" y="444"/>
                  </a:lnTo>
                  <a:lnTo>
                    <a:pt x="1291" y="446"/>
                  </a:lnTo>
                  <a:lnTo>
                    <a:pt x="1291" y="448"/>
                  </a:lnTo>
                  <a:lnTo>
                    <a:pt x="1291" y="448"/>
                  </a:lnTo>
                  <a:lnTo>
                    <a:pt x="1291" y="448"/>
                  </a:lnTo>
                  <a:lnTo>
                    <a:pt x="1291" y="449"/>
                  </a:lnTo>
                  <a:lnTo>
                    <a:pt x="1291" y="449"/>
                  </a:lnTo>
                  <a:lnTo>
                    <a:pt x="1285" y="448"/>
                  </a:lnTo>
                  <a:lnTo>
                    <a:pt x="1282" y="444"/>
                  </a:lnTo>
                  <a:lnTo>
                    <a:pt x="1280" y="444"/>
                  </a:lnTo>
                  <a:lnTo>
                    <a:pt x="1280" y="444"/>
                  </a:lnTo>
                  <a:lnTo>
                    <a:pt x="1280" y="446"/>
                  </a:lnTo>
                  <a:lnTo>
                    <a:pt x="1278" y="446"/>
                  </a:lnTo>
                  <a:lnTo>
                    <a:pt x="1278" y="448"/>
                  </a:lnTo>
                  <a:lnTo>
                    <a:pt x="1276" y="448"/>
                  </a:lnTo>
                  <a:lnTo>
                    <a:pt x="1276" y="449"/>
                  </a:lnTo>
                  <a:lnTo>
                    <a:pt x="1275" y="453"/>
                  </a:lnTo>
                  <a:lnTo>
                    <a:pt x="1282" y="455"/>
                  </a:lnTo>
                  <a:lnTo>
                    <a:pt x="1282" y="457"/>
                  </a:lnTo>
                  <a:lnTo>
                    <a:pt x="1280" y="459"/>
                  </a:lnTo>
                  <a:lnTo>
                    <a:pt x="1280" y="459"/>
                  </a:lnTo>
                  <a:lnTo>
                    <a:pt x="1282" y="460"/>
                  </a:lnTo>
                  <a:lnTo>
                    <a:pt x="1284" y="460"/>
                  </a:lnTo>
                  <a:lnTo>
                    <a:pt x="1284" y="462"/>
                  </a:lnTo>
                  <a:lnTo>
                    <a:pt x="1284" y="462"/>
                  </a:lnTo>
                  <a:lnTo>
                    <a:pt x="1282" y="462"/>
                  </a:lnTo>
                  <a:lnTo>
                    <a:pt x="1280" y="460"/>
                  </a:lnTo>
                  <a:lnTo>
                    <a:pt x="1278" y="460"/>
                  </a:lnTo>
                  <a:lnTo>
                    <a:pt x="1276" y="457"/>
                  </a:lnTo>
                  <a:lnTo>
                    <a:pt x="1276" y="455"/>
                  </a:lnTo>
                  <a:lnTo>
                    <a:pt x="1275" y="455"/>
                  </a:lnTo>
                  <a:lnTo>
                    <a:pt x="1275" y="457"/>
                  </a:lnTo>
                  <a:lnTo>
                    <a:pt x="1275" y="457"/>
                  </a:lnTo>
                  <a:lnTo>
                    <a:pt x="1276" y="460"/>
                  </a:lnTo>
                  <a:lnTo>
                    <a:pt x="1276" y="462"/>
                  </a:lnTo>
                  <a:lnTo>
                    <a:pt x="1278" y="462"/>
                  </a:lnTo>
                  <a:lnTo>
                    <a:pt x="1280" y="464"/>
                  </a:lnTo>
                  <a:lnTo>
                    <a:pt x="1280" y="464"/>
                  </a:lnTo>
                  <a:lnTo>
                    <a:pt x="1280" y="464"/>
                  </a:lnTo>
                  <a:lnTo>
                    <a:pt x="1280" y="466"/>
                  </a:lnTo>
                  <a:lnTo>
                    <a:pt x="1280" y="466"/>
                  </a:lnTo>
                  <a:lnTo>
                    <a:pt x="1280" y="468"/>
                  </a:lnTo>
                  <a:lnTo>
                    <a:pt x="1280" y="469"/>
                  </a:lnTo>
                  <a:lnTo>
                    <a:pt x="1280" y="469"/>
                  </a:lnTo>
                  <a:lnTo>
                    <a:pt x="1280" y="469"/>
                  </a:lnTo>
                  <a:lnTo>
                    <a:pt x="1278" y="469"/>
                  </a:lnTo>
                  <a:lnTo>
                    <a:pt x="1278" y="468"/>
                  </a:lnTo>
                  <a:lnTo>
                    <a:pt x="1273" y="457"/>
                  </a:lnTo>
                  <a:lnTo>
                    <a:pt x="1271" y="455"/>
                  </a:lnTo>
                  <a:lnTo>
                    <a:pt x="1269" y="455"/>
                  </a:lnTo>
                  <a:lnTo>
                    <a:pt x="1267" y="457"/>
                  </a:lnTo>
                  <a:lnTo>
                    <a:pt x="1269" y="457"/>
                  </a:lnTo>
                  <a:lnTo>
                    <a:pt x="1271" y="459"/>
                  </a:lnTo>
                  <a:lnTo>
                    <a:pt x="1271" y="460"/>
                  </a:lnTo>
                  <a:lnTo>
                    <a:pt x="1271" y="460"/>
                  </a:lnTo>
                  <a:lnTo>
                    <a:pt x="1271" y="464"/>
                  </a:lnTo>
                  <a:lnTo>
                    <a:pt x="1271" y="466"/>
                  </a:lnTo>
                  <a:lnTo>
                    <a:pt x="1271" y="468"/>
                  </a:lnTo>
                  <a:lnTo>
                    <a:pt x="1271" y="468"/>
                  </a:lnTo>
                  <a:lnTo>
                    <a:pt x="1269" y="469"/>
                  </a:lnTo>
                  <a:lnTo>
                    <a:pt x="1271" y="471"/>
                  </a:lnTo>
                  <a:lnTo>
                    <a:pt x="1273" y="473"/>
                  </a:lnTo>
                  <a:lnTo>
                    <a:pt x="1280" y="477"/>
                  </a:lnTo>
                  <a:lnTo>
                    <a:pt x="1280" y="478"/>
                  </a:lnTo>
                  <a:lnTo>
                    <a:pt x="1280" y="480"/>
                  </a:lnTo>
                  <a:lnTo>
                    <a:pt x="1282" y="482"/>
                  </a:lnTo>
                  <a:lnTo>
                    <a:pt x="1284" y="482"/>
                  </a:lnTo>
                  <a:lnTo>
                    <a:pt x="1282" y="484"/>
                  </a:lnTo>
                  <a:lnTo>
                    <a:pt x="1280" y="482"/>
                  </a:lnTo>
                  <a:lnTo>
                    <a:pt x="1273" y="475"/>
                  </a:lnTo>
                  <a:lnTo>
                    <a:pt x="1273" y="473"/>
                  </a:lnTo>
                  <a:lnTo>
                    <a:pt x="1271" y="473"/>
                  </a:lnTo>
                  <a:lnTo>
                    <a:pt x="1269" y="471"/>
                  </a:lnTo>
                  <a:lnTo>
                    <a:pt x="1267" y="471"/>
                  </a:lnTo>
                  <a:lnTo>
                    <a:pt x="1267" y="468"/>
                  </a:lnTo>
                  <a:lnTo>
                    <a:pt x="1267" y="466"/>
                  </a:lnTo>
                  <a:lnTo>
                    <a:pt x="1267" y="462"/>
                  </a:lnTo>
                  <a:lnTo>
                    <a:pt x="1267" y="459"/>
                  </a:lnTo>
                  <a:lnTo>
                    <a:pt x="1266" y="457"/>
                  </a:lnTo>
                  <a:lnTo>
                    <a:pt x="1260" y="453"/>
                  </a:lnTo>
                  <a:lnTo>
                    <a:pt x="1260" y="451"/>
                  </a:lnTo>
                  <a:lnTo>
                    <a:pt x="1260" y="449"/>
                  </a:lnTo>
                  <a:lnTo>
                    <a:pt x="1262" y="448"/>
                  </a:lnTo>
                  <a:lnTo>
                    <a:pt x="1262" y="446"/>
                  </a:lnTo>
                  <a:lnTo>
                    <a:pt x="1260" y="442"/>
                  </a:lnTo>
                  <a:lnTo>
                    <a:pt x="1260" y="440"/>
                  </a:lnTo>
                  <a:lnTo>
                    <a:pt x="1262" y="439"/>
                  </a:lnTo>
                  <a:lnTo>
                    <a:pt x="1262" y="437"/>
                  </a:lnTo>
                  <a:lnTo>
                    <a:pt x="1262" y="435"/>
                  </a:lnTo>
                  <a:lnTo>
                    <a:pt x="1262" y="433"/>
                  </a:lnTo>
                  <a:lnTo>
                    <a:pt x="1262" y="433"/>
                  </a:lnTo>
                  <a:lnTo>
                    <a:pt x="1260" y="435"/>
                  </a:lnTo>
                  <a:lnTo>
                    <a:pt x="1260" y="435"/>
                  </a:lnTo>
                  <a:lnTo>
                    <a:pt x="1258" y="431"/>
                  </a:lnTo>
                  <a:lnTo>
                    <a:pt x="1258" y="431"/>
                  </a:lnTo>
                  <a:lnTo>
                    <a:pt x="1260" y="431"/>
                  </a:lnTo>
                  <a:lnTo>
                    <a:pt x="1260" y="430"/>
                  </a:lnTo>
                  <a:lnTo>
                    <a:pt x="1260" y="430"/>
                  </a:lnTo>
                  <a:lnTo>
                    <a:pt x="1260" y="428"/>
                  </a:lnTo>
                  <a:lnTo>
                    <a:pt x="1260" y="426"/>
                  </a:lnTo>
                  <a:lnTo>
                    <a:pt x="1258" y="424"/>
                  </a:lnTo>
                  <a:lnTo>
                    <a:pt x="1258" y="422"/>
                  </a:lnTo>
                  <a:lnTo>
                    <a:pt x="1257" y="422"/>
                  </a:lnTo>
                  <a:lnTo>
                    <a:pt x="1255" y="422"/>
                  </a:lnTo>
                  <a:lnTo>
                    <a:pt x="1255" y="424"/>
                  </a:lnTo>
                  <a:lnTo>
                    <a:pt x="1255" y="426"/>
                  </a:lnTo>
                  <a:lnTo>
                    <a:pt x="1255" y="426"/>
                  </a:lnTo>
                  <a:lnTo>
                    <a:pt x="1255" y="428"/>
                  </a:lnTo>
                  <a:lnTo>
                    <a:pt x="1255" y="430"/>
                  </a:lnTo>
                  <a:lnTo>
                    <a:pt x="1255" y="431"/>
                  </a:lnTo>
                  <a:lnTo>
                    <a:pt x="1253" y="431"/>
                  </a:lnTo>
                  <a:lnTo>
                    <a:pt x="1251" y="430"/>
                  </a:lnTo>
                  <a:lnTo>
                    <a:pt x="1251" y="431"/>
                  </a:lnTo>
                  <a:lnTo>
                    <a:pt x="1251" y="433"/>
                  </a:lnTo>
                  <a:lnTo>
                    <a:pt x="1251" y="435"/>
                  </a:lnTo>
                  <a:lnTo>
                    <a:pt x="1253" y="439"/>
                  </a:lnTo>
                  <a:lnTo>
                    <a:pt x="1253" y="439"/>
                  </a:lnTo>
                  <a:lnTo>
                    <a:pt x="1251" y="439"/>
                  </a:lnTo>
                  <a:lnTo>
                    <a:pt x="1251" y="442"/>
                  </a:lnTo>
                  <a:lnTo>
                    <a:pt x="1249" y="444"/>
                  </a:lnTo>
                  <a:lnTo>
                    <a:pt x="1249" y="444"/>
                  </a:lnTo>
                  <a:lnTo>
                    <a:pt x="1246" y="444"/>
                  </a:lnTo>
                  <a:lnTo>
                    <a:pt x="1246" y="444"/>
                  </a:lnTo>
                  <a:lnTo>
                    <a:pt x="1246" y="444"/>
                  </a:lnTo>
                  <a:lnTo>
                    <a:pt x="1246" y="446"/>
                  </a:lnTo>
                  <a:lnTo>
                    <a:pt x="1246" y="446"/>
                  </a:lnTo>
                  <a:lnTo>
                    <a:pt x="1244" y="446"/>
                  </a:lnTo>
                  <a:lnTo>
                    <a:pt x="1240" y="446"/>
                  </a:lnTo>
                  <a:lnTo>
                    <a:pt x="1240" y="448"/>
                  </a:lnTo>
                  <a:lnTo>
                    <a:pt x="1240" y="449"/>
                  </a:lnTo>
                  <a:lnTo>
                    <a:pt x="1240" y="449"/>
                  </a:lnTo>
                  <a:lnTo>
                    <a:pt x="1238" y="449"/>
                  </a:lnTo>
                  <a:lnTo>
                    <a:pt x="1238" y="449"/>
                  </a:lnTo>
                  <a:lnTo>
                    <a:pt x="1238" y="449"/>
                  </a:lnTo>
                  <a:lnTo>
                    <a:pt x="1238" y="448"/>
                  </a:lnTo>
                  <a:lnTo>
                    <a:pt x="1238" y="446"/>
                  </a:lnTo>
                  <a:lnTo>
                    <a:pt x="1238" y="444"/>
                  </a:lnTo>
                  <a:lnTo>
                    <a:pt x="1238" y="444"/>
                  </a:lnTo>
                  <a:lnTo>
                    <a:pt x="1240" y="444"/>
                  </a:lnTo>
                  <a:lnTo>
                    <a:pt x="1242" y="444"/>
                  </a:lnTo>
                  <a:lnTo>
                    <a:pt x="1244" y="444"/>
                  </a:lnTo>
                  <a:lnTo>
                    <a:pt x="1244" y="442"/>
                  </a:lnTo>
                  <a:lnTo>
                    <a:pt x="1244" y="440"/>
                  </a:lnTo>
                  <a:lnTo>
                    <a:pt x="1242" y="440"/>
                  </a:lnTo>
                  <a:lnTo>
                    <a:pt x="1242" y="439"/>
                  </a:lnTo>
                  <a:lnTo>
                    <a:pt x="1244" y="439"/>
                  </a:lnTo>
                  <a:lnTo>
                    <a:pt x="1244" y="437"/>
                  </a:lnTo>
                  <a:lnTo>
                    <a:pt x="1244" y="437"/>
                  </a:lnTo>
                  <a:lnTo>
                    <a:pt x="1240" y="437"/>
                  </a:lnTo>
                  <a:lnTo>
                    <a:pt x="1240" y="435"/>
                  </a:lnTo>
                  <a:lnTo>
                    <a:pt x="1240" y="435"/>
                  </a:lnTo>
                  <a:lnTo>
                    <a:pt x="1240" y="435"/>
                  </a:lnTo>
                  <a:lnTo>
                    <a:pt x="1240" y="435"/>
                  </a:lnTo>
                  <a:lnTo>
                    <a:pt x="1240" y="433"/>
                  </a:lnTo>
                  <a:lnTo>
                    <a:pt x="1240" y="433"/>
                  </a:lnTo>
                  <a:lnTo>
                    <a:pt x="1238" y="433"/>
                  </a:lnTo>
                  <a:lnTo>
                    <a:pt x="1238" y="437"/>
                  </a:lnTo>
                  <a:lnTo>
                    <a:pt x="1238" y="439"/>
                  </a:lnTo>
                  <a:lnTo>
                    <a:pt x="1237" y="440"/>
                  </a:lnTo>
                  <a:lnTo>
                    <a:pt x="1237" y="440"/>
                  </a:lnTo>
                  <a:lnTo>
                    <a:pt x="1235" y="440"/>
                  </a:lnTo>
                  <a:lnTo>
                    <a:pt x="1233" y="442"/>
                  </a:lnTo>
                  <a:lnTo>
                    <a:pt x="1233" y="444"/>
                  </a:lnTo>
                  <a:lnTo>
                    <a:pt x="1233" y="444"/>
                  </a:lnTo>
                  <a:lnTo>
                    <a:pt x="1233" y="444"/>
                  </a:lnTo>
                  <a:lnTo>
                    <a:pt x="1233" y="442"/>
                  </a:lnTo>
                  <a:lnTo>
                    <a:pt x="1233" y="440"/>
                  </a:lnTo>
                  <a:lnTo>
                    <a:pt x="1233" y="439"/>
                  </a:lnTo>
                  <a:lnTo>
                    <a:pt x="1231" y="440"/>
                  </a:lnTo>
                  <a:lnTo>
                    <a:pt x="1228" y="442"/>
                  </a:lnTo>
                  <a:lnTo>
                    <a:pt x="1224" y="446"/>
                  </a:lnTo>
                  <a:lnTo>
                    <a:pt x="1224" y="449"/>
                  </a:lnTo>
                  <a:lnTo>
                    <a:pt x="1224" y="449"/>
                  </a:lnTo>
                  <a:lnTo>
                    <a:pt x="1222" y="449"/>
                  </a:lnTo>
                  <a:lnTo>
                    <a:pt x="1222" y="449"/>
                  </a:lnTo>
                  <a:lnTo>
                    <a:pt x="1220" y="451"/>
                  </a:lnTo>
                  <a:lnTo>
                    <a:pt x="1222" y="455"/>
                  </a:lnTo>
                  <a:lnTo>
                    <a:pt x="1226" y="457"/>
                  </a:lnTo>
                  <a:lnTo>
                    <a:pt x="1228" y="457"/>
                  </a:lnTo>
                  <a:lnTo>
                    <a:pt x="1229" y="455"/>
                  </a:lnTo>
                  <a:lnTo>
                    <a:pt x="1228" y="455"/>
                  </a:lnTo>
                  <a:lnTo>
                    <a:pt x="1228" y="455"/>
                  </a:lnTo>
                  <a:lnTo>
                    <a:pt x="1228" y="455"/>
                  </a:lnTo>
                  <a:lnTo>
                    <a:pt x="1226" y="453"/>
                  </a:lnTo>
                  <a:lnTo>
                    <a:pt x="1233" y="448"/>
                  </a:lnTo>
                  <a:lnTo>
                    <a:pt x="1233" y="448"/>
                  </a:lnTo>
                  <a:lnTo>
                    <a:pt x="1235" y="446"/>
                  </a:lnTo>
                  <a:lnTo>
                    <a:pt x="1235" y="446"/>
                  </a:lnTo>
                  <a:lnTo>
                    <a:pt x="1237" y="448"/>
                  </a:lnTo>
                  <a:lnTo>
                    <a:pt x="1237" y="449"/>
                  </a:lnTo>
                  <a:lnTo>
                    <a:pt x="1237" y="451"/>
                  </a:lnTo>
                  <a:lnTo>
                    <a:pt x="1237" y="451"/>
                  </a:lnTo>
                  <a:lnTo>
                    <a:pt x="1247" y="451"/>
                  </a:lnTo>
                  <a:lnTo>
                    <a:pt x="1247" y="449"/>
                  </a:lnTo>
                  <a:lnTo>
                    <a:pt x="1249" y="449"/>
                  </a:lnTo>
                  <a:lnTo>
                    <a:pt x="1251" y="448"/>
                  </a:lnTo>
                  <a:lnTo>
                    <a:pt x="1251" y="446"/>
                  </a:lnTo>
                  <a:lnTo>
                    <a:pt x="1253" y="448"/>
                  </a:lnTo>
                  <a:lnTo>
                    <a:pt x="1251" y="448"/>
                  </a:lnTo>
                  <a:lnTo>
                    <a:pt x="1249" y="451"/>
                  </a:lnTo>
                  <a:lnTo>
                    <a:pt x="1249" y="451"/>
                  </a:lnTo>
                  <a:lnTo>
                    <a:pt x="1253" y="453"/>
                  </a:lnTo>
                  <a:lnTo>
                    <a:pt x="1260" y="455"/>
                  </a:lnTo>
                  <a:lnTo>
                    <a:pt x="1260" y="455"/>
                  </a:lnTo>
                  <a:lnTo>
                    <a:pt x="1257" y="455"/>
                  </a:lnTo>
                  <a:lnTo>
                    <a:pt x="1257" y="455"/>
                  </a:lnTo>
                  <a:lnTo>
                    <a:pt x="1255" y="457"/>
                  </a:lnTo>
                  <a:lnTo>
                    <a:pt x="1255" y="457"/>
                  </a:lnTo>
                  <a:lnTo>
                    <a:pt x="1255" y="460"/>
                  </a:lnTo>
                  <a:lnTo>
                    <a:pt x="1255" y="460"/>
                  </a:lnTo>
                  <a:lnTo>
                    <a:pt x="1255" y="462"/>
                  </a:lnTo>
                  <a:lnTo>
                    <a:pt x="1251" y="464"/>
                  </a:lnTo>
                  <a:lnTo>
                    <a:pt x="1251" y="466"/>
                  </a:lnTo>
                  <a:lnTo>
                    <a:pt x="1251" y="469"/>
                  </a:lnTo>
                  <a:lnTo>
                    <a:pt x="1251" y="469"/>
                  </a:lnTo>
                  <a:lnTo>
                    <a:pt x="1249" y="469"/>
                  </a:lnTo>
                  <a:lnTo>
                    <a:pt x="1249" y="469"/>
                  </a:lnTo>
                  <a:lnTo>
                    <a:pt x="1249" y="468"/>
                  </a:lnTo>
                  <a:lnTo>
                    <a:pt x="1249" y="466"/>
                  </a:lnTo>
                  <a:lnTo>
                    <a:pt x="1247" y="464"/>
                  </a:lnTo>
                  <a:lnTo>
                    <a:pt x="1247" y="462"/>
                  </a:lnTo>
                  <a:lnTo>
                    <a:pt x="1246" y="462"/>
                  </a:lnTo>
                  <a:lnTo>
                    <a:pt x="1237" y="466"/>
                  </a:lnTo>
                  <a:lnTo>
                    <a:pt x="1237" y="468"/>
                  </a:lnTo>
                  <a:lnTo>
                    <a:pt x="1237" y="468"/>
                  </a:lnTo>
                  <a:lnTo>
                    <a:pt x="1235" y="469"/>
                  </a:lnTo>
                  <a:lnTo>
                    <a:pt x="1235" y="469"/>
                  </a:lnTo>
                  <a:lnTo>
                    <a:pt x="1233" y="471"/>
                  </a:lnTo>
                  <a:lnTo>
                    <a:pt x="1233" y="473"/>
                  </a:lnTo>
                  <a:lnTo>
                    <a:pt x="1233" y="475"/>
                  </a:lnTo>
                  <a:lnTo>
                    <a:pt x="1235" y="475"/>
                  </a:lnTo>
                  <a:lnTo>
                    <a:pt x="1233" y="477"/>
                  </a:lnTo>
                  <a:lnTo>
                    <a:pt x="1233" y="477"/>
                  </a:lnTo>
                  <a:lnTo>
                    <a:pt x="1233" y="475"/>
                  </a:lnTo>
                  <a:lnTo>
                    <a:pt x="1233" y="475"/>
                  </a:lnTo>
                  <a:lnTo>
                    <a:pt x="1233" y="473"/>
                  </a:lnTo>
                  <a:lnTo>
                    <a:pt x="1233" y="473"/>
                  </a:lnTo>
                  <a:lnTo>
                    <a:pt x="1233" y="471"/>
                  </a:lnTo>
                  <a:lnTo>
                    <a:pt x="1233" y="471"/>
                  </a:lnTo>
                  <a:lnTo>
                    <a:pt x="1235" y="468"/>
                  </a:lnTo>
                  <a:lnTo>
                    <a:pt x="1235" y="468"/>
                  </a:lnTo>
                  <a:lnTo>
                    <a:pt x="1231" y="468"/>
                  </a:lnTo>
                  <a:lnTo>
                    <a:pt x="1226" y="471"/>
                  </a:lnTo>
                  <a:lnTo>
                    <a:pt x="1224" y="471"/>
                  </a:lnTo>
                  <a:lnTo>
                    <a:pt x="1224" y="469"/>
                  </a:lnTo>
                  <a:lnTo>
                    <a:pt x="1222" y="471"/>
                  </a:lnTo>
                  <a:lnTo>
                    <a:pt x="1217" y="478"/>
                  </a:lnTo>
                  <a:lnTo>
                    <a:pt x="1217" y="477"/>
                  </a:lnTo>
                  <a:lnTo>
                    <a:pt x="1217" y="475"/>
                  </a:lnTo>
                  <a:lnTo>
                    <a:pt x="1219" y="473"/>
                  </a:lnTo>
                  <a:lnTo>
                    <a:pt x="1219" y="473"/>
                  </a:lnTo>
                  <a:lnTo>
                    <a:pt x="1217" y="471"/>
                  </a:lnTo>
                  <a:lnTo>
                    <a:pt x="1211" y="471"/>
                  </a:lnTo>
                  <a:lnTo>
                    <a:pt x="1210" y="471"/>
                  </a:lnTo>
                  <a:lnTo>
                    <a:pt x="1208" y="469"/>
                  </a:lnTo>
                  <a:lnTo>
                    <a:pt x="1204" y="471"/>
                  </a:lnTo>
                  <a:lnTo>
                    <a:pt x="1202" y="473"/>
                  </a:lnTo>
                  <a:lnTo>
                    <a:pt x="1201" y="475"/>
                  </a:lnTo>
                  <a:lnTo>
                    <a:pt x="1201" y="477"/>
                  </a:lnTo>
                  <a:lnTo>
                    <a:pt x="1201" y="477"/>
                  </a:lnTo>
                  <a:lnTo>
                    <a:pt x="1199" y="477"/>
                  </a:lnTo>
                  <a:lnTo>
                    <a:pt x="1199" y="477"/>
                  </a:lnTo>
                  <a:lnTo>
                    <a:pt x="1211" y="475"/>
                  </a:lnTo>
                  <a:lnTo>
                    <a:pt x="1213" y="477"/>
                  </a:lnTo>
                  <a:lnTo>
                    <a:pt x="1210" y="478"/>
                  </a:lnTo>
                  <a:lnTo>
                    <a:pt x="1206" y="478"/>
                  </a:lnTo>
                  <a:lnTo>
                    <a:pt x="1201" y="480"/>
                  </a:lnTo>
                  <a:lnTo>
                    <a:pt x="1197" y="480"/>
                  </a:lnTo>
                  <a:lnTo>
                    <a:pt x="1197" y="480"/>
                  </a:lnTo>
                  <a:lnTo>
                    <a:pt x="1195" y="480"/>
                  </a:lnTo>
                  <a:lnTo>
                    <a:pt x="1195" y="482"/>
                  </a:lnTo>
                  <a:lnTo>
                    <a:pt x="1195" y="484"/>
                  </a:lnTo>
                  <a:lnTo>
                    <a:pt x="1195" y="484"/>
                  </a:lnTo>
                  <a:lnTo>
                    <a:pt x="1197" y="486"/>
                  </a:lnTo>
                  <a:lnTo>
                    <a:pt x="1197" y="486"/>
                  </a:lnTo>
                  <a:lnTo>
                    <a:pt x="1197" y="484"/>
                  </a:lnTo>
                  <a:lnTo>
                    <a:pt x="1199" y="484"/>
                  </a:lnTo>
                  <a:lnTo>
                    <a:pt x="1199" y="484"/>
                  </a:lnTo>
                  <a:lnTo>
                    <a:pt x="1199" y="486"/>
                  </a:lnTo>
                  <a:lnTo>
                    <a:pt x="1199" y="486"/>
                  </a:lnTo>
                  <a:lnTo>
                    <a:pt x="1199" y="487"/>
                  </a:lnTo>
                  <a:lnTo>
                    <a:pt x="1199" y="487"/>
                  </a:lnTo>
                  <a:lnTo>
                    <a:pt x="1199" y="487"/>
                  </a:lnTo>
                  <a:lnTo>
                    <a:pt x="1201" y="486"/>
                  </a:lnTo>
                  <a:lnTo>
                    <a:pt x="1210" y="486"/>
                  </a:lnTo>
                  <a:lnTo>
                    <a:pt x="1208" y="486"/>
                  </a:lnTo>
                  <a:lnTo>
                    <a:pt x="1206" y="487"/>
                  </a:lnTo>
                  <a:lnTo>
                    <a:pt x="1208" y="489"/>
                  </a:lnTo>
                  <a:lnTo>
                    <a:pt x="1210" y="489"/>
                  </a:lnTo>
                  <a:lnTo>
                    <a:pt x="1211" y="489"/>
                  </a:lnTo>
                  <a:lnTo>
                    <a:pt x="1213" y="491"/>
                  </a:lnTo>
                  <a:lnTo>
                    <a:pt x="1201" y="491"/>
                  </a:lnTo>
                  <a:lnTo>
                    <a:pt x="1201" y="493"/>
                  </a:lnTo>
                  <a:lnTo>
                    <a:pt x="1199" y="493"/>
                  </a:lnTo>
                  <a:lnTo>
                    <a:pt x="1199" y="493"/>
                  </a:lnTo>
                  <a:lnTo>
                    <a:pt x="1197" y="493"/>
                  </a:lnTo>
                  <a:lnTo>
                    <a:pt x="1197" y="495"/>
                  </a:lnTo>
                  <a:lnTo>
                    <a:pt x="1201" y="495"/>
                  </a:lnTo>
                  <a:lnTo>
                    <a:pt x="1201" y="496"/>
                  </a:lnTo>
                  <a:lnTo>
                    <a:pt x="1193" y="502"/>
                  </a:lnTo>
                  <a:lnTo>
                    <a:pt x="1195" y="504"/>
                  </a:lnTo>
                  <a:lnTo>
                    <a:pt x="1197" y="504"/>
                  </a:lnTo>
                  <a:lnTo>
                    <a:pt x="1199" y="504"/>
                  </a:lnTo>
                  <a:lnTo>
                    <a:pt x="1202" y="502"/>
                  </a:lnTo>
                  <a:lnTo>
                    <a:pt x="1204" y="502"/>
                  </a:lnTo>
                  <a:lnTo>
                    <a:pt x="1204" y="500"/>
                  </a:lnTo>
                  <a:lnTo>
                    <a:pt x="1210" y="498"/>
                  </a:lnTo>
                  <a:lnTo>
                    <a:pt x="1215" y="495"/>
                  </a:lnTo>
                  <a:lnTo>
                    <a:pt x="1217" y="495"/>
                  </a:lnTo>
                  <a:lnTo>
                    <a:pt x="1217" y="493"/>
                  </a:lnTo>
                  <a:lnTo>
                    <a:pt x="1219" y="491"/>
                  </a:lnTo>
                  <a:lnTo>
                    <a:pt x="1220" y="489"/>
                  </a:lnTo>
                  <a:lnTo>
                    <a:pt x="1222" y="486"/>
                  </a:lnTo>
                  <a:lnTo>
                    <a:pt x="1226" y="482"/>
                  </a:lnTo>
                  <a:lnTo>
                    <a:pt x="1226" y="480"/>
                  </a:lnTo>
                  <a:lnTo>
                    <a:pt x="1226" y="477"/>
                  </a:lnTo>
                  <a:lnTo>
                    <a:pt x="1226" y="477"/>
                  </a:lnTo>
                  <a:lnTo>
                    <a:pt x="1226" y="475"/>
                  </a:lnTo>
                  <a:lnTo>
                    <a:pt x="1226" y="475"/>
                  </a:lnTo>
                  <a:lnTo>
                    <a:pt x="1228" y="480"/>
                  </a:lnTo>
                  <a:lnTo>
                    <a:pt x="1228" y="477"/>
                  </a:lnTo>
                  <a:lnTo>
                    <a:pt x="1228" y="475"/>
                  </a:lnTo>
                  <a:lnTo>
                    <a:pt x="1229" y="475"/>
                  </a:lnTo>
                  <a:lnTo>
                    <a:pt x="1229" y="477"/>
                  </a:lnTo>
                  <a:lnTo>
                    <a:pt x="1229" y="478"/>
                  </a:lnTo>
                  <a:lnTo>
                    <a:pt x="1228" y="480"/>
                  </a:lnTo>
                  <a:lnTo>
                    <a:pt x="1228" y="484"/>
                  </a:lnTo>
                  <a:lnTo>
                    <a:pt x="1237" y="486"/>
                  </a:lnTo>
                  <a:lnTo>
                    <a:pt x="1238" y="486"/>
                  </a:lnTo>
                  <a:lnTo>
                    <a:pt x="1240" y="484"/>
                  </a:lnTo>
                  <a:lnTo>
                    <a:pt x="1240" y="484"/>
                  </a:lnTo>
                  <a:lnTo>
                    <a:pt x="1242" y="484"/>
                  </a:lnTo>
                  <a:lnTo>
                    <a:pt x="1240" y="484"/>
                  </a:lnTo>
                  <a:lnTo>
                    <a:pt x="1240" y="486"/>
                  </a:lnTo>
                  <a:lnTo>
                    <a:pt x="1238" y="486"/>
                  </a:lnTo>
                  <a:lnTo>
                    <a:pt x="1238" y="487"/>
                  </a:lnTo>
                  <a:lnTo>
                    <a:pt x="1240" y="487"/>
                  </a:lnTo>
                  <a:lnTo>
                    <a:pt x="1247" y="493"/>
                  </a:lnTo>
                  <a:lnTo>
                    <a:pt x="1246" y="493"/>
                  </a:lnTo>
                  <a:lnTo>
                    <a:pt x="1246" y="495"/>
                  </a:lnTo>
                  <a:lnTo>
                    <a:pt x="1246" y="495"/>
                  </a:lnTo>
                  <a:lnTo>
                    <a:pt x="1247" y="496"/>
                  </a:lnTo>
                  <a:lnTo>
                    <a:pt x="1247" y="496"/>
                  </a:lnTo>
                  <a:lnTo>
                    <a:pt x="1247" y="496"/>
                  </a:lnTo>
                  <a:lnTo>
                    <a:pt x="1249" y="496"/>
                  </a:lnTo>
                  <a:lnTo>
                    <a:pt x="1247" y="498"/>
                  </a:lnTo>
                  <a:lnTo>
                    <a:pt x="1247" y="498"/>
                  </a:lnTo>
                  <a:lnTo>
                    <a:pt x="1240" y="491"/>
                  </a:lnTo>
                  <a:lnTo>
                    <a:pt x="1237" y="489"/>
                  </a:lnTo>
                  <a:lnTo>
                    <a:pt x="1228" y="491"/>
                  </a:lnTo>
                  <a:lnTo>
                    <a:pt x="1228" y="491"/>
                  </a:lnTo>
                  <a:lnTo>
                    <a:pt x="1229" y="495"/>
                  </a:lnTo>
                  <a:lnTo>
                    <a:pt x="1231" y="496"/>
                  </a:lnTo>
                  <a:lnTo>
                    <a:pt x="1235" y="495"/>
                  </a:lnTo>
                  <a:lnTo>
                    <a:pt x="1237" y="495"/>
                  </a:lnTo>
                  <a:lnTo>
                    <a:pt x="1240" y="498"/>
                  </a:lnTo>
                  <a:lnTo>
                    <a:pt x="1233" y="496"/>
                  </a:lnTo>
                  <a:lnTo>
                    <a:pt x="1233" y="498"/>
                  </a:lnTo>
                  <a:lnTo>
                    <a:pt x="1235" y="500"/>
                  </a:lnTo>
                  <a:lnTo>
                    <a:pt x="1228" y="498"/>
                  </a:lnTo>
                  <a:lnTo>
                    <a:pt x="1226" y="495"/>
                  </a:lnTo>
                  <a:lnTo>
                    <a:pt x="1224" y="493"/>
                  </a:lnTo>
                  <a:lnTo>
                    <a:pt x="1222" y="493"/>
                  </a:lnTo>
                  <a:lnTo>
                    <a:pt x="1222" y="493"/>
                  </a:lnTo>
                  <a:lnTo>
                    <a:pt x="1222" y="495"/>
                  </a:lnTo>
                  <a:lnTo>
                    <a:pt x="1220" y="496"/>
                  </a:lnTo>
                  <a:lnTo>
                    <a:pt x="1222" y="498"/>
                  </a:lnTo>
                  <a:lnTo>
                    <a:pt x="1222" y="498"/>
                  </a:lnTo>
                  <a:lnTo>
                    <a:pt x="1224" y="498"/>
                  </a:lnTo>
                  <a:lnTo>
                    <a:pt x="1217" y="504"/>
                  </a:lnTo>
                  <a:lnTo>
                    <a:pt x="1217" y="507"/>
                  </a:lnTo>
                  <a:lnTo>
                    <a:pt x="1217" y="507"/>
                  </a:lnTo>
                  <a:lnTo>
                    <a:pt x="1219" y="507"/>
                  </a:lnTo>
                  <a:lnTo>
                    <a:pt x="1220" y="505"/>
                  </a:lnTo>
                  <a:lnTo>
                    <a:pt x="1222" y="507"/>
                  </a:lnTo>
                  <a:lnTo>
                    <a:pt x="1224" y="507"/>
                  </a:lnTo>
                  <a:lnTo>
                    <a:pt x="1226" y="509"/>
                  </a:lnTo>
                  <a:lnTo>
                    <a:pt x="1226" y="507"/>
                  </a:lnTo>
                  <a:lnTo>
                    <a:pt x="1226" y="507"/>
                  </a:lnTo>
                  <a:lnTo>
                    <a:pt x="1226" y="505"/>
                  </a:lnTo>
                  <a:lnTo>
                    <a:pt x="1226" y="505"/>
                  </a:lnTo>
                  <a:lnTo>
                    <a:pt x="1228" y="505"/>
                  </a:lnTo>
                  <a:lnTo>
                    <a:pt x="1228" y="505"/>
                  </a:lnTo>
                  <a:lnTo>
                    <a:pt x="1229" y="507"/>
                  </a:lnTo>
                  <a:lnTo>
                    <a:pt x="1228" y="509"/>
                  </a:lnTo>
                  <a:lnTo>
                    <a:pt x="1228" y="509"/>
                  </a:lnTo>
                  <a:lnTo>
                    <a:pt x="1231" y="513"/>
                  </a:lnTo>
                  <a:lnTo>
                    <a:pt x="1229" y="513"/>
                  </a:lnTo>
                  <a:lnTo>
                    <a:pt x="1229" y="514"/>
                  </a:lnTo>
                  <a:lnTo>
                    <a:pt x="1229" y="514"/>
                  </a:lnTo>
                  <a:lnTo>
                    <a:pt x="1228" y="513"/>
                  </a:lnTo>
                  <a:lnTo>
                    <a:pt x="1228" y="511"/>
                  </a:lnTo>
                  <a:lnTo>
                    <a:pt x="1226" y="511"/>
                  </a:lnTo>
                  <a:lnTo>
                    <a:pt x="1222" y="509"/>
                  </a:lnTo>
                  <a:lnTo>
                    <a:pt x="1220" y="511"/>
                  </a:lnTo>
                  <a:lnTo>
                    <a:pt x="1219" y="511"/>
                  </a:lnTo>
                  <a:lnTo>
                    <a:pt x="1220" y="513"/>
                  </a:lnTo>
                  <a:lnTo>
                    <a:pt x="1220" y="513"/>
                  </a:lnTo>
                  <a:lnTo>
                    <a:pt x="1219" y="513"/>
                  </a:lnTo>
                  <a:lnTo>
                    <a:pt x="1219" y="514"/>
                  </a:lnTo>
                  <a:lnTo>
                    <a:pt x="1219" y="516"/>
                  </a:lnTo>
                  <a:lnTo>
                    <a:pt x="1219" y="518"/>
                  </a:lnTo>
                  <a:lnTo>
                    <a:pt x="1220" y="520"/>
                  </a:lnTo>
                  <a:lnTo>
                    <a:pt x="1231" y="522"/>
                  </a:lnTo>
                  <a:lnTo>
                    <a:pt x="1235" y="520"/>
                  </a:lnTo>
                  <a:lnTo>
                    <a:pt x="1240" y="516"/>
                  </a:lnTo>
                  <a:lnTo>
                    <a:pt x="1251" y="513"/>
                  </a:lnTo>
                  <a:lnTo>
                    <a:pt x="1253" y="514"/>
                  </a:lnTo>
                  <a:lnTo>
                    <a:pt x="1246" y="516"/>
                  </a:lnTo>
                  <a:lnTo>
                    <a:pt x="1237" y="522"/>
                  </a:lnTo>
                  <a:lnTo>
                    <a:pt x="1235" y="524"/>
                  </a:lnTo>
                  <a:lnTo>
                    <a:pt x="1233" y="527"/>
                  </a:lnTo>
                  <a:lnTo>
                    <a:pt x="1235" y="527"/>
                  </a:lnTo>
                  <a:lnTo>
                    <a:pt x="1235" y="527"/>
                  </a:lnTo>
                  <a:lnTo>
                    <a:pt x="1237" y="527"/>
                  </a:lnTo>
                  <a:lnTo>
                    <a:pt x="1235" y="529"/>
                  </a:lnTo>
                  <a:lnTo>
                    <a:pt x="1233" y="531"/>
                  </a:lnTo>
                  <a:lnTo>
                    <a:pt x="1233" y="533"/>
                  </a:lnTo>
                  <a:lnTo>
                    <a:pt x="1235" y="534"/>
                  </a:lnTo>
                  <a:lnTo>
                    <a:pt x="1237" y="536"/>
                  </a:lnTo>
                  <a:lnTo>
                    <a:pt x="1237" y="538"/>
                  </a:lnTo>
                  <a:lnTo>
                    <a:pt x="1237" y="538"/>
                  </a:lnTo>
                  <a:lnTo>
                    <a:pt x="1238" y="542"/>
                  </a:lnTo>
                  <a:lnTo>
                    <a:pt x="1238" y="542"/>
                  </a:lnTo>
                  <a:lnTo>
                    <a:pt x="1238" y="543"/>
                  </a:lnTo>
                  <a:lnTo>
                    <a:pt x="1238" y="543"/>
                  </a:lnTo>
                  <a:lnTo>
                    <a:pt x="1238" y="545"/>
                  </a:lnTo>
                  <a:lnTo>
                    <a:pt x="1242" y="547"/>
                  </a:lnTo>
                  <a:lnTo>
                    <a:pt x="1242" y="547"/>
                  </a:lnTo>
                  <a:lnTo>
                    <a:pt x="1240" y="551"/>
                  </a:lnTo>
                  <a:lnTo>
                    <a:pt x="1238" y="552"/>
                  </a:lnTo>
                  <a:lnTo>
                    <a:pt x="1237" y="551"/>
                  </a:lnTo>
                  <a:lnTo>
                    <a:pt x="1237" y="549"/>
                  </a:lnTo>
                  <a:lnTo>
                    <a:pt x="1240" y="549"/>
                  </a:lnTo>
                  <a:lnTo>
                    <a:pt x="1240" y="547"/>
                  </a:lnTo>
                  <a:lnTo>
                    <a:pt x="1238" y="547"/>
                  </a:lnTo>
                  <a:lnTo>
                    <a:pt x="1237" y="543"/>
                  </a:lnTo>
                  <a:lnTo>
                    <a:pt x="1235" y="542"/>
                  </a:lnTo>
                  <a:lnTo>
                    <a:pt x="1235" y="542"/>
                  </a:lnTo>
                  <a:lnTo>
                    <a:pt x="1235" y="542"/>
                  </a:lnTo>
                  <a:lnTo>
                    <a:pt x="1235" y="538"/>
                  </a:lnTo>
                  <a:lnTo>
                    <a:pt x="1235" y="538"/>
                  </a:lnTo>
                  <a:lnTo>
                    <a:pt x="1231" y="531"/>
                  </a:lnTo>
                  <a:lnTo>
                    <a:pt x="1231" y="529"/>
                  </a:lnTo>
                  <a:lnTo>
                    <a:pt x="1231" y="527"/>
                  </a:lnTo>
                  <a:lnTo>
                    <a:pt x="1229" y="525"/>
                  </a:lnTo>
                  <a:lnTo>
                    <a:pt x="1226" y="524"/>
                  </a:lnTo>
                  <a:lnTo>
                    <a:pt x="1219" y="525"/>
                  </a:lnTo>
                  <a:lnTo>
                    <a:pt x="1219" y="525"/>
                  </a:lnTo>
                  <a:lnTo>
                    <a:pt x="1219" y="525"/>
                  </a:lnTo>
                  <a:lnTo>
                    <a:pt x="1219" y="527"/>
                  </a:lnTo>
                  <a:lnTo>
                    <a:pt x="1219" y="529"/>
                  </a:lnTo>
                  <a:lnTo>
                    <a:pt x="1219" y="529"/>
                  </a:lnTo>
                  <a:lnTo>
                    <a:pt x="1217" y="529"/>
                  </a:lnTo>
                  <a:lnTo>
                    <a:pt x="1217" y="529"/>
                  </a:lnTo>
                  <a:lnTo>
                    <a:pt x="1215" y="533"/>
                  </a:lnTo>
                  <a:lnTo>
                    <a:pt x="1213" y="533"/>
                  </a:lnTo>
                  <a:lnTo>
                    <a:pt x="1215" y="531"/>
                  </a:lnTo>
                  <a:lnTo>
                    <a:pt x="1215" y="529"/>
                  </a:lnTo>
                  <a:lnTo>
                    <a:pt x="1215" y="529"/>
                  </a:lnTo>
                  <a:lnTo>
                    <a:pt x="1215" y="527"/>
                  </a:lnTo>
                  <a:lnTo>
                    <a:pt x="1215" y="525"/>
                  </a:lnTo>
                  <a:lnTo>
                    <a:pt x="1215" y="525"/>
                  </a:lnTo>
                  <a:lnTo>
                    <a:pt x="1215" y="525"/>
                  </a:lnTo>
                  <a:lnTo>
                    <a:pt x="1217" y="525"/>
                  </a:lnTo>
                  <a:lnTo>
                    <a:pt x="1217" y="524"/>
                  </a:lnTo>
                  <a:lnTo>
                    <a:pt x="1219" y="524"/>
                  </a:lnTo>
                  <a:lnTo>
                    <a:pt x="1219" y="524"/>
                  </a:lnTo>
                  <a:lnTo>
                    <a:pt x="1217" y="524"/>
                  </a:lnTo>
                  <a:lnTo>
                    <a:pt x="1217" y="522"/>
                  </a:lnTo>
                  <a:lnTo>
                    <a:pt x="1217" y="522"/>
                  </a:lnTo>
                  <a:lnTo>
                    <a:pt x="1217" y="520"/>
                  </a:lnTo>
                  <a:lnTo>
                    <a:pt x="1217" y="520"/>
                  </a:lnTo>
                  <a:lnTo>
                    <a:pt x="1215" y="520"/>
                  </a:lnTo>
                  <a:lnTo>
                    <a:pt x="1215" y="522"/>
                  </a:lnTo>
                  <a:lnTo>
                    <a:pt x="1213" y="522"/>
                  </a:lnTo>
                  <a:lnTo>
                    <a:pt x="1213" y="522"/>
                  </a:lnTo>
                  <a:lnTo>
                    <a:pt x="1211" y="524"/>
                  </a:lnTo>
                  <a:lnTo>
                    <a:pt x="1210" y="524"/>
                  </a:lnTo>
                  <a:lnTo>
                    <a:pt x="1210" y="525"/>
                  </a:lnTo>
                  <a:lnTo>
                    <a:pt x="1208" y="527"/>
                  </a:lnTo>
                  <a:lnTo>
                    <a:pt x="1206" y="527"/>
                  </a:lnTo>
                  <a:lnTo>
                    <a:pt x="1201" y="525"/>
                  </a:lnTo>
                  <a:lnTo>
                    <a:pt x="1199" y="525"/>
                  </a:lnTo>
                  <a:lnTo>
                    <a:pt x="1201" y="524"/>
                  </a:lnTo>
                  <a:lnTo>
                    <a:pt x="1208" y="524"/>
                  </a:lnTo>
                  <a:lnTo>
                    <a:pt x="1210" y="520"/>
                  </a:lnTo>
                  <a:lnTo>
                    <a:pt x="1210" y="520"/>
                  </a:lnTo>
                  <a:lnTo>
                    <a:pt x="1208" y="516"/>
                  </a:lnTo>
                  <a:lnTo>
                    <a:pt x="1206" y="516"/>
                  </a:lnTo>
                  <a:lnTo>
                    <a:pt x="1208" y="514"/>
                  </a:lnTo>
                  <a:lnTo>
                    <a:pt x="1210" y="514"/>
                  </a:lnTo>
                  <a:lnTo>
                    <a:pt x="1210" y="516"/>
                  </a:lnTo>
                  <a:lnTo>
                    <a:pt x="1211" y="516"/>
                  </a:lnTo>
                  <a:lnTo>
                    <a:pt x="1211" y="518"/>
                  </a:lnTo>
                  <a:lnTo>
                    <a:pt x="1213" y="518"/>
                  </a:lnTo>
                  <a:lnTo>
                    <a:pt x="1213" y="518"/>
                  </a:lnTo>
                  <a:lnTo>
                    <a:pt x="1215" y="518"/>
                  </a:lnTo>
                  <a:lnTo>
                    <a:pt x="1215" y="518"/>
                  </a:lnTo>
                  <a:lnTo>
                    <a:pt x="1215" y="516"/>
                  </a:lnTo>
                  <a:lnTo>
                    <a:pt x="1213" y="514"/>
                  </a:lnTo>
                  <a:lnTo>
                    <a:pt x="1211" y="513"/>
                  </a:lnTo>
                  <a:lnTo>
                    <a:pt x="1210" y="513"/>
                  </a:lnTo>
                  <a:lnTo>
                    <a:pt x="1206" y="513"/>
                  </a:lnTo>
                  <a:lnTo>
                    <a:pt x="1197" y="518"/>
                  </a:lnTo>
                  <a:lnTo>
                    <a:pt x="1195" y="520"/>
                  </a:lnTo>
                  <a:lnTo>
                    <a:pt x="1193" y="522"/>
                  </a:lnTo>
                  <a:lnTo>
                    <a:pt x="1193" y="524"/>
                  </a:lnTo>
                  <a:lnTo>
                    <a:pt x="1193" y="524"/>
                  </a:lnTo>
                  <a:lnTo>
                    <a:pt x="1195" y="524"/>
                  </a:lnTo>
                  <a:lnTo>
                    <a:pt x="1195" y="525"/>
                  </a:lnTo>
                  <a:lnTo>
                    <a:pt x="1197" y="525"/>
                  </a:lnTo>
                  <a:lnTo>
                    <a:pt x="1195" y="527"/>
                  </a:lnTo>
                  <a:lnTo>
                    <a:pt x="1197" y="527"/>
                  </a:lnTo>
                  <a:lnTo>
                    <a:pt x="1199" y="527"/>
                  </a:lnTo>
                  <a:lnTo>
                    <a:pt x="1199" y="527"/>
                  </a:lnTo>
                  <a:lnTo>
                    <a:pt x="1199" y="529"/>
                  </a:lnTo>
                  <a:lnTo>
                    <a:pt x="1199" y="529"/>
                  </a:lnTo>
                  <a:lnTo>
                    <a:pt x="1204" y="531"/>
                  </a:lnTo>
                  <a:lnTo>
                    <a:pt x="1210" y="529"/>
                  </a:lnTo>
                  <a:lnTo>
                    <a:pt x="1206" y="533"/>
                  </a:lnTo>
                  <a:lnTo>
                    <a:pt x="1204" y="533"/>
                  </a:lnTo>
                  <a:lnTo>
                    <a:pt x="1202" y="534"/>
                  </a:lnTo>
                  <a:lnTo>
                    <a:pt x="1201" y="534"/>
                  </a:lnTo>
                  <a:lnTo>
                    <a:pt x="1201" y="536"/>
                  </a:lnTo>
                  <a:lnTo>
                    <a:pt x="1199" y="538"/>
                  </a:lnTo>
                  <a:lnTo>
                    <a:pt x="1197" y="538"/>
                  </a:lnTo>
                  <a:lnTo>
                    <a:pt x="1197" y="536"/>
                  </a:lnTo>
                  <a:lnTo>
                    <a:pt x="1199" y="534"/>
                  </a:lnTo>
                  <a:lnTo>
                    <a:pt x="1199" y="534"/>
                  </a:lnTo>
                  <a:lnTo>
                    <a:pt x="1197" y="533"/>
                  </a:lnTo>
                  <a:lnTo>
                    <a:pt x="1195" y="533"/>
                  </a:lnTo>
                  <a:lnTo>
                    <a:pt x="1195" y="533"/>
                  </a:lnTo>
                  <a:lnTo>
                    <a:pt x="1190" y="533"/>
                  </a:lnTo>
                  <a:lnTo>
                    <a:pt x="1188" y="533"/>
                  </a:lnTo>
                  <a:lnTo>
                    <a:pt x="1188" y="534"/>
                  </a:lnTo>
                  <a:lnTo>
                    <a:pt x="1186" y="536"/>
                  </a:lnTo>
                  <a:lnTo>
                    <a:pt x="1186" y="536"/>
                  </a:lnTo>
                  <a:lnTo>
                    <a:pt x="1186" y="536"/>
                  </a:lnTo>
                  <a:lnTo>
                    <a:pt x="1186" y="536"/>
                  </a:lnTo>
                  <a:lnTo>
                    <a:pt x="1188" y="536"/>
                  </a:lnTo>
                  <a:lnTo>
                    <a:pt x="1188" y="536"/>
                  </a:lnTo>
                  <a:lnTo>
                    <a:pt x="1188" y="538"/>
                  </a:lnTo>
                  <a:lnTo>
                    <a:pt x="1182" y="545"/>
                  </a:lnTo>
                  <a:lnTo>
                    <a:pt x="1179" y="549"/>
                  </a:lnTo>
                  <a:lnTo>
                    <a:pt x="1179" y="551"/>
                  </a:lnTo>
                  <a:lnTo>
                    <a:pt x="1177" y="551"/>
                  </a:lnTo>
                  <a:lnTo>
                    <a:pt x="1177" y="552"/>
                  </a:lnTo>
                  <a:lnTo>
                    <a:pt x="1177" y="554"/>
                  </a:lnTo>
                  <a:lnTo>
                    <a:pt x="1173" y="556"/>
                  </a:lnTo>
                  <a:lnTo>
                    <a:pt x="1175" y="556"/>
                  </a:lnTo>
                  <a:lnTo>
                    <a:pt x="1175" y="556"/>
                  </a:lnTo>
                  <a:lnTo>
                    <a:pt x="1177" y="556"/>
                  </a:lnTo>
                  <a:lnTo>
                    <a:pt x="1177" y="554"/>
                  </a:lnTo>
                  <a:lnTo>
                    <a:pt x="1186" y="554"/>
                  </a:lnTo>
                  <a:lnTo>
                    <a:pt x="1188" y="552"/>
                  </a:lnTo>
                  <a:lnTo>
                    <a:pt x="1190" y="552"/>
                  </a:lnTo>
                  <a:lnTo>
                    <a:pt x="1192" y="551"/>
                  </a:lnTo>
                  <a:lnTo>
                    <a:pt x="1192" y="551"/>
                  </a:lnTo>
                  <a:lnTo>
                    <a:pt x="1192" y="552"/>
                  </a:lnTo>
                  <a:lnTo>
                    <a:pt x="1192" y="554"/>
                  </a:lnTo>
                  <a:lnTo>
                    <a:pt x="1192" y="556"/>
                  </a:lnTo>
                  <a:lnTo>
                    <a:pt x="1188" y="560"/>
                  </a:lnTo>
                  <a:lnTo>
                    <a:pt x="1192" y="560"/>
                  </a:lnTo>
                  <a:lnTo>
                    <a:pt x="1197" y="556"/>
                  </a:lnTo>
                  <a:lnTo>
                    <a:pt x="1199" y="554"/>
                  </a:lnTo>
                  <a:lnTo>
                    <a:pt x="1199" y="552"/>
                  </a:lnTo>
                  <a:lnTo>
                    <a:pt x="1197" y="552"/>
                  </a:lnTo>
                  <a:lnTo>
                    <a:pt x="1195" y="552"/>
                  </a:lnTo>
                  <a:lnTo>
                    <a:pt x="1202" y="552"/>
                  </a:lnTo>
                  <a:lnTo>
                    <a:pt x="1206" y="552"/>
                  </a:lnTo>
                  <a:lnTo>
                    <a:pt x="1206" y="552"/>
                  </a:lnTo>
                  <a:lnTo>
                    <a:pt x="1208" y="552"/>
                  </a:lnTo>
                  <a:lnTo>
                    <a:pt x="1208" y="551"/>
                  </a:lnTo>
                  <a:lnTo>
                    <a:pt x="1208" y="551"/>
                  </a:lnTo>
                  <a:lnTo>
                    <a:pt x="1208" y="549"/>
                  </a:lnTo>
                  <a:lnTo>
                    <a:pt x="1208" y="549"/>
                  </a:lnTo>
                  <a:lnTo>
                    <a:pt x="1210" y="549"/>
                  </a:lnTo>
                  <a:lnTo>
                    <a:pt x="1213" y="547"/>
                  </a:lnTo>
                  <a:lnTo>
                    <a:pt x="1215" y="547"/>
                  </a:lnTo>
                  <a:lnTo>
                    <a:pt x="1215" y="551"/>
                  </a:lnTo>
                  <a:lnTo>
                    <a:pt x="1213" y="552"/>
                  </a:lnTo>
                  <a:lnTo>
                    <a:pt x="1213" y="552"/>
                  </a:lnTo>
                  <a:lnTo>
                    <a:pt x="1211" y="552"/>
                  </a:lnTo>
                  <a:lnTo>
                    <a:pt x="1211" y="554"/>
                  </a:lnTo>
                  <a:lnTo>
                    <a:pt x="1210" y="554"/>
                  </a:lnTo>
                  <a:lnTo>
                    <a:pt x="1219" y="556"/>
                  </a:lnTo>
                  <a:lnTo>
                    <a:pt x="1219" y="556"/>
                  </a:lnTo>
                  <a:lnTo>
                    <a:pt x="1220" y="556"/>
                  </a:lnTo>
                  <a:lnTo>
                    <a:pt x="1220" y="556"/>
                  </a:lnTo>
                  <a:lnTo>
                    <a:pt x="1222" y="556"/>
                  </a:lnTo>
                  <a:lnTo>
                    <a:pt x="1224" y="556"/>
                  </a:lnTo>
                  <a:lnTo>
                    <a:pt x="1224" y="558"/>
                  </a:lnTo>
                  <a:lnTo>
                    <a:pt x="1222" y="558"/>
                  </a:lnTo>
                  <a:lnTo>
                    <a:pt x="1222" y="558"/>
                  </a:lnTo>
                  <a:lnTo>
                    <a:pt x="1220" y="560"/>
                  </a:lnTo>
                  <a:lnTo>
                    <a:pt x="1222" y="560"/>
                  </a:lnTo>
                  <a:lnTo>
                    <a:pt x="1222" y="560"/>
                  </a:lnTo>
                  <a:lnTo>
                    <a:pt x="1226" y="558"/>
                  </a:lnTo>
                  <a:lnTo>
                    <a:pt x="1226" y="556"/>
                  </a:lnTo>
                  <a:lnTo>
                    <a:pt x="1228" y="556"/>
                  </a:lnTo>
                  <a:lnTo>
                    <a:pt x="1235" y="558"/>
                  </a:lnTo>
                  <a:lnTo>
                    <a:pt x="1237" y="561"/>
                  </a:lnTo>
                  <a:lnTo>
                    <a:pt x="1242" y="560"/>
                  </a:lnTo>
                  <a:lnTo>
                    <a:pt x="1242" y="560"/>
                  </a:lnTo>
                  <a:lnTo>
                    <a:pt x="1242" y="561"/>
                  </a:lnTo>
                  <a:lnTo>
                    <a:pt x="1244" y="561"/>
                  </a:lnTo>
                  <a:lnTo>
                    <a:pt x="1244" y="563"/>
                  </a:lnTo>
                  <a:lnTo>
                    <a:pt x="1244" y="565"/>
                  </a:lnTo>
                  <a:lnTo>
                    <a:pt x="1244" y="565"/>
                  </a:lnTo>
                  <a:lnTo>
                    <a:pt x="1229" y="560"/>
                  </a:lnTo>
                  <a:lnTo>
                    <a:pt x="1228" y="560"/>
                  </a:lnTo>
                  <a:lnTo>
                    <a:pt x="1226" y="561"/>
                  </a:lnTo>
                  <a:lnTo>
                    <a:pt x="1228" y="563"/>
                  </a:lnTo>
                  <a:lnTo>
                    <a:pt x="1229" y="565"/>
                  </a:lnTo>
                  <a:lnTo>
                    <a:pt x="1231" y="567"/>
                  </a:lnTo>
                  <a:lnTo>
                    <a:pt x="1231" y="567"/>
                  </a:lnTo>
                  <a:lnTo>
                    <a:pt x="1231" y="569"/>
                  </a:lnTo>
                  <a:lnTo>
                    <a:pt x="1229" y="572"/>
                  </a:lnTo>
                  <a:lnTo>
                    <a:pt x="1229" y="572"/>
                  </a:lnTo>
                  <a:lnTo>
                    <a:pt x="1229" y="574"/>
                  </a:lnTo>
                  <a:lnTo>
                    <a:pt x="1229" y="576"/>
                  </a:lnTo>
                  <a:lnTo>
                    <a:pt x="1231" y="576"/>
                  </a:lnTo>
                  <a:lnTo>
                    <a:pt x="1233" y="578"/>
                  </a:lnTo>
                  <a:lnTo>
                    <a:pt x="1231" y="578"/>
                  </a:lnTo>
                  <a:lnTo>
                    <a:pt x="1229" y="578"/>
                  </a:lnTo>
                  <a:lnTo>
                    <a:pt x="1228" y="576"/>
                  </a:lnTo>
                  <a:lnTo>
                    <a:pt x="1226" y="574"/>
                  </a:lnTo>
                  <a:lnTo>
                    <a:pt x="1228" y="570"/>
                  </a:lnTo>
                  <a:lnTo>
                    <a:pt x="1228" y="569"/>
                  </a:lnTo>
                  <a:lnTo>
                    <a:pt x="1226" y="567"/>
                  </a:lnTo>
                  <a:lnTo>
                    <a:pt x="1226" y="565"/>
                  </a:lnTo>
                  <a:lnTo>
                    <a:pt x="1222" y="565"/>
                  </a:lnTo>
                  <a:lnTo>
                    <a:pt x="1220" y="565"/>
                  </a:lnTo>
                  <a:lnTo>
                    <a:pt x="1219" y="563"/>
                  </a:lnTo>
                  <a:lnTo>
                    <a:pt x="1219" y="561"/>
                  </a:lnTo>
                  <a:lnTo>
                    <a:pt x="1215" y="561"/>
                  </a:lnTo>
                  <a:lnTo>
                    <a:pt x="1213" y="561"/>
                  </a:lnTo>
                  <a:lnTo>
                    <a:pt x="1211" y="560"/>
                  </a:lnTo>
                  <a:lnTo>
                    <a:pt x="1211" y="560"/>
                  </a:lnTo>
                  <a:lnTo>
                    <a:pt x="1208" y="561"/>
                  </a:lnTo>
                  <a:lnTo>
                    <a:pt x="1208" y="561"/>
                  </a:lnTo>
                  <a:lnTo>
                    <a:pt x="1204" y="567"/>
                  </a:lnTo>
                  <a:lnTo>
                    <a:pt x="1204" y="567"/>
                  </a:lnTo>
                  <a:lnTo>
                    <a:pt x="1204" y="569"/>
                  </a:lnTo>
                  <a:lnTo>
                    <a:pt x="1206" y="570"/>
                  </a:lnTo>
                  <a:lnTo>
                    <a:pt x="1208" y="572"/>
                  </a:lnTo>
                  <a:lnTo>
                    <a:pt x="1208" y="574"/>
                  </a:lnTo>
                  <a:lnTo>
                    <a:pt x="1206" y="574"/>
                  </a:lnTo>
                  <a:lnTo>
                    <a:pt x="1206" y="574"/>
                  </a:lnTo>
                  <a:lnTo>
                    <a:pt x="1204" y="570"/>
                  </a:lnTo>
                  <a:lnTo>
                    <a:pt x="1202" y="569"/>
                  </a:lnTo>
                  <a:lnTo>
                    <a:pt x="1202" y="567"/>
                  </a:lnTo>
                  <a:lnTo>
                    <a:pt x="1202" y="565"/>
                  </a:lnTo>
                  <a:lnTo>
                    <a:pt x="1202" y="565"/>
                  </a:lnTo>
                  <a:lnTo>
                    <a:pt x="1204" y="563"/>
                  </a:lnTo>
                  <a:lnTo>
                    <a:pt x="1204" y="561"/>
                  </a:lnTo>
                  <a:lnTo>
                    <a:pt x="1204" y="561"/>
                  </a:lnTo>
                  <a:lnTo>
                    <a:pt x="1206" y="560"/>
                  </a:lnTo>
                  <a:lnTo>
                    <a:pt x="1206" y="560"/>
                  </a:lnTo>
                  <a:lnTo>
                    <a:pt x="1201" y="560"/>
                  </a:lnTo>
                  <a:lnTo>
                    <a:pt x="1197" y="560"/>
                  </a:lnTo>
                  <a:lnTo>
                    <a:pt x="1195" y="560"/>
                  </a:lnTo>
                  <a:lnTo>
                    <a:pt x="1195" y="561"/>
                  </a:lnTo>
                  <a:lnTo>
                    <a:pt x="1193" y="561"/>
                  </a:lnTo>
                  <a:lnTo>
                    <a:pt x="1192" y="563"/>
                  </a:lnTo>
                  <a:lnTo>
                    <a:pt x="1190" y="563"/>
                  </a:lnTo>
                  <a:lnTo>
                    <a:pt x="1188" y="561"/>
                  </a:lnTo>
                  <a:lnTo>
                    <a:pt x="1188" y="561"/>
                  </a:lnTo>
                  <a:lnTo>
                    <a:pt x="1186" y="561"/>
                  </a:lnTo>
                  <a:lnTo>
                    <a:pt x="1184" y="563"/>
                  </a:lnTo>
                  <a:lnTo>
                    <a:pt x="1182" y="563"/>
                  </a:lnTo>
                  <a:lnTo>
                    <a:pt x="1190" y="565"/>
                  </a:lnTo>
                  <a:lnTo>
                    <a:pt x="1193" y="567"/>
                  </a:lnTo>
                  <a:lnTo>
                    <a:pt x="1193" y="567"/>
                  </a:lnTo>
                  <a:lnTo>
                    <a:pt x="1195" y="569"/>
                  </a:lnTo>
                  <a:lnTo>
                    <a:pt x="1195" y="570"/>
                  </a:lnTo>
                  <a:lnTo>
                    <a:pt x="1195" y="570"/>
                  </a:lnTo>
                  <a:lnTo>
                    <a:pt x="1195" y="572"/>
                  </a:lnTo>
                  <a:lnTo>
                    <a:pt x="1193" y="570"/>
                  </a:lnTo>
                  <a:lnTo>
                    <a:pt x="1193" y="567"/>
                  </a:lnTo>
                  <a:lnTo>
                    <a:pt x="1192" y="567"/>
                  </a:lnTo>
                  <a:lnTo>
                    <a:pt x="1181" y="567"/>
                  </a:lnTo>
                  <a:lnTo>
                    <a:pt x="1181" y="569"/>
                  </a:lnTo>
                  <a:lnTo>
                    <a:pt x="1181" y="569"/>
                  </a:lnTo>
                  <a:lnTo>
                    <a:pt x="1181" y="569"/>
                  </a:lnTo>
                  <a:lnTo>
                    <a:pt x="1181" y="569"/>
                  </a:lnTo>
                  <a:lnTo>
                    <a:pt x="1181" y="570"/>
                  </a:lnTo>
                  <a:lnTo>
                    <a:pt x="1179" y="572"/>
                  </a:lnTo>
                  <a:lnTo>
                    <a:pt x="1179" y="572"/>
                  </a:lnTo>
                  <a:lnTo>
                    <a:pt x="1177" y="572"/>
                  </a:lnTo>
                  <a:lnTo>
                    <a:pt x="1177" y="570"/>
                  </a:lnTo>
                  <a:lnTo>
                    <a:pt x="1179" y="569"/>
                  </a:lnTo>
                  <a:lnTo>
                    <a:pt x="1179" y="567"/>
                  </a:lnTo>
                  <a:lnTo>
                    <a:pt x="1179" y="565"/>
                  </a:lnTo>
                  <a:lnTo>
                    <a:pt x="1175" y="567"/>
                  </a:lnTo>
                  <a:lnTo>
                    <a:pt x="1175" y="567"/>
                  </a:lnTo>
                  <a:lnTo>
                    <a:pt x="1173" y="569"/>
                  </a:lnTo>
                  <a:lnTo>
                    <a:pt x="1173" y="569"/>
                  </a:lnTo>
                  <a:lnTo>
                    <a:pt x="1173" y="570"/>
                  </a:lnTo>
                  <a:lnTo>
                    <a:pt x="1173" y="572"/>
                  </a:lnTo>
                  <a:lnTo>
                    <a:pt x="1172" y="574"/>
                  </a:lnTo>
                  <a:lnTo>
                    <a:pt x="1172" y="576"/>
                  </a:lnTo>
                  <a:lnTo>
                    <a:pt x="1170" y="576"/>
                  </a:lnTo>
                  <a:lnTo>
                    <a:pt x="1172" y="578"/>
                  </a:lnTo>
                  <a:lnTo>
                    <a:pt x="1175" y="578"/>
                  </a:lnTo>
                  <a:lnTo>
                    <a:pt x="1182" y="580"/>
                  </a:lnTo>
                  <a:lnTo>
                    <a:pt x="1184" y="580"/>
                  </a:lnTo>
                  <a:lnTo>
                    <a:pt x="1186" y="580"/>
                  </a:lnTo>
                  <a:lnTo>
                    <a:pt x="1186" y="581"/>
                  </a:lnTo>
                  <a:lnTo>
                    <a:pt x="1186" y="583"/>
                  </a:lnTo>
                  <a:lnTo>
                    <a:pt x="1186" y="585"/>
                  </a:lnTo>
                  <a:lnTo>
                    <a:pt x="1184" y="585"/>
                  </a:lnTo>
                  <a:lnTo>
                    <a:pt x="1184" y="583"/>
                  </a:lnTo>
                  <a:lnTo>
                    <a:pt x="1184" y="581"/>
                  </a:lnTo>
                  <a:lnTo>
                    <a:pt x="1184" y="581"/>
                  </a:lnTo>
                  <a:lnTo>
                    <a:pt x="1182" y="581"/>
                  </a:lnTo>
                  <a:lnTo>
                    <a:pt x="1181" y="581"/>
                  </a:lnTo>
                  <a:lnTo>
                    <a:pt x="1179" y="580"/>
                  </a:lnTo>
                  <a:lnTo>
                    <a:pt x="1179" y="580"/>
                  </a:lnTo>
                  <a:lnTo>
                    <a:pt x="1170" y="580"/>
                  </a:lnTo>
                  <a:lnTo>
                    <a:pt x="1170" y="581"/>
                  </a:lnTo>
                  <a:lnTo>
                    <a:pt x="1170" y="581"/>
                  </a:lnTo>
                  <a:lnTo>
                    <a:pt x="1170" y="583"/>
                  </a:lnTo>
                  <a:lnTo>
                    <a:pt x="1170" y="587"/>
                  </a:lnTo>
                  <a:lnTo>
                    <a:pt x="1168" y="587"/>
                  </a:lnTo>
                  <a:lnTo>
                    <a:pt x="1168" y="589"/>
                  </a:lnTo>
                  <a:lnTo>
                    <a:pt x="1168" y="589"/>
                  </a:lnTo>
                  <a:lnTo>
                    <a:pt x="1168" y="589"/>
                  </a:lnTo>
                  <a:lnTo>
                    <a:pt x="1168" y="590"/>
                  </a:lnTo>
                  <a:lnTo>
                    <a:pt x="1168" y="590"/>
                  </a:lnTo>
                  <a:lnTo>
                    <a:pt x="1166" y="590"/>
                  </a:lnTo>
                  <a:lnTo>
                    <a:pt x="1166" y="590"/>
                  </a:lnTo>
                  <a:lnTo>
                    <a:pt x="1166" y="590"/>
                  </a:lnTo>
                  <a:lnTo>
                    <a:pt x="1164" y="590"/>
                  </a:lnTo>
                  <a:lnTo>
                    <a:pt x="1163" y="589"/>
                  </a:lnTo>
                  <a:lnTo>
                    <a:pt x="1163" y="587"/>
                  </a:lnTo>
                  <a:lnTo>
                    <a:pt x="1161" y="583"/>
                  </a:lnTo>
                  <a:lnTo>
                    <a:pt x="1161" y="581"/>
                  </a:lnTo>
                  <a:lnTo>
                    <a:pt x="1161" y="581"/>
                  </a:lnTo>
                  <a:lnTo>
                    <a:pt x="1161" y="580"/>
                  </a:lnTo>
                  <a:lnTo>
                    <a:pt x="1161" y="580"/>
                  </a:lnTo>
                  <a:lnTo>
                    <a:pt x="1159" y="580"/>
                  </a:lnTo>
                  <a:lnTo>
                    <a:pt x="1159" y="581"/>
                  </a:lnTo>
                  <a:lnTo>
                    <a:pt x="1159" y="583"/>
                  </a:lnTo>
                  <a:lnTo>
                    <a:pt x="1157" y="585"/>
                  </a:lnTo>
                  <a:lnTo>
                    <a:pt x="1159" y="585"/>
                  </a:lnTo>
                  <a:lnTo>
                    <a:pt x="1159" y="587"/>
                  </a:lnTo>
                  <a:lnTo>
                    <a:pt x="1159" y="589"/>
                  </a:lnTo>
                  <a:lnTo>
                    <a:pt x="1159" y="590"/>
                  </a:lnTo>
                  <a:lnTo>
                    <a:pt x="1159" y="590"/>
                  </a:lnTo>
                  <a:lnTo>
                    <a:pt x="1157" y="590"/>
                  </a:lnTo>
                  <a:lnTo>
                    <a:pt x="1157" y="592"/>
                  </a:lnTo>
                  <a:lnTo>
                    <a:pt x="1155" y="592"/>
                  </a:lnTo>
                  <a:lnTo>
                    <a:pt x="1155" y="592"/>
                  </a:lnTo>
                  <a:lnTo>
                    <a:pt x="1155" y="592"/>
                  </a:lnTo>
                  <a:lnTo>
                    <a:pt x="1154" y="596"/>
                  </a:lnTo>
                  <a:lnTo>
                    <a:pt x="1155" y="596"/>
                  </a:lnTo>
                  <a:lnTo>
                    <a:pt x="1155" y="596"/>
                  </a:lnTo>
                  <a:lnTo>
                    <a:pt x="1154" y="598"/>
                  </a:lnTo>
                  <a:lnTo>
                    <a:pt x="1154" y="596"/>
                  </a:lnTo>
                  <a:lnTo>
                    <a:pt x="1152" y="592"/>
                  </a:lnTo>
                  <a:lnTo>
                    <a:pt x="1154" y="592"/>
                  </a:lnTo>
                  <a:lnTo>
                    <a:pt x="1154" y="592"/>
                  </a:lnTo>
                  <a:lnTo>
                    <a:pt x="1155" y="590"/>
                  </a:lnTo>
                  <a:lnTo>
                    <a:pt x="1155" y="587"/>
                  </a:lnTo>
                  <a:lnTo>
                    <a:pt x="1154" y="587"/>
                  </a:lnTo>
                  <a:lnTo>
                    <a:pt x="1154" y="589"/>
                  </a:lnTo>
                  <a:lnTo>
                    <a:pt x="1152" y="589"/>
                  </a:lnTo>
                  <a:lnTo>
                    <a:pt x="1152" y="589"/>
                  </a:lnTo>
                  <a:lnTo>
                    <a:pt x="1152" y="589"/>
                  </a:lnTo>
                  <a:lnTo>
                    <a:pt x="1150" y="590"/>
                  </a:lnTo>
                  <a:lnTo>
                    <a:pt x="1150" y="590"/>
                  </a:lnTo>
                  <a:lnTo>
                    <a:pt x="1148" y="592"/>
                  </a:lnTo>
                  <a:lnTo>
                    <a:pt x="1145" y="590"/>
                  </a:lnTo>
                  <a:lnTo>
                    <a:pt x="1146" y="592"/>
                  </a:lnTo>
                  <a:lnTo>
                    <a:pt x="1146" y="594"/>
                  </a:lnTo>
                  <a:lnTo>
                    <a:pt x="1146" y="594"/>
                  </a:lnTo>
                  <a:lnTo>
                    <a:pt x="1145" y="596"/>
                  </a:lnTo>
                  <a:lnTo>
                    <a:pt x="1137" y="594"/>
                  </a:lnTo>
                  <a:lnTo>
                    <a:pt x="1136" y="596"/>
                  </a:lnTo>
                  <a:lnTo>
                    <a:pt x="1134" y="598"/>
                  </a:lnTo>
                  <a:lnTo>
                    <a:pt x="1134" y="599"/>
                  </a:lnTo>
                  <a:lnTo>
                    <a:pt x="1134" y="599"/>
                  </a:lnTo>
                  <a:lnTo>
                    <a:pt x="1137" y="599"/>
                  </a:lnTo>
                  <a:lnTo>
                    <a:pt x="1139" y="599"/>
                  </a:lnTo>
                  <a:lnTo>
                    <a:pt x="1139" y="601"/>
                  </a:lnTo>
                  <a:lnTo>
                    <a:pt x="1139" y="603"/>
                  </a:lnTo>
                  <a:lnTo>
                    <a:pt x="1139" y="603"/>
                  </a:lnTo>
                  <a:lnTo>
                    <a:pt x="1139" y="605"/>
                  </a:lnTo>
                  <a:lnTo>
                    <a:pt x="1141" y="605"/>
                  </a:lnTo>
                  <a:lnTo>
                    <a:pt x="1143" y="605"/>
                  </a:lnTo>
                  <a:lnTo>
                    <a:pt x="1141" y="605"/>
                  </a:lnTo>
                  <a:lnTo>
                    <a:pt x="1141" y="607"/>
                  </a:lnTo>
                  <a:lnTo>
                    <a:pt x="1141" y="607"/>
                  </a:lnTo>
                  <a:lnTo>
                    <a:pt x="1141" y="608"/>
                  </a:lnTo>
                  <a:lnTo>
                    <a:pt x="1143" y="608"/>
                  </a:lnTo>
                  <a:lnTo>
                    <a:pt x="1145" y="608"/>
                  </a:lnTo>
                  <a:lnTo>
                    <a:pt x="1145" y="608"/>
                  </a:lnTo>
                  <a:lnTo>
                    <a:pt x="1146" y="610"/>
                  </a:lnTo>
                  <a:lnTo>
                    <a:pt x="1146" y="612"/>
                  </a:lnTo>
                  <a:lnTo>
                    <a:pt x="1155" y="612"/>
                  </a:lnTo>
                  <a:lnTo>
                    <a:pt x="1157" y="614"/>
                  </a:lnTo>
                  <a:lnTo>
                    <a:pt x="1146" y="614"/>
                  </a:lnTo>
                  <a:lnTo>
                    <a:pt x="1141" y="612"/>
                  </a:lnTo>
                  <a:lnTo>
                    <a:pt x="1137" y="612"/>
                  </a:lnTo>
                  <a:lnTo>
                    <a:pt x="1134" y="612"/>
                  </a:lnTo>
                  <a:lnTo>
                    <a:pt x="1132" y="614"/>
                  </a:lnTo>
                  <a:lnTo>
                    <a:pt x="1134" y="616"/>
                  </a:lnTo>
                  <a:lnTo>
                    <a:pt x="1136" y="616"/>
                  </a:lnTo>
                  <a:lnTo>
                    <a:pt x="1136" y="616"/>
                  </a:lnTo>
                  <a:lnTo>
                    <a:pt x="1143" y="616"/>
                  </a:lnTo>
                  <a:lnTo>
                    <a:pt x="1145" y="617"/>
                  </a:lnTo>
                  <a:lnTo>
                    <a:pt x="1143" y="619"/>
                  </a:lnTo>
                  <a:lnTo>
                    <a:pt x="1137" y="617"/>
                  </a:lnTo>
                  <a:lnTo>
                    <a:pt x="1136" y="617"/>
                  </a:lnTo>
                  <a:lnTo>
                    <a:pt x="1134" y="619"/>
                  </a:lnTo>
                  <a:lnTo>
                    <a:pt x="1134" y="623"/>
                  </a:lnTo>
                  <a:lnTo>
                    <a:pt x="1136" y="623"/>
                  </a:lnTo>
                  <a:lnTo>
                    <a:pt x="1137" y="623"/>
                  </a:lnTo>
                  <a:lnTo>
                    <a:pt x="1141" y="621"/>
                  </a:lnTo>
                  <a:lnTo>
                    <a:pt x="1143" y="621"/>
                  </a:lnTo>
                  <a:lnTo>
                    <a:pt x="1152" y="621"/>
                  </a:lnTo>
                  <a:lnTo>
                    <a:pt x="1150" y="623"/>
                  </a:lnTo>
                  <a:lnTo>
                    <a:pt x="1146" y="623"/>
                  </a:lnTo>
                  <a:lnTo>
                    <a:pt x="1143" y="623"/>
                  </a:lnTo>
                  <a:lnTo>
                    <a:pt x="1143" y="625"/>
                  </a:lnTo>
                  <a:lnTo>
                    <a:pt x="1143" y="625"/>
                  </a:lnTo>
                  <a:lnTo>
                    <a:pt x="1141" y="626"/>
                  </a:lnTo>
                  <a:lnTo>
                    <a:pt x="1134" y="626"/>
                  </a:lnTo>
                  <a:lnTo>
                    <a:pt x="1134" y="625"/>
                  </a:lnTo>
                  <a:lnTo>
                    <a:pt x="1132" y="623"/>
                  </a:lnTo>
                  <a:lnTo>
                    <a:pt x="1132" y="623"/>
                  </a:lnTo>
                  <a:lnTo>
                    <a:pt x="1119" y="623"/>
                  </a:lnTo>
                  <a:lnTo>
                    <a:pt x="1117" y="623"/>
                  </a:lnTo>
                  <a:lnTo>
                    <a:pt x="1121" y="625"/>
                  </a:lnTo>
                  <a:lnTo>
                    <a:pt x="1132" y="628"/>
                  </a:lnTo>
                  <a:lnTo>
                    <a:pt x="1134" y="630"/>
                  </a:lnTo>
                  <a:lnTo>
                    <a:pt x="1134" y="634"/>
                  </a:lnTo>
                  <a:lnTo>
                    <a:pt x="1134" y="632"/>
                  </a:lnTo>
                  <a:lnTo>
                    <a:pt x="1130" y="630"/>
                  </a:lnTo>
                  <a:lnTo>
                    <a:pt x="1128" y="630"/>
                  </a:lnTo>
                  <a:lnTo>
                    <a:pt x="1127" y="632"/>
                  </a:lnTo>
                  <a:lnTo>
                    <a:pt x="1125" y="632"/>
                  </a:lnTo>
                  <a:lnTo>
                    <a:pt x="1123" y="632"/>
                  </a:lnTo>
                  <a:lnTo>
                    <a:pt x="1123" y="630"/>
                  </a:lnTo>
                  <a:lnTo>
                    <a:pt x="1121" y="630"/>
                  </a:lnTo>
                  <a:lnTo>
                    <a:pt x="1119" y="630"/>
                  </a:lnTo>
                  <a:lnTo>
                    <a:pt x="1119" y="630"/>
                  </a:lnTo>
                  <a:lnTo>
                    <a:pt x="1117" y="630"/>
                  </a:lnTo>
                  <a:lnTo>
                    <a:pt x="1117" y="630"/>
                  </a:lnTo>
                  <a:lnTo>
                    <a:pt x="1116" y="632"/>
                  </a:lnTo>
                  <a:lnTo>
                    <a:pt x="1119" y="634"/>
                  </a:lnTo>
                  <a:lnTo>
                    <a:pt x="1127" y="634"/>
                  </a:lnTo>
                  <a:lnTo>
                    <a:pt x="1127" y="634"/>
                  </a:lnTo>
                  <a:lnTo>
                    <a:pt x="1127" y="636"/>
                  </a:lnTo>
                  <a:lnTo>
                    <a:pt x="1123" y="634"/>
                  </a:lnTo>
                  <a:lnTo>
                    <a:pt x="1121" y="636"/>
                  </a:lnTo>
                  <a:lnTo>
                    <a:pt x="1119" y="636"/>
                  </a:lnTo>
                  <a:lnTo>
                    <a:pt x="1119" y="637"/>
                  </a:lnTo>
                  <a:lnTo>
                    <a:pt x="1119" y="637"/>
                  </a:lnTo>
                  <a:lnTo>
                    <a:pt x="1119" y="637"/>
                  </a:lnTo>
                  <a:lnTo>
                    <a:pt x="1117" y="639"/>
                  </a:lnTo>
                  <a:lnTo>
                    <a:pt x="1117" y="641"/>
                  </a:lnTo>
                  <a:lnTo>
                    <a:pt x="1117" y="643"/>
                  </a:lnTo>
                  <a:lnTo>
                    <a:pt x="1119" y="645"/>
                  </a:lnTo>
                  <a:lnTo>
                    <a:pt x="1121" y="645"/>
                  </a:lnTo>
                  <a:lnTo>
                    <a:pt x="1125" y="643"/>
                  </a:lnTo>
                  <a:lnTo>
                    <a:pt x="1127" y="643"/>
                  </a:lnTo>
                  <a:lnTo>
                    <a:pt x="1128" y="643"/>
                  </a:lnTo>
                  <a:lnTo>
                    <a:pt x="1130" y="637"/>
                  </a:lnTo>
                  <a:lnTo>
                    <a:pt x="1132" y="637"/>
                  </a:lnTo>
                  <a:lnTo>
                    <a:pt x="1141" y="636"/>
                  </a:lnTo>
                  <a:lnTo>
                    <a:pt x="1143" y="637"/>
                  </a:lnTo>
                  <a:lnTo>
                    <a:pt x="1137" y="637"/>
                  </a:lnTo>
                  <a:lnTo>
                    <a:pt x="1132" y="639"/>
                  </a:lnTo>
                  <a:lnTo>
                    <a:pt x="1130" y="643"/>
                  </a:lnTo>
                  <a:lnTo>
                    <a:pt x="1132" y="643"/>
                  </a:lnTo>
                  <a:lnTo>
                    <a:pt x="1139" y="645"/>
                  </a:lnTo>
                  <a:lnTo>
                    <a:pt x="1139" y="646"/>
                  </a:lnTo>
                  <a:lnTo>
                    <a:pt x="1141" y="648"/>
                  </a:lnTo>
                  <a:lnTo>
                    <a:pt x="1137" y="648"/>
                  </a:lnTo>
                  <a:lnTo>
                    <a:pt x="1136" y="646"/>
                  </a:lnTo>
                  <a:lnTo>
                    <a:pt x="1134" y="645"/>
                  </a:lnTo>
                  <a:lnTo>
                    <a:pt x="1132" y="645"/>
                  </a:lnTo>
                  <a:lnTo>
                    <a:pt x="1130" y="645"/>
                  </a:lnTo>
                  <a:lnTo>
                    <a:pt x="1128" y="645"/>
                  </a:lnTo>
                  <a:lnTo>
                    <a:pt x="1125" y="645"/>
                  </a:lnTo>
                  <a:lnTo>
                    <a:pt x="1123" y="645"/>
                  </a:lnTo>
                  <a:lnTo>
                    <a:pt x="1121" y="648"/>
                  </a:lnTo>
                  <a:lnTo>
                    <a:pt x="1119" y="648"/>
                  </a:lnTo>
                  <a:lnTo>
                    <a:pt x="1119" y="648"/>
                  </a:lnTo>
                  <a:lnTo>
                    <a:pt x="1121" y="650"/>
                  </a:lnTo>
                  <a:lnTo>
                    <a:pt x="1121" y="650"/>
                  </a:lnTo>
                  <a:lnTo>
                    <a:pt x="1121" y="652"/>
                  </a:lnTo>
                  <a:lnTo>
                    <a:pt x="1121" y="654"/>
                  </a:lnTo>
                  <a:lnTo>
                    <a:pt x="1121" y="655"/>
                  </a:lnTo>
                  <a:lnTo>
                    <a:pt x="1127" y="654"/>
                  </a:lnTo>
                  <a:lnTo>
                    <a:pt x="1125" y="655"/>
                  </a:lnTo>
                  <a:lnTo>
                    <a:pt x="1117" y="655"/>
                  </a:lnTo>
                  <a:lnTo>
                    <a:pt x="1117" y="655"/>
                  </a:lnTo>
                  <a:lnTo>
                    <a:pt x="1119" y="654"/>
                  </a:lnTo>
                  <a:lnTo>
                    <a:pt x="1119" y="654"/>
                  </a:lnTo>
                  <a:lnTo>
                    <a:pt x="1117" y="652"/>
                  </a:lnTo>
                  <a:lnTo>
                    <a:pt x="1117" y="650"/>
                  </a:lnTo>
                  <a:lnTo>
                    <a:pt x="1117" y="648"/>
                  </a:lnTo>
                  <a:lnTo>
                    <a:pt x="1116" y="648"/>
                  </a:lnTo>
                  <a:lnTo>
                    <a:pt x="1114" y="646"/>
                  </a:lnTo>
                  <a:lnTo>
                    <a:pt x="1112" y="645"/>
                  </a:lnTo>
                  <a:lnTo>
                    <a:pt x="1112" y="645"/>
                  </a:lnTo>
                  <a:lnTo>
                    <a:pt x="1105" y="648"/>
                  </a:lnTo>
                  <a:lnTo>
                    <a:pt x="1107" y="648"/>
                  </a:lnTo>
                  <a:lnTo>
                    <a:pt x="1108" y="650"/>
                  </a:lnTo>
                  <a:lnTo>
                    <a:pt x="1108" y="650"/>
                  </a:lnTo>
                  <a:lnTo>
                    <a:pt x="1110" y="650"/>
                  </a:lnTo>
                  <a:lnTo>
                    <a:pt x="1110" y="650"/>
                  </a:lnTo>
                  <a:lnTo>
                    <a:pt x="1112" y="652"/>
                  </a:lnTo>
                  <a:lnTo>
                    <a:pt x="1112" y="652"/>
                  </a:lnTo>
                  <a:lnTo>
                    <a:pt x="1112" y="654"/>
                  </a:lnTo>
                  <a:lnTo>
                    <a:pt x="1112" y="654"/>
                  </a:lnTo>
                  <a:lnTo>
                    <a:pt x="1114" y="654"/>
                  </a:lnTo>
                  <a:lnTo>
                    <a:pt x="1116" y="654"/>
                  </a:lnTo>
                  <a:lnTo>
                    <a:pt x="1116" y="655"/>
                  </a:lnTo>
                  <a:lnTo>
                    <a:pt x="1114" y="655"/>
                  </a:lnTo>
                  <a:lnTo>
                    <a:pt x="1112" y="655"/>
                  </a:lnTo>
                  <a:lnTo>
                    <a:pt x="1112" y="655"/>
                  </a:lnTo>
                  <a:lnTo>
                    <a:pt x="1114" y="657"/>
                  </a:lnTo>
                  <a:lnTo>
                    <a:pt x="1116" y="659"/>
                  </a:lnTo>
                  <a:lnTo>
                    <a:pt x="1116" y="659"/>
                  </a:lnTo>
                  <a:lnTo>
                    <a:pt x="1116" y="661"/>
                  </a:lnTo>
                  <a:lnTo>
                    <a:pt x="1116" y="661"/>
                  </a:lnTo>
                  <a:lnTo>
                    <a:pt x="1116" y="661"/>
                  </a:lnTo>
                  <a:lnTo>
                    <a:pt x="1114" y="664"/>
                  </a:lnTo>
                  <a:lnTo>
                    <a:pt x="1107" y="668"/>
                  </a:lnTo>
                  <a:lnTo>
                    <a:pt x="1108" y="672"/>
                  </a:lnTo>
                  <a:lnTo>
                    <a:pt x="1108" y="673"/>
                  </a:lnTo>
                  <a:lnTo>
                    <a:pt x="1110" y="673"/>
                  </a:lnTo>
                  <a:lnTo>
                    <a:pt x="1112" y="673"/>
                  </a:lnTo>
                  <a:lnTo>
                    <a:pt x="1114" y="672"/>
                  </a:lnTo>
                  <a:lnTo>
                    <a:pt x="1114" y="672"/>
                  </a:lnTo>
                  <a:lnTo>
                    <a:pt x="1116" y="672"/>
                  </a:lnTo>
                  <a:lnTo>
                    <a:pt x="1116" y="673"/>
                  </a:lnTo>
                  <a:lnTo>
                    <a:pt x="1114" y="673"/>
                  </a:lnTo>
                  <a:lnTo>
                    <a:pt x="1114" y="675"/>
                  </a:lnTo>
                  <a:lnTo>
                    <a:pt x="1116" y="675"/>
                  </a:lnTo>
                  <a:lnTo>
                    <a:pt x="1117" y="675"/>
                  </a:lnTo>
                  <a:lnTo>
                    <a:pt x="1119" y="675"/>
                  </a:lnTo>
                  <a:lnTo>
                    <a:pt x="1123" y="673"/>
                  </a:lnTo>
                  <a:lnTo>
                    <a:pt x="1123" y="672"/>
                  </a:lnTo>
                  <a:lnTo>
                    <a:pt x="1125" y="672"/>
                  </a:lnTo>
                  <a:lnTo>
                    <a:pt x="1123" y="670"/>
                  </a:lnTo>
                  <a:lnTo>
                    <a:pt x="1123" y="670"/>
                  </a:lnTo>
                  <a:lnTo>
                    <a:pt x="1123" y="666"/>
                  </a:lnTo>
                  <a:lnTo>
                    <a:pt x="1123" y="666"/>
                  </a:lnTo>
                  <a:lnTo>
                    <a:pt x="1123" y="666"/>
                  </a:lnTo>
                  <a:lnTo>
                    <a:pt x="1125" y="668"/>
                  </a:lnTo>
                  <a:lnTo>
                    <a:pt x="1125" y="670"/>
                  </a:lnTo>
                  <a:lnTo>
                    <a:pt x="1125" y="670"/>
                  </a:lnTo>
                  <a:lnTo>
                    <a:pt x="1125" y="670"/>
                  </a:lnTo>
                  <a:lnTo>
                    <a:pt x="1127" y="670"/>
                  </a:lnTo>
                  <a:lnTo>
                    <a:pt x="1128" y="670"/>
                  </a:lnTo>
                  <a:lnTo>
                    <a:pt x="1128" y="670"/>
                  </a:lnTo>
                  <a:lnTo>
                    <a:pt x="1130" y="670"/>
                  </a:lnTo>
                  <a:lnTo>
                    <a:pt x="1128" y="672"/>
                  </a:lnTo>
                  <a:lnTo>
                    <a:pt x="1128" y="672"/>
                  </a:lnTo>
                  <a:lnTo>
                    <a:pt x="1127" y="673"/>
                  </a:lnTo>
                  <a:lnTo>
                    <a:pt x="1132" y="673"/>
                  </a:lnTo>
                  <a:lnTo>
                    <a:pt x="1134" y="673"/>
                  </a:lnTo>
                  <a:lnTo>
                    <a:pt x="1132" y="675"/>
                  </a:lnTo>
                  <a:lnTo>
                    <a:pt x="1123" y="675"/>
                  </a:lnTo>
                  <a:lnTo>
                    <a:pt x="1116" y="681"/>
                  </a:lnTo>
                  <a:lnTo>
                    <a:pt x="1114" y="682"/>
                  </a:lnTo>
                  <a:lnTo>
                    <a:pt x="1112" y="684"/>
                  </a:lnTo>
                  <a:lnTo>
                    <a:pt x="1112" y="684"/>
                  </a:lnTo>
                  <a:lnTo>
                    <a:pt x="1110" y="686"/>
                  </a:lnTo>
                  <a:lnTo>
                    <a:pt x="1108" y="688"/>
                  </a:lnTo>
                  <a:lnTo>
                    <a:pt x="1108" y="690"/>
                  </a:lnTo>
                  <a:lnTo>
                    <a:pt x="1110" y="692"/>
                  </a:lnTo>
                  <a:lnTo>
                    <a:pt x="1117" y="688"/>
                  </a:lnTo>
                  <a:lnTo>
                    <a:pt x="1121" y="682"/>
                  </a:lnTo>
                  <a:lnTo>
                    <a:pt x="1123" y="682"/>
                  </a:lnTo>
                  <a:lnTo>
                    <a:pt x="1128" y="682"/>
                  </a:lnTo>
                  <a:lnTo>
                    <a:pt x="1130" y="681"/>
                  </a:lnTo>
                  <a:lnTo>
                    <a:pt x="1132" y="681"/>
                  </a:lnTo>
                  <a:lnTo>
                    <a:pt x="1136" y="677"/>
                  </a:lnTo>
                  <a:lnTo>
                    <a:pt x="1136" y="677"/>
                  </a:lnTo>
                  <a:lnTo>
                    <a:pt x="1137" y="677"/>
                  </a:lnTo>
                  <a:lnTo>
                    <a:pt x="1137" y="677"/>
                  </a:lnTo>
                  <a:lnTo>
                    <a:pt x="1137" y="677"/>
                  </a:lnTo>
                  <a:lnTo>
                    <a:pt x="1139" y="679"/>
                  </a:lnTo>
                  <a:lnTo>
                    <a:pt x="1136" y="681"/>
                  </a:lnTo>
                  <a:lnTo>
                    <a:pt x="1137" y="682"/>
                  </a:lnTo>
                  <a:lnTo>
                    <a:pt x="1137" y="682"/>
                  </a:lnTo>
                  <a:lnTo>
                    <a:pt x="1143" y="681"/>
                  </a:lnTo>
                  <a:lnTo>
                    <a:pt x="1143" y="679"/>
                  </a:lnTo>
                  <a:lnTo>
                    <a:pt x="1145" y="679"/>
                  </a:lnTo>
                  <a:lnTo>
                    <a:pt x="1145" y="677"/>
                  </a:lnTo>
                  <a:lnTo>
                    <a:pt x="1145" y="675"/>
                  </a:lnTo>
                  <a:lnTo>
                    <a:pt x="1145" y="675"/>
                  </a:lnTo>
                  <a:lnTo>
                    <a:pt x="1146" y="677"/>
                  </a:lnTo>
                  <a:lnTo>
                    <a:pt x="1148" y="679"/>
                  </a:lnTo>
                  <a:lnTo>
                    <a:pt x="1152" y="679"/>
                  </a:lnTo>
                  <a:lnTo>
                    <a:pt x="1154" y="679"/>
                  </a:lnTo>
                  <a:lnTo>
                    <a:pt x="1154" y="675"/>
                  </a:lnTo>
                  <a:lnTo>
                    <a:pt x="1155" y="675"/>
                  </a:lnTo>
                  <a:lnTo>
                    <a:pt x="1159" y="673"/>
                  </a:lnTo>
                  <a:lnTo>
                    <a:pt x="1163" y="670"/>
                  </a:lnTo>
                  <a:lnTo>
                    <a:pt x="1164" y="670"/>
                  </a:lnTo>
                  <a:lnTo>
                    <a:pt x="1164" y="672"/>
                  </a:lnTo>
                  <a:lnTo>
                    <a:pt x="1164" y="673"/>
                  </a:lnTo>
                  <a:lnTo>
                    <a:pt x="1163" y="675"/>
                  </a:lnTo>
                  <a:lnTo>
                    <a:pt x="1161" y="677"/>
                  </a:lnTo>
                  <a:lnTo>
                    <a:pt x="1159" y="677"/>
                  </a:lnTo>
                  <a:lnTo>
                    <a:pt x="1159" y="679"/>
                  </a:lnTo>
                  <a:lnTo>
                    <a:pt x="1157" y="679"/>
                  </a:lnTo>
                  <a:lnTo>
                    <a:pt x="1157" y="681"/>
                  </a:lnTo>
                  <a:lnTo>
                    <a:pt x="1157" y="681"/>
                  </a:lnTo>
                  <a:lnTo>
                    <a:pt x="1157" y="682"/>
                  </a:lnTo>
                  <a:lnTo>
                    <a:pt x="1155" y="682"/>
                  </a:lnTo>
                  <a:lnTo>
                    <a:pt x="1148" y="684"/>
                  </a:lnTo>
                  <a:lnTo>
                    <a:pt x="1146" y="688"/>
                  </a:lnTo>
                  <a:lnTo>
                    <a:pt x="1145" y="688"/>
                  </a:lnTo>
                  <a:lnTo>
                    <a:pt x="1146" y="686"/>
                  </a:lnTo>
                  <a:lnTo>
                    <a:pt x="1146" y="684"/>
                  </a:lnTo>
                  <a:lnTo>
                    <a:pt x="1148" y="684"/>
                  </a:lnTo>
                  <a:lnTo>
                    <a:pt x="1145" y="682"/>
                  </a:lnTo>
                  <a:lnTo>
                    <a:pt x="1143" y="682"/>
                  </a:lnTo>
                  <a:lnTo>
                    <a:pt x="1139" y="684"/>
                  </a:lnTo>
                  <a:lnTo>
                    <a:pt x="1137" y="690"/>
                  </a:lnTo>
                  <a:lnTo>
                    <a:pt x="1143" y="692"/>
                  </a:lnTo>
                  <a:lnTo>
                    <a:pt x="1146" y="692"/>
                  </a:lnTo>
                  <a:lnTo>
                    <a:pt x="1148" y="692"/>
                  </a:lnTo>
                  <a:lnTo>
                    <a:pt x="1148" y="692"/>
                  </a:lnTo>
                  <a:lnTo>
                    <a:pt x="1148" y="693"/>
                  </a:lnTo>
                  <a:lnTo>
                    <a:pt x="1148" y="693"/>
                  </a:lnTo>
                  <a:lnTo>
                    <a:pt x="1148" y="695"/>
                  </a:lnTo>
                  <a:lnTo>
                    <a:pt x="1146" y="693"/>
                  </a:lnTo>
                  <a:lnTo>
                    <a:pt x="1146" y="692"/>
                  </a:lnTo>
                  <a:lnTo>
                    <a:pt x="1145" y="692"/>
                  </a:lnTo>
                  <a:lnTo>
                    <a:pt x="1145" y="692"/>
                  </a:lnTo>
                  <a:lnTo>
                    <a:pt x="1143" y="693"/>
                  </a:lnTo>
                  <a:lnTo>
                    <a:pt x="1139" y="693"/>
                  </a:lnTo>
                  <a:lnTo>
                    <a:pt x="1137" y="693"/>
                  </a:lnTo>
                  <a:lnTo>
                    <a:pt x="1137" y="695"/>
                  </a:lnTo>
                  <a:lnTo>
                    <a:pt x="1136" y="697"/>
                  </a:lnTo>
                  <a:lnTo>
                    <a:pt x="1136" y="699"/>
                  </a:lnTo>
                  <a:lnTo>
                    <a:pt x="1134" y="699"/>
                  </a:lnTo>
                  <a:lnTo>
                    <a:pt x="1134" y="699"/>
                  </a:lnTo>
                  <a:lnTo>
                    <a:pt x="1134" y="697"/>
                  </a:lnTo>
                  <a:lnTo>
                    <a:pt x="1134" y="695"/>
                  </a:lnTo>
                  <a:lnTo>
                    <a:pt x="1134" y="693"/>
                  </a:lnTo>
                  <a:lnTo>
                    <a:pt x="1136" y="692"/>
                  </a:lnTo>
                  <a:lnTo>
                    <a:pt x="1136" y="690"/>
                  </a:lnTo>
                  <a:lnTo>
                    <a:pt x="1132" y="690"/>
                  </a:lnTo>
                  <a:lnTo>
                    <a:pt x="1132" y="688"/>
                  </a:lnTo>
                  <a:lnTo>
                    <a:pt x="1134" y="688"/>
                  </a:lnTo>
                  <a:lnTo>
                    <a:pt x="1136" y="688"/>
                  </a:lnTo>
                  <a:lnTo>
                    <a:pt x="1136" y="686"/>
                  </a:lnTo>
                  <a:lnTo>
                    <a:pt x="1136" y="684"/>
                  </a:lnTo>
                  <a:lnTo>
                    <a:pt x="1134" y="682"/>
                  </a:lnTo>
                  <a:lnTo>
                    <a:pt x="1123" y="686"/>
                  </a:lnTo>
                  <a:lnTo>
                    <a:pt x="1117" y="690"/>
                  </a:lnTo>
                  <a:lnTo>
                    <a:pt x="1116" y="692"/>
                  </a:lnTo>
                  <a:lnTo>
                    <a:pt x="1116" y="692"/>
                  </a:lnTo>
                  <a:lnTo>
                    <a:pt x="1112" y="693"/>
                  </a:lnTo>
                  <a:lnTo>
                    <a:pt x="1112" y="693"/>
                  </a:lnTo>
                  <a:lnTo>
                    <a:pt x="1112" y="695"/>
                  </a:lnTo>
                  <a:lnTo>
                    <a:pt x="1110" y="695"/>
                  </a:lnTo>
                  <a:lnTo>
                    <a:pt x="1110" y="693"/>
                  </a:lnTo>
                  <a:lnTo>
                    <a:pt x="1101" y="695"/>
                  </a:lnTo>
                  <a:lnTo>
                    <a:pt x="1098" y="699"/>
                  </a:lnTo>
                  <a:lnTo>
                    <a:pt x="1096" y="699"/>
                  </a:lnTo>
                  <a:lnTo>
                    <a:pt x="1094" y="699"/>
                  </a:lnTo>
                  <a:lnTo>
                    <a:pt x="1092" y="702"/>
                  </a:lnTo>
                  <a:lnTo>
                    <a:pt x="1090" y="704"/>
                  </a:lnTo>
                  <a:lnTo>
                    <a:pt x="1092" y="704"/>
                  </a:lnTo>
                  <a:lnTo>
                    <a:pt x="1092" y="704"/>
                  </a:lnTo>
                  <a:lnTo>
                    <a:pt x="1094" y="706"/>
                  </a:lnTo>
                  <a:lnTo>
                    <a:pt x="1092" y="706"/>
                  </a:lnTo>
                  <a:lnTo>
                    <a:pt x="1092" y="706"/>
                  </a:lnTo>
                  <a:lnTo>
                    <a:pt x="1092" y="706"/>
                  </a:lnTo>
                  <a:lnTo>
                    <a:pt x="1092" y="708"/>
                  </a:lnTo>
                  <a:lnTo>
                    <a:pt x="1103" y="704"/>
                  </a:lnTo>
                  <a:lnTo>
                    <a:pt x="1107" y="702"/>
                  </a:lnTo>
                  <a:lnTo>
                    <a:pt x="1108" y="702"/>
                  </a:lnTo>
                  <a:lnTo>
                    <a:pt x="1108" y="704"/>
                  </a:lnTo>
                  <a:lnTo>
                    <a:pt x="1105" y="706"/>
                  </a:lnTo>
                  <a:lnTo>
                    <a:pt x="1105" y="708"/>
                  </a:lnTo>
                  <a:lnTo>
                    <a:pt x="1105" y="710"/>
                  </a:lnTo>
                  <a:lnTo>
                    <a:pt x="1105" y="711"/>
                  </a:lnTo>
                  <a:lnTo>
                    <a:pt x="1105" y="713"/>
                  </a:lnTo>
                  <a:lnTo>
                    <a:pt x="1103" y="713"/>
                  </a:lnTo>
                  <a:lnTo>
                    <a:pt x="1105" y="715"/>
                  </a:lnTo>
                  <a:lnTo>
                    <a:pt x="1107" y="717"/>
                  </a:lnTo>
                  <a:lnTo>
                    <a:pt x="1110" y="719"/>
                  </a:lnTo>
                  <a:lnTo>
                    <a:pt x="1112" y="719"/>
                  </a:lnTo>
                  <a:lnTo>
                    <a:pt x="1114" y="719"/>
                  </a:lnTo>
                  <a:lnTo>
                    <a:pt x="1114" y="720"/>
                  </a:lnTo>
                  <a:lnTo>
                    <a:pt x="1114" y="722"/>
                  </a:lnTo>
                  <a:lnTo>
                    <a:pt x="1114" y="724"/>
                  </a:lnTo>
                  <a:lnTo>
                    <a:pt x="1114" y="726"/>
                  </a:lnTo>
                  <a:lnTo>
                    <a:pt x="1116" y="728"/>
                  </a:lnTo>
                  <a:lnTo>
                    <a:pt x="1116" y="729"/>
                  </a:lnTo>
                  <a:lnTo>
                    <a:pt x="1116" y="731"/>
                  </a:lnTo>
                  <a:lnTo>
                    <a:pt x="1114" y="728"/>
                  </a:lnTo>
                  <a:lnTo>
                    <a:pt x="1114" y="728"/>
                  </a:lnTo>
                  <a:lnTo>
                    <a:pt x="1114" y="726"/>
                  </a:lnTo>
                  <a:lnTo>
                    <a:pt x="1114" y="726"/>
                  </a:lnTo>
                  <a:lnTo>
                    <a:pt x="1112" y="726"/>
                  </a:lnTo>
                  <a:lnTo>
                    <a:pt x="1112" y="726"/>
                  </a:lnTo>
                  <a:lnTo>
                    <a:pt x="1112" y="726"/>
                  </a:lnTo>
                  <a:lnTo>
                    <a:pt x="1112" y="726"/>
                  </a:lnTo>
                  <a:lnTo>
                    <a:pt x="1110" y="726"/>
                  </a:lnTo>
                  <a:lnTo>
                    <a:pt x="1110" y="724"/>
                  </a:lnTo>
                  <a:lnTo>
                    <a:pt x="1110" y="724"/>
                  </a:lnTo>
                  <a:lnTo>
                    <a:pt x="1110" y="722"/>
                  </a:lnTo>
                  <a:lnTo>
                    <a:pt x="1108" y="722"/>
                  </a:lnTo>
                  <a:lnTo>
                    <a:pt x="1108" y="720"/>
                  </a:lnTo>
                  <a:lnTo>
                    <a:pt x="1107" y="722"/>
                  </a:lnTo>
                  <a:lnTo>
                    <a:pt x="1105" y="722"/>
                  </a:lnTo>
                  <a:lnTo>
                    <a:pt x="1105" y="720"/>
                  </a:lnTo>
                  <a:lnTo>
                    <a:pt x="1103" y="719"/>
                  </a:lnTo>
                  <a:lnTo>
                    <a:pt x="1103" y="719"/>
                  </a:lnTo>
                  <a:lnTo>
                    <a:pt x="1099" y="717"/>
                  </a:lnTo>
                  <a:lnTo>
                    <a:pt x="1098" y="717"/>
                  </a:lnTo>
                  <a:lnTo>
                    <a:pt x="1096" y="717"/>
                  </a:lnTo>
                  <a:lnTo>
                    <a:pt x="1090" y="722"/>
                  </a:lnTo>
                  <a:lnTo>
                    <a:pt x="1090" y="724"/>
                  </a:lnTo>
                  <a:lnTo>
                    <a:pt x="1089" y="726"/>
                  </a:lnTo>
                  <a:lnTo>
                    <a:pt x="1089" y="726"/>
                  </a:lnTo>
                  <a:lnTo>
                    <a:pt x="1089" y="728"/>
                  </a:lnTo>
                  <a:lnTo>
                    <a:pt x="1089" y="729"/>
                  </a:lnTo>
                  <a:lnTo>
                    <a:pt x="1089" y="729"/>
                  </a:lnTo>
                  <a:lnTo>
                    <a:pt x="1089" y="729"/>
                  </a:lnTo>
                  <a:lnTo>
                    <a:pt x="1089" y="731"/>
                  </a:lnTo>
                  <a:lnTo>
                    <a:pt x="1087" y="733"/>
                  </a:lnTo>
                  <a:lnTo>
                    <a:pt x="1089" y="733"/>
                  </a:lnTo>
                  <a:lnTo>
                    <a:pt x="1089" y="733"/>
                  </a:lnTo>
                  <a:lnTo>
                    <a:pt x="1090" y="733"/>
                  </a:lnTo>
                  <a:lnTo>
                    <a:pt x="1092" y="733"/>
                  </a:lnTo>
                  <a:lnTo>
                    <a:pt x="1092" y="733"/>
                  </a:lnTo>
                  <a:lnTo>
                    <a:pt x="1092" y="737"/>
                  </a:lnTo>
                  <a:lnTo>
                    <a:pt x="1092" y="738"/>
                  </a:lnTo>
                  <a:lnTo>
                    <a:pt x="1092" y="738"/>
                  </a:lnTo>
                  <a:lnTo>
                    <a:pt x="1092" y="737"/>
                  </a:lnTo>
                  <a:lnTo>
                    <a:pt x="1090" y="737"/>
                  </a:lnTo>
                  <a:lnTo>
                    <a:pt x="1090" y="735"/>
                  </a:lnTo>
                  <a:lnTo>
                    <a:pt x="1089" y="737"/>
                  </a:lnTo>
                  <a:lnTo>
                    <a:pt x="1089" y="737"/>
                  </a:lnTo>
                  <a:lnTo>
                    <a:pt x="1089" y="738"/>
                  </a:lnTo>
                  <a:lnTo>
                    <a:pt x="1085" y="740"/>
                  </a:lnTo>
                  <a:lnTo>
                    <a:pt x="1085" y="742"/>
                  </a:lnTo>
                  <a:lnTo>
                    <a:pt x="1085" y="746"/>
                  </a:lnTo>
                  <a:lnTo>
                    <a:pt x="1087" y="746"/>
                  </a:lnTo>
                  <a:lnTo>
                    <a:pt x="1089" y="748"/>
                  </a:lnTo>
                  <a:lnTo>
                    <a:pt x="1090" y="748"/>
                  </a:lnTo>
                  <a:lnTo>
                    <a:pt x="1090" y="749"/>
                  </a:lnTo>
                  <a:lnTo>
                    <a:pt x="1090" y="751"/>
                  </a:lnTo>
                  <a:lnTo>
                    <a:pt x="1090" y="751"/>
                  </a:lnTo>
                  <a:lnTo>
                    <a:pt x="1090" y="753"/>
                  </a:lnTo>
                  <a:lnTo>
                    <a:pt x="1090" y="753"/>
                  </a:lnTo>
                  <a:lnTo>
                    <a:pt x="1092" y="755"/>
                  </a:lnTo>
                  <a:lnTo>
                    <a:pt x="1094" y="755"/>
                  </a:lnTo>
                  <a:lnTo>
                    <a:pt x="1096" y="755"/>
                  </a:lnTo>
                  <a:lnTo>
                    <a:pt x="1096" y="755"/>
                  </a:lnTo>
                  <a:lnTo>
                    <a:pt x="1096" y="757"/>
                  </a:lnTo>
                  <a:lnTo>
                    <a:pt x="1096" y="757"/>
                  </a:lnTo>
                  <a:lnTo>
                    <a:pt x="1096" y="758"/>
                  </a:lnTo>
                  <a:lnTo>
                    <a:pt x="1094" y="758"/>
                  </a:lnTo>
                  <a:lnTo>
                    <a:pt x="1092" y="757"/>
                  </a:lnTo>
                  <a:lnTo>
                    <a:pt x="1092" y="757"/>
                  </a:lnTo>
                  <a:lnTo>
                    <a:pt x="1090" y="757"/>
                  </a:lnTo>
                  <a:lnTo>
                    <a:pt x="1089" y="755"/>
                  </a:lnTo>
                  <a:lnTo>
                    <a:pt x="1087" y="755"/>
                  </a:lnTo>
                  <a:lnTo>
                    <a:pt x="1087" y="753"/>
                  </a:lnTo>
                  <a:lnTo>
                    <a:pt x="1089" y="753"/>
                  </a:lnTo>
                  <a:lnTo>
                    <a:pt x="1089" y="751"/>
                  </a:lnTo>
                  <a:lnTo>
                    <a:pt x="1089" y="751"/>
                  </a:lnTo>
                  <a:lnTo>
                    <a:pt x="1087" y="751"/>
                  </a:lnTo>
                  <a:lnTo>
                    <a:pt x="1087" y="751"/>
                  </a:lnTo>
                  <a:lnTo>
                    <a:pt x="1087" y="749"/>
                  </a:lnTo>
                  <a:lnTo>
                    <a:pt x="1087" y="748"/>
                  </a:lnTo>
                  <a:lnTo>
                    <a:pt x="1087" y="748"/>
                  </a:lnTo>
                  <a:lnTo>
                    <a:pt x="1085" y="746"/>
                  </a:lnTo>
                  <a:lnTo>
                    <a:pt x="1085" y="746"/>
                  </a:lnTo>
                  <a:lnTo>
                    <a:pt x="1083" y="746"/>
                  </a:lnTo>
                  <a:lnTo>
                    <a:pt x="1081" y="746"/>
                  </a:lnTo>
                  <a:lnTo>
                    <a:pt x="1081" y="746"/>
                  </a:lnTo>
                  <a:lnTo>
                    <a:pt x="1080" y="748"/>
                  </a:lnTo>
                  <a:lnTo>
                    <a:pt x="1080" y="748"/>
                  </a:lnTo>
                  <a:lnTo>
                    <a:pt x="1080" y="748"/>
                  </a:lnTo>
                  <a:lnTo>
                    <a:pt x="1078" y="749"/>
                  </a:lnTo>
                  <a:lnTo>
                    <a:pt x="1078" y="751"/>
                  </a:lnTo>
                  <a:lnTo>
                    <a:pt x="1078" y="753"/>
                  </a:lnTo>
                  <a:lnTo>
                    <a:pt x="1076" y="755"/>
                  </a:lnTo>
                  <a:lnTo>
                    <a:pt x="1074" y="757"/>
                  </a:lnTo>
                  <a:lnTo>
                    <a:pt x="1074" y="758"/>
                  </a:lnTo>
                  <a:lnTo>
                    <a:pt x="1074" y="758"/>
                  </a:lnTo>
                  <a:lnTo>
                    <a:pt x="1074" y="760"/>
                  </a:lnTo>
                  <a:lnTo>
                    <a:pt x="1074" y="760"/>
                  </a:lnTo>
                  <a:lnTo>
                    <a:pt x="1076" y="762"/>
                  </a:lnTo>
                  <a:lnTo>
                    <a:pt x="1076" y="762"/>
                  </a:lnTo>
                  <a:lnTo>
                    <a:pt x="1078" y="762"/>
                  </a:lnTo>
                  <a:lnTo>
                    <a:pt x="1078" y="762"/>
                  </a:lnTo>
                  <a:lnTo>
                    <a:pt x="1078" y="764"/>
                  </a:lnTo>
                  <a:lnTo>
                    <a:pt x="1078" y="767"/>
                  </a:lnTo>
                  <a:lnTo>
                    <a:pt x="1078" y="769"/>
                  </a:lnTo>
                  <a:lnTo>
                    <a:pt x="1080" y="769"/>
                  </a:lnTo>
                  <a:lnTo>
                    <a:pt x="1080" y="769"/>
                  </a:lnTo>
                  <a:lnTo>
                    <a:pt x="1083" y="764"/>
                  </a:lnTo>
                  <a:lnTo>
                    <a:pt x="1083" y="764"/>
                  </a:lnTo>
                  <a:lnTo>
                    <a:pt x="1083" y="766"/>
                  </a:lnTo>
                  <a:lnTo>
                    <a:pt x="1083" y="767"/>
                  </a:lnTo>
                  <a:lnTo>
                    <a:pt x="1081" y="769"/>
                  </a:lnTo>
                  <a:lnTo>
                    <a:pt x="1080" y="771"/>
                  </a:lnTo>
                  <a:lnTo>
                    <a:pt x="1083" y="771"/>
                  </a:lnTo>
                  <a:lnTo>
                    <a:pt x="1083" y="769"/>
                  </a:lnTo>
                  <a:lnTo>
                    <a:pt x="1085" y="766"/>
                  </a:lnTo>
                  <a:lnTo>
                    <a:pt x="1085" y="762"/>
                  </a:lnTo>
                  <a:lnTo>
                    <a:pt x="1085" y="766"/>
                  </a:lnTo>
                  <a:lnTo>
                    <a:pt x="1087" y="767"/>
                  </a:lnTo>
                  <a:lnTo>
                    <a:pt x="1087" y="769"/>
                  </a:lnTo>
                  <a:lnTo>
                    <a:pt x="1089" y="769"/>
                  </a:lnTo>
                  <a:lnTo>
                    <a:pt x="1087" y="771"/>
                  </a:lnTo>
                  <a:lnTo>
                    <a:pt x="1085" y="771"/>
                  </a:lnTo>
                  <a:lnTo>
                    <a:pt x="1085" y="771"/>
                  </a:lnTo>
                  <a:lnTo>
                    <a:pt x="1087" y="773"/>
                  </a:lnTo>
                  <a:lnTo>
                    <a:pt x="1087" y="775"/>
                  </a:lnTo>
                  <a:lnTo>
                    <a:pt x="1089" y="775"/>
                  </a:lnTo>
                  <a:lnTo>
                    <a:pt x="1090" y="776"/>
                  </a:lnTo>
                  <a:lnTo>
                    <a:pt x="1089" y="776"/>
                  </a:lnTo>
                  <a:lnTo>
                    <a:pt x="1089" y="776"/>
                  </a:lnTo>
                  <a:lnTo>
                    <a:pt x="1087" y="776"/>
                  </a:lnTo>
                  <a:lnTo>
                    <a:pt x="1087" y="778"/>
                  </a:lnTo>
                  <a:lnTo>
                    <a:pt x="1094" y="776"/>
                  </a:lnTo>
                  <a:lnTo>
                    <a:pt x="1096" y="778"/>
                  </a:lnTo>
                  <a:lnTo>
                    <a:pt x="1090" y="780"/>
                  </a:lnTo>
                  <a:lnTo>
                    <a:pt x="1089" y="782"/>
                  </a:lnTo>
                  <a:lnTo>
                    <a:pt x="1089" y="784"/>
                  </a:lnTo>
                  <a:lnTo>
                    <a:pt x="1092" y="789"/>
                  </a:lnTo>
                  <a:lnTo>
                    <a:pt x="1090" y="787"/>
                  </a:lnTo>
                  <a:lnTo>
                    <a:pt x="1089" y="784"/>
                  </a:lnTo>
                  <a:lnTo>
                    <a:pt x="1087" y="782"/>
                  </a:lnTo>
                  <a:lnTo>
                    <a:pt x="1087" y="782"/>
                  </a:lnTo>
                  <a:lnTo>
                    <a:pt x="1087" y="784"/>
                  </a:lnTo>
                  <a:lnTo>
                    <a:pt x="1085" y="784"/>
                  </a:lnTo>
                  <a:lnTo>
                    <a:pt x="1085" y="782"/>
                  </a:lnTo>
                  <a:lnTo>
                    <a:pt x="1085" y="782"/>
                  </a:lnTo>
                  <a:lnTo>
                    <a:pt x="1085" y="782"/>
                  </a:lnTo>
                  <a:lnTo>
                    <a:pt x="1085" y="780"/>
                  </a:lnTo>
                  <a:lnTo>
                    <a:pt x="1085" y="780"/>
                  </a:lnTo>
                  <a:lnTo>
                    <a:pt x="1083" y="780"/>
                  </a:lnTo>
                  <a:lnTo>
                    <a:pt x="1081" y="780"/>
                  </a:lnTo>
                  <a:lnTo>
                    <a:pt x="1081" y="782"/>
                  </a:lnTo>
                  <a:lnTo>
                    <a:pt x="1083" y="784"/>
                  </a:lnTo>
                  <a:lnTo>
                    <a:pt x="1083" y="785"/>
                  </a:lnTo>
                  <a:lnTo>
                    <a:pt x="1083" y="785"/>
                  </a:lnTo>
                  <a:lnTo>
                    <a:pt x="1083" y="789"/>
                  </a:lnTo>
                  <a:lnTo>
                    <a:pt x="1085" y="789"/>
                  </a:lnTo>
                  <a:lnTo>
                    <a:pt x="1087" y="791"/>
                  </a:lnTo>
                  <a:lnTo>
                    <a:pt x="1089" y="791"/>
                  </a:lnTo>
                  <a:lnTo>
                    <a:pt x="1090" y="791"/>
                  </a:lnTo>
                  <a:lnTo>
                    <a:pt x="1092" y="794"/>
                  </a:lnTo>
                  <a:lnTo>
                    <a:pt x="1090" y="794"/>
                  </a:lnTo>
                  <a:lnTo>
                    <a:pt x="1090" y="794"/>
                  </a:lnTo>
                  <a:lnTo>
                    <a:pt x="1089" y="793"/>
                  </a:lnTo>
                  <a:lnTo>
                    <a:pt x="1089" y="791"/>
                  </a:lnTo>
                  <a:lnTo>
                    <a:pt x="1087" y="791"/>
                  </a:lnTo>
                  <a:lnTo>
                    <a:pt x="1083" y="791"/>
                  </a:lnTo>
                  <a:lnTo>
                    <a:pt x="1083" y="791"/>
                  </a:lnTo>
                  <a:lnTo>
                    <a:pt x="1083" y="789"/>
                  </a:lnTo>
                  <a:lnTo>
                    <a:pt x="1083" y="789"/>
                  </a:lnTo>
                  <a:lnTo>
                    <a:pt x="1081" y="789"/>
                  </a:lnTo>
                  <a:lnTo>
                    <a:pt x="1081" y="789"/>
                  </a:lnTo>
                  <a:lnTo>
                    <a:pt x="1080" y="793"/>
                  </a:lnTo>
                  <a:lnTo>
                    <a:pt x="1078" y="793"/>
                  </a:lnTo>
                  <a:lnTo>
                    <a:pt x="1078" y="794"/>
                  </a:lnTo>
                  <a:lnTo>
                    <a:pt x="1080" y="793"/>
                  </a:lnTo>
                  <a:lnTo>
                    <a:pt x="1081" y="793"/>
                  </a:lnTo>
                  <a:lnTo>
                    <a:pt x="1080" y="796"/>
                  </a:lnTo>
                  <a:lnTo>
                    <a:pt x="1078" y="796"/>
                  </a:lnTo>
                  <a:lnTo>
                    <a:pt x="1076" y="796"/>
                  </a:lnTo>
                  <a:lnTo>
                    <a:pt x="1074" y="796"/>
                  </a:lnTo>
                  <a:lnTo>
                    <a:pt x="1074" y="798"/>
                  </a:lnTo>
                  <a:lnTo>
                    <a:pt x="1072" y="800"/>
                  </a:lnTo>
                  <a:lnTo>
                    <a:pt x="1072" y="802"/>
                  </a:lnTo>
                  <a:lnTo>
                    <a:pt x="1071" y="804"/>
                  </a:lnTo>
                  <a:lnTo>
                    <a:pt x="1069" y="805"/>
                  </a:lnTo>
                  <a:lnTo>
                    <a:pt x="1071" y="805"/>
                  </a:lnTo>
                  <a:lnTo>
                    <a:pt x="1072" y="804"/>
                  </a:lnTo>
                  <a:lnTo>
                    <a:pt x="1072" y="802"/>
                  </a:lnTo>
                  <a:lnTo>
                    <a:pt x="1074" y="802"/>
                  </a:lnTo>
                  <a:lnTo>
                    <a:pt x="1080" y="800"/>
                  </a:lnTo>
                  <a:lnTo>
                    <a:pt x="1080" y="802"/>
                  </a:lnTo>
                  <a:lnTo>
                    <a:pt x="1080" y="802"/>
                  </a:lnTo>
                  <a:lnTo>
                    <a:pt x="1080" y="804"/>
                  </a:lnTo>
                  <a:lnTo>
                    <a:pt x="1081" y="804"/>
                  </a:lnTo>
                  <a:lnTo>
                    <a:pt x="1081" y="802"/>
                  </a:lnTo>
                  <a:lnTo>
                    <a:pt x="1083" y="802"/>
                  </a:lnTo>
                  <a:lnTo>
                    <a:pt x="1087" y="802"/>
                  </a:lnTo>
                  <a:lnTo>
                    <a:pt x="1090" y="802"/>
                  </a:lnTo>
                  <a:lnTo>
                    <a:pt x="1092" y="804"/>
                  </a:lnTo>
                  <a:lnTo>
                    <a:pt x="1090" y="804"/>
                  </a:lnTo>
                  <a:lnTo>
                    <a:pt x="1083" y="804"/>
                  </a:lnTo>
                  <a:lnTo>
                    <a:pt x="1083" y="804"/>
                  </a:lnTo>
                  <a:lnTo>
                    <a:pt x="1081" y="805"/>
                  </a:lnTo>
                  <a:lnTo>
                    <a:pt x="1078" y="804"/>
                  </a:lnTo>
                  <a:lnTo>
                    <a:pt x="1078" y="804"/>
                  </a:lnTo>
                  <a:lnTo>
                    <a:pt x="1076" y="804"/>
                  </a:lnTo>
                  <a:lnTo>
                    <a:pt x="1074" y="805"/>
                  </a:lnTo>
                  <a:lnTo>
                    <a:pt x="1074" y="807"/>
                  </a:lnTo>
                  <a:lnTo>
                    <a:pt x="1076" y="807"/>
                  </a:lnTo>
                  <a:lnTo>
                    <a:pt x="1078" y="805"/>
                  </a:lnTo>
                  <a:lnTo>
                    <a:pt x="1080" y="805"/>
                  </a:lnTo>
                  <a:lnTo>
                    <a:pt x="1080" y="807"/>
                  </a:lnTo>
                  <a:lnTo>
                    <a:pt x="1080" y="807"/>
                  </a:lnTo>
                  <a:lnTo>
                    <a:pt x="1080" y="807"/>
                  </a:lnTo>
                  <a:lnTo>
                    <a:pt x="1080" y="809"/>
                  </a:lnTo>
                  <a:lnTo>
                    <a:pt x="1080" y="809"/>
                  </a:lnTo>
                  <a:lnTo>
                    <a:pt x="1081" y="809"/>
                  </a:lnTo>
                  <a:lnTo>
                    <a:pt x="1081" y="809"/>
                  </a:lnTo>
                  <a:lnTo>
                    <a:pt x="1081" y="811"/>
                  </a:lnTo>
                  <a:lnTo>
                    <a:pt x="1076" y="813"/>
                  </a:lnTo>
                  <a:lnTo>
                    <a:pt x="1076" y="814"/>
                  </a:lnTo>
                  <a:lnTo>
                    <a:pt x="1076" y="816"/>
                  </a:lnTo>
                  <a:lnTo>
                    <a:pt x="1078" y="816"/>
                  </a:lnTo>
                  <a:lnTo>
                    <a:pt x="1081" y="816"/>
                  </a:lnTo>
                  <a:lnTo>
                    <a:pt x="1083" y="816"/>
                  </a:lnTo>
                  <a:lnTo>
                    <a:pt x="1085" y="814"/>
                  </a:lnTo>
                  <a:lnTo>
                    <a:pt x="1085" y="813"/>
                  </a:lnTo>
                  <a:lnTo>
                    <a:pt x="1085" y="813"/>
                  </a:lnTo>
                  <a:lnTo>
                    <a:pt x="1090" y="809"/>
                  </a:lnTo>
                  <a:lnTo>
                    <a:pt x="1098" y="800"/>
                  </a:lnTo>
                  <a:lnTo>
                    <a:pt x="1099" y="798"/>
                  </a:lnTo>
                  <a:lnTo>
                    <a:pt x="1099" y="798"/>
                  </a:lnTo>
                  <a:lnTo>
                    <a:pt x="1101" y="796"/>
                  </a:lnTo>
                  <a:lnTo>
                    <a:pt x="1103" y="793"/>
                  </a:lnTo>
                  <a:lnTo>
                    <a:pt x="1105" y="794"/>
                  </a:lnTo>
                  <a:lnTo>
                    <a:pt x="1103" y="796"/>
                  </a:lnTo>
                  <a:lnTo>
                    <a:pt x="1099" y="804"/>
                  </a:lnTo>
                  <a:lnTo>
                    <a:pt x="1098" y="804"/>
                  </a:lnTo>
                  <a:lnTo>
                    <a:pt x="1098" y="804"/>
                  </a:lnTo>
                  <a:lnTo>
                    <a:pt x="1098" y="805"/>
                  </a:lnTo>
                  <a:lnTo>
                    <a:pt x="1098" y="807"/>
                  </a:lnTo>
                  <a:lnTo>
                    <a:pt x="1096" y="807"/>
                  </a:lnTo>
                  <a:lnTo>
                    <a:pt x="1096" y="807"/>
                  </a:lnTo>
                  <a:lnTo>
                    <a:pt x="1092" y="811"/>
                  </a:lnTo>
                  <a:lnTo>
                    <a:pt x="1090" y="814"/>
                  </a:lnTo>
                  <a:lnTo>
                    <a:pt x="1090" y="814"/>
                  </a:lnTo>
                  <a:lnTo>
                    <a:pt x="1089" y="814"/>
                  </a:lnTo>
                  <a:lnTo>
                    <a:pt x="1089" y="814"/>
                  </a:lnTo>
                  <a:lnTo>
                    <a:pt x="1087" y="816"/>
                  </a:lnTo>
                  <a:lnTo>
                    <a:pt x="1087" y="816"/>
                  </a:lnTo>
                  <a:lnTo>
                    <a:pt x="1089" y="816"/>
                  </a:lnTo>
                  <a:lnTo>
                    <a:pt x="1089" y="818"/>
                  </a:lnTo>
                  <a:lnTo>
                    <a:pt x="1087" y="818"/>
                  </a:lnTo>
                  <a:lnTo>
                    <a:pt x="1083" y="818"/>
                  </a:lnTo>
                  <a:lnTo>
                    <a:pt x="1081" y="820"/>
                  </a:lnTo>
                  <a:lnTo>
                    <a:pt x="1081" y="822"/>
                  </a:lnTo>
                  <a:lnTo>
                    <a:pt x="1080" y="823"/>
                  </a:lnTo>
                  <a:lnTo>
                    <a:pt x="1076" y="822"/>
                  </a:lnTo>
                  <a:lnTo>
                    <a:pt x="1074" y="823"/>
                  </a:lnTo>
                  <a:lnTo>
                    <a:pt x="1071" y="825"/>
                  </a:lnTo>
                  <a:lnTo>
                    <a:pt x="1067" y="827"/>
                  </a:lnTo>
                  <a:lnTo>
                    <a:pt x="1067" y="827"/>
                  </a:lnTo>
                  <a:lnTo>
                    <a:pt x="1067" y="829"/>
                  </a:lnTo>
                  <a:lnTo>
                    <a:pt x="1067" y="831"/>
                  </a:lnTo>
                  <a:lnTo>
                    <a:pt x="1067" y="831"/>
                  </a:lnTo>
                  <a:lnTo>
                    <a:pt x="1067" y="831"/>
                  </a:lnTo>
                  <a:lnTo>
                    <a:pt x="1067" y="832"/>
                  </a:lnTo>
                  <a:lnTo>
                    <a:pt x="1067" y="832"/>
                  </a:lnTo>
                  <a:lnTo>
                    <a:pt x="1067" y="832"/>
                  </a:lnTo>
                  <a:lnTo>
                    <a:pt x="1067" y="834"/>
                  </a:lnTo>
                  <a:lnTo>
                    <a:pt x="1067" y="834"/>
                  </a:lnTo>
                  <a:lnTo>
                    <a:pt x="1065" y="832"/>
                  </a:lnTo>
                  <a:lnTo>
                    <a:pt x="1065" y="832"/>
                  </a:lnTo>
                  <a:lnTo>
                    <a:pt x="1065" y="832"/>
                  </a:lnTo>
                  <a:lnTo>
                    <a:pt x="1065" y="832"/>
                  </a:lnTo>
                  <a:lnTo>
                    <a:pt x="1065" y="831"/>
                  </a:lnTo>
                  <a:lnTo>
                    <a:pt x="1065" y="829"/>
                  </a:lnTo>
                  <a:lnTo>
                    <a:pt x="1065" y="829"/>
                  </a:lnTo>
                  <a:lnTo>
                    <a:pt x="1063" y="827"/>
                  </a:lnTo>
                  <a:lnTo>
                    <a:pt x="1063" y="827"/>
                  </a:lnTo>
                  <a:lnTo>
                    <a:pt x="1061" y="827"/>
                  </a:lnTo>
                  <a:lnTo>
                    <a:pt x="1061" y="829"/>
                  </a:lnTo>
                  <a:lnTo>
                    <a:pt x="1061" y="829"/>
                  </a:lnTo>
                  <a:lnTo>
                    <a:pt x="1060" y="827"/>
                  </a:lnTo>
                  <a:lnTo>
                    <a:pt x="1060" y="827"/>
                  </a:lnTo>
                  <a:lnTo>
                    <a:pt x="1060" y="825"/>
                  </a:lnTo>
                  <a:lnTo>
                    <a:pt x="1060" y="825"/>
                  </a:lnTo>
                  <a:lnTo>
                    <a:pt x="1060" y="825"/>
                  </a:lnTo>
                  <a:lnTo>
                    <a:pt x="1060" y="827"/>
                  </a:lnTo>
                  <a:lnTo>
                    <a:pt x="1058" y="829"/>
                  </a:lnTo>
                  <a:lnTo>
                    <a:pt x="1058" y="829"/>
                  </a:lnTo>
                  <a:lnTo>
                    <a:pt x="1058" y="829"/>
                  </a:lnTo>
                  <a:lnTo>
                    <a:pt x="1058" y="829"/>
                  </a:lnTo>
                  <a:lnTo>
                    <a:pt x="1058" y="827"/>
                  </a:lnTo>
                  <a:lnTo>
                    <a:pt x="1058" y="827"/>
                  </a:lnTo>
                  <a:lnTo>
                    <a:pt x="1056" y="825"/>
                  </a:lnTo>
                  <a:lnTo>
                    <a:pt x="1054" y="825"/>
                  </a:lnTo>
                  <a:lnTo>
                    <a:pt x="1052" y="827"/>
                  </a:lnTo>
                  <a:lnTo>
                    <a:pt x="1051" y="829"/>
                  </a:lnTo>
                  <a:lnTo>
                    <a:pt x="1047" y="831"/>
                  </a:lnTo>
                  <a:lnTo>
                    <a:pt x="1047" y="832"/>
                  </a:lnTo>
                  <a:lnTo>
                    <a:pt x="1047" y="832"/>
                  </a:lnTo>
                  <a:lnTo>
                    <a:pt x="1047" y="834"/>
                  </a:lnTo>
                  <a:lnTo>
                    <a:pt x="1049" y="834"/>
                  </a:lnTo>
                  <a:lnTo>
                    <a:pt x="1049" y="836"/>
                  </a:lnTo>
                  <a:lnTo>
                    <a:pt x="1045" y="836"/>
                  </a:lnTo>
                  <a:lnTo>
                    <a:pt x="1045" y="836"/>
                  </a:lnTo>
                  <a:lnTo>
                    <a:pt x="1042" y="838"/>
                  </a:lnTo>
                  <a:lnTo>
                    <a:pt x="1040" y="838"/>
                  </a:lnTo>
                  <a:lnTo>
                    <a:pt x="1040" y="838"/>
                  </a:lnTo>
                  <a:lnTo>
                    <a:pt x="1040" y="838"/>
                  </a:lnTo>
                  <a:lnTo>
                    <a:pt x="1038" y="838"/>
                  </a:lnTo>
                  <a:lnTo>
                    <a:pt x="1038" y="838"/>
                  </a:lnTo>
                  <a:lnTo>
                    <a:pt x="1038" y="838"/>
                  </a:lnTo>
                  <a:lnTo>
                    <a:pt x="1038" y="840"/>
                  </a:lnTo>
                  <a:lnTo>
                    <a:pt x="1038" y="840"/>
                  </a:lnTo>
                  <a:lnTo>
                    <a:pt x="1038" y="840"/>
                  </a:lnTo>
                  <a:lnTo>
                    <a:pt x="1036" y="838"/>
                  </a:lnTo>
                  <a:lnTo>
                    <a:pt x="1034" y="838"/>
                  </a:lnTo>
                  <a:lnTo>
                    <a:pt x="1033" y="840"/>
                  </a:lnTo>
                  <a:lnTo>
                    <a:pt x="1031" y="841"/>
                  </a:lnTo>
                  <a:lnTo>
                    <a:pt x="1033" y="843"/>
                  </a:lnTo>
                  <a:lnTo>
                    <a:pt x="1034" y="845"/>
                  </a:lnTo>
                  <a:lnTo>
                    <a:pt x="1034" y="843"/>
                  </a:lnTo>
                  <a:lnTo>
                    <a:pt x="1036" y="841"/>
                  </a:lnTo>
                  <a:lnTo>
                    <a:pt x="1036" y="841"/>
                  </a:lnTo>
                  <a:lnTo>
                    <a:pt x="1036" y="843"/>
                  </a:lnTo>
                  <a:lnTo>
                    <a:pt x="1036" y="843"/>
                  </a:lnTo>
                  <a:lnTo>
                    <a:pt x="1034" y="845"/>
                  </a:lnTo>
                  <a:lnTo>
                    <a:pt x="1034" y="845"/>
                  </a:lnTo>
                  <a:lnTo>
                    <a:pt x="1033" y="845"/>
                  </a:lnTo>
                  <a:lnTo>
                    <a:pt x="1029" y="841"/>
                  </a:lnTo>
                  <a:lnTo>
                    <a:pt x="1029" y="841"/>
                  </a:lnTo>
                  <a:lnTo>
                    <a:pt x="1027" y="841"/>
                  </a:lnTo>
                  <a:lnTo>
                    <a:pt x="1020" y="849"/>
                  </a:lnTo>
                  <a:lnTo>
                    <a:pt x="1020" y="850"/>
                  </a:lnTo>
                  <a:lnTo>
                    <a:pt x="1036" y="845"/>
                  </a:lnTo>
                  <a:lnTo>
                    <a:pt x="1040" y="843"/>
                  </a:lnTo>
                  <a:lnTo>
                    <a:pt x="1042" y="843"/>
                  </a:lnTo>
                  <a:lnTo>
                    <a:pt x="1040" y="845"/>
                  </a:lnTo>
                  <a:lnTo>
                    <a:pt x="1033" y="849"/>
                  </a:lnTo>
                  <a:lnTo>
                    <a:pt x="1022" y="850"/>
                  </a:lnTo>
                  <a:lnTo>
                    <a:pt x="1020" y="852"/>
                  </a:lnTo>
                  <a:lnTo>
                    <a:pt x="1018" y="854"/>
                  </a:lnTo>
                  <a:lnTo>
                    <a:pt x="1020" y="854"/>
                  </a:lnTo>
                  <a:lnTo>
                    <a:pt x="1022" y="854"/>
                  </a:lnTo>
                  <a:lnTo>
                    <a:pt x="1024" y="856"/>
                  </a:lnTo>
                  <a:lnTo>
                    <a:pt x="1029" y="854"/>
                  </a:lnTo>
                  <a:lnTo>
                    <a:pt x="1027" y="856"/>
                  </a:lnTo>
                  <a:lnTo>
                    <a:pt x="1025" y="860"/>
                  </a:lnTo>
                  <a:lnTo>
                    <a:pt x="1025" y="860"/>
                  </a:lnTo>
                  <a:lnTo>
                    <a:pt x="1024" y="861"/>
                  </a:lnTo>
                  <a:lnTo>
                    <a:pt x="1022" y="861"/>
                  </a:lnTo>
                  <a:lnTo>
                    <a:pt x="1020" y="863"/>
                  </a:lnTo>
                  <a:lnTo>
                    <a:pt x="1018" y="863"/>
                  </a:lnTo>
                  <a:lnTo>
                    <a:pt x="1020" y="865"/>
                  </a:lnTo>
                  <a:lnTo>
                    <a:pt x="1025" y="861"/>
                  </a:lnTo>
                  <a:lnTo>
                    <a:pt x="1027" y="861"/>
                  </a:lnTo>
                  <a:lnTo>
                    <a:pt x="1029" y="860"/>
                  </a:lnTo>
                  <a:lnTo>
                    <a:pt x="1029" y="858"/>
                  </a:lnTo>
                  <a:lnTo>
                    <a:pt x="1031" y="856"/>
                  </a:lnTo>
                  <a:lnTo>
                    <a:pt x="1031" y="856"/>
                  </a:lnTo>
                  <a:lnTo>
                    <a:pt x="1033" y="854"/>
                  </a:lnTo>
                  <a:lnTo>
                    <a:pt x="1033" y="854"/>
                  </a:lnTo>
                  <a:lnTo>
                    <a:pt x="1034" y="854"/>
                  </a:lnTo>
                  <a:lnTo>
                    <a:pt x="1038" y="852"/>
                  </a:lnTo>
                  <a:lnTo>
                    <a:pt x="1038" y="850"/>
                  </a:lnTo>
                  <a:lnTo>
                    <a:pt x="1038" y="849"/>
                  </a:lnTo>
                  <a:lnTo>
                    <a:pt x="1038" y="849"/>
                  </a:lnTo>
                  <a:lnTo>
                    <a:pt x="1043" y="845"/>
                  </a:lnTo>
                  <a:lnTo>
                    <a:pt x="1052" y="840"/>
                  </a:lnTo>
                  <a:lnTo>
                    <a:pt x="1056" y="838"/>
                  </a:lnTo>
                  <a:lnTo>
                    <a:pt x="1056" y="838"/>
                  </a:lnTo>
                  <a:lnTo>
                    <a:pt x="1058" y="836"/>
                  </a:lnTo>
                  <a:lnTo>
                    <a:pt x="1060" y="836"/>
                  </a:lnTo>
                  <a:lnTo>
                    <a:pt x="1063" y="836"/>
                  </a:lnTo>
                  <a:lnTo>
                    <a:pt x="1067" y="838"/>
                  </a:lnTo>
                  <a:lnTo>
                    <a:pt x="1069" y="840"/>
                  </a:lnTo>
                  <a:lnTo>
                    <a:pt x="1060" y="838"/>
                  </a:lnTo>
                  <a:lnTo>
                    <a:pt x="1060" y="838"/>
                  </a:lnTo>
                  <a:lnTo>
                    <a:pt x="1058" y="840"/>
                  </a:lnTo>
                  <a:lnTo>
                    <a:pt x="1058" y="841"/>
                  </a:lnTo>
                  <a:lnTo>
                    <a:pt x="1056" y="841"/>
                  </a:lnTo>
                  <a:lnTo>
                    <a:pt x="1052" y="841"/>
                  </a:lnTo>
                  <a:lnTo>
                    <a:pt x="1047" y="845"/>
                  </a:lnTo>
                  <a:lnTo>
                    <a:pt x="1045" y="847"/>
                  </a:lnTo>
                  <a:lnTo>
                    <a:pt x="1043" y="847"/>
                  </a:lnTo>
                  <a:lnTo>
                    <a:pt x="1043" y="847"/>
                  </a:lnTo>
                  <a:lnTo>
                    <a:pt x="1042" y="850"/>
                  </a:lnTo>
                  <a:lnTo>
                    <a:pt x="1040" y="852"/>
                  </a:lnTo>
                  <a:lnTo>
                    <a:pt x="1042" y="852"/>
                  </a:lnTo>
                  <a:lnTo>
                    <a:pt x="1043" y="852"/>
                  </a:lnTo>
                  <a:lnTo>
                    <a:pt x="1047" y="850"/>
                  </a:lnTo>
                  <a:lnTo>
                    <a:pt x="1045" y="850"/>
                  </a:lnTo>
                  <a:lnTo>
                    <a:pt x="1047" y="852"/>
                  </a:lnTo>
                  <a:lnTo>
                    <a:pt x="1047" y="852"/>
                  </a:lnTo>
                  <a:lnTo>
                    <a:pt x="1047" y="852"/>
                  </a:lnTo>
                  <a:lnTo>
                    <a:pt x="1042" y="852"/>
                  </a:lnTo>
                  <a:lnTo>
                    <a:pt x="1040" y="854"/>
                  </a:lnTo>
                  <a:lnTo>
                    <a:pt x="1040" y="854"/>
                  </a:lnTo>
                  <a:lnTo>
                    <a:pt x="1043" y="856"/>
                  </a:lnTo>
                  <a:lnTo>
                    <a:pt x="1043" y="856"/>
                  </a:lnTo>
                  <a:lnTo>
                    <a:pt x="1043" y="856"/>
                  </a:lnTo>
                  <a:lnTo>
                    <a:pt x="1049" y="856"/>
                  </a:lnTo>
                  <a:lnTo>
                    <a:pt x="1049" y="858"/>
                  </a:lnTo>
                  <a:lnTo>
                    <a:pt x="1049" y="858"/>
                  </a:lnTo>
                  <a:lnTo>
                    <a:pt x="1047" y="858"/>
                  </a:lnTo>
                  <a:lnTo>
                    <a:pt x="1034" y="860"/>
                  </a:lnTo>
                  <a:lnTo>
                    <a:pt x="1036" y="861"/>
                  </a:lnTo>
                  <a:lnTo>
                    <a:pt x="1036" y="861"/>
                  </a:lnTo>
                  <a:lnTo>
                    <a:pt x="1036" y="861"/>
                  </a:lnTo>
                  <a:lnTo>
                    <a:pt x="1036" y="863"/>
                  </a:lnTo>
                  <a:lnTo>
                    <a:pt x="1038" y="863"/>
                  </a:lnTo>
                  <a:lnTo>
                    <a:pt x="1038" y="863"/>
                  </a:lnTo>
                  <a:lnTo>
                    <a:pt x="1036" y="865"/>
                  </a:lnTo>
                  <a:lnTo>
                    <a:pt x="1034" y="863"/>
                  </a:lnTo>
                  <a:lnTo>
                    <a:pt x="1034" y="863"/>
                  </a:lnTo>
                  <a:lnTo>
                    <a:pt x="1031" y="867"/>
                  </a:lnTo>
                  <a:lnTo>
                    <a:pt x="1027" y="867"/>
                  </a:lnTo>
                  <a:lnTo>
                    <a:pt x="1027" y="867"/>
                  </a:lnTo>
                  <a:lnTo>
                    <a:pt x="1027" y="869"/>
                  </a:lnTo>
                  <a:lnTo>
                    <a:pt x="1027" y="869"/>
                  </a:lnTo>
                  <a:lnTo>
                    <a:pt x="1027" y="869"/>
                  </a:lnTo>
                  <a:lnTo>
                    <a:pt x="1029" y="869"/>
                  </a:lnTo>
                  <a:lnTo>
                    <a:pt x="1027" y="870"/>
                  </a:lnTo>
                  <a:lnTo>
                    <a:pt x="1027" y="870"/>
                  </a:lnTo>
                  <a:lnTo>
                    <a:pt x="1027" y="870"/>
                  </a:lnTo>
                  <a:lnTo>
                    <a:pt x="1027" y="870"/>
                  </a:lnTo>
                  <a:lnTo>
                    <a:pt x="1027" y="872"/>
                  </a:lnTo>
                  <a:lnTo>
                    <a:pt x="1027" y="872"/>
                  </a:lnTo>
                  <a:lnTo>
                    <a:pt x="1027" y="874"/>
                  </a:lnTo>
                  <a:lnTo>
                    <a:pt x="1029" y="874"/>
                  </a:lnTo>
                  <a:lnTo>
                    <a:pt x="1029" y="874"/>
                  </a:lnTo>
                  <a:lnTo>
                    <a:pt x="1027" y="876"/>
                  </a:lnTo>
                  <a:lnTo>
                    <a:pt x="1029" y="876"/>
                  </a:lnTo>
                  <a:lnTo>
                    <a:pt x="1029" y="878"/>
                  </a:lnTo>
                  <a:lnTo>
                    <a:pt x="1029" y="878"/>
                  </a:lnTo>
                  <a:lnTo>
                    <a:pt x="1031" y="879"/>
                  </a:lnTo>
                  <a:lnTo>
                    <a:pt x="1031" y="881"/>
                  </a:lnTo>
                  <a:lnTo>
                    <a:pt x="1033" y="881"/>
                  </a:lnTo>
                  <a:lnTo>
                    <a:pt x="1033" y="883"/>
                  </a:lnTo>
                  <a:lnTo>
                    <a:pt x="1034" y="883"/>
                  </a:lnTo>
                  <a:lnTo>
                    <a:pt x="1036" y="883"/>
                  </a:lnTo>
                  <a:lnTo>
                    <a:pt x="1036" y="881"/>
                  </a:lnTo>
                  <a:lnTo>
                    <a:pt x="1036" y="881"/>
                  </a:lnTo>
                  <a:lnTo>
                    <a:pt x="1036" y="881"/>
                  </a:lnTo>
                  <a:lnTo>
                    <a:pt x="1034" y="879"/>
                  </a:lnTo>
                  <a:lnTo>
                    <a:pt x="1034" y="879"/>
                  </a:lnTo>
                  <a:lnTo>
                    <a:pt x="1036" y="879"/>
                  </a:lnTo>
                  <a:lnTo>
                    <a:pt x="1036" y="878"/>
                  </a:lnTo>
                  <a:lnTo>
                    <a:pt x="1038" y="876"/>
                  </a:lnTo>
                  <a:lnTo>
                    <a:pt x="1038" y="878"/>
                  </a:lnTo>
                  <a:lnTo>
                    <a:pt x="1038" y="879"/>
                  </a:lnTo>
                  <a:lnTo>
                    <a:pt x="1038" y="879"/>
                  </a:lnTo>
                  <a:lnTo>
                    <a:pt x="1038" y="881"/>
                  </a:lnTo>
                  <a:lnTo>
                    <a:pt x="1038" y="881"/>
                  </a:lnTo>
                  <a:lnTo>
                    <a:pt x="1040" y="881"/>
                  </a:lnTo>
                  <a:lnTo>
                    <a:pt x="1045" y="881"/>
                  </a:lnTo>
                  <a:lnTo>
                    <a:pt x="1045" y="881"/>
                  </a:lnTo>
                  <a:lnTo>
                    <a:pt x="1040" y="883"/>
                  </a:lnTo>
                  <a:lnTo>
                    <a:pt x="1036" y="887"/>
                  </a:lnTo>
                  <a:lnTo>
                    <a:pt x="1034" y="887"/>
                  </a:lnTo>
                  <a:lnTo>
                    <a:pt x="1034" y="887"/>
                  </a:lnTo>
                  <a:lnTo>
                    <a:pt x="1036" y="885"/>
                  </a:lnTo>
                  <a:lnTo>
                    <a:pt x="1033" y="887"/>
                  </a:lnTo>
                  <a:lnTo>
                    <a:pt x="1033" y="887"/>
                  </a:lnTo>
                  <a:lnTo>
                    <a:pt x="1033" y="888"/>
                  </a:lnTo>
                  <a:lnTo>
                    <a:pt x="1033" y="888"/>
                  </a:lnTo>
                  <a:lnTo>
                    <a:pt x="1034" y="888"/>
                  </a:lnTo>
                  <a:lnTo>
                    <a:pt x="1034" y="888"/>
                  </a:lnTo>
                  <a:lnTo>
                    <a:pt x="1033" y="890"/>
                  </a:lnTo>
                  <a:lnTo>
                    <a:pt x="1031" y="890"/>
                  </a:lnTo>
                  <a:lnTo>
                    <a:pt x="1031" y="890"/>
                  </a:lnTo>
                  <a:lnTo>
                    <a:pt x="1029" y="892"/>
                  </a:lnTo>
                  <a:lnTo>
                    <a:pt x="1029" y="894"/>
                  </a:lnTo>
                  <a:lnTo>
                    <a:pt x="1029" y="896"/>
                  </a:lnTo>
                  <a:lnTo>
                    <a:pt x="1040" y="894"/>
                  </a:lnTo>
                  <a:lnTo>
                    <a:pt x="1038" y="896"/>
                  </a:lnTo>
                  <a:lnTo>
                    <a:pt x="1033" y="896"/>
                  </a:lnTo>
                  <a:lnTo>
                    <a:pt x="1031" y="897"/>
                  </a:lnTo>
                  <a:lnTo>
                    <a:pt x="1029" y="899"/>
                  </a:lnTo>
                  <a:lnTo>
                    <a:pt x="1029" y="899"/>
                  </a:lnTo>
                  <a:lnTo>
                    <a:pt x="1029" y="899"/>
                  </a:lnTo>
                  <a:lnTo>
                    <a:pt x="1027" y="897"/>
                  </a:lnTo>
                  <a:lnTo>
                    <a:pt x="1027" y="897"/>
                  </a:lnTo>
                  <a:lnTo>
                    <a:pt x="1027" y="897"/>
                  </a:lnTo>
                  <a:lnTo>
                    <a:pt x="1025" y="901"/>
                  </a:lnTo>
                  <a:lnTo>
                    <a:pt x="1025" y="901"/>
                  </a:lnTo>
                  <a:lnTo>
                    <a:pt x="1025" y="903"/>
                  </a:lnTo>
                  <a:lnTo>
                    <a:pt x="1027" y="903"/>
                  </a:lnTo>
                  <a:lnTo>
                    <a:pt x="1025" y="903"/>
                  </a:lnTo>
                  <a:lnTo>
                    <a:pt x="1022" y="906"/>
                  </a:lnTo>
                  <a:lnTo>
                    <a:pt x="1020" y="910"/>
                  </a:lnTo>
                  <a:lnTo>
                    <a:pt x="1020" y="912"/>
                  </a:lnTo>
                  <a:lnTo>
                    <a:pt x="1018" y="912"/>
                  </a:lnTo>
                  <a:lnTo>
                    <a:pt x="1020" y="906"/>
                  </a:lnTo>
                  <a:lnTo>
                    <a:pt x="1024" y="903"/>
                  </a:lnTo>
                  <a:lnTo>
                    <a:pt x="1024" y="901"/>
                  </a:lnTo>
                  <a:lnTo>
                    <a:pt x="1024" y="899"/>
                  </a:lnTo>
                  <a:lnTo>
                    <a:pt x="1024" y="897"/>
                  </a:lnTo>
                  <a:lnTo>
                    <a:pt x="1022" y="897"/>
                  </a:lnTo>
                  <a:lnTo>
                    <a:pt x="1020" y="897"/>
                  </a:lnTo>
                  <a:lnTo>
                    <a:pt x="1020" y="897"/>
                  </a:lnTo>
                  <a:lnTo>
                    <a:pt x="1016" y="899"/>
                  </a:lnTo>
                  <a:lnTo>
                    <a:pt x="1015" y="897"/>
                  </a:lnTo>
                  <a:lnTo>
                    <a:pt x="1016" y="896"/>
                  </a:lnTo>
                  <a:lnTo>
                    <a:pt x="1016" y="894"/>
                  </a:lnTo>
                  <a:lnTo>
                    <a:pt x="1015" y="892"/>
                  </a:lnTo>
                  <a:lnTo>
                    <a:pt x="1013" y="888"/>
                  </a:lnTo>
                  <a:lnTo>
                    <a:pt x="1011" y="888"/>
                  </a:lnTo>
                  <a:lnTo>
                    <a:pt x="1011" y="888"/>
                  </a:lnTo>
                  <a:lnTo>
                    <a:pt x="1011" y="887"/>
                  </a:lnTo>
                  <a:lnTo>
                    <a:pt x="1009" y="887"/>
                  </a:lnTo>
                  <a:lnTo>
                    <a:pt x="1011" y="885"/>
                  </a:lnTo>
                  <a:lnTo>
                    <a:pt x="1009" y="883"/>
                  </a:lnTo>
                  <a:lnTo>
                    <a:pt x="1009" y="883"/>
                  </a:lnTo>
                  <a:lnTo>
                    <a:pt x="1007" y="881"/>
                  </a:lnTo>
                  <a:lnTo>
                    <a:pt x="1006" y="879"/>
                  </a:lnTo>
                  <a:lnTo>
                    <a:pt x="1006" y="879"/>
                  </a:lnTo>
                  <a:lnTo>
                    <a:pt x="1006" y="879"/>
                  </a:lnTo>
                  <a:lnTo>
                    <a:pt x="1006" y="881"/>
                  </a:lnTo>
                  <a:lnTo>
                    <a:pt x="1006" y="881"/>
                  </a:lnTo>
                  <a:lnTo>
                    <a:pt x="1004" y="881"/>
                  </a:lnTo>
                  <a:lnTo>
                    <a:pt x="1004" y="881"/>
                  </a:lnTo>
                  <a:lnTo>
                    <a:pt x="1004" y="883"/>
                  </a:lnTo>
                  <a:lnTo>
                    <a:pt x="1002" y="881"/>
                  </a:lnTo>
                  <a:lnTo>
                    <a:pt x="1002" y="883"/>
                  </a:lnTo>
                  <a:lnTo>
                    <a:pt x="1004" y="883"/>
                  </a:lnTo>
                  <a:lnTo>
                    <a:pt x="1004" y="885"/>
                  </a:lnTo>
                  <a:lnTo>
                    <a:pt x="1004" y="885"/>
                  </a:lnTo>
                  <a:lnTo>
                    <a:pt x="1006" y="885"/>
                  </a:lnTo>
                  <a:lnTo>
                    <a:pt x="1006" y="887"/>
                  </a:lnTo>
                  <a:lnTo>
                    <a:pt x="1004" y="888"/>
                  </a:lnTo>
                  <a:lnTo>
                    <a:pt x="1004" y="888"/>
                  </a:lnTo>
                  <a:lnTo>
                    <a:pt x="1006" y="890"/>
                  </a:lnTo>
                  <a:lnTo>
                    <a:pt x="1006" y="890"/>
                  </a:lnTo>
                  <a:lnTo>
                    <a:pt x="1004" y="890"/>
                  </a:lnTo>
                  <a:lnTo>
                    <a:pt x="1004" y="890"/>
                  </a:lnTo>
                  <a:lnTo>
                    <a:pt x="1004" y="890"/>
                  </a:lnTo>
                  <a:lnTo>
                    <a:pt x="1004" y="892"/>
                  </a:lnTo>
                  <a:lnTo>
                    <a:pt x="1006" y="894"/>
                  </a:lnTo>
                  <a:lnTo>
                    <a:pt x="1004" y="894"/>
                  </a:lnTo>
                  <a:lnTo>
                    <a:pt x="1004" y="894"/>
                  </a:lnTo>
                  <a:lnTo>
                    <a:pt x="1004" y="892"/>
                  </a:lnTo>
                  <a:lnTo>
                    <a:pt x="1002" y="892"/>
                  </a:lnTo>
                  <a:lnTo>
                    <a:pt x="1002" y="894"/>
                  </a:lnTo>
                  <a:lnTo>
                    <a:pt x="1002" y="894"/>
                  </a:lnTo>
                  <a:lnTo>
                    <a:pt x="1002" y="894"/>
                  </a:lnTo>
                  <a:lnTo>
                    <a:pt x="1002" y="894"/>
                  </a:lnTo>
                  <a:lnTo>
                    <a:pt x="1000" y="892"/>
                  </a:lnTo>
                  <a:lnTo>
                    <a:pt x="1000" y="890"/>
                  </a:lnTo>
                  <a:lnTo>
                    <a:pt x="998" y="890"/>
                  </a:lnTo>
                  <a:lnTo>
                    <a:pt x="996" y="890"/>
                  </a:lnTo>
                  <a:lnTo>
                    <a:pt x="998" y="892"/>
                  </a:lnTo>
                  <a:lnTo>
                    <a:pt x="998" y="892"/>
                  </a:lnTo>
                  <a:lnTo>
                    <a:pt x="998" y="894"/>
                  </a:lnTo>
                  <a:lnTo>
                    <a:pt x="998" y="896"/>
                  </a:lnTo>
                  <a:lnTo>
                    <a:pt x="998" y="896"/>
                  </a:lnTo>
                  <a:lnTo>
                    <a:pt x="996" y="894"/>
                  </a:lnTo>
                  <a:lnTo>
                    <a:pt x="996" y="894"/>
                  </a:lnTo>
                  <a:lnTo>
                    <a:pt x="995" y="894"/>
                  </a:lnTo>
                  <a:lnTo>
                    <a:pt x="995" y="894"/>
                  </a:lnTo>
                  <a:lnTo>
                    <a:pt x="995" y="896"/>
                  </a:lnTo>
                  <a:lnTo>
                    <a:pt x="995" y="896"/>
                  </a:lnTo>
                  <a:lnTo>
                    <a:pt x="995" y="896"/>
                  </a:lnTo>
                  <a:lnTo>
                    <a:pt x="995" y="896"/>
                  </a:lnTo>
                  <a:lnTo>
                    <a:pt x="993" y="896"/>
                  </a:lnTo>
                  <a:lnTo>
                    <a:pt x="993" y="896"/>
                  </a:lnTo>
                  <a:lnTo>
                    <a:pt x="991" y="896"/>
                  </a:lnTo>
                  <a:lnTo>
                    <a:pt x="991" y="897"/>
                  </a:lnTo>
                  <a:lnTo>
                    <a:pt x="989" y="897"/>
                  </a:lnTo>
                  <a:lnTo>
                    <a:pt x="989" y="897"/>
                  </a:lnTo>
                  <a:lnTo>
                    <a:pt x="991" y="899"/>
                  </a:lnTo>
                  <a:lnTo>
                    <a:pt x="995" y="897"/>
                  </a:lnTo>
                  <a:lnTo>
                    <a:pt x="996" y="899"/>
                  </a:lnTo>
                  <a:lnTo>
                    <a:pt x="996" y="899"/>
                  </a:lnTo>
                  <a:lnTo>
                    <a:pt x="996" y="901"/>
                  </a:lnTo>
                  <a:lnTo>
                    <a:pt x="996" y="901"/>
                  </a:lnTo>
                  <a:lnTo>
                    <a:pt x="996" y="903"/>
                  </a:lnTo>
                  <a:lnTo>
                    <a:pt x="1000" y="906"/>
                  </a:lnTo>
                  <a:lnTo>
                    <a:pt x="998" y="906"/>
                  </a:lnTo>
                  <a:lnTo>
                    <a:pt x="998" y="906"/>
                  </a:lnTo>
                  <a:lnTo>
                    <a:pt x="995" y="905"/>
                  </a:lnTo>
                  <a:lnTo>
                    <a:pt x="995" y="903"/>
                  </a:lnTo>
                  <a:lnTo>
                    <a:pt x="995" y="903"/>
                  </a:lnTo>
                  <a:lnTo>
                    <a:pt x="993" y="903"/>
                  </a:lnTo>
                  <a:lnTo>
                    <a:pt x="993" y="901"/>
                  </a:lnTo>
                  <a:lnTo>
                    <a:pt x="993" y="901"/>
                  </a:lnTo>
                  <a:lnTo>
                    <a:pt x="991" y="901"/>
                  </a:lnTo>
                  <a:lnTo>
                    <a:pt x="989" y="901"/>
                  </a:lnTo>
                  <a:lnTo>
                    <a:pt x="989" y="899"/>
                  </a:lnTo>
                  <a:lnTo>
                    <a:pt x="989" y="899"/>
                  </a:lnTo>
                  <a:lnTo>
                    <a:pt x="989" y="899"/>
                  </a:lnTo>
                  <a:lnTo>
                    <a:pt x="987" y="897"/>
                  </a:lnTo>
                  <a:lnTo>
                    <a:pt x="987" y="897"/>
                  </a:lnTo>
                  <a:lnTo>
                    <a:pt x="987" y="897"/>
                  </a:lnTo>
                  <a:lnTo>
                    <a:pt x="987" y="899"/>
                  </a:lnTo>
                  <a:lnTo>
                    <a:pt x="986" y="899"/>
                  </a:lnTo>
                  <a:lnTo>
                    <a:pt x="986" y="899"/>
                  </a:lnTo>
                  <a:lnTo>
                    <a:pt x="986" y="899"/>
                  </a:lnTo>
                  <a:lnTo>
                    <a:pt x="987" y="901"/>
                  </a:lnTo>
                  <a:lnTo>
                    <a:pt x="987" y="901"/>
                  </a:lnTo>
                  <a:lnTo>
                    <a:pt x="987" y="901"/>
                  </a:lnTo>
                  <a:lnTo>
                    <a:pt x="987" y="903"/>
                  </a:lnTo>
                  <a:lnTo>
                    <a:pt x="987" y="903"/>
                  </a:lnTo>
                  <a:lnTo>
                    <a:pt x="987" y="903"/>
                  </a:lnTo>
                  <a:lnTo>
                    <a:pt x="984" y="901"/>
                  </a:lnTo>
                  <a:lnTo>
                    <a:pt x="982" y="899"/>
                  </a:lnTo>
                  <a:lnTo>
                    <a:pt x="982" y="899"/>
                  </a:lnTo>
                  <a:lnTo>
                    <a:pt x="980" y="901"/>
                  </a:lnTo>
                  <a:lnTo>
                    <a:pt x="980" y="901"/>
                  </a:lnTo>
                  <a:lnTo>
                    <a:pt x="980" y="903"/>
                  </a:lnTo>
                  <a:lnTo>
                    <a:pt x="984" y="903"/>
                  </a:lnTo>
                  <a:lnTo>
                    <a:pt x="986" y="903"/>
                  </a:lnTo>
                  <a:lnTo>
                    <a:pt x="986" y="903"/>
                  </a:lnTo>
                  <a:lnTo>
                    <a:pt x="986" y="905"/>
                  </a:lnTo>
                  <a:lnTo>
                    <a:pt x="986" y="905"/>
                  </a:lnTo>
                  <a:lnTo>
                    <a:pt x="986" y="905"/>
                  </a:lnTo>
                  <a:lnTo>
                    <a:pt x="986" y="905"/>
                  </a:lnTo>
                  <a:lnTo>
                    <a:pt x="987" y="905"/>
                  </a:lnTo>
                  <a:lnTo>
                    <a:pt x="987" y="906"/>
                  </a:lnTo>
                  <a:lnTo>
                    <a:pt x="987" y="906"/>
                  </a:lnTo>
                  <a:lnTo>
                    <a:pt x="987" y="908"/>
                  </a:lnTo>
                  <a:lnTo>
                    <a:pt x="989" y="906"/>
                  </a:lnTo>
                  <a:lnTo>
                    <a:pt x="989" y="908"/>
                  </a:lnTo>
                  <a:lnTo>
                    <a:pt x="987" y="910"/>
                  </a:lnTo>
                  <a:lnTo>
                    <a:pt x="987" y="910"/>
                  </a:lnTo>
                  <a:lnTo>
                    <a:pt x="986" y="908"/>
                  </a:lnTo>
                  <a:lnTo>
                    <a:pt x="984" y="906"/>
                  </a:lnTo>
                  <a:lnTo>
                    <a:pt x="982" y="906"/>
                  </a:lnTo>
                  <a:lnTo>
                    <a:pt x="982" y="906"/>
                  </a:lnTo>
                  <a:lnTo>
                    <a:pt x="984" y="908"/>
                  </a:lnTo>
                  <a:lnTo>
                    <a:pt x="984" y="910"/>
                  </a:lnTo>
                  <a:lnTo>
                    <a:pt x="986" y="912"/>
                  </a:lnTo>
                  <a:lnTo>
                    <a:pt x="982" y="908"/>
                  </a:lnTo>
                  <a:lnTo>
                    <a:pt x="982" y="908"/>
                  </a:lnTo>
                  <a:lnTo>
                    <a:pt x="980" y="908"/>
                  </a:lnTo>
                  <a:lnTo>
                    <a:pt x="980" y="908"/>
                  </a:lnTo>
                  <a:lnTo>
                    <a:pt x="980" y="908"/>
                  </a:lnTo>
                  <a:lnTo>
                    <a:pt x="980" y="908"/>
                  </a:lnTo>
                  <a:lnTo>
                    <a:pt x="980" y="912"/>
                  </a:lnTo>
                  <a:lnTo>
                    <a:pt x="980" y="914"/>
                  </a:lnTo>
                  <a:lnTo>
                    <a:pt x="980" y="915"/>
                  </a:lnTo>
                  <a:lnTo>
                    <a:pt x="982" y="915"/>
                  </a:lnTo>
                  <a:lnTo>
                    <a:pt x="982" y="915"/>
                  </a:lnTo>
                  <a:lnTo>
                    <a:pt x="980" y="915"/>
                  </a:lnTo>
                  <a:lnTo>
                    <a:pt x="980" y="915"/>
                  </a:lnTo>
                  <a:lnTo>
                    <a:pt x="980" y="915"/>
                  </a:lnTo>
                  <a:lnTo>
                    <a:pt x="978" y="917"/>
                  </a:lnTo>
                  <a:lnTo>
                    <a:pt x="977" y="915"/>
                  </a:lnTo>
                  <a:lnTo>
                    <a:pt x="977" y="915"/>
                  </a:lnTo>
                  <a:lnTo>
                    <a:pt x="977" y="917"/>
                  </a:lnTo>
                  <a:lnTo>
                    <a:pt x="977" y="919"/>
                  </a:lnTo>
                  <a:lnTo>
                    <a:pt x="975" y="917"/>
                  </a:lnTo>
                  <a:lnTo>
                    <a:pt x="973" y="917"/>
                  </a:lnTo>
                  <a:lnTo>
                    <a:pt x="973" y="919"/>
                  </a:lnTo>
                  <a:lnTo>
                    <a:pt x="973" y="919"/>
                  </a:lnTo>
                  <a:lnTo>
                    <a:pt x="971" y="921"/>
                  </a:lnTo>
                  <a:lnTo>
                    <a:pt x="969" y="921"/>
                  </a:lnTo>
                  <a:lnTo>
                    <a:pt x="969" y="923"/>
                  </a:lnTo>
                  <a:lnTo>
                    <a:pt x="973" y="925"/>
                  </a:lnTo>
                  <a:lnTo>
                    <a:pt x="975" y="926"/>
                  </a:lnTo>
                  <a:lnTo>
                    <a:pt x="975" y="928"/>
                  </a:lnTo>
                  <a:lnTo>
                    <a:pt x="975" y="928"/>
                  </a:lnTo>
                  <a:lnTo>
                    <a:pt x="973" y="926"/>
                  </a:lnTo>
                  <a:lnTo>
                    <a:pt x="971" y="925"/>
                  </a:lnTo>
                  <a:lnTo>
                    <a:pt x="969" y="926"/>
                  </a:lnTo>
                  <a:lnTo>
                    <a:pt x="968" y="926"/>
                  </a:lnTo>
                  <a:lnTo>
                    <a:pt x="969" y="926"/>
                  </a:lnTo>
                  <a:lnTo>
                    <a:pt x="969" y="926"/>
                  </a:lnTo>
                  <a:lnTo>
                    <a:pt x="969" y="926"/>
                  </a:lnTo>
                  <a:lnTo>
                    <a:pt x="968" y="926"/>
                  </a:lnTo>
                  <a:lnTo>
                    <a:pt x="968" y="926"/>
                  </a:lnTo>
                  <a:lnTo>
                    <a:pt x="966" y="926"/>
                  </a:lnTo>
                  <a:lnTo>
                    <a:pt x="966" y="926"/>
                  </a:lnTo>
                  <a:lnTo>
                    <a:pt x="966" y="926"/>
                  </a:lnTo>
                  <a:lnTo>
                    <a:pt x="966" y="926"/>
                  </a:lnTo>
                  <a:lnTo>
                    <a:pt x="966" y="928"/>
                  </a:lnTo>
                  <a:lnTo>
                    <a:pt x="966" y="928"/>
                  </a:lnTo>
                  <a:lnTo>
                    <a:pt x="966" y="930"/>
                  </a:lnTo>
                  <a:lnTo>
                    <a:pt x="966" y="930"/>
                  </a:lnTo>
                  <a:lnTo>
                    <a:pt x="966" y="930"/>
                  </a:lnTo>
                  <a:lnTo>
                    <a:pt x="968" y="932"/>
                  </a:lnTo>
                  <a:lnTo>
                    <a:pt x="964" y="932"/>
                  </a:lnTo>
                  <a:lnTo>
                    <a:pt x="964" y="932"/>
                  </a:lnTo>
                  <a:lnTo>
                    <a:pt x="966" y="932"/>
                  </a:lnTo>
                  <a:lnTo>
                    <a:pt x="966" y="934"/>
                  </a:lnTo>
                  <a:lnTo>
                    <a:pt x="964" y="934"/>
                  </a:lnTo>
                  <a:lnTo>
                    <a:pt x="964" y="934"/>
                  </a:lnTo>
                  <a:lnTo>
                    <a:pt x="962" y="934"/>
                  </a:lnTo>
                  <a:lnTo>
                    <a:pt x="962" y="935"/>
                  </a:lnTo>
                  <a:lnTo>
                    <a:pt x="966" y="935"/>
                  </a:lnTo>
                  <a:lnTo>
                    <a:pt x="968" y="935"/>
                  </a:lnTo>
                  <a:lnTo>
                    <a:pt x="968" y="937"/>
                  </a:lnTo>
                  <a:lnTo>
                    <a:pt x="966" y="937"/>
                  </a:lnTo>
                  <a:lnTo>
                    <a:pt x="962" y="939"/>
                  </a:lnTo>
                  <a:lnTo>
                    <a:pt x="962" y="939"/>
                  </a:lnTo>
                  <a:lnTo>
                    <a:pt x="960" y="937"/>
                  </a:lnTo>
                  <a:lnTo>
                    <a:pt x="959" y="935"/>
                  </a:lnTo>
                  <a:lnTo>
                    <a:pt x="957" y="935"/>
                  </a:lnTo>
                  <a:lnTo>
                    <a:pt x="957" y="937"/>
                  </a:lnTo>
                  <a:lnTo>
                    <a:pt x="957" y="939"/>
                  </a:lnTo>
                  <a:lnTo>
                    <a:pt x="957" y="939"/>
                  </a:lnTo>
                  <a:lnTo>
                    <a:pt x="957" y="941"/>
                  </a:lnTo>
                  <a:lnTo>
                    <a:pt x="959" y="943"/>
                  </a:lnTo>
                  <a:lnTo>
                    <a:pt x="957" y="944"/>
                  </a:lnTo>
                  <a:lnTo>
                    <a:pt x="957" y="944"/>
                  </a:lnTo>
                  <a:lnTo>
                    <a:pt x="959" y="944"/>
                  </a:lnTo>
                  <a:lnTo>
                    <a:pt x="957" y="944"/>
                  </a:lnTo>
                  <a:lnTo>
                    <a:pt x="957" y="946"/>
                  </a:lnTo>
                  <a:lnTo>
                    <a:pt x="957" y="948"/>
                  </a:lnTo>
                  <a:lnTo>
                    <a:pt x="957" y="950"/>
                  </a:lnTo>
                  <a:lnTo>
                    <a:pt x="955" y="952"/>
                  </a:lnTo>
                  <a:lnTo>
                    <a:pt x="955" y="952"/>
                  </a:lnTo>
                  <a:lnTo>
                    <a:pt x="953" y="953"/>
                  </a:lnTo>
                  <a:lnTo>
                    <a:pt x="955" y="953"/>
                  </a:lnTo>
                  <a:lnTo>
                    <a:pt x="957" y="953"/>
                  </a:lnTo>
                  <a:lnTo>
                    <a:pt x="960" y="950"/>
                  </a:lnTo>
                  <a:lnTo>
                    <a:pt x="960" y="952"/>
                  </a:lnTo>
                  <a:lnTo>
                    <a:pt x="960" y="952"/>
                  </a:lnTo>
                  <a:lnTo>
                    <a:pt x="960" y="952"/>
                  </a:lnTo>
                  <a:lnTo>
                    <a:pt x="962" y="952"/>
                  </a:lnTo>
                  <a:lnTo>
                    <a:pt x="962" y="952"/>
                  </a:lnTo>
                  <a:lnTo>
                    <a:pt x="962" y="950"/>
                  </a:lnTo>
                  <a:lnTo>
                    <a:pt x="964" y="950"/>
                  </a:lnTo>
                  <a:lnTo>
                    <a:pt x="960" y="953"/>
                  </a:lnTo>
                  <a:lnTo>
                    <a:pt x="955" y="955"/>
                  </a:lnTo>
                  <a:lnTo>
                    <a:pt x="953" y="959"/>
                  </a:lnTo>
                  <a:lnTo>
                    <a:pt x="955" y="959"/>
                  </a:lnTo>
                  <a:lnTo>
                    <a:pt x="957" y="957"/>
                  </a:lnTo>
                  <a:lnTo>
                    <a:pt x="959" y="957"/>
                  </a:lnTo>
                  <a:lnTo>
                    <a:pt x="960" y="955"/>
                  </a:lnTo>
                  <a:lnTo>
                    <a:pt x="962" y="955"/>
                  </a:lnTo>
                  <a:lnTo>
                    <a:pt x="964" y="953"/>
                  </a:lnTo>
                  <a:lnTo>
                    <a:pt x="964" y="953"/>
                  </a:lnTo>
                  <a:lnTo>
                    <a:pt x="964" y="953"/>
                  </a:lnTo>
                  <a:lnTo>
                    <a:pt x="966" y="953"/>
                  </a:lnTo>
                  <a:lnTo>
                    <a:pt x="968" y="957"/>
                  </a:lnTo>
                  <a:lnTo>
                    <a:pt x="966" y="957"/>
                  </a:lnTo>
                  <a:lnTo>
                    <a:pt x="962" y="955"/>
                  </a:lnTo>
                  <a:lnTo>
                    <a:pt x="960" y="959"/>
                  </a:lnTo>
                  <a:lnTo>
                    <a:pt x="955" y="961"/>
                  </a:lnTo>
                  <a:lnTo>
                    <a:pt x="953" y="962"/>
                  </a:lnTo>
                  <a:lnTo>
                    <a:pt x="953" y="962"/>
                  </a:lnTo>
                  <a:lnTo>
                    <a:pt x="951" y="962"/>
                  </a:lnTo>
                  <a:lnTo>
                    <a:pt x="953" y="962"/>
                  </a:lnTo>
                  <a:lnTo>
                    <a:pt x="953" y="961"/>
                  </a:lnTo>
                  <a:lnTo>
                    <a:pt x="953" y="961"/>
                  </a:lnTo>
                  <a:lnTo>
                    <a:pt x="951" y="961"/>
                  </a:lnTo>
                  <a:lnTo>
                    <a:pt x="946" y="962"/>
                  </a:lnTo>
                  <a:lnTo>
                    <a:pt x="948" y="964"/>
                  </a:lnTo>
                  <a:lnTo>
                    <a:pt x="948" y="964"/>
                  </a:lnTo>
                  <a:lnTo>
                    <a:pt x="951" y="964"/>
                  </a:lnTo>
                  <a:lnTo>
                    <a:pt x="951" y="964"/>
                  </a:lnTo>
                  <a:lnTo>
                    <a:pt x="948" y="964"/>
                  </a:lnTo>
                  <a:lnTo>
                    <a:pt x="941" y="970"/>
                  </a:lnTo>
                  <a:lnTo>
                    <a:pt x="933" y="975"/>
                  </a:lnTo>
                  <a:lnTo>
                    <a:pt x="935" y="977"/>
                  </a:lnTo>
                  <a:lnTo>
                    <a:pt x="946" y="975"/>
                  </a:lnTo>
                  <a:lnTo>
                    <a:pt x="946" y="975"/>
                  </a:lnTo>
                  <a:lnTo>
                    <a:pt x="942" y="977"/>
                  </a:lnTo>
                  <a:lnTo>
                    <a:pt x="935" y="981"/>
                  </a:lnTo>
                  <a:lnTo>
                    <a:pt x="935" y="981"/>
                  </a:lnTo>
                  <a:lnTo>
                    <a:pt x="935" y="982"/>
                  </a:lnTo>
                  <a:lnTo>
                    <a:pt x="935" y="986"/>
                  </a:lnTo>
                  <a:lnTo>
                    <a:pt x="933" y="988"/>
                  </a:lnTo>
                  <a:lnTo>
                    <a:pt x="937" y="986"/>
                  </a:lnTo>
                  <a:lnTo>
                    <a:pt x="939" y="984"/>
                  </a:lnTo>
                  <a:lnTo>
                    <a:pt x="939" y="984"/>
                  </a:lnTo>
                  <a:lnTo>
                    <a:pt x="939" y="984"/>
                  </a:lnTo>
                  <a:lnTo>
                    <a:pt x="939" y="984"/>
                  </a:lnTo>
                  <a:lnTo>
                    <a:pt x="939" y="984"/>
                  </a:lnTo>
                  <a:lnTo>
                    <a:pt x="939" y="984"/>
                  </a:lnTo>
                  <a:lnTo>
                    <a:pt x="939" y="984"/>
                  </a:lnTo>
                  <a:lnTo>
                    <a:pt x="939" y="984"/>
                  </a:lnTo>
                  <a:lnTo>
                    <a:pt x="944" y="982"/>
                  </a:lnTo>
                  <a:lnTo>
                    <a:pt x="946" y="981"/>
                  </a:lnTo>
                  <a:lnTo>
                    <a:pt x="950" y="981"/>
                  </a:lnTo>
                  <a:lnTo>
                    <a:pt x="951" y="977"/>
                  </a:lnTo>
                  <a:lnTo>
                    <a:pt x="955" y="975"/>
                  </a:lnTo>
                  <a:lnTo>
                    <a:pt x="955" y="975"/>
                  </a:lnTo>
                  <a:lnTo>
                    <a:pt x="957" y="975"/>
                  </a:lnTo>
                  <a:lnTo>
                    <a:pt x="957" y="973"/>
                  </a:lnTo>
                  <a:lnTo>
                    <a:pt x="959" y="973"/>
                  </a:lnTo>
                  <a:lnTo>
                    <a:pt x="959" y="975"/>
                  </a:lnTo>
                  <a:lnTo>
                    <a:pt x="959" y="975"/>
                  </a:lnTo>
                  <a:lnTo>
                    <a:pt x="959" y="975"/>
                  </a:lnTo>
                  <a:lnTo>
                    <a:pt x="957" y="977"/>
                  </a:lnTo>
                  <a:lnTo>
                    <a:pt x="957" y="979"/>
                  </a:lnTo>
                  <a:lnTo>
                    <a:pt x="959" y="977"/>
                  </a:lnTo>
                  <a:lnTo>
                    <a:pt x="960" y="975"/>
                  </a:lnTo>
                  <a:lnTo>
                    <a:pt x="962" y="975"/>
                  </a:lnTo>
                  <a:lnTo>
                    <a:pt x="960" y="977"/>
                  </a:lnTo>
                  <a:lnTo>
                    <a:pt x="959" y="979"/>
                  </a:lnTo>
                  <a:lnTo>
                    <a:pt x="957" y="981"/>
                  </a:lnTo>
                  <a:lnTo>
                    <a:pt x="953" y="982"/>
                  </a:lnTo>
                  <a:lnTo>
                    <a:pt x="950" y="984"/>
                  </a:lnTo>
                  <a:lnTo>
                    <a:pt x="948" y="984"/>
                  </a:lnTo>
                  <a:lnTo>
                    <a:pt x="948" y="986"/>
                  </a:lnTo>
                  <a:lnTo>
                    <a:pt x="948" y="986"/>
                  </a:lnTo>
                  <a:lnTo>
                    <a:pt x="948" y="986"/>
                  </a:lnTo>
                  <a:lnTo>
                    <a:pt x="946" y="986"/>
                  </a:lnTo>
                  <a:lnTo>
                    <a:pt x="946" y="986"/>
                  </a:lnTo>
                  <a:lnTo>
                    <a:pt x="946" y="988"/>
                  </a:lnTo>
                  <a:lnTo>
                    <a:pt x="948" y="988"/>
                  </a:lnTo>
                  <a:lnTo>
                    <a:pt x="948" y="988"/>
                  </a:lnTo>
                  <a:lnTo>
                    <a:pt x="948" y="990"/>
                  </a:lnTo>
                  <a:lnTo>
                    <a:pt x="948" y="990"/>
                  </a:lnTo>
                  <a:lnTo>
                    <a:pt x="948" y="991"/>
                  </a:lnTo>
                  <a:lnTo>
                    <a:pt x="948" y="993"/>
                  </a:lnTo>
                  <a:lnTo>
                    <a:pt x="948" y="995"/>
                  </a:lnTo>
                  <a:lnTo>
                    <a:pt x="950" y="995"/>
                  </a:lnTo>
                  <a:lnTo>
                    <a:pt x="951" y="995"/>
                  </a:lnTo>
                  <a:lnTo>
                    <a:pt x="951" y="995"/>
                  </a:lnTo>
                  <a:lnTo>
                    <a:pt x="951" y="997"/>
                  </a:lnTo>
                  <a:lnTo>
                    <a:pt x="951" y="997"/>
                  </a:lnTo>
                  <a:lnTo>
                    <a:pt x="951" y="1000"/>
                  </a:lnTo>
                  <a:lnTo>
                    <a:pt x="953" y="1002"/>
                  </a:lnTo>
                  <a:lnTo>
                    <a:pt x="953" y="1004"/>
                  </a:lnTo>
                  <a:lnTo>
                    <a:pt x="955" y="1006"/>
                  </a:lnTo>
                  <a:lnTo>
                    <a:pt x="955" y="1006"/>
                  </a:lnTo>
                  <a:lnTo>
                    <a:pt x="955" y="1006"/>
                  </a:lnTo>
                  <a:lnTo>
                    <a:pt x="955" y="1006"/>
                  </a:lnTo>
                  <a:lnTo>
                    <a:pt x="957" y="1006"/>
                  </a:lnTo>
                  <a:lnTo>
                    <a:pt x="957" y="1006"/>
                  </a:lnTo>
                  <a:lnTo>
                    <a:pt x="957" y="1006"/>
                  </a:lnTo>
                  <a:lnTo>
                    <a:pt x="957" y="1006"/>
                  </a:lnTo>
                  <a:lnTo>
                    <a:pt x="959" y="1006"/>
                  </a:lnTo>
                  <a:lnTo>
                    <a:pt x="960" y="1004"/>
                  </a:lnTo>
                  <a:lnTo>
                    <a:pt x="966" y="1002"/>
                  </a:lnTo>
                  <a:lnTo>
                    <a:pt x="966" y="1000"/>
                  </a:lnTo>
                  <a:lnTo>
                    <a:pt x="968" y="1000"/>
                  </a:lnTo>
                  <a:lnTo>
                    <a:pt x="968" y="999"/>
                  </a:lnTo>
                  <a:lnTo>
                    <a:pt x="969" y="999"/>
                  </a:lnTo>
                  <a:lnTo>
                    <a:pt x="973" y="999"/>
                  </a:lnTo>
                  <a:lnTo>
                    <a:pt x="973" y="999"/>
                  </a:lnTo>
                  <a:lnTo>
                    <a:pt x="975" y="997"/>
                  </a:lnTo>
                  <a:lnTo>
                    <a:pt x="977" y="997"/>
                  </a:lnTo>
                  <a:lnTo>
                    <a:pt x="978" y="997"/>
                  </a:lnTo>
                  <a:lnTo>
                    <a:pt x="984" y="993"/>
                  </a:lnTo>
                  <a:lnTo>
                    <a:pt x="986" y="991"/>
                  </a:lnTo>
                  <a:lnTo>
                    <a:pt x="987" y="990"/>
                  </a:lnTo>
                  <a:lnTo>
                    <a:pt x="987" y="990"/>
                  </a:lnTo>
                  <a:lnTo>
                    <a:pt x="989" y="986"/>
                  </a:lnTo>
                  <a:lnTo>
                    <a:pt x="989" y="986"/>
                  </a:lnTo>
                  <a:lnTo>
                    <a:pt x="991" y="984"/>
                  </a:lnTo>
                  <a:lnTo>
                    <a:pt x="995" y="984"/>
                  </a:lnTo>
                  <a:lnTo>
                    <a:pt x="998" y="981"/>
                  </a:lnTo>
                  <a:lnTo>
                    <a:pt x="1002" y="981"/>
                  </a:lnTo>
                  <a:lnTo>
                    <a:pt x="1004" y="977"/>
                  </a:lnTo>
                  <a:lnTo>
                    <a:pt x="1006" y="977"/>
                  </a:lnTo>
                  <a:lnTo>
                    <a:pt x="1006" y="977"/>
                  </a:lnTo>
                  <a:lnTo>
                    <a:pt x="1006" y="975"/>
                  </a:lnTo>
                  <a:lnTo>
                    <a:pt x="1006" y="975"/>
                  </a:lnTo>
                  <a:lnTo>
                    <a:pt x="1006" y="973"/>
                  </a:lnTo>
                  <a:lnTo>
                    <a:pt x="1007" y="971"/>
                  </a:lnTo>
                  <a:lnTo>
                    <a:pt x="1007" y="970"/>
                  </a:lnTo>
                  <a:lnTo>
                    <a:pt x="1009" y="970"/>
                  </a:lnTo>
                  <a:lnTo>
                    <a:pt x="1009" y="968"/>
                  </a:lnTo>
                  <a:lnTo>
                    <a:pt x="1011" y="968"/>
                  </a:lnTo>
                  <a:lnTo>
                    <a:pt x="1009" y="964"/>
                  </a:lnTo>
                  <a:lnTo>
                    <a:pt x="1009" y="964"/>
                  </a:lnTo>
                  <a:lnTo>
                    <a:pt x="1007" y="962"/>
                  </a:lnTo>
                  <a:lnTo>
                    <a:pt x="1004" y="961"/>
                  </a:lnTo>
                  <a:lnTo>
                    <a:pt x="1002" y="961"/>
                  </a:lnTo>
                  <a:lnTo>
                    <a:pt x="995" y="966"/>
                  </a:lnTo>
                  <a:lnTo>
                    <a:pt x="991" y="968"/>
                  </a:lnTo>
                  <a:lnTo>
                    <a:pt x="991" y="968"/>
                  </a:lnTo>
                  <a:lnTo>
                    <a:pt x="989" y="970"/>
                  </a:lnTo>
                  <a:lnTo>
                    <a:pt x="987" y="971"/>
                  </a:lnTo>
                  <a:lnTo>
                    <a:pt x="987" y="971"/>
                  </a:lnTo>
                  <a:lnTo>
                    <a:pt x="986" y="971"/>
                  </a:lnTo>
                  <a:lnTo>
                    <a:pt x="987" y="970"/>
                  </a:lnTo>
                  <a:lnTo>
                    <a:pt x="989" y="968"/>
                  </a:lnTo>
                  <a:lnTo>
                    <a:pt x="991" y="964"/>
                  </a:lnTo>
                  <a:lnTo>
                    <a:pt x="993" y="964"/>
                  </a:lnTo>
                  <a:lnTo>
                    <a:pt x="998" y="962"/>
                  </a:lnTo>
                  <a:lnTo>
                    <a:pt x="1000" y="961"/>
                  </a:lnTo>
                  <a:lnTo>
                    <a:pt x="1002" y="959"/>
                  </a:lnTo>
                  <a:lnTo>
                    <a:pt x="1002" y="959"/>
                  </a:lnTo>
                  <a:lnTo>
                    <a:pt x="1004" y="957"/>
                  </a:lnTo>
                  <a:lnTo>
                    <a:pt x="1006" y="955"/>
                  </a:lnTo>
                  <a:lnTo>
                    <a:pt x="1016" y="948"/>
                  </a:lnTo>
                  <a:lnTo>
                    <a:pt x="1016" y="946"/>
                  </a:lnTo>
                  <a:lnTo>
                    <a:pt x="1016" y="946"/>
                  </a:lnTo>
                  <a:lnTo>
                    <a:pt x="1018" y="941"/>
                  </a:lnTo>
                  <a:lnTo>
                    <a:pt x="1022" y="937"/>
                  </a:lnTo>
                  <a:lnTo>
                    <a:pt x="1024" y="935"/>
                  </a:lnTo>
                  <a:lnTo>
                    <a:pt x="1025" y="935"/>
                  </a:lnTo>
                  <a:lnTo>
                    <a:pt x="1024" y="937"/>
                  </a:lnTo>
                  <a:lnTo>
                    <a:pt x="1022" y="941"/>
                  </a:lnTo>
                  <a:lnTo>
                    <a:pt x="1020" y="941"/>
                  </a:lnTo>
                  <a:lnTo>
                    <a:pt x="1018" y="943"/>
                  </a:lnTo>
                  <a:lnTo>
                    <a:pt x="1018" y="943"/>
                  </a:lnTo>
                  <a:lnTo>
                    <a:pt x="1020" y="944"/>
                  </a:lnTo>
                  <a:lnTo>
                    <a:pt x="1020" y="944"/>
                  </a:lnTo>
                  <a:lnTo>
                    <a:pt x="1025" y="946"/>
                  </a:lnTo>
                  <a:lnTo>
                    <a:pt x="1029" y="946"/>
                  </a:lnTo>
                  <a:lnTo>
                    <a:pt x="1029" y="946"/>
                  </a:lnTo>
                  <a:lnTo>
                    <a:pt x="1029" y="948"/>
                  </a:lnTo>
                  <a:lnTo>
                    <a:pt x="1033" y="946"/>
                  </a:lnTo>
                  <a:lnTo>
                    <a:pt x="1031" y="948"/>
                  </a:lnTo>
                  <a:lnTo>
                    <a:pt x="1031" y="950"/>
                  </a:lnTo>
                  <a:lnTo>
                    <a:pt x="1029" y="952"/>
                  </a:lnTo>
                  <a:lnTo>
                    <a:pt x="1022" y="953"/>
                  </a:lnTo>
                  <a:lnTo>
                    <a:pt x="1018" y="955"/>
                  </a:lnTo>
                  <a:lnTo>
                    <a:pt x="1018" y="957"/>
                  </a:lnTo>
                  <a:lnTo>
                    <a:pt x="1016" y="959"/>
                  </a:lnTo>
                  <a:lnTo>
                    <a:pt x="1016" y="959"/>
                  </a:lnTo>
                  <a:lnTo>
                    <a:pt x="1013" y="961"/>
                  </a:lnTo>
                  <a:lnTo>
                    <a:pt x="1013" y="961"/>
                  </a:lnTo>
                  <a:lnTo>
                    <a:pt x="1011" y="962"/>
                  </a:lnTo>
                  <a:lnTo>
                    <a:pt x="1011" y="962"/>
                  </a:lnTo>
                  <a:lnTo>
                    <a:pt x="1011" y="964"/>
                  </a:lnTo>
                  <a:lnTo>
                    <a:pt x="1011" y="966"/>
                  </a:lnTo>
                  <a:lnTo>
                    <a:pt x="1013" y="966"/>
                  </a:lnTo>
                  <a:lnTo>
                    <a:pt x="1013" y="966"/>
                  </a:lnTo>
                  <a:lnTo>
                    <a:pt x="1020" y="964"/>
                  </a:lnTo>
                  <a:lnTo>
                    <a:pt x="1020" y="964"/>
                  </a:lnTo>
                  <a:lnTo>
                    <a:pt x="1022" y="964"/>
                  </a:lnTo>
                  <a:lnTo>
                    <a:pt x="1024" y="966"/>
                  </a:lnTo>
                  <a:lnTo>
                    <a:pt x="1025" y="966"/>
                  </a:lnTo>
                  <a:lnTo>
                    <a:pt x="1027" y="966"/>
                  </a:lnTo>
                  <a:lnTo>
                    <a:pt x="1029" y="968"/>
                  </a:lnTo>
                  <a:lnTo>
                    <a:pt x="1029" y="968"/>
                  </a:lnTo>
                  <a:lnTo>
                    <a:pt x="1029" y="970"/>
                  </a:lnTo>
                  <a:lnTo>
                    <a:pt x="1029" y="970"/>
                  </a:lnTo>
                  <a:lnTo>
                    <a:pt x="1029" y="970"/>
                  </a:lnTo>
                  <a:lnTo>
                    <a:pt x="1029" y="970"/>
                  </a:lnTo>
                  <a:lnTo>
                    <a:pt x="1031" y="970"/>
                  </a:lnTo>
                  <a:lnTo>
                    <a:pt x="1031" y="971"/>
                  </a:lnTo>
                  <a:lnTo>
                    <a:pt x="1029" y="973"/>
                  </a:lnTo>
                  <a:lnTo>
                    <a:pt x="1029" y="973"/>
                  </a:lnTo>
                  <a:lnTo>
                    <a:pt x="1024" y="973"/>
                  </a:lnTo>
                  <a:lnTo>
                    <a:pt x="1020" y="975"/>
                  </a:lnTo>
                  <a:lnTo>
                    <a:pt x="1020" y="975"/>
                  </a:lnTo>
                  <a:lnTo>
                    <a:pt x="1016" y="979"/>
                  </a:lnTo>
                  <a:lnTo>
                    <a:pt x="1016" y="981"/>
                  </a:lnTo>
                  <a:lnTo>
                    <a:pt x="1015" y="982"/>
                  </a:lnTo>
                  <a:lnTo>
                    <a:pt x="1013" y="982"/>
                  </a:lnTo>
                  <a:lnTo>
                    <a:pt x="1011" y="982"/>
                  </a:lnTo>
                  <a:lnTo>
                    <a:pt x="1009" y="981"/>
                  </a:lnTo>
                  <a:lnTo>
                    <a:pt x="1009" y="981"/>
                  </a:lnTo>
                  <a:lnTo>
                    <a:pt x="1002" y="984"/>
                  </a:lnTo>
                  <a:lnTo>
                    <a:pt x="1000" y="990"/>
                  </a:lnTo>
                  <a:lnTo>
                    <a:pt x="998" y="990"/>
                  </a:lnTo>
                  <a:lnTo>
                    <a:pt x="996" y="991"/>
                  </a:lnTo>
                  <a:lnTo>
                    <a:pt x="995" y="991"/>
                  </a:lnTo>
                  <a:lnTo>
                    <a:pt x="993" y="993"/>
                  </a:lnTo>
                  <a:lnTo>
                    <a:pt x="993" y="993"/>
                  </a:lnTo>
                  <a:lnTo>
                    <a:pt x="993" y="995"/>
                  </a:lnTo>
                  <a:lnTo>
                    <a:pt x="993" y="995"/>
                  </a:lnTo>
                  <a:lnTo>
                    <a:pt x="993" y="995"/>
                  </a:lnTo>
                  <a:lnTo>
                    <a:pt x="993" y="995"/>
                  </a:lnTo>
                  <a:lnTo>
                    <a:pt x="993" y="997"/>
                  </a:lnTo>
                  <a:lnTo>
                    <a:pt x="991" y="997"/>
                  </a:lnTo>
                  <a:lnTo>
                    <a:pt x="991" y="997"/>
                  </a:lnTo>
                  <a:lnTo>
                    <a:pt x="991" y="999"/>
                  </a:lnTo>
                  <a:lnTo>
                    <a:pt x="991" y="999"/>
                  </a:lnTo>
                  <a:lnTo>
                    <a:pt x="989" y="1000"/>
                  </a:lnTo>
                  <a:lnTo>
                    <a:pt x="989" y="1000"/>
                  </a:lnTo>
                  <a:lnTo>
                    <a:pt x="991" y="1000"/>
                  </a:lnTo>
                  <a:lnTo>
                    <a:pt x="991" y="1000"/>
                  </a:lnTo>
                  <a:lnTo>
                    <a:pt x="993" y="999"/>
                  </a:lnTo>
                  <a:lnTo>
                    <a:pt x="993" y="999"/>
                  </a:lnTo>
                  <a:lnTo>
                    <a:pt x="993" y="997"/>
                  </a:lnTo>
                  <a:lnTo>
                    <a:pt x="995" y="997"/>
                  </a:lnTo>
                  <a:lnTo>
                    <a:pt x="996" y="997"/>
                  </a:lnTo>
                  <a:lnTo>
                    <a:pt x="998" y="995"/>
                  </a:lnTo>
                  <a:lnTo>
                    <a:pt x="1000" y="995"/>
                  </a:lnTo>
                  <a:lnTo>
                    <a:pt x="1004" y="995"/>
                  </a:lnTo>
                  <a:lnTo>
                    <a:pt x="1002" y="995"/>
                  </a:lnTo>
                  <a:lnTo>
                    <a:pt x="1002" y="997"/>
                  </a:lnTo>
                  <a:lnTo>
                    <a:pt x="1000" y="997"/>
                  </a:lnTo>
                  <a:lnTo>
                    <a:pt x="1000" y="997"/>
                  </a:lnTo>
                  <a:lnTo>
                    <a:pt x="1000" y="999"/>
                  </a:lnTo>
                  <a:lnTo>
                    <a:pt x="1000" y="999"/>
                  </a:lnTo>
                  <a:lnTo>
                    <a:pt x="1004" y="999"/>
                  </a:lnTo>
                  <a:lnTo>
                    <a:pt x="1004" y="1000"/>
                  </a:lnTo>
                  <a:lnTo>
                    <a:pt x="998" y="1000"/>
                  </a:lnTo>
                  <a:lnTo>
                    <a:pt x="996" y="1002"/>
                  </a:lnTo>
                  <a:lnTo>
                    <a:pt x="995" y="1004"/>
                  </a:lnTo>
                  <a:lnTo>
                    <a:pt x="996" y="1008"/>
                  </a:lnTo>
                  <a:lnTo>
                    <a:pt x="998" y="1008"/>
                  </a:lnTo>
                  <a:lnTo>
                    <a:pt x="1002" y="1009"/>
                  </a:lnTo>
                  <a:lnTo>
                    <a:pt x="1002" y="1011"/>
                  </a:lnTo>
                  <a:lnTo>
                    <a:pt x="1002" y="1011"/>
                  </a:lnTo>
                  <a:lnTo>
                    <a:pt x="1000" y="1011"/>
                  </a:lnTo>
                  <a:lnTo>
                    <a:pt x="1000" y="1011"/>
                  </a:lnTo>
                  <a:lnTo>
                    <a:pt x="998" y="1011"/>
                  </a:lnTo>
                  <a:lnTo>
                    <a:pt x="998" y="1013"/>
                  </a:lnTo>
                  <a:lnTo>
                    <a:pt x="998" y="1015"/>
                  </a:lnTo>
                  <a:lnTo>
                    <a:pt x="996" y="1015"/>
                  </a:lnTo>
                  <a:lnTo>
                    <a:pt x="996" y="1015"/>
                  </a:lnTo>
                  <a:lnTo>
                    <a:pt x="995" y="1013"/>
                  </a:lnTo>
                  <a:lnTo>
                    <a:pt x="991" y="1011"/>
                  </a:lnTo>
                  <a:lnTo>
                    <a:pt x="991" y="1011"/>
                  </a:lnTo>
                  <a:lnTo>
                    <a:pt x="986" y="1013"/>
                  </a:lnTo>
                  <a:lnTo>
                    <a:pt x="984" y="1013"/>
                  </a:lnTo>
                  <a:lnTo>
                    <a:pt x="982" y="1011"/>
                  </a:lnTo>
                  <a:lnTo>
                    <a:pt x="980" y="1011"/>
                  </a:lnTo>
                  <a:lnTo>
                    <a:pt x="978" y="1011"/>
                  </a:lnTo>
                  <a:lnTo>
                    <a:pt x="978" y="1011"/>
                  </a:lnTo>
                  <a:lnTo>
                    <a:pt x="977" y="1011"/>
                  </a:lnTo>
                  <a:lnTo>
                    <a:pt x="975" y="1013"/>
                  </a:lnTo>
                  <a:lnTo>
                    <a:pt x="975" y="1011"/>
                  </a:lnTo>
                  <a:lnTo>
                    <a:pt x="973" y="1009"/>
                  </a:lnTo>
                  <a:lnTo>
                    <a:pt x="971" y="1009"/>
                  </a:lnTo>
                  <a:lnTo>
                    <a:pt x="964" y="1011"/>
                  </a:lnTo>
                  <a:lnTo>
                    <a:pt x="962" y="1013"/>
                  </a:lnTo>
                  <a:lnTo>
                    <a:pt x="960" y="1013"/>
                  </a:lnTo>
                  <a:lnTo>
                    <a:pt x="960" y="1015"/>
                  </a:lnTo>
                  <a:lnTo>
                    <a:pt x="959" y="1015"/>
                  </a:lnTo>
                  <a:lnTo>
                    <a:pt x="959" y="1017"/>
                  </a:lnTo>
                  <a:lnTo>
                    <a:pt x="959" y="1017"/>
                  </a:lnTo>
                  <a:lnTo>
                    <a:pt x="959" y="1018"/>
                  </a:lnTo>
                  <a:lnTo>
                    <a:pt x="960" y="1020"/>
                  </a:lnTo>
                  <a:lnTo>
                    <a:pt x="960" y="1020"/>
                  </a:lnTo>
                  <a:lnTo>
                    <a:pt x="960" y="1022"/>
                  </a:lnTo>
                  <a:lnTo>
                    <a:pt x="969" y="1024"/>
                  </a:lnTo>
                  <a:lnTo>
                    <a:pt x="969" y="1024"/>
                  </a:lnTo>
                  <a:lnTo>
                    <a:pt x="971" y="1026"/>
                  </a:lnTo>
                  <a:lnTo>
                    <a:pt x="971" y="1026"/>
                  </a:lnTo>
                  <a:lnTo>
                    <a:pt x="971" y="1026"/>
                  </a:lnTo>
                  <a:lnTo>
                    <a:pt x="971" y="1026"/>
                  </a:lnTo>
                  <a:lnTo>
                    <a:pt x="971" y="1027"/>
                  </a:lnTo>
                  <a:lnTo>
                    <a:pt x="971" y="1027"/>
                  </a:lnTo>
                  <a:lnTo>
                    <a:pt x="971" y="1027"/>
                  </a:lnTo>
                  <a:lnTo>
                    <a:pt x="971" y="1027"/>
                  </a:lnTo>
                  <a:lnTo>
                    <a:pt x="971" y="1029"/>
                  </a:lnTo>
                  <a:lnTo>
                    <a:pt x="971" y="1031"/>
                  </a:lnTo>
                  <a:lnTo>
                    <a:pt x="969" y="1031"/>
                  </a:lnTo>
                  <a:lnTo>
                    <a:pt x="969" y="1026"/>
                  </a:lnTo>
                  <a:lnTo>
                    <a:pt x="969" y="1026"/>
                  </a:lnTo>
                  <a:lnTo>
                    <a:pt x="968" y="1026"/>
                  </a:lnTo>
                  <a:lnTo>
                    <a:pt x="964" y="1026"/>
                  </a:lnTo>
                  <a:lnTo>
                    <a:pt x="962" y="1026"/>
                  </a:lnTo>
                  <a:lnTo>
                    <a:pt x="959" y="1022"/>
                  </a:lnTo>
                  <a:lnTo>
                    <a:pt x="957" y="1020"/>
                  </a:lnTo>
                  <a:lnTo>
                    <a:pt x="955" y="1020"/>
                  </a:lnTo>
                  <a:lnTo>
                    <a:pt x="953" y="1024"/>
                  </a:lnTo>
                  <a:lnTo>
                    <a:pt x="951" y="1024"/>
                  </a:lnTo>
                  <a:lnTo>
                    <a:pt x="950" y="1026"/>
                  </a:lnTo>
                  <a:lnTo>
                    <a:pt x="948" y="1026"/>
                  </a:lnTo>
                  <a:lnTo>
                    <a:pt x="953" y="1020"/>
                  </a:lnTo>
                  <a:lnTo>
                    <a:pt x="953" y="1017"/>
                  </a:lnTo>
                  <a:lnTo>
                    <a:pt x="955" y="1013"/>
                  </a:lnTo>
                  <a:lnTo>
                    <a:pt x="955" y="1011"/>
                  </a:lnTo>
                  <a:lnTo>
                    <a:pt x="951" y="1008"/>
                  </a:lnTo>
                  <a:lnTo>
                    <a:pt x="948" y="1004"/>
                  </a:lnTo>
                  <a:lnTo>
                    <a:pt x="948" y="1002"/>
                  </a:lnTo>
                  <a:lnTo>
                    <a:pt x="948" y="1000"/>
                  </a:lnTo>
                  <a:lnTo>
                    <a:pt x="948" y="999"/>
                  </a:lnTo>
                  <a:lnTo>
                    <a:pt x="946" y="997"/>
                  </a:lnTo>
                  <a:lnTo>
                    <a:pt x="944" y="995"/>
                  </a:lnTo>
                  <a:lnTo>
                    <a:pt x="942" y="991"/>
                  </a:lnTo>
                  <a:lnTo>
                    <a:pt x="942" y="990"/>
                  </a:lnTo>
                  <a:lnTo>
                    <a:pt x="942" y="990"/>
                  </a:lnTo>
                  <a:lnTo>
                    <a:pt x="941" y="990"/>
                  </a:lnTo>
                  <a:lnTo>
                    <a:pt x="937" y="993"/>
                  </a:lnTo>
                  <a:lnTo>
                    <a:pt x="933" y="993"/>
                  </a:lnTo>
                  <a:lnTo>
                    <a:pt x="933" y="993"/>
                  </a:lnTo>
                  <a:lnTo>
                    <a:pt x="931" y="995"/>
                  </a:lnTo>
                  <a:lnTo>
                    <a:pt x="933" y="995"/>
                  </a:lnTo>
                  <a:lnTo>
                    <a:pt x="933" y="997"/>
                  </a:lnTo>
                  <a:lnTo>
                    <a:pt x="935" y="999"/>
                  </a:lnTo>
                  <a:lnTo>
                    <a:pt x="935" y="1000"/>
                  </a:lnTo>
                  <a:lnTo>
                    <a:pt x="935" y="1000"/>
                  </a:lnTo>
                  <a:lnTo>
                    <a:pt x="933" y="999"/>
                  </a:lnTo>
                  <a:lnTo>
                    <a:pt x="933" y="997"/>
                  </a:lnTo>
                  <a:lnTo>
                    <a:pt x="931" y="997"/>
                  </a:lnTo>
                  <a:lnTo>
                    <a:pt x="931" y="997"/>
                  </a:lnTo>
                  <a:lnTo>
                    <a:pt x="930" y="999"/>
                  </a:lnTo>
                  <a:lnTo>
                    <a:pt x="928" y="1002"/>
                  </a:lnTo>
                  <a:lnTo>
                    <a:pt x="928" y="1004"/>
                  </a:lnTo>
                  <a:lnTo>
                    <a:pt x="926" y="1004"/>
                  </a:lnTo>
                  <a:lnTo>
                    <a:pt x="926" y="1002"/>
                  </a:lnTo>
                  <a:lnTo>
                    <a:pt x="926" y="1000"/>
                  </a:lnTo>
                  <a:lnTo>
                    <a:pt x="926" y="1000"/>
                  </a:lnTo>
                  <a:lnTo>
                    <a:pt x="926" y="999"/>
                  </a:lnTo>
                  <a:lnTo>
                    <a:pt x="926" y="999"/>
                  </a:lnTo>
                  <a:lnTo>
                    <a:pt x="924" y="999"/>
                  </a:lnTo>
                  <a:lnTo>
                    <a:pt x="922" y="1000"/>
                  </a:lnTo>
                  <a:lnTo>
                    <a:pt x="922" y="1002"/>
                  </a:lnTo>
                  <a:lnTo>
                    <a:pt x="921" y="1002"/>
                  </a:lnTo>
                  <a:lnTo>
                    <a:pt x="919" y="1002"/>
                  </a:lnTo>
                  <a:lnTo>
                    <a:pt x="919" y="1002"/>
                  </a:lnTo>
                  <a:lnTo>
                    <a:pt x="919" y="1004"/>
                  </a:lnTo>
                  <a:lnTo>
                    <a:pt x="917" y="1004"/>
                  </a:lnTo>
                  <a:lnTo>
                    <a:pt x="915" y="1004"/>
                  </a:lnTo>
                  <a:lnTo>
                    <a:pt x="913" y="1008"/>
                  </a:lnTo>
                  <a:lnTo>
                    <a:pt x="915" y="1009"/>
                  </a:lnTo>
                  <a:lnTo>
                    <a:pt x="917" y="1009"/>
                  </a:lnTo>
                  <a:lnTo>
                    <a:pt x="921" y="1009"/>
                  </a:lnTo>
                  <a:lnTo>
                    <a:pt x="921" y="1009"/>
                  </a:lnTo>
                  <a:lnTo>
                    <a:pt x="921" y="1009"/>
                  </a:lnTo>
                  <a:lnTo>
                    <a:pt x="921" y="1008"/>
                  </a:lnTo>
                  <a:lnTo>
                    <a:pt x="921" y="1006"/>
                  </a:lnTo>
                  <a:lnTo>
                    <a:pt x="921" y="1006"/>
                  </a:lnTo>
                  <a:lnTo>
                    <a:pt x="921" y="1008"/>
                  </a:lnTo>
                  <a:lnTo>
                    <a:pt x="921" y="1008"/>
                  </a:lnTo>
                  <a:lnTo>
                    <a:pt x="922" y="1008"/>
                  </a:lnTo>
                  <a:lnTo>
                    <a:pt x="924" y="1009"/>
                  </a:lnTo>
                  <a:lnTo>
                    <a:pt x="924" y="1009"/>
                  </a:lnTo>
                  <a:lnTo>
                    <a:pt x="930" y="1008"/>
                  </a:lnTo>
                  <a:lnTo>
                    <a:pt x="930" y="1008"/>
                  </a:lnTo>
                  <a:lnTo>
                    <a:pt x="931" y="1008"/>
                  </a:lnTo>
                  <a:lnTo>
                    <a:pt x="931" y="1008"/>
                  </a:lnTo>
                  <a:lnTo>
                    <a:pt x="931" y="1008"/>
                  </a:lnTo>
                  <a:lnTo>
                    <a:pt x="931" y="1009"/>
                  </a:lnTo>
                  <a:lnTo>
                    <a:pt x="915" y="1013"/>
                  </a:lnTo>
                  <a:lnTo>
                    <a:pt x="915" y="1015"/>
                  </a:lnTo>
                  <a:lnTo>
                    <a:pt x="915" y="1017"/>
                  </a:lnTo>
                  <a:lnTo>
                    <a:pt x="917" y="1018"/>
                  </a:lnTo>
                  <a:lnTo>
                    <a:pt x="917" y="1020"/>
                  </a:lnTo>
                  <a:lnTo>
                    <a:pt x="917" y="1020"/>
                  </a:lnTo>
                  <a:lnTo>
                    <a:pt x="919" y="1020"/>
                  </a:lnTo>
                  <a:lnTo>
                    <a:pt x="921" y="1018"/>
                  </a:lnTo>
                  <a:lnTo>
                    <a:pt x="926" y="1018"/>
                  </a:lnTo>
                  <a:lnTo>
                    <a:pt x="930" y="1017"/>
                  </a:lnTo>
                  <a:lnTo>
                    <a:pt x="931" y="1017"/>
                  </a:lnTo>
                  <a:lnTo>
                    <a:pt x="928" y="1018"/>
                  </a:lnTo>
                  <a:lnTo>
                    <a:pt x="921" y="1020"/>
                  </a:lnTo>
                  <a:lnTo>
                    <a:pt x="917" y="1024"/>
                  </a:lnTo>
                  <a:lnTo>
                    <a:pt x="913" y="1024"/>
                  </a:lnTo>
                  <a:lnTo>
                    <a:pt x="913" y="1026"/>
                  </a:lnTo>
                  <a:lnTo>
                    <a:pt x="912" y="1029"/>
                  </a:lnTo>
                  <a:lnTo>
                    <a:pt x="912" y="1026"/>
                  </a:lnTo>
                  <a:lnTo>
                    <a:pt x="912" y="1024"/>
                  </a:lnTo>
                  <a:lnTo>
                    <a:pt x="913" y="1020"/>
                  </a:lnTo>
                  <a:lnTo>
                    <a:pt x="913" y="1020"/>
                  </a:lnTo>
                  <a:lnTo>
                    <a:pt x="913" y="1018"/>
                  </a:lnTo>
                  <a:lnTo>
                    <a:pt x="913" y="1017"/>
                  </a:lnTo>
                  <a:lnTo>
                    <a:pt x="913" y="1017"/>
                  </a:lnTo>
                  <a:lnTo>
                    <a:pt x="913" y="1015"/>
                  </a:lnTo>
                  <a:lnTo>
                    <a:pt x="910" y="1011"/>
                  </a:lnTo>
                  <a:lnTo>
                    <a:pt x="908" y="1009"/>
                  </a:lnTo>
                  <a:lnTo>
                    <a:pt x="908" y="1009"/>
                  </a:lnTo>
                  <a:lnTo>
                    <a:pt x="906" y="1009"/>
                  </a:lnTo>
                  <a:lnTo>
                    <a:pt x="906" y="1011"/>
                  </a:lnTo>
                  <a:lnTo>
                    <a:pt x="904" y="1013"/>
                  </a:lnTo>
                  <a:lnTo>
                    <a:pt x="906" y="1015"/>
                  </a:lnTo>
                  <a:lnTo>
                    <a:pt x="906" y="1015"/>
                  </a:lnTo>
                  <a:lnTo>
                    <a:pt x="906" y="1015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1" y="1015"/>
                  </a:lnTo>
                  <a:lnTo>
                    <a:pt x="901" y="1017"/>
                  </a:lnTo>
                  <a:lnTo>
                    <a:pt x="899" y="1017"/>
                  </a:lnTo>
                  <a:lnTo>
                    <a:pt x="899" y="1015"/>
                  </a:lnTo>
                  <a:lnTo>
                    <a:pt x="897" y="1013"/>
                  </a:lnTo>
                  <a:lnTo>
                    <a:pt x="897" y="1013"/>
                  </a:lnTo>
                  <a:lnTo>
                    <a:pt x="895" y="1013"/>
                  </a:lnTo>
                  <a:lnTo>
                    <a:pt x="895" y="1015"/>
                  </a:lnTo>
                  <a:lnTo>
                    <a:pt x="894" y="1015"/>
                  </a:lnTo>
                  <a:lnTo>
                    <a:pt x="894" y="1017"/>
                  </a:lnTo>
                  <a:lnTo>
                    <a:pt x="890" y="1015"/>
                  </a:lnTo>
                  <a:lnTo>
                    <a:pt x="890" y="1017"/>
                  </a:lnTo>
                  <a:lnTo>
                    <a:pt x="888" y="1018"/>
                  </a:lnTo>
                  <a:lnTo>
                    <a:pt x="890" y="1018"/>
                  </a:lnTo>
                  <a:lnTo>
                    <a:pt x="892" y="1020"/>
                  </a:lnTo>
                  <a:lnTo>
                    <a:pt x="892" y="1020"/>
                  </a:lnTo>
                  <a:lnTo>
                    <a:pt x="892" y="1022"/>
                  </a:lnTo>
                  <a:lnTo>
                    <a:pt x="892" y="1022"/>
                  </a:lnTo>
                  <a:lnTo>
                    <a:pt x="894" y="1022"/>
                  </a:lnTo>
                  <a:lnTo>
                    <a:pt x="895" y="1022"/>
                  </a:lnTo>
                  <a:lnTo>
                    <a:pt x="894" y="1024"/>
                  </a:lnTo>
                  <a:lnTo>
                    <a:pt x="892" y="1026"/>
                  </a:lnTo>
                  <a:lnTo>
                    <a:pt x="883" y="1027"/>
                  </a:lnTo>
                  <a:lnTo>
                    <a:pt x="881" y="1029"/>
                  </a:lnTo>
                  <a:lnTo>
                    <a:pt x="883" y="1029"/>
                  </a:lnTo>
                  <a:lnTo>
                    <a:pt x="883" y="1031"/>
                  </a:lnTo>
                  <a:lnTo>
                    <a:pt x="886" y="1033"/>
                  </a:lnTo>
                  <a:lnTo>
                    <a:pt x="886" y="1035"/>
                  </a:lnTo>
                  <a:lnTo>
                    <a:pt x="886" y="1037"/>
                  </a:lnTo>
                  <a:lnTo>
                    <a:pt x="888" y="1038"/>
                  </a:lnTo>
                  <a:lnTo>
                    <a:pt x="888" y="1038"/>
                  </a:lnTo>
                  <a:lnTo>
                    <a:pt x="890" y="1038"/>
                  </a:lnTo>
                  <a:lnTo>
                    <a:pt x="901" y="1038"/>
                  </a:lnTo>
                  <a:lnTo>
                    <a:pt x="904" y="1038"/>
                  </a:lnTo>
                  <a:lnTo>
                    <a:pt x="899" y="1038"/>
                  </a:lnTo>
                  <a:lnTo>
                    <a:pt x="888" y="1042"/>
                  </a:lnTo>
                  <a:lnTo>
                    <a:pt x="886" y="1042"/>
                  </a:lnTo>
                  <a:lnTo>
                    <a:pt x="885" y="1044"/>
                  </a:lnTo>
                  <a:lnTo>
                    <a:pt x="886" y="1046"/>
                  </a:lnTo>
                  <a:lnTo>
                    <a:pt x="888" y="1047"/>
                  </a:lnTo>
                  <a:lnTo>
                    <a:pt x="888" y="1049"/>
                  </a:lnTo>
                  <a:lnTo>
                    <a:pt x="885" y="1047"/>
                  </a:lnTo>
                  <a:lnTo>
                    <a:pt x="868" y="1044"/>
                  </a:lnTo>
                  <a:lnTo>
                    <a:pt x="868" y="1046"/>
                  </a:lnTo>
                  <a:lnTo>
                    <a:pt x="870" y="1047"/>
                  </a:lnTo>
                  <a:lnTo>
                    <a:pt x="872" y="1047"/>
                  </a:lnTo>
                  <a:lnTo>
                    <a:pt x="872" y="1049"/>
                  </a:lnTo>
                  <a:lnTo>
                    <a:pt x="872" y="1049"/>
                  </a:lnTo>
                  <a:lnTo>
                    <a:pt x="872" y="1051"/>
                  </a:lnTo>
                  <a:lnTo>
                    <a:pt x="874" y="1051"/>
                  </a:lnTo>
                  <a:lnTo>
                    <a:pt x="874" y="1051"/>
                  </a:lnTo>
                  <a:lnTo>
                    <a:pt x="872" y="1053"/>
                  </a:lnTo>
                  <a:lnTo>
                    <a:pt x="872" y="1053"/>
                  </a:lnTo>
                  <a:lnTo>
                    <a:pt x="872" y="1053"/>
                  </a:lnTo>
                  <a:lnTo>
                    <a:pt x="872" y="1053"/>
                  </a:lnTo>
                  <a:lnTo>
                    <a:pt x="872" y="1051"/>
                  </a:lnTo>
                  <a:lnTo>
                    <a:pt x="872" y="1051"/>
                  </a:lnTo>
                  <a:lnTo>
                    <a:pt x="870" y="1049"/>
                  </a:lnTo>
                  <a:lnTo>
                    <a:pt x="868" y="1047"/>
                  </a:lnTo>
                  <a:lnTo>
                    <a:pt x="868" y="1046"/>
                  </a:lnTo>
                  <a:lnTo>
                    <a:pt x="866" y="1047"/>
                  </a:lnTo>
                  <a:lnTo>
                    <a:pt x="865" y="1049"/>
                  </a:lnTo>
                  <a:lnTo>
                    <a:pt x="866" y="1049"/>
                  </a:lnTo>
                  <a:lnTo>
                    <a:pt x="866" y="1051"/>
                  </a:lnTo>
                  <a:lnTo>
                    <a:pt x="868" y="1053"/>
                  </a:lnTo>
                  <a:lnTo>
                    <a:pt x="868" y="1055"/>
                  </a:lnTo>
                  <a:lnTo>
                    <a:pt x="868" y="1055"/>
                  </a:lnTo>
                  <a:lnTo>
                    <a:pt x="868" y="1055"/>
                  </a:lnTo>
                  <a:lnTo>
                    <a:pt x="868" y="1055"/>
                  </a:lnTo>
                  <a:lnTo>
                    <a:pt x="868" y="1056"/>
                  </a:lnTo>
                  <a:lnTo>
                    <a:pt x="868" y="1056"/>
                  </a:lnTo>
                  <a:lnTo>
                    <a:pt x="868" y="1058"/>
                  </a:lnTo>
                  <a:lnTo>
                    <a:pt x="868" y="1058"/>
                  </a:lnTo>
                  <a:lnTo>
                    <a:pt x="870" y="1058"/>
                  </a:lnTo>
                  <a:lnTo>
                    <a:pt x="872" y="1058"/>
                  </a:lnTo>
                  <a:lnTo>
                    <a:pt x="879" y="1058"/>
                  </a:lnTo>
                  <a:lnTo>
                    <a:pt x="881" y="1058"/>
                  </a:lnTo>
                  <a:lnTo>
                    <a:pt x="879" y="1060"/>
                  </a:lnTo>
                  <a:lnTo>
                    <a:pt x="874" y="1060"/>
                  </a:lnTo>
                  <a:lnTo>
                    <a:pt x="872" y="1062"/>
                  </a:lnTo>
                  <a:lnTo>
                    <a:pt x="874" y="1062"/>
                  </a:lnTo>
                  <a:lnTo>
                    <a:pt x="874" y="1062"/>
                  </a:lnTo>
                  <a:lnTo>
                    <a:pt x="875" y="1064"/>
                  </a:lnTo>
                  <a:lnTo>
                    <a:pt x="875" y="1064"/>
                  </a:lnTo>
                  <a:lnTo>
                    <a:pt x="875" y="1064"/>
                  </a:lnTo>
                  <a:lnTo>
                    <a:pt x="877" y="1064"/>
                  </a:lnTo>
                  <a:lnTo>
                    <a:pt x="881" y="1062"/>
                  </a:lnTo>
                  <a:lnTo>
                    <a:pt x="885" y="1058"/>
                  </a:lnTo>
                  <a:lnTo>
                    <a:pt x="886" y="1058"/>
                  </a:lnTo>
                  <a:lnTo>
                    <a:pt x="883" y="1062"/>
                  </a:lnTo>
                  <a:lnTo>
                    <a:pt x="883" y="1062"/>
                  </a:lnTo>
                  <a:lnTo>
                    <a:pt x="885" y="1064"/>
                  </a:lnTo>
                  <a:lnTo>
                    <a:pt x="886" y="1064"/>
                  </a:lnTo>
                  <a:lnTo>
                    <a:pt x="888" y="1062"/>
                  </a:lnTo>
                  <a:lnTo>
                    <a:pt x="890" y="1064"/>
                  </a:lnTo>
                  <a:lnTo>
                    <a:pt x="888" y="1065"/>
                  </a:lnTo>
                  <a:lnTo>
                    <a:pt x="877" y="1065"/>
                  </a:lnTo>
                  <a:lnTo>
                    <a:pt x="877" y="1067"/>
                  </a:lnTo>
                  <a:lnTo>
                    <a:pt x="881" y="1071"/>
                  </a:lnTo>
                  <a:lnTo>
                    <a:pt x="881" y="1073"/>
                  </a:lnTo>
                  <a:lnTo>
                    <a:pt x="883" y="1073"/>
                  </a:lnTo>
                  <a:lnTo>
                    <a:pt x="886" y="1074"/>
                  </a:lnTo>
                  <a:lnTo>
                    <a:pt x="888" y="1074"/>
                  </a:lnTo>
                  <a:lnTo>
                    <a:pt x="892" y="1080"/>
                  </a:lnTo>
                  <a:lnTo>
                    <a:pt x="892" y="1080"/>
                  </a:lnTo>
                  <a:lnTo>
                    <a:pt x="890" y="1080"/>
                  </a:lnTo>
                  <a:lnTo>
                    <a:pt x="888" y="1078"/>
                  </a:lnTo>
                  <a:lnTo>
                    <a:pt x="888" y="1078"/>
                  </a:lnTo>
                  <a:lnTo>
                    <a:pt x="886" y="1076"/>
                  </a:lnTo>
                  <a:lnTo>
                    <a:pt x="886" y="1076"/>
                  </a:lnTo>
                  <a:lnTo>
                    <a:pt x="886" y="1074"/>
                  </a:lnTo>
                  <a:lnTo>
                    <a:pt x="879" y="1073"/>
                  </a:lnTo>
                  <a:lnTo>
                    <a:pt x="879" y="1073"/>
                  </a:lnTo>
                  <a:lnTo>
                    <a:pt x="879" y="1074"/>
                  </a:lnTo>
                  <a:lnTo>
                    <a:pt x="883" y="1076"/>
                  </a:lnTo>
                  <a:lnTo>
                    <a:pt x="885" y="1078"/>
                  </a:lnTo>
                  <a:lnTo>
                    <a:pt x="883" y="1078"/>
                  </a:lnTo>
                  <a:lnTo>
                    <a:pt x="881" y="1078"/>
                  </a:lnTo>
                  <a:lnTo>
                    <a:pt x="877" y="1074"/>
                  </a:lnTo>
                  <a:lnTo>
                    <a:pt x="875" y="1073"/>
                  </a:lnTo>
                  <a:lnTo>
                    <a:pt x="875" y="1073"/>
                  </a:lnTo>
                  <a:lnTo>
                    <a:pt x="874" y="1074"/>
                  </a:lnTo>
                  <a:lnTo>
                    <a:pt x="874" y="1074"/>
                  </a:lnTo>
                  <a:lnTo>
                    <a:pt x="874" y="1074"/>
                  </a:lnTo>
                  <a:lnTo>
                    <a:pt x="874" y="1071"/>
                  </a:lnTo>
                  <a:lnTo>
                    <a:pt x="872" y="1069"/>
                  </a:lnTo>
                  <a:lnTo>
                    <a:pt x="872" y="1067"/>
                  </a:lnTo>
                  <a:lnTo>
                    <a:pt x="874" y="1065"/>
                  </a:lnTo>
                  <a:lnTo>
                    <a:pt x="874" y="1065"/>
                  </a:lnTo>
                  <a:lnTo>
                    <a:pt x="874" y="1064"/>
                  </a:lnTo>
                  <a:lnTo>
                    <a:pt x="874" y="1064"/>
                  </a:lnTo>
                  <a:lnTo>
                    <a:pt x="872" y="1064"/>
                  </a:lnTo>
                  <a:lnTo>
                    <a:pt x="872" y="1064"/>
                  </a:lnTo>
                  <a:lnTo>
                    <a:pt x="872" y="1064"/>
                  </a:lnTo>
                  <a:lnTo>
                    <a:pt x="870" y="1062"/>
                  </a:lnTo>
                  <a:lnTo>
                    <a:pt x="868" y="1060"/>
                  </a:lnTo>
                  <a:lnTo>
                    <a:pt x="866" y="1058"/>
                  </a:lnTo>
                  <a:lnTo>
                    <a:pt x="865" y="1058"/>
                  </a:lnTo>
                  <a:lnTo>
                    <a:pt x="865" y="1056"/>
                  </a:lnTo>
                  <a:lnTo>
                    <a:pt x="863" y="1056"/>
                  </a:lnTo>
                  <a:lnTo>
                    <a:pt x="863" y="1053"/>
                  </a:lnTo>
                  <a:lnTo>
                    <a:pt x="863" y="1051"/>
                  </a:lnTo>
                  <a:lnTo>
                    <a:pt x="861" y="1049"/>
                  </a:lnTo>
                  <a:lnTo>
                    <a:pt x="861" y="1049"/>
                  </a:lnTo>
                  <a:lnTo>
                    <a:pt x="859" y="1049"/>
                  </a:lnTo>
                  <a:lnTo>
                    <a:pt x="859" y="1049"/>
                  </a:lnTo>
                  <a:lnTo>
                    <a:pt x="857" y="1051"/>
                  </a:lnTo>
                  <a:lnTo>
                    <a:pt x="857" y="1051"/>
                  </a:lnTo>
                  <a:lnTo>
                    <a:pt x="856" y="1053"/>
                  </a:lnTo>
                  <a:lnTo>
                    <a:pt x="854" y="1056"/>
                  </a:lnTo>
                  <a:lnTo>
                    <a:pt x="854" y="1056"/>
                  </a:lnTo>
                  <a:lnTo>
                    <a:pt x="852" y="1058"/>
                  </a:lnTo>
                  <a:lnTo>
                    <a:pt x="850" y="1060"/>
                  </a:lnTo>
                  <a:lnTo>
                    <a:pt x="850" y="1060"/>
                  </a:lnTo>
                  <a:lnTo>
                    <a:pt x="852" y="1062"/>
                  </a:lnTo>
                  <a:lnTo>
                    <a:pt x="854" y="1060"/>
                  </a:lnTo>
                  <a:lnTo>
                    <a:pt x="856" y="1060"/>
                  </a:lnTo>
                  <a:lnTo>
                    <a:pt x="856" y="1060"/>
                  </a:lnTo>
                  <a:lnTo>
                    <a:pt x="856" y="1060"/>
                  </a:lnTo>
                  <a:lnTo>
                    <a:pt x="854" y="1058"/>
                  </a:lnTo>
                  <a:lnTo>
                    <a:pt x="854" y="1058"/>
                  </a:lnTo>
                  <a:lnTo>
                    <a:pt x="854" y="1058"/>
                  </a:lnTo>
                  <a:lnTo>
                    <a:pt x="856" y="1058"/>
                  </a:lnTo>
                  <a:lnTo>
                    <a:pt x="856" y="1058"/>
                  </a:lnTo>
                  <a:lnTo>
                    <a:pt x="856" y="1058"/>
                  </a:lnTo>
                  <a:lnTo>
                    <a:pt x="856" y="1058"/>
                  </a:lnTo>
                  <a:lnTo>
                    <a:pt x="857" y="1060"/>
                  </a:lnTo>
                  <a:lnTo>
                    <a:pt x="857" y="1060"/>
                  </a:lnTo>
                  <a:lnTo>
                    <a:pt x="861" y="1065"/>
                  </a:lnTo>
                  <a:lnTo>
                    <a:pt x="863" y="1065"/>
                  </a:lnTo>
                  <a:lnTo>
                    <a:pt x="865" y="1067"/>
                  </a:lnTo>
                  <a:lnTo>
                    <a:pt x="865" y="1067"/>
                  </a:lnTo>
                  <a:lnTo>
                    <a:pt x="865" y="1069"/>
                  </a:lnTo>
                  <a:lnTo>
                    <a:pt x="865" y="1069"/>
                  </a:lnTo>
                  <a:lnTo>
                    <a:pt x="865" y="1071"/>
                  </a:lnTo>
                  <a:lnTo>
                    <a:pt x="866" y="1071"/>
                  </a:lnTo>
                  <a:lnTo>
                    <a:pt x="866" y="1071"/>
                  </a:lnTo>
                  <a:lnTo>
                    <a:pt x="866" y="1071"/>
                  </a:lnTo>
                  <a:lnTo>
                    <a:pt x="866" y="1071"/>
                  </a:lnTo>
                  <a:lnTo>
                    <a:pt x="866" y="1073"/>
                  </a:lnTo>
                  <a:lnTo>
                    <a:pt x="865" y="1073"/>
                  </a:lnTo>
                  <a:lnTo>
                    <a:pt x="865" y="1074"/>
                  </a:lnTo>
                  <a:lnTo>
                    <a:pt x="865" y="1076"/>
                  </a:lnTo>
                  <a:lnTo>
                    <a:pt x="866" y="1078"/>
                  </a:lnTo>
                  <a:lnTo>
                    <a:pt x="868" y="1082"/>
                  </a:lnTo>
                  <a:lnTo>
                    <a:pt x="874" y="1083"/>
                  </a:lnTo>
                  <a:lnTo>
                    <a:pt x="875" y="1085"/>
                  </a:lnTo>
                  <a:lnTo>
                    <a:pt x="879" y="1087"/>
                  </a:lnTo>
                  <a:lnTo>
                    <a:pt x="885" y="1093"/>
                  </a:lnTo>
                  <a:lnTo>
                    <a:pt x="885" y="1094"/>
                  </a:lnTo>
                  <a:lnTo>
                    <a:pt x="885" y="1096"/>
                  </a:lnTo>
                  <a:lnTo>
                    <a:pt x="885" y="1098"/>
                  </a:lnTo>
                  <a:lnTo>
                    <a:pt x="885" y="1096"/>
                  </a:lnTo>
                  <a:lnTo>
                    <a:pt x="883" y="1093"/>
                  </a:lnTo>
                  <a:lnTo>
                    <a:pt x="881" y="1093"/>
                  </a:lnTo>
                  <a:lnTo>
                    <a:pt x="879" y="1093"/>
                  </a:lnTo>
                  <a:lnTo>
                    <a:pt x="877" y="1091"/>
                  </a:lnTo>
                  <a:lnTo>
                    <a:pt x="872" y="1085"/>
                  </a:lnTo>
                  <a:lnTo>
                    <a:pt x="870" y="1085"/>
                  </a:lnTo>
                  <a:lnTo>
                    <a:pt x="866" y="1083"/>
                  </a:lnTo>
                  <a:lnTo>
                    <a:pt x="865" y="1082"/>
                  </a:lnTo>
                  <a:lnTo>
                    <a:pt x="863" y="1080"/>
                  </a:lnTo>
                  <a:lnTo>
                    <a:pt x="863" y="1076"/>
                  </a:lnTo>
                  <a:lnTo>
                    <a:pt x="863" y="1073"/>
                  </a:lnTo>
                  <a:lnTo>
                    <a:pt x="863" y="1071"/>
                  </a:lnTo>
                  <a:lnTo>
                    <a:pt x="861" y="1069"/>
                  </a:lnTo>
                  <a:lnTo>
                    <a:pt x="861" y="1069"/>
                  </a:lnTo>
                  <a:lnTo>
                    <a:pt x="861" y="1069"/>
                  </a:lnTo>
                  <a:lnTo>
                    <a:pt x="861" y="1067"/>
                  </a:lnTo>
                  <a:lnTo>
                    <a:pt x="861" y="1067"/>
                  </a:lnTo>
                  <a:lnTo>
                    <a:pt x="856" y="1064"/>
                  </a:lnTo>
                  <a:lnTo>
                    <a:pt x="854" y="1064"/>
                  </a:lnTo>
                  <a:lnTo>
                    <a:pt x="852" y="1065"/>
                  </a:lnTo>
                  <a:lnTo>
                    <a:pt x="850" y="1067"/>
                  </a:lnTo>
                  <a:lnTo>
                    <a:pt x="848" y="1067"/>
                  </a:lnTo>
                  <a:lnTo>
                    <a:pt x="848" y="1067"/>
                  </a:lnTo>
                  <a:lnTo>
                    <a:pt x="841" y="1071"/>
                  </a:lnTo>
                  <a:lnTo>
                    <a:pt x="839" y="1071"/>
                  </a:lnTo>
                  <a:lnTo>
                    <a:pt x="845" y="1067"/>
                  </a:lnTo>
                  <a:lnTo>
                    <a:pt x="845" y="1065"/>
                  </a:lnTo>
                  <a:lnTo>
                    <a:pt x="845" y="1065"/>
                  </a:lnTo>
                  <a:lnTo>
                    <a:pt x="847" y="1064"/>
                  </a:lnTo>
                  <a:lnTo>
                    <a:pt x="845" y="1064"/>
                  </a:lnTo>
                  <a:lnTo>
                    <a:pt x="841" y="1064"/>
                  </a:lnTo>
                  <a:lnTo>
                    <a:pt x="839" y="1064"/>
                  </a:lnTo>
                  <a:lnTo>
                    <a:pt x="838" y="1065"/>
                  </a:lnTo>
                  <a:lnTo>
                    <a:pt x="834" y="1069"/>
                  </a:lnTo>
                  <a:lnTo>
                    <a:pt x="832" y="1071"/>
                  </a:lnTo>
                  <a:lnTo>
                    <a:pt x="829" y="1071"/>
                  </a:lnTo>
                  <a:lnTo>
                    <a:pt x="829" y="1067"/>
                  </a:lnTo>
                  <a:lnTo>
                    <a:pt x="829" y="1067"/>
                  </a:lnTo>
                  <a:lnTo>
                    <a:pt x="825" y="1064"/>
                  </a:lnTo>
                  <a:lnTo>
                    <a:pt x="823" y="1064"/>
                  </a:lnTo>
                  <a:lnTo>
                    <a:pt x="821" y="1060"/>
                  </a:lnTo>
                  <a:lnTo>
                    <a:pt x="820" y="1060"/>
                  </a:lnTo>
                  <a:lnTo>
                    <a:pt x="820" y="1060"/>
                  </a:lnTo>
                  <a:lnTo>
                    <a:pt x="816" y="1062"/>
                  </a:lnTo>
                  <a:lnTo>
                    <a:pt x="812" y="1062"/>
                  </a:lnTo>
                  <a:lnTo>
                    <a:pt x="810" y="1064"/>
                  </a:lnTo>
                  <a:lnTo>
                    <a:pt x="807" y="1067"/>
                  </a:lnTo>
                  <a:lnTo>
                    <a:pt x="801" y="1069"/>
                  </a:lnTo>
                  <a:lnTo>
                    <a:pt x="801" y="1069"/>
                  </a:lnTo>
                  <a:lnTo>
                    <a:pt x="801" y="1071"/>
                  </a:lnTo>
                  <a:lnTo>
                    <a:pt x="803" y="1071"/>
                  </a:lnTo>
                  <a:lnTo>
                    <a:pt x="803" y="1071"/>
                  </a:lnTo>
                  <a:lnTo>
                    <a:pt x="805" y="1074"/>
                  </a:lnTo>
                  <a:lnTo>
                    <a:pt x="807" y="1078"/>
                  </a:lnTo>
                  <a:lnTo>
                    <a:pt x="807" y="1078"/>
                  </a:lnTo>
                  <a:lnTo>
                    <a:pt x="814" y="1078"/>
                  </a:lnTo>
                  <a:lnTo>
                    <a:pt x="814" y="1078"/>
                  </a:lnTo>
                  <a:lnTo>
                    <a:pt x="816" y="1082"/>
                  </a:lnTo>
                  <a:lnTo>
                    <a:pt x="818" y="1082"/>
                  </a:lnTo>
                  <a:lnTo>
                    <a:pt x="810" y="1080"/>
                  </a:lnTo>
                  <a:lnTo>
                    <a:pt x="807" y="1082"/>
                  </a:lnTo>
                  <a:lnTo>
                    <a:pt x="805" y="1083"/>
                  </a:lnTo>
                  <a:lnTo>
                    <a:pt x="805" y="1085"/>
                  </a:lnTo>
                  <a:lnTo>
                    <a:pt x="805" y="1087"/>
                  </a:lnTo>
                  <a:lnTo>
                    <a:pt x="805" y="1087"/>
                  </a:lnTo>
                  <a:lnTo>
                    <a:pt x="805" y="1087"/>
                  </a:lnTo>
                  <a:lnTo>
                    <a:pt x="805" y="1089"/>
                  </a:lnTo>
                  <a:lnTo>
                    <a:pt x="805" y="1089"/>
                  </a:lnTo>
                  <a:lnTo>
                    <a:pt x="805" y="1091"/>
                  </a:lnTo>
                  <a:lnTo>
                    <a:pt x="805" y="1091"/>
                  </a:lnTo>
                  <a:lnTo>
                    <a:pt x="805" y="1091"/>
                  </a:lnTo>
                  <a:lnTo>
                    <a:pt x="805" y="1091"/>
                  </a:lnTo>
                  <a:lnTo>
                    <a:pt x="823" y="1089"/>
                  </a:lnTo>
                  <a:lnTo>
                    <a:pt x="825" y="1089"/>
                  </a:lnTo>
                  <a:lnTo>
                    <a:pt x="827" y="1087"/>
                  </a:lnTo>
                  <a:lnTo>
                    <a:pt x="827" y="1087"/>
                  </a:lnTo>
                  <a:lnTo>
                    <a:pt x="829" y="1087"/>
                  </a:lnTo>
                  <a:lnTo>
                    <a:pt x="838" y="1083"/>
                  </a:lnTo>
                  <a:lnTo>
                    <a:pt x="839" y="1083"/>
                  </a:lnTo>
                  <a:lnTo>
                    <a:pt x="841" y="1083"/>
                  </a:lnTo>
                  <a:lnTo>
                    <a:pt x="830" y="1087"/>
                  </a:lnTo>
                  <a:lnTo>
                    <a:pt x="827" y="1091"/>
                  </a:lnTo>
                  <a:lnTo>
                    <a:pt x="825" y="1091"/>
                  </a:lnTo>
                  <a:lnTo>
                    <a:pt x="827" y="1093"/>
                  </a:lnTo>
                  <a:lnTo>
                    <a:pt x="827" y="1093"/>
                  </a:lnTo>
                  <a:lnTo>
                    <a:pt x="827" y="1094"/>
                  </a:lnTo>
                  <a:lnTo>
                    <a:pt x="825" y="1094"/>
                  </a:lnTo>
                  <a:lnTo>
                    <a:pt x="827" y="1096"/>
                  </a:lnTo>
                  <a:lnTo>
                    <a:pt x="830" y="1096"/>
                  </a:lnTo>
                  <a:lnTo>
                    <a:pt x="832" y="1094"/>
                  </a:lnTo>
                  <a:lnTo>
                    <a:pt x="839" y="1091"/>
                  </a:lnTo>
                  <a:lnTo>
                    <a:pt x="850" y="1089"/>
                  </a:lnTo>
                  <a:lnTo>
                    <a:pt x="852" y="1087"/>
                  </a:lnTo>
                  <a:lnTo>
                    <a:pt x="857" y="1087"/>
                  </a:lnTo>
                  <a:lnTo>
                    <a:pt x="859" y="1085"/>
                  </a:lnTo>
                  <a:lnTo>
                    <a:pt x="861" y="1085"/>
                  </a:lnTo>
                  <a:lnTo>
                    <a:pt x="861" y="1087"/>
                  </a:lnTo>
                  <a:lnTo>
                    <a:pt x="859" y="1087"/>
                  </a:lnTo>
                  <a:lnTo>
                    <a:pt x="859" y="1087"/>
                  </a:lnTo>
                  <a:lnTo>
                    <a:pt x="859" y="1087"/>
                  </a:lnTo>
                  <a:lnTo>
                    <a:pt x="859" y="1091"/>
                  </a:lnTo>
                  <a:lnTo>
                    <a:pt x="863" y="1093"/>
                  </a:lnTo>
                  <a:lnTo>
                    <a:pt x="865" y="1094"/>
                  </a:lnTo>
                  <a:lnTo>
                    <a:pt x="863" y="1094"/>
                  </a:lnTo>
                  <a:lnTo>
                    <a:pt x="859" y="1091"/>
                  </a:lnTo>
                  <a:lnTo>
                    <a:pt x="857" y="1091"/>
                  </a:lnTo>
                  <a:lnTo>
                    <a:pt x="857" y="1091"/>
                  </a:lnTo>
                  <a:lnTo>
                    <a:pt x="854" y="1091"/>
                  </a:lnTo>
                  <a:lnTo>
                    <a:pt x="848" y="1091"/>
                  </a:lnTo>
                  <a:lnTo>
                    <a:pt x="838" y="1094"/>
                  </a:lnTo>
                  <a:lnTo>
                    <a:pt x="836" y="1096"/>
                  </a:lnTo>
                  <a:lnTo>
                    <a:pt x="832" y="1096"/>
                  </a:lnTo>
                  <a:lnTo>
                    <a:pt x="832" y="1098"/>
                  </a:lnTo>
                  <a:lnTo>
                    <a:pt x="832" y="1100"/>
                  </a:lnTo>
                  <a:lnTo>
                    <a:pt x="834" y="1103"/>
                  </a:lnTo>
                  <a:lnTo>
                    <a:pt x="834" y="1105"/>
                  </a:lnTo>
                  <a:lnTo>
                    <a:pt x="832" y="1107"/>
                  </a:lnTo>
                  <a:lnTo>
                    <a:pt x="832" y="1107"/>
                  </a:lnTo>
                  <a:lnTo>
                    <a:pt x="832" y="1103"/>
                  </a:lnTo>
                  <a:lnTo>
                    <a:pt x="830" y="1102"/>
                  </a:lnTo>
                  <a:lnTo>
                    <a:pt x="829" y="1100"/>
                  </a:lnTo>
                  <a:lnTo>
                    <a:pt x="829" y="1102"/>
                  </a:lnTo>
                  <a:lnTo>
                    <a:pt x="827" y="1103"/>
                  </a:lnTo>
                  <a:lnTo>
                    <a:pt x="829" y="1105"/>
                  </a:lnTo>
                  <a:lnTo>
                    <a:pt x="829" y="1107"/>
                  </a:lnTo>
                  <a:lnTo>
                    <a:pt x="830" y="1107"/>
                  </a:lnTo>
                  <a:lnTo>
                    <a:pt x="832" y="1109"/>
                  </a:lnTo>
                  <a:lnTo>
                    <a:pt x="845" y="1107"/>
                  </a:lnTo>
                  <a:lnTo>
                    <a:pt x="845" y="1107"/>
                  </a:lnTo>
                  <a:lnTo>
                    <a:pt x="836" y="1111"/>
                  </a:lnTo>
                  <a:lnTo>
                    <a:pt x="836" y="1111"/>
                  </a:lnTo>
                  <a:lnTo>
                    <a:pt x="836" y="1112"/>
                  </a:lnTo>
                  <a:lnTo>
                    <a:pt x="836" y="1112"/>
                  </a:lnTo>
                  <a:lnTo>
                    <a:pt x="834" y="1114"/>
                  </a:lnTo>
                  <a:lnTo>
                    <a:pt x="834" y="1116"/>
                  </a:lnTo>
                  <a:lnTo>
                    <a:pt x="834" y="1114"/>
                  </a:lnTo>
                  <a:lnTo>
                    <a:pt x="834" y="1112"/>
                  </a:lnTo>
                  <a:lnTo>
                    <a:pt x="832" y="1111"/>
                  </a:lnTo>
                  <a:lnTo>
                    <a:pt x="830" y="1111"/>
                  </a:lnTo>
                  <a:lnTo>
                    <a:pt x="829" y="1111"/>
                  </a:lnTo>
                  <a:lnTo>
                    <a:pt x="825" y="1105"/>
                  </a:lnTo>
                  <a:lnTo>
                    <a:pt x="823" y="1105"/>
                  </a:lnTo>
                  <a:lnTo>
                    <a:pt x="818" y="1103"/>
                  </a:lnTo>
                  <a:lnTo>
                    <a:pt x="816" y="1102"/>
                  </a:lnTo>
                  <a:lnTo>
                    <a:pt x="814" y="1102"/>
                  </a:lnTo>
                  <a:lnTo>
                    <a:pt x="814" y="1105"/>
                  </a:lnTo>
                  <a:lnTo>
                    <a:pt x="814" y="1105"/>
                  </a:lnTo>
                  <a:lnTo>
                    <a:pt x="814" y="1107"/>
                  </a:lnTo>
                  <a:lnTo>
                    <a:pt x="814" y="1107"/>
                  </a:lnTo>
                  <a:lnTo>
                    <a:pt x="814" y="1109"/>
                  </a:lnTo>
                  <a:lnTo>
                    <a:pt x="814" y="1111"/>
                  </a:lnTo>
                  <a:lnTo>
                    <a:pt x="814" y="1112"/>
                  </a:lnTo>
                  <a:lnTo>
                    <a:pt x="812" y="1112"/>
                  </a:lnTo>
                  <a:lnTo>
                    <a:pt x="812" y="1111"/>
                  </a:lnTo>
                  <a:lnTo>
                    <a:pt x="812" y="1107"/>
                  </a:lnTo>
                  <a:lnTo>
                    <a:pt x="812" y="1105"/>
                  </a:lnTo>
                  <a:lnTo>
                    <a:pt x="812" y="1103"/>
                  </a:lnTo>
                  <a:lnTo>
                    <a:pt x="809" y="1103"/>
                  </a:lnTo>
                  <a:lnTo>
                    <a:pt x="809" y="1103"/>
                  </a:lnTo>
                  <a:lnTo>
                    <a:pt x="809" y="1102"/>
                  </a:lnTo>
                  <a:lnTo>
                    <a:pt x="810" y="1102"/>
                  </a:lnTo>
                  <a:lnTo>
                    <a:pt x="810" y="1102"/>
                  </a:lnTo>
                  <a:lnTo>
                    <a:pt x="810" y="1100"/>
                  </a:lnTo>
                  <a:lnTo>
                    <a:pt x="803" y="1100"/>
                  </a:lnTo>
                  <a:lnTo>
                    <a:pt x="801" y="1100"/>
                  </a:lnTo>
                  <a:lnTo>
                    <a:pt x="801" y="1102"/>
                  </a:lnTo>
                  <a:lnTo>
                    <a:pt x="801" y="1102"/>
                  </a:lnTo>
                  <a:lnTo>
                    <a:pt x="803" y="1102"/>
                  </a:lnTo>
                  <a:lnTo>
                    <a:pt x="803" y="1103"/>
                  </a:lnTo>
                  <a:lnTo>
                    <a:pt x="803" y="1103"/>
                  </a:lnTo>
                  <a:lnTo>
                    <a:pt x="801" y="1105"/>
                  </a:lnTo>
                  <a:lnTo>
                    <a:pt x="803" y="1105"/>
                  </a:lnTo>
                  <a:lnTo>
                    <a:pt x="803" y="1107"/>
                  </a:lnTo>
                  <a:lnTo>
                    <a:pt x="803" y="1107"/>
                  </a:lnTo>
                  <a:lnTo>
                    <a:pt x="803" y="1107"/>
                  </a:lnTo>
                  <a:lnTo>
                    <a:pt x="801" y="1107"/>
                  </a:lnTo>
                  <a:lnTo>
                    <a:pt x="801" y="1107"/>
                  </a:lnTo>
                  <a:lnTo>
                    <a:pt x="801" y="1107"/>
                  </a:lnTo>
                  <a:lnTo>
                    <a:pt x="801" y="1107"/>
                  </a:lnTo>
                  <a:lnTo>
                    <a:pt x="801" y="1105"/>
                  </a:lnTo>
                  <a:lnTo>
                    <a:pt x="796" y="1100"/>
                  </a:lnTo>
                  <a:lnTo>
                    <a:pt x="794" y="1100"/>
                  </a:lnTo>
                  <a:lnTo>
                    <a:pt x="792" y="1100"/>
                  </a:lnTo>
                  <a:lnTo>
                    <a:pt x="791" y="1102"/>
                  </a:lnTo>
                  <a:lnTo>
                    <a:pt x="789" y="1103"/>
                  </a:lnTo>
                  <a:lnTo>
                    <a:pt x="789" y="1103"/>
                  </a:lnTo>
                  <a:lnTo>
                    <a:pt x="789" y="1103"/>
                  </a:lnTo>
                  <a:lnTo>
                    <a:pt x="787" y="1103"/>
                  </a:lnTo>
                  <a:lnTo>
                    <a:pt x="787" y="1103"/>
                  </a:lnTo>
                  <a:lnTo>
                    <a:pt x="787" y="1105"/>
                  </a:lnTo>
                  <a:lnTo>
                    <a:pt x="787" y="1107"/>
                  </a:lnTo>
                  <a:lnTo>
                    <a:pt x="787" y="1109"/>
                  </a:lnTo>
                  <a:lnTo>
                    <a:pt x="787" y="1109"/>
                  </a:lnTo>
                  <a:lnTo>
                    <a:pt x="787" y="1107"/>
                  </a:lnTo>
                  <a:lnTo>
                    <a:pt x="785" y="1105"/>
                  </a:lnTo>
                  <a:lnTo>
                    <a:pt x="785" y="1103"/>
                  </a:lnTo>
                  <a:lnTo>
                    <a:pt x="783" y="1103"/>
                  </a:lnTo>
                  <a:lnTo>
                    <a:pt x="773" y="1103"/>
                  </a:lnTo>
                  <a:lnTo>
                    <a:pt x="771" y="1105"/>
                  </a:lnTo>
                  <a:lnTo>
                    <a:pt x="771" y="1105"/>
                  </a:lnTo>
                  <a:lnTo>
                    <a:pt x="769" y="1107"/>
                  </a:lnTo>
                  <a:lnTo>
                    <a:pt x="769" y="1107"/>
                  </a:lnTo>
                  <a:lnTo>
                    <a:pt x="769" y="1109"/>
                  </a:lnTo>
                  <a:lnTo>
                    <a:pt x="771" y="1109"/>
                  </a:lnTo>
                  <a:lnTo>
                    <a:pt x="771" y="1111"/>
                  </a:lnTo>
                  <a:lnTo>
                    <a:pt x="769" y="1111"/>
                  </a:lnTo>
                  <a:lnTo>
                    <a:pt x="771" y="1112"/>
                  </a:lnTo>
                  <a:lnTo>
                    <a:pt x="771" y="1112"/>
                  </a:lnTo>
                  <a:lnTo>
                    <a:pt x="771" y="1112"/>
                  </a:lnTo>
                  <a:lnTo>
                    <a:pt x="769" y="1112"/>
                  </a:lnTo>
                  <a:lnTo>
                    <a:pt x="783" y="1112"/>
                  </a:lnTo>
                  <a:lnTo>
                    <a:pt x="785" y="1112"/>
                  </a:lnTo>
                  <a:lnTo>
                    <a:pt x="783" y="1112"/>
                  </a:lnTo>
                  <a:lnTo>
                    <a:pt x="780" y="1114"/>
                  </a:lnTo>
                  <a:lnTo>
                    <a:pt x="780" y="1114"/>
                  </a:lnTo>
                  <a:lnTo>
                    <a:pt x="785" y="1114"/>
                  </a:lnTo>
                  <a:lnTo>
                    <a:pt x="787" y="1114"/>
                  </a:lnTo>
                  <a:lnTo>
                    <a:pt x="789" y="1116"/>
                  </a:lnTo>
                  <a:lnTo>
                    <a:pt x="791" y="1116"/>
                  </a:lnTo>
                  <a:lnTo>
                    <a:pt x="791" y="1116"/>
                  </a:lnTo>
                  <a:lnTo>
                    <a:pt x="785" y="1116"/>
                  </a:lnTo>
                  <a:lnTo>
                    <a:pt x="783" y="1116"/>
                  </a:lnTo>
                  <a:lnTo>
                    <a:pt x="780" y="1116"/>
                  </a:lnTo>
                  <a:lnTo>
                    <a:pt x="778" y="1116"/>
                  </a:lnTo>
                  <a:lnTo>
                    <a:pt x="778" y="1118"/>
                  </a:lnTo>
                  <a:lnTo>
                    <a:pt x="774" y="1120"/>
                  </a:lnTo>
                  <a:lnTo>
                    <a:pt x="769" y="1120"/>
                  </a:lnTo>
                  <a:lnTo>
                    <a:pt x="767" y="1120"/>
                  </a:lnTo>
                  <a:lnTo>
                    <a:pt x="769" y="1121"/>
                  </a:lnTo>
                  <a:lnTo>
                    <a:pt x="771" y="1121"/>
                  </a:lnTo>
                  <a:lnTo>
                    <a:pt x="771" y="1120"/>
                  </a:lnTo>
                  <a:lnTo>
                    <a:pt x="773" y="1120"/>
                  </a:lnTo>
                  <a:lnTo>
                    <a:pt x="773" y="1121"/>
                  </a:lnTo>
                  <a:lnTo>
                    <a:pt x="774" y="1123"/>
                  </a:lnTo>
                  <a:lnTo>
                    <a:pt x="774" y="1123"/>
                  </a:lnTo>
                  <a:lnTo>
                    <a:pt x="776" y="1123"/>
                  </a:lnTo>
                  <a:lnTo>
                    <a:pt x="782" y="1123"/>
                  </a:lnTo>
                  <a:lnTo>
                    <a:pt x="791" y="1118"/>
                  </a:lnTo>
                  <a:lnTo>
                    <a:pt x="796" y="1118"/>
                  </a:lnTo>
                  <a:lnTo>
                    <a:pt x="796" y="1120"/>
                  </a:lnTo>
                  <a:lnTo>
                    <a:pt x="794" y="1120"/>
                  </a:lnTo>
                  <a:lnTo>
                    <a:pt x="796" y="1120"/>
                  </a:lnTo>
                  <a:lnTo>
                    <a:pt x="798" y="1120"/>
                  </a:lnTo>
                  <a:lnTo>
                    <a:pt x="798" y="1120"/>
                  </a:lnTo>
                  <a:lnTo>
                    <a:pt x="800" y="1121"/>
                  </a:lnTo>
                  <a:lnTo>
                    <a:pt x="805" y="1129"/>
                  </a:lnTo>
                  <a:lnTo>
                    <a:pt x="805" y="1130"/>
                  </a:lnTo>
                  <a:lnTo>
                    <a:pt x="803" y="1130"/>
                  </a:lnTo>
                  <a:lnTo>
                    <a:pt x="803" y="1130"/>
                  </a:lnTo>
                  <a:lnTo>
                    <a:pt x="805" y="1134"/>
                  </a:lnTo>
                  <a:lnTo>
                    <a:pt x="809" y="1138"/>
                  </a:lnTo>
                  <a:lnTo>
                    <a:pt x="814" y="1139"/>
                  </a:lnTo>
                  <a:lnTo>
                    <a:pt x="821" y="1138"/>
                  </a:lnTo>
                  <a:lnTo>
                    <a:pt x="823" y="1138"/>
                  </a:lnTo>
                  <a:lnTo>
                    <a:pt x="823" y="1139"/>
                  </a:lnTo>
                  <a:lnTo>
                    <a:pt x="825" y="1139"/>
                  </a:lnTo>
                  <a:lnTo>
                    <a:pt x="827" y="1143"/>
                  </a:lnTo>
                  <a:lnTo>
                    <a:pt x="827" y="1145"/>
                  </a:lnTo>
                  <a:lnTo>
                    <a:pt x="827" y="1145"/>
                  </a:lnTo>
                  <a:lnTo>
                    <a:pt x="825" y="1143"/>
                  </a:lnTo>
                  <a:lnTo>
                    <a:pt x="825" y="1141"/>
                  </a:lnTo>
                  <a:lnTo>
                    <a:pt x="823" y="1141"/>
                  </a:lnTo>
                  <a:lnTo>
                    <a:pt x="823" y="1139"/>
                  </a:lnTo>
                  <a:lnTo>
                    <a:pt x="821" y="1139"/>
                  </a:lnTo>
                  <a:lnTo>
                    <a:pt x="820" y="1141"/>
                  </a:lnTo>
                  <a:lnTo>
                    <a:pt x="818" y="1141"/>
                  </a:lnTo>
                  <a:lnTo>
                    <a:pt x="818" y="1143"/>
                  </a:lnTo>
                  <a:lnTo>
                    <a:pt x="812" y="1139"/>
                  </a:lnTo>
                  <a:lnTo>
                    <a:pt x="809" y="1139"/>
                  </a:lnTo>
                  <a:lnTo>
                    <a:pt x="809" y="1139"/>
                  </a:lnTo>
                  <a:lnTo>
                    <a:pt x="809" y="1141"/>
                  </a:lnTo>
                  <a:lnTo>
                    <a:pt x="809" y="1141"/>
                  </a:lnTo>
                  <a:lnTo>
                    <a:pt x="809" y="1149"/>
                  </a:lnTo>
                  <a:lnTo>
                    <a:pt x="809" y="1150"/>
                  </a:lnTo>
                  <a:lnTo>
                    <a:pt x="809" y="1152"/>
                  </a:lnTo>
                  <a:lnTo>
                    <a:pt x="807" y="1154"/>
                  </a:lnTo>
                  <a:lnTo>
                    <a:pt x="805" y="1156"/>
                  </a:lnTo>
                  <a:lnTo>
                    <a:pt x="805" y="1158"/>
                  </a:lnTo>
                  <a:lnTo>
                    <a:pt x="809" y="1159"/>
                  </a:lnTo>
                  <a:lnTo>
                    <a:pt x="814" y="1156"/>
                  </a:lnTo>
                  <a:lnTo>
                    <a:pt x="816" y="1159"/>
                  </a:lnTo>
                  <a:lnTo>
                    <a:pt x="814" y="1158"/>
                  </a:lnTo>
                  <a:lnTo>
                    <a:pt x="814" y="1158"/>
                  </a:lnTo>
                  <a:lnTo>
                    <a:pt x="812" y="1158"/>
                  </a:lnTo>
                  <a:lnTo>
                    <a:pt x="812" y="1158"/>
                  </a:lnTo>
                  <a:lnTo>
                    <a:pt x="809" y="1159"/>
                  </a:lnTo>
                  <a:lnTo>
                    <a:pt x="807" y="1159"/>
                  </a:lnTo>
                  <a:lnTo>
                    <a:pt x="805" y="1159"/>
                  </a:lnTo>
                  <a:lnTo>
                    <a:pt x="803" y="1156"/>
                  </a:lnTo>
                  <a:lnTo>
                    <a:pt x="803" y="1156"/>
                  </a:lnTo>
                  <a:lnTo>
                    <a:pt x="807" y="1150"/>
                  </a:lnTo>
                  <a:lnTo>
                    <a:pt x="807" y="1149"/>
                  </a:lnTo>
                  <a:lnTo>
                    <a:pt x="807" y="1147"/>
                  </a:lnTo>
                  <a:lnTo>
                    <a:pt x="807" y="1143"/>
                  </a:lnTo>
                  <a:lnTo>
                    <a:pt x="807" y="1141"/>
                  </a:lnTo>
                  <a:lnTo>
                    <a:pt x="807" y="1139"/>
                  </a:lnTo>
                  <a:lnTo>
                    <a:pt x="805" y="1139"/>
                  </a:lnTo>
                  <a:lnTo>
                    <a:pt x="801" y="1132"/>
                  </a:lnTo>
                  <a:lnTo>
                    <a:pt x="800" y="1132"/>
                  </a:lnTo>
                  <a:lnTo>
                    <a:pt x="800" y="1129"/>
                  </a:lnTo>
                  <a:lnTo>
                    <a:pt x="801" y="1127"/>
                  </a:lnTo>
                  <a:lnTo>
                    <a:pt x="801" y="1125"/>
                  </a:lnTo>
                  <a:lnTo>
                    <a:pt x="794" y="1123"/>
                  </a:lnTo>
                  <a:lnTo>
                    <a:pt x="792" y="1121"/>
                  </a:lnTo>
                  <a:lnTo>
                    <a:pt x="792" y="1121"/>
                  </a:lnTo>
                  <a:lnTo>
                    <a:pt x="791" y="1121"/>
                  </a:lnTo>
                  <a:lnTo>
                    <a:pt x="789" y="1123"/>
                  </a:lnTo>
                  <a:lnTo>
                    <a:pt x="785" y="1125"/>
                  </a:lnTo>
                  <a:lnTo>
                    <a:pt x="783" y="1125"/>
                  </a:lnTo>
                  <a:lnTo>
                    <a:pt x="783" y="1127"/>
                  </a:lnTo>
                  <a:lnTo>
                    <a:pt x="785" y="1127"/>
                  </a:lnTo>
                  <a:lnTo>
                    <a:pt x="785" y="1129"/>
                  </a:lnTo>
                  <a:lnTo>
                    <a:pt x="785" y="1130"/>
                  </a:lnTo>
                  <a:lnTo>
                    <a:pt x="785" y="1132"/>
                  </a:lnTo>
                  <a:lnTo>
                    <a:pt x="783" y="1129"/>
                  </a:lnTo>
                  <a:lnTo>
                    <a:pt x="783" y="1127"/>
                  </a:lnTo>
                  <a:lnTo>
                    <a:pt x="782" y="1127"/>
                  </a:lnTo>
                  <a:lnTo>
                    <a:pt x="780" y="1127"/>
                  </a:lnTo>
                  <a:lnTo>
                    <a:pt x="778" y="1127"/>
                  </a:lnTo>
                  <a:lnTo>
                    <a:pt x="776" y="1129"/>
                  </a:lnTo>
                  <a:lnTo>
                    <a:pt x="776" y="1130"/>
                  </a:lnTo>
                  <a:lnTo>
                    <a:pt x="776" y="1134"/>
                  </a:lnTo>
                  <a:lnTo>
                    <a:pt x="778" y="1136"/>
                  </a:lnTo>
                  <a:lnTo>
                    <a:pt x="782" y="1143"/>
                  </a:lnTo>
                  <a:lnTo>
                    <a:pt x="785" y="1152"/>
                  </a:lnTo>
                  <a:lnTo>
                    <a:pt x="787" y="1156"/>
                  </a:lnTo>
                  <a:lnTo>
                    <a:pt x="783" y="1158"/>
                  </a:lnTo>
                  <a:lnTo>
                    <a:pt x="785" y="1154"/>
                  </a:lnTo>
                  <a:lnTo>
                    <a:pt x="785" y="1154"/>
                  </a:lnTo>
                  <a:lnTo>
                    <a:pt x="783" y="1152"/>
                  </a:lnTo>
                  <a:lnTo>
                    <a:pt x="782" y="1145"/>
                  </a:lnTo>
                  <a:lnTo>
                    <a:pt x="780" y="1143"/>
                  </a:lnTo>
                  <a:lnTo>
                    <a:pt x="778" y="1141"/>
                  </a:lnTo>
                  <a:lnTo>
                    <a:pt x="776" y="1139"/>
                  </a:lnTo>
                  <a:lnTo>
                    <a:pt x="776" y="1136"/>
                  </a:lnTo>
                  <a:lnTo>
                    <a:pt x="774" y="1132"/>
                  </a:lnTo>
                  <a:lnTo>
                    <a:pt x="774" y="1132"/>
                  </a:lnTo>
                  <a:lnTo>
                    <a:pt x="773" y="1130"/>
                  </a:lnTo>
                  <a:lnTo>
                    <a:pt x="769" y="1130"/>
                  </a:lnTo>
                  <a:lnTo>
                    <a:pt x="764" y="1134"/>
                  </a:lnTo>
                  <a:lnTo>
                    <a:pt x="762" y="1136"/>
                  </a:lnTo>
                  <a:lnTo>
                    <a:pt x="758" y="1138"/>
                  </a:lnTo>
                  <a:lnTo>
                    <a:pt x="756" y="1139"/>
                  </a:lnTo>
                  <a:lnTo>
                    <a:pt x="754" y="1143"/>
                  </a:lnTo>
                  <a:lnTo>
                    <a:pt x="754" y="1143"/>
                  </a:lnTo>
                  <a:lnTo>
                    <a:pt x="756" y="1145"/>
                  </a:lnTo>
                  <a:lnTo>
                    <a:pt x="756" y="1145"/>
                  </a:lnTo>
                  <a:lnTo>
                    <a:pt x="756" y="1147"/>
                  </a:lnTo>
                  <a:lnTo>
                    <a:pt x="758" y="1147"/>
                  </a:lnTo>
                  <a:lnTo>
                    <a:pt x="760" y="1147"/>
                  </a:lnTo>
                  <a:lnTo>
                    <a:pt x="760" y="1149"/>
                  </a:lnTo>
                  <a:lnTo>
                    <a:pt x="758" y="1147"/>
                  </a:lnTo>
                  <a:lnTo>
                    <a:pt x="756" y="1147"/>
                  </a:lnTo>
                  <a:lnTo>
                    <a:pt x="754" y="1145"/>
                  </a:lnTo>
                  <a:lnTo>
                    <a:pt x="754" y="1145"/>
                  </a:lnTo>
                  <a:lnTo>
                    <a:pt x="753" y="1145"/>
                  </a:lnTo>
                  <a:lnTo>
                    <a:pt x="753" y="1147"/>
                  </a:lnTo>
                  <a:lnTo>
                    <a:pt x="753" y="1149"/>
                  </a:lnTo>
                  <a:lnTo>
                    <a:pt x="756" y="1150"/>
                  </a:lnTo>
                  <a:lnTo>
                    <a:pt x="758" y="1154"/>
                  </a:lnTo>
                  <a:lnTo>
                    <a:pt x="758" y="1154"/>
                  </a:lnTo>
                  <a:lnTo>
                    <a:pt x="760" y="1154"/>
                  </a:lnTo>
                  <a:lnTo>
                    <a:pt x="760" y="1158"/>
                  </a:lnTo>
                  <a:lnTo>
                    <a:pt x="762" y="1158"/>
                  </a:lnTo>
                  <a:lnTo>
                    <a:pt x="774" y="1163"/>
                  </a:lnTo>
                  <a:lnTo>
                    <a:pt x="774" y="1163"/>
                  </a:lnTo>
                  <a:lnTo>
                    <a:pt x="767" y="1161"/>
                  </a:lnTo>
                  <a:lnTo>
                    <a:pt x="764" y="1161"/>
                  </a:lnTo>
                  <a:lnTo>
                    <a:pt x="762" y="1161"/>
                  </a:lnTo>
                  <a:lnTo>
                    <a:pt x="760" y="1163"/>
                  </a:lnTo>
                  <a:lnTo>
                    <a:pt x="760" y="1161"/>
                  </a:lnTo>
                  <a:lnTo>
                    <a:pt x="758" y="1159"/>
                  </a:lnTo>
                  <a:lnTo>
                    <a:pt x="754" y="1154"/>
                  </a:lnTo>
                  <a:lnTo>
                    <a:pt x="754" y="1154"/>
                  </a:lnTo>
                  <a:lnTo>
                    <a:pt x="753" y="1159"/>
                  </a:lnTo>
                  <a:lnTo>
                    <a:pt x="753" y="1163"/>
                  </a:lnTo>
                  <a:lnTo>
                    <a:pt x="749" y="1167"/>
                  </a:lnTo>
                  <a:lnTo>
                    <a:pt x="749" y="1165"/>
                  </a:lnTo>
                  <a:lnTo>
                    <a:pt x="753" y="1159"/>
                  </a:lnTo>
                  <a:lnTo>
                    <a:pt x="753" y="1158"/>
                  </a:lnTo>
                  <a:lnTo>
                    <a:pt x="753" y="1154"/>
                  </a:lnTo>
                  <a:lnTo>
                    <a:pt x="753" y="1152"/>
                  </a:lnTo>
                  <a:lnTo>
                    <a:pt x="753" y="1150"/>
                  </a:lnTo>
                  <a:lnTo>
                    <a:pt x="753" y="1149"/>
                  </a:lnTo>
                  <a:lnTo>
                    <a:pt x="751" y="1149"/>
                  </a:lnTo>
                  <a:lnTo>
                    <a:pt x="749" y="1149"/>
                  </a:lnTo>
                  <a:lnTo>
                    <a:pt x="749" y="1149"/>
                  </a:lnTo>
                  <a:lnTo>
                    <a:pt x="745" y="1150"/>
                  </a:lnTo>
                  <a:lnTo>
                    <a:pt x="745" y="1150"/>
                  </a:lnTo>
                  <a:lnTo>
                    <a:pt x="742" y="1150"/>
                  </a:lnTo>
                  <a:lnTo>
                    <a:pt x="740" y="1150"/>
                  </a:lnTo>
                  <a:lnTo>
                    <a:pt x="740" y="1152"/>
                  </a:lnTo>
                  <a:lnTo>
                    <a:pt x="740" y="1154"/>
                  </a:lnTo>
                  <a:lnTo>
                    <a:pt x="742" y="1156"/>
                  </a:lnTo>
                  <a:lnTo>
                    <a:pt x="744" y="1158"/>
                  </a:lnTo>
                  <a:lnTo>
                    <a:pt x="744" y="1159"/>
                  </a:lnTo>
                  <a:lnTo>
                    <a:pt x="742" y="1158"/>
                  </a:lnTo>
                  <a:lnTo>
                    <a:pt x="740" y="1156"/>
                  </a:lnTo>
                  <a:lnTo>
                    <a:pt x="740" y="1156"/>
                  </a:lnTo>
                  <a:lnTo>
                    <a:pt x="738" y="1154"/>
                  </a:lnTo>
                  <a:lnTo>
                    <a:pt x="738" y="1152"/>
                  </a:lnTo>
                  <a:lnTo>
                    <a:pt x="738" y="1152"/>
                  </a:lnTo>
                  <a:lnTo>
                    <a:pt x="733" y="1150"/>
                  </a:lnTo>
                  <a:lnTo>
                    <a:pt x="731" y="1149"/>
                  </a:lnTo>
                  <a:lnTo>
                    <a:pt x="729" y="1149"/>
                  </a:lnTo>
                  <a:lnTo>
                    <a:pt x="727" y="1150"/>
                  </a:lnTo>
                  <a:lnTo>
                    <a:pt x="727" y="1150"/>
                  </a:lnTo>
                  <a:lnTo>
                    <a:pt x="727" y="1152"/>
                  </a:lnTo>
                  <a:lnTo>
                    <a:pt x="726" y="1156"/>
                  </a:lnTo>
                  <a:lnTo>
                    <a:pt x="726" y="1156"/>
                  </a:lnTo>
                  <a:lnTo>
                    <a:pt x="727" y="1158"/>
                  </a:lnTo>
                  <a:lnTo>
                    <a:pt x="727" y="1158"/>
                  </a:lnTo>
                  <a:lnTo>
                    <a:pt x="735" y="1159"/>
                  </a:lnTo>
                  <a:lnTo>
                    <a:pt x="736" y="1163"/>
                  </a:lnTo>
                  <a:lnTo>
                    <a:pt x="736" y="1161"/>
                  </a:lnTo>
                  <a:lnTo>
                    <a:pt x="735" y="1161"/>
                  </a:lnTo>
                  <a:lnTo>
                    <a:pt x="735" y="1161"/>
                  </a:lnTo>
                  <a:lnTo>
                    <a:pt x="733" y="1161"/>
                  </a:lnTo>
                  <a:lnTo>
                    <a:pt x="733" y="1161"/>
                  </a:lnTo>
                  <a:lnTo>
                    <a:pt x="733" y="1163"/>
                  </a:lnTo>
                  <a:lnTo>
                    <a:pt x="731" y="1167"/>
                  </a:lnTo>
                  <a:lnTo>
                    <a:pt x="731" y="1168"/>
                  </a:lnTo>
                  <a:lnTo>
                    <a:pt x="729" y="1168"/>
                  </a:lnTo>
                  <a:lnTo>
                    <a:pt x="729" y="1168"/>
                  </a:lnTo>
                  <a:lnTo>
                    <a:pt x="729" y="1163"/>
                  </a:lnTo>
                  <a:lnTo>
                    <a:pt x="726" y="1159"/>
                  </a:lnTo>
                  <a:lnTo>
                    <a:pt x="722" y="1158"/>
                  </a:lnTo>
                  <a:lnTo>
                    <a:pt x="720" y="1156"/>
                  </a:lnTo>
                  <a:lnTo>
                    <a:pt x="720" y="1154"/>
                  </a:lnTo>
                  <a:lnTo>
                    <a:pt x="720" y="1154"/>
                  </a:lnTo>
                  <a:lnTo>
                    <a:pt x="720" y="1152"/>
                  </a:lnTo>
                  <a:lnTo>
                    <a:pt x="720" y="1152"/>
                  </a:lnTo>
                  <a:lnTo>
                    <a:pt x="720" y="1152"/>
                  </a:lnTo>
                  <a:lnTo>
                    <a:pt x="720" y="1152"/>
                  </a:lnTo>
                  <a:lnTo>
                    <a:pt x="718" y="1150"/>
                  </a:lnTo>
                  <a:lnTo>
                    <a:pt x="718" y="1150"/>
                  </a:lnTo>
                  <a:lnTo>
                    <a:pt x="717" y="1149"/>
                  </a:lnTo>
                  <a:lnTo>
                    <a:pt x="717" y="1147"/>
                  </a:lnTo>
                  <a:lnTo>
                    <a:pt x="715" y="1147"/>
                  </a:lnTo>
                  <a:lnTo>
                    <a:pt x="715" y="1149"/>
                  </a:lnTo>
                  <a:lnTo>
                    <a:pt x="715" y="1149"/>
                  </a:lnTo>
                  <a:lnTo>
                    <a:pt x="715" y="1149"/>
                  </a:lnTo>
                  <a:lnTo>
                    <a:pt x="715" y="1149"/>
                  </a:lnTo>
                  <a:lnTo>
                    <a:pt x="713" y="1149"/>
                  </a:lnTo>
                  <a:lnTo>
                    <a:pt x="713" y="1149"/>
                  </a:lnTo>
                  <a:lnTo>
                    <a:pt x="713" y="1149"/>
                  </a:lnTo>
                  <a:lnTo>
                    <a:pt x="711" y="1149"/>
                  </a:lnTo>
                  <a:lnTo>
                    <a:pt x="711" y="1149"/>
                  </a:lnTo>
                  <a:lnTo>
                    <a:pt x="711" y="1150"/>
                  </a:lnTo>
                  <a:lnTo>
                    <a:pt x="711" y="1150"/>
                  </a:lnTo>
                  <a:lnTo>
                    <a:pt x="711" y="1150"/>
                  </a:lnTo>
                  <a:lnTo>
                    <a:pt x="711" y="1150"/>
                  </a:lnTo>
                  <a:lnTo>
                    <a:pt x="711" y="1150"/>
                  </a:lnTo>
                  <a:lnTo>
                    <a:pt x="711" y="1152"/>
                  </a:lnTo>
                  <a:lnTo>
                    <a:pt x="711" y="1152"/>
                  </a:lnTo>
                  <a:lnTo>
                    <a:pt x="711" y="1152"/>
                  </a:lnTo>
                  <a:lnTo>
                    <a:pt x="709" y="1152"/>
                  </a:lnTo>
                  <a:lnTo>
                    <a:pt x="711" y="1154"/>
                  </a:lnTo>
                  <a:lnTo>
                    <a:pt x="713" y="1154"/>
                  </a:lnTo>
                  <a:lnTo>
                    <a:pt x="713" y="1156"/>
                  </a:lnTo>
                  <a:lnTo>
                    <a:pt x="713" y="1156"/>
                  </a:lnTo>
                  <a:lnTo>
                    <a:pt x="711" y="1156"/>
                  </a:lnTo>
                  <a:lnTo>
                    <a:pt x="711" y="1156"/>
                  </a:lnTo>
                  <a:lnTo>
                    <a:pt x="713" y="1158"/>
                  </a:lnTo>
                  <a:lnTo>
                    <a:pt x="717" y="1159"/>
                  </a:lnTo>
                  <a:lnTo>
                    <a:pt x="722" y="1163"/>
                  </a:lnTo>
                  <a:lnTo>
                    <a:pt x="722" y="1163"/>
                  </a:lnTo>
                  <a:lnTo>
                    <a:pt x="724" y="1165"/>
                  </a:lnTo>
                  <a:lnTo>
                    <a:pt x="724" y="1165"/>
                  </a:lnTo>
                  <a:lnTo>
                    <a:pt x="726" y="1165"/>
                  </a:lnTo>
                  <a:lnTo>
                    <a:pt x="726" y="1167"/>
                  </a:lnTo>
                  <a:lnTo>
                    <a:pt x="727" y="1167"/>
                  </a:lnTo>
                  <a:lnTo>
                    <a:pt x="726" y="1168"/>
                  </a:lnTo>
                  <a:lnTo>
                    <a:pt x="724" y="1168"/>
                  </a:lnTo>
                  <a:lnTo>
                    <a:pt x="722" y="1167"/>
                  </a:lnTo>
                  <a:lnTo>
                    <a:pt x="722" y="1168"/>
                  </a:lnTo>
                  <a:lnTo>
                    <a:pt x="720" y="1170"/>
                  </a:lnTo>
                  <a:lnTo>
                    <a:pt x="718" y="1172"/>
                  </a:lnTo>
                  <a:lnTo>
                    <a:pt x="718" y="1172"/>
                  </a:lnTo>
                  <a:lnTo>
                    <a:pt x="718" y="1174"/>
                  </a:lnTo>
                  <a:lnTo>
                    <a:pt x="718" y="1174"/>
                  </a:lnTo>
                  <a:lnTo>
                    <a:pt x="718" y="1174"/>
                  </a:lnTo>
                  <a:lnTo>
                    <a:pt x="718" y="1174"/>
                  </a:lnTo>
                  <a:lnTo>
                    <a:pt x="717" y="1172"/>
                  </a:lnTo>
                  <a:lnTo>
                    <a:pt x="717" y="1172"/>
                  </a:lnTo>
                  <a:lnTo>
                    <a:pt x="717" y="1172"/>
                  </a:lnTo>
                  <a:lnTo>
                    <a:pt x="717" y="1174"/>
                  </a:lnTo>
                  <a:lnTo>
                    <a:pt x="717" y="1174"/>
                  </a:lnTo>
                  <a:lnTo>
                    <a:pt x="715" y="1174"/>
                  </a:lnTo>
                  <a:lnTo>
                    <a:pt x="715" y="1174"/>
                  </a:lnTo>
                  <a:lnTo>
                    <a:pt x="715" y="1172"/>
                  </a:lnTo>
                  <a:lnTo>
                    <a:pt x="715" y="1172"/>
                  </a:lnTo>
                  <a:lnTo>
                    <a:pt x="713" y="1172"/>
                  </a:lnTo>
                  <a:lnTo>
                    <a:pt x="713" y="1174"/>
                  </a:lnTo>
                  <a:lnTo>
                    <a:pt x="713" y="1176"/>
                  </a:lnTo>
                  <a:lnTo>
                    <a:pt x="713" y="1177"/>
                  </a:lnTo>
                  <a:lnTo>
                    <a:pt x="711" y="1179"/>
                  </a:lnTo>
                  <a:lnTo>
                    <a:pt x="713" y="1179"/>
                  </a:lnTo>
                  <a:lnTo>
                    <a:pt x="715" y="1181"/>
                  </a:lnTo>
                  <a:lnTo>
                    <a:pt x="715" y="1181"/>
                  </a:lnTo>
                  <a:lnTo>
                    <a:pt x="717" y="1179"/>
                  </a:lnTo>
                  <a:lnTo>
                    <a:pt x="718" y="1179"/>
                  </a:lnTo>
                  <a:lnTo>
                    <a:pt x="720" y="1179"/>
                  </a:lnTo>
                  <a:lnTo>
                    <a:pt x="722" y="1179"/>
                  </a:lnTo>
                  <a:lnTo>
                    <a:pt x="724" y="1177"/>
                  </a:lnTo>
                  <a:lnTo>
                    <a:pt x="727" y="1176"/>
                  </a:lnTo>
                  <a:lnTo>
                    <a:pt x="729" y="1176"/>
                  </a:lnTo>
                  <a:lnTo>
                    <a:pt x="729" y="1177"/>
                  </a:lnTo>
                  <a:lnTo>
                    <a:pt x="729" y="1177"/>
                  </a:lnTo>
                  <a:lnTo>
                    <a:pt x="733" y="1176"/>
                  </a:lnTo>
                  <a:lnTo>
                    <a:pt x="738" y="1177"/>
                  </a:lnTo>
                  <a:lnTo>
                    <a:pt x="754" y="1179"/>
                  </a:lnTo>
                  <a:lnTo>
                    <a:pt x="754" y="1179"/>
                  </a:lnTo>
                  <a:lnTo>
                    <a:pt x="753" y="1179"/>
                  </a:lnTo>
                  <a:lnTo>
                    <a:pt x="744" y="1181"/>
                  </a:lnTo>
                  <a:lnTo>
                    <a:pt x="744" y="1181"/>
                  </a:lnTo>
                  <a:lnTo>
                    <a:pt x="747" y="1185"/>
                  </a:lnTo>
                  <a:lnTo>
                    <a:pt x="747" y="1185"/>
                  </a:lnTo>
                  <a:lnTo>
                    <a:pt x="747" y="1185"/>
                  </a:lnTo>
                  <a:lnTo>
                    <a:pt x="747" y="1183"/>
                  </a:lnTo>
                  <a:lnTo>
                    <a:pt x="747" y="1183"/>
                  </a:lnTo>
                  <a:lnTo>
                    <a:pt x="749" y="1183"/>
                  </a:lnTo>
                  <a:lnTo>
                    <a:pt x="751" y="1183"/>
                  </a:lnTo>
                  <a:lnTo>
                    <a:pt x="751" y="1183"/>
                  </a:lnTo>
                  <a:lnTo>
                    <a:pt x="753" y="1183"/>
                  </a:lnTo>
                  <a:lnTo>
                    <a:pt x="754" y="1183"/>
                  </a:lnTo>
                  <a:lnTo>
                    <a:pt x="758" y="1183"/>
                  </a:lnTo>
                  <a:lnTo>
                    <a:pt x="758" y="1183"/>
                  </a:lnTo>
                  <a:lnTo>
                    <a:pt x="760" y="1185"/>
                  </a:lnTo>
                  <a:lnTo>
                    <a:pt x="762" y="1186"/>
                  </a:lnTo>
                  <a:lnTo>
                    <a:pt x="769" y="1185"/>
                  </a:lnTo>
                  <a:lnTo>
                    <a:pt x="780" y="1188"/>
                  </a:lnTo>
                  <a:lnTo>
                    <a:pt x="782" y="1186"/>
                  </a:lnTo>
                  <a:lnTo>
                    <a:pt x="783" y="1185"/>
                  </a:lnTo>
                  <a:lnTo>
                    <a:pt x="783" y="1185"/>
                  </a:lnTo>
                  <a:lnTo>
                    <a:pt x="785" y="1183"/>
                  </a:lnTo>
                  <a:lnTo>
                    <a:pt x="789" y="1181"/>
                  </a:lnTo>
                  <a:lnTo>
                    <a:pt x="791" y="1181"/>
                  </a:lnTo>
                  <a:lnTo>
                    <a:pt x="791" y="1181"/>
                  </a:lnTo>
                  <a:lnTo>
                    <a:pt x="791" y="1181"/>
                  </a:lnTo>
                  <a:lnTo>
                    <a:pt x="791" y="1181"/>
                  </a:lnTo>
                  <a:lnTo>
                    <a:pt x="791" y="1181"/>
                  </a:lnTo>
                  <a:lnTo>
                    <a:pt x="791" y="1183"/>
                  </a:lnTo>
                  <a:lnTo>
                    <a:pt x="794" y="1183"/>
                  </a:lnTo>
                  <a:lnTo>
                    <a:pt x="794" y="1183"/>
                  </a:lnTo>
                  <a:lnTo>
                    <a:pt x="796" y="1183"/>
                  </a:lnTo>
                  <a:lnTo>
                    <a:pt x="796" y="1183"/>
                  </a:lnTo>
                  <a:lnTo>
                    <a:pt x="798" y="1183"/>
                  </a:lnTo>
                  <a:lnTo>
                    <a:pt x="798" y="1183"/>
                  </a:lnTo>
                  <a:lnTo>
                    <a:pt x="798" y="1185"/>
                  </a:lnTo>
                  <a:lnTo>
                    <a:pt x="796" y="1185"/>
                  </a:lnTo>
                  <a:lnTo>
                    <a:pt x="796" y="1186"/>
                  </a:lnTo>
                  <a:lnTo>
                    <a:pt x="796" y="1186"/>
                  </a:lnTo>
                  <a:lnTo>
                    <a:pt x="794" y="1186"/>
                  </a:lnTo>
                  <a:lnTo>
                    <a:pt x="794" y="1185"/>
                  </a:lnTo>
                  <a:lnTo>
                    <a:pt x="794" y="1185"/>
                  </a:lnTo>
                  <a:lnTo>
                    <a:pt x="792" y="1185"/>
                  </a:lnTo>
                  <a:lnTo>
                    <a:pt x="791" y="1183"/>
                  </a:lnTo>
                  <a:lnTo>
                    <a:pt x="789" y="1183"/>
                  </a:lnTo>
                  <a:lnTo>
                    <a:pt x="787" y="1183"/>
                  </a:lnTo>
                  <a:lnTo>
                    <a:pt x="787" y="1183"/>
                  </a:lnTo>
                  <a:lnTo>
                    <a:pt x="785" y="1185"/>
                  </a:lnTo>
                  <a:lnTo>
                    <a:pt x="783" y="1186"/>
                  </a:lnTo>
                  <a:lnTo>
                    <a:pt x="783" y="1188"/>
                  </a:lnTo>
                  <a:lnTo>
                    <a:pt x="783" y="1190"/>
                  </a:lnTo>
                  <a:lnTo>
                    <a:pt x="782" y="1190"/>
                  </a:lnTo>
                  <a:lnTo>
                    <a:pt x="780" y="1190"/>
                  </a:lnTo>
                  <a:lnTo>
                    <a:pt x="776" y="1190"/>
                  </a:lnTo>
                  <a:lnTo>
                    <a:pt x="774" y="1190"/>
                  </a:lnTo>
                  <a:lnTo>
                    <a:pt x="773" y="1188"/>
                  </a:lnTo>
                  <a:lnTo>
                    <a:pt x="771" y="1186"/>
                  </a:lnTo>
                  <a:lnTo>
                    <a:pt x="760" y="1186"/>
                  </a:lnTo>
                  <a:lnTo>
                    <a:pt x="760" y="1188"/>
                  </a:lnTo>
                  <a:lnTo>
                    <a:pt x="760" y="1188"/>
                  </a:lnTo>
                  <a:lnTo>
                    <a:pt x="762" y="1188"/>
                  </a:lnTo>
                  <a:lnTo>
                    <a:pt x="762" y="1190"/>
                  </a:lnTo>
                  <a:lnTo>
                    <a:pt x="764" y="1192"/>
                  </a:lnTo>
                  <a:lnTo>
                    <a:pt x="764" y="1192"/>
                  </a:lnTo>
                  <a:lnTo>
                    <a:pt x="764" y="1192"/>
                  </a:lnTo>
                  <a:lnTo>
                    <a:pt x="765" y="1194"/>
                  </a:lnTo>
                  <a:lnTo>
                    <a:pt x="765" y="1194"/>
                  </a:lnTo>
                  <a:lnTo>
                    <a:pt x="764" y="1194"/>
                  </a:lnTo>
                  <a:lnTo>
                    <a:pt x="762" y="1194"/>
                  </a:lnTo>
                  <a:lnTo>
                    <a:pt x="760" y="1190"/>
                  </a:lnTo>
                  <a:lnTo>
                    <a:pt x="756" y="1188"/>
                  </a:lnTo>
                  <a:lnTo>
                    <a:pt x="756" y="1186"/>
                  </a:lnTo>
                  <a:lnTo>
                    <a:pt x="754" y="1188"/>
                  </a:lnTo>
                  <a:lnTo>
                    <a:pt x="754" y="1188"/>
                  </a:lnTo>
                  <a:lnTo>
                    <a:pt x="754" y="1192"/>
                  </a:lnTo>
                  <a:lnTo>
                    <a:pt x="754" y="1194"/>
                  </a:lnTo>
                  <a:lnTo>
                    <a:pt x="753" y="1195"/>
                  </a:lnTo>
                  <a:lnTo>
                    <a:pt x="753" y="1195"/>
                  </a:lnTo>
                  <a:lnTo>
                    <a:pt x="751" y="1197"/>
                  </a:lnTo>
                  <a:lnTo>
                    <a:pt x="751" y="1195"/>
                  </a:lnTo>
                  <a:lnTo>
                    <a:pt x="753" y="1192"/>
                  </a:lnTo>
                  <a:lnTo>
                    <a:pt x="753" y="1188"/>
                  </a:lnTo>
                  <a:lnTo>
                    <a:pt x="754" y="1188"/>
                  </a:lnTo>
                  <a:lnTo>
                    <a:pt x="754" y="1186"/>
                  </a:lnTo>
                  <a:lnTo>
                    <a:pt x="754" y="1186"/>
                  </a:lnTo>
                  <a:lnTo>
                    <a:pt x="753" y="1185"/>
                  </a:lnTo>
                  <a:lnTo>
                    <a:pt x="744" y="1186"/>
                  </a:lnTo>
                  <a:lnTo>
                    <a:pt x="738" y="1188"/>
                  </a:lnTo>
                  <a:lnTo>
                    <a:pt x="738" y="1190"/>
                  </a:lnTo>
                  <a:lnTo>
                    <a:pt x="738" y="1186"/>
                  </a:lnTo>
                  <a:lnTo>
                    <a:pt x="740" y="1186"/>
                  </a:lnTo>
                  <a:lnTo>
                    <a:pt x="742" y="1186"/>
                  </a:lnTo>
                  <a:lnTo>
                    <a:pt x="744" y="1186"/>
                  </a:lnTo>
                  <a:lnTo>
                    <a:pt x="742" y="1185"/>
                  </a:lnTo>
                  <a:lnTo>
                    <a:pt x="742" y="1183"/>
                  </a:lnTo>
                  <a:lnTo>
                    <a:pt x="740" y="1181"/>
                  </a:lnTo>
                  <a:lnTo>
                    <a:pt x="738" y="1181"/>
                  </a:lnTo>
                  <a:lnTo>
                    <a:pt x="736" y="1181"/>
                  </a:lnTo>
                  <a:lnTo>
                    <a:pt x="736" y="1181"/>
                  </a:lnTo>
                  <a:lnTo>
                    <a:pt x="733" y="1181"/>
                  </a:lnTo>
                  <a:lnTo>
                    <a:pt x="733" y="1181"/>
                  </a:lnTo>
                  <a:lnTo>
                    <a:pt x="731" y="1179"/>
                  </a:lnTo>
                  <a:lnTo>
                    <a:pt x="726" y="1179"/>
                  </a:lnTo>
                  <a:lnTo>
                    <a:pt x="726" y="1179"/>
                  </a:lnTo>
                  <a:lnTo>
                    <a:pt x="722" y="1183"/>
                  </a:lnTo>
                  <a:lnTo>
                    <a:pt x="722" y="1185"/>
                  </a:lnTo>
                  <a:lnTo>
                    <a:pt x="722" y="1185"/>
                  </a:lnTo>
                  <a:lnTo>
                    <a:pt x="722" y="1186"/>
                  </a:lnTo>
                  <a:lnTo>
                    <a:pt x="722" y="1186"/>
                  </a:lnTo>
                  <a:lnTo>
                    <a:pt x="724" y="1186"/>
                  </a:lnTo>
                  <a:lnTo>
                    <a:pt x="722" y="1186"/>
                  </a:lnTo>
                  <a:lnTo>
                    <a:pt x="720" y="1186"/>
                  </a:lnTo>
                  <a:lnTo>
                    <a:pt x="720" y="1188"/>
                  </a:lnTo>
                  <a:lnTo>
                    <a:pt x="720" y="1188"/>
                  </a:lnTo>
                  <a:lnTo>
                    <a:pt x="720" y="1188"/>
                  </a:lnTo>
                  <a:lnTo>
                    <a:pt x="718" y="1188"/>
                  </a:lnTo>
                  <a:lnTo>
                    <a:pt x="713" y="1192"/>
                  </a:lnTo>
                  <a:lnTo>
                    <a:pt x="711" y="1192"/>
                  </a:lnTo>
                  <a:lnTo>
                    <a:pt x="711" y="1194"/>
                  </a:lnTo>
                  <a:lnTo>
                    <a:pt x="709" y="1195"/>
                  </a:lnTo>
                  <a:lnTo>
                    <a:pt x="717" y="1194"/>
                  </a:lnTo>
                  <a:lnTo>
                    <a:pt x="715" y="1195"/>
                  </a:lnTo>
                  <a:lnTo>
                    <a:pt x="713" y="1195"/>
                  </a:lnTo>
                  <a:lnTo>
                    <a:pt x="713" y="1197"/>
                  </a:lnTo>
                  <a:lnTo>
                    <a:pt x="715" y="1199"/>
                  </a:lnTo>
                  <a:lnTo>
                    <a:pt x="715" y="1199"/>
                  </a:lnTo>
                  <a:lnTo>
                    <a:pt x="713" y="1199"/>
                  </a:lnTo>
                  <a:lnTo>
                    <a:pt x="713" y="1199"/>
                  </a:lnTo>
                  <a:lnTo>
                    <a:pt x="713" y="1199"/>
                  </a:lnTo>
                  <a:lnTo>
                    <a:pt x="711" y="1197"/>
                  </a:lnTo>
                  <a:lnTo>
                    <a:pt x="711" y="1197"/>
                  </a:lnTo>
                  <a:lnTo>
                    <a:pt x="711" y="1197"/>
                  </a:lnTo>
                  <a:lnTo>
                    <a:pt x="711" y="1197"/>
                  </a:lnTo>
                  <a:lnTo>
                    <a:pt x="711" y="1197"/>
                  </a:lnTo>
                  <a:lnTo>
                    <a:pt x="711" y="1197"/>
                  </a:lnTo>
                  <a:lnTo>
                    <a:pt x="711" y="1197"/>
                  </a:lnTo>
                  <a:lnTo>
                    <a:pt x="709" y="1197"/>
                  </a:lnTo>
                  <a:lnTo>
                    <a:pt x="709" y="1195"/>
                  </a:lnTo>
                  <a:lnTo>
                    <a:pt x="708" y="1195"/>
                  </a:lnTo>
                  <a:lnTo>
                    <a:pt x="708" y="1195"/>
                  </a:lnTo>
                  <a:lnTo>
                    <a:pt x="706" y="1195"/>
                  </a:lnTo>
                  <a:lnTo>
                    <a:pt x="706" y="1197"/>
                  </a:lnTo>
                  <a:lnTo>
                    <a:pt x="706" y="1197"/>
                  </a:lnTo>
                  <a:lnTo>
                    <a:pt x="706" y="1197"/>
                  </a:lnTo>
                  <a:lnTo>
                    <a:pt x="706" y="1199"/>
                  </a:lnTo>
                  <a:lnTo>
                    <a:pt x="706" y="1199"/>
                  </a:lnTo>
                  <a:lnTo>
                    <a:pt x="706" y="1199"/>
                  </a:lnTo>
                  <a:lnTo>
                    <a:pt x="704" y="1199"/>
                  </a:lnTo>
                  <a:lnTo>
                    <a:pt x="704" y="1201"/>
                  </a:lnTo>
                  <a:lnTo>
                    <a:pt x="706" y="1201"/>
                  </a:lnTo>
                  <a:lnTo>
                    <a:pt x="704" y="1203"/>
                  </a:lnTo>
                  <a:lnTo>
                    <a:pt x="704" y="1203"/>
                  </a:lnTo>
                  <a:lnTo>
                    <a:pt x="704" y="1205"/>
                  </a:lnTo>
                  <a:lnTo>
                    <a:pt x="704" y="1205"/>
                  </a:lnTo>
                  <a:lnTo>
                    <a:pt x="704" y="1208"/>
                  </a:lnTo>
                  <a:lnTo>
                    <a:pt x="706" y="1208"/>
                  </a:lnTo>
                  <a:lnTo>
                    <a:pt x="706" y="1208"/>
                  </a:lnTo>
                  <a:lnTo>
                    <a:pt x="718" y="1208"/>
                  </a:lnTo>
                  <a:lnTo>
                    <a:pt x="718" y="1208"/>
                  </a:lnTo>
                  <a:lnTo>
                    <a:pt x="720" y="1208"/>
                  </a:lnTo>
                  <a:lnTo>
                    <a:pt x="724" y="1208"/>
                  </a:lnTo>
                  <a:lnTo>
                    <a:pt x="722" y="1208"/>
                  </a:lnTo>
                  <a:lnTo>
                    <a:pt x="720" y="1210"/>
                  </a:lnTo>
                  <a:lnTo>
                    <a:pt x="724" y="1212"/>
                  </a:lnTo>
                  <a:lnTo>
                    <a:pt x="727" y="1214"/>
                  </a:lnTo>
                  <a:lnTo>
                    <a:pt x="727" y="1214"/>
                  </a:lnTo>
                  <a:lnTo>
                    <a:pt x="722" y="1214"/>
                  </a:lnTo>
                  <a:lnTo>
                    <a:pt x="722" y="1214"/>
                  </a:lnTo>
                  <a:lnTo>
                    <a:pt x="722" y="1214"/>
                  </a:lnTo>
                  <a:lnTo>
                    <a:pt x="724" y="1212"/>
                  </a:lnTo>
                  <a:lnTo>
                    <a:pt x="715" y="1212"/>
                  </a:lnTo>
                  <a:lnTo>
                    <a:pt x="715" y="1214"/>
                  </a:lnTo>
                  <a:lnTo>
                    <a:pt x="724" y="1215"/>
                  </a:lnTo>
                  <a:lnTo>
                    <a:pt x="724" y="1215"/>
                  </a:lnTo>
                  <a:lnTo>
                    <a:pt x="724" y="1217"/>
                  </a:lnTo>
                  <a:lnTo>
                    <a:pt x="718" y="1217"/>
                  </a:lnTo>
                  <a:lnTo>
                    <a:pt x="717" y="1217"/>
                  </a:lnTo>
                  <a:lnTo>
                    <a:pt x="717" y="1217"/>
                  </a:lnTo>
                  <a:lnTo>
                    <a:pt x="715" y="1217"/>
                  </a:lnTo>
                  <a:lnTo>
                    <a:pt x="713" y="1217"/>
                  </a:lnTo>
                  <a:lnTo>
                    <a:pt x="713" y="1217"/>
                  </a:lnTo>
                  <a:lnTo>
                    <a:pt x="713" y="1217"/>
                  </a:lnTo>
                  <a:lnTo>
                    <a:pt x="715" y="1219"/>
                  </a:lnTo>
                  <a:lnTo>
                    <a:pt x="713" y="1219"/>
                  </a:lnTo>
                  <a:lnTo>
                    <a:pt x="715" y="1221"/>
                  </a:lnTo>
                  <a:lnTo>
                    <a:pt x="718" y="1223"/>
                  </a:lnTo>
                  <a:lnTo>
                    <a:pt x="722" y="1224"/>
                  </a:lnTo>
                  <a:lnTo>
                    <a:pt x="727" y="1224"/>
                  </a:lnTo>
                  <a:lnTo>
                    <a:pt x="729" y="1224"/>
                  </a:lnTo>
                  <a:lnTo>
                    <a:pt x="729" y="1226"/>
                  </a:lnTo>
                  <a:lnTo>
                    <a:pt x="729" y="1228"/>
                  </a:lnTo>
                  <a:lnTo>
                    <a:pt x="731" y="1228"/>
                  </a:lnTo>
                  <a:lnTo>
                    <a:pt x="733" y="1226"/>
                  </a:lnTo>
                  <a:lnTo>
                    <a:pt x="735" y="1226"/>
                  </a:lnTo>
                  <a:lnTo>
                    <a:pt x="736" y="1226"/>
                  </a:lnTo>
                  <a:lnTo>
                    <a:pt x="736" y="1224"/>
                  </a:lnTo>
                  <a:lnTo>
                    <a:pt x="738" y="1223"/>
                  </a:lnTo>
                  <a:lnTo>
                    <a:pt x="740" y="1223"/>
                  </a:lnTo>
                  <a:lnTo>
                    <a:pt x="744" y="1223"/>
                  </a:lnTo>
                  <a:lnTo>
                    <a:pt x="744" y="1223"/>
                  </a:lnTo>
                  <a:lnTo>
                    <a:pt x="745" y="1226"/>
                  </a:lnTo>
                  <a:lnTo>
                    <a:pt x="747" y="1226"/>
                  </a:lnTo>
                  <a:lnTo>
                    <a:pt x="747" y="1228"/>
                  </a:lnTo>
                  <a:lnTo>
                    <a:pt x="745" y="1228"/>
                  </a:lnTo>
                  <a:lnTo>
                    <a:pt x="745" y="1226"/>
                  </a:lnTo>
                  <a:lnTo>
                    <a:pt x="744" y="1224"/>
                  </a:lnTo>
                  <a:lnTo>
                    <a:pt x="744" y="1224"/>
                  </a:lnTo>
                  <a:lnTo>
                    <a:pt x="742" y="1224"/>
                  </a:lnTo>
                  <a:lnTo>
                    <a:pt x="740" y="1224"/>
                  </a:lnTo>
                  <a:lnTo>
                    <a:pt x="740" y="1224"/>
                  </a:lnTo>
                  <a:lnTo>
                    <a:pt x="738" y="1224"/>
                  </a:lnTo>
                  <a:lnTo>
                    <a:pt x="738" y="1226"/>
                  </a:lnTo>
                  <a:lnTo>
                    <a:pt x="738" y="1226"/>
                  </a:lnTo>
                  <a:lnTo>
                    <a:pt x="736" y="1228"/>
                  </a:lnTo>
                  <a:lnTo>
                    <a:pt x="735" y="1228"/>
                  </a:lnTo>
                  <a:lnTo>
                    <a:pt x="733" y="1228"/>
                  </a:lnTo>
                  <a:lnTo>
                    <a:pt x="735" y="1230"/>
                  </a:lnTo>
                  <a:lnTo>
                    <a:pt x="733" y="1230"/>
                  </a:lnTo>
                  <a:lnTo>
                    <a:pt x="731" y="1230"/>
                  </a:lnTo>
                  <a:lnTo>
                    <a:pt x="724" y="1226"/>
                  </a:lnTo>
                  <a:lnTo>
                    <a:pt x="722" y="1228"/>
                  </a:lnTo>
                  <a:lnTo>
                    <a:pt x="720" y="1226"/>
                  </a:lnTo>
                  <a:lnTo>
                    <a:pt x="718" y="1226"/>
                  </a:lnTo>
                  <a:lnTo>
                    <a:pt x="715" y="1224"/>
                  </a:lnTo>
                  <a:lnTo>
                    <a:pt x="717" y="1226"/>
                  </a:lnTo>
                  <a:lnTo>
                    <a:pt x="715" y="1228"/>
                  </a:lnTo>
                  <a:lnTo>
                    <a:pt x="709" y="1228"/>
                  </a:lnTo>
                  <a:lnTo>
                    <a:pt x="704" y="1232"/>
                  </a:lnTo>
                  <a:lnTo>
                    <a:pt x="704" y="1232"/>
                  </a:lnTo>
                  <a:lnTo>
                    <a:pt x="706" y="1232"/>
                  </a:lnTo>
                  <a:lnTo>
                    <a:pt x="708" y="1232"/>
                  </a:lnTo>
                  <a:lnTo>
                    <a:pt x="709" y="1232"/>
                  </a:lnTo>
                  <a:lnTo>
                    <a:pt x="711" y="1230"/>
                  </a:lnTo>
                  <a:lnTo>
                    <a:pt x="713" y="1230"/>
                  </a:lnTo>
                  <a:lnTo>
                    <a:pt x="713" y="1230"/>
                  </a:lnTo>
                  <a:lnTo>
                    <a:pt x="713" y="1230"/>
                  </a:lnTo>
                  <a:lnTo>
                    <a:pt x="713" y="1230"/>
                  </a:lnTo>
                  <a:lnTo>
                    <a:pt x="713" y="1232"/>
                  </a:lnTo>
                  <a:lnTo>
                    <a:pt x="711" y="1232"/>
                  </a:lnTo>
                  <a:lnTo>
                    <a:pt x="711" y="1232"/>
                  </a:lnTo>
                  <a:lnTo>
                    <a:pt x="711" y="1232"/>
                  </a:lnTo>
                  <a:lnTo>
                    <a:pt x="711" y="1233"/>
                  </a:lnTo>
                  <a:lnTo>
                    <a:pt x="711" y="1235"/>
                  </a:lnTo>
                  <a:lnTo>
                    <a:pt x="709" y="1235"/>
                  </a:lnTo>
                  <a:lnTo>
                    <a:pt x="709" y="1235"/>
                  </a:lnTo>
                  <a:lnTo>
                    <a:pt x="709" y="1233"/>
                  </a:lnTo>
                  <a:lnTo>
                    <a:pt x="709" y="1233"/>
                  </a:lnTo>
                  <a:lnTo>
                    <a:pt x="708" y="1233"/>
                  </a:lnTo>
                  <a:lnTo>
                    <a:pt x="708" y="1233"/>
                  </a:lnTo>
                  <a:lnTo>
                    <a:pt x="706" y="1235"/>
                  </a:lnTo>
                  <a:lnTo>
                    <a:pt x="706" y="1237"/>
                  </a:lnTo>
                  <a:lnTo>
                    <a:pt x="708" y="1239"/>
                  </a:lnTo>
                  <a:lnTo>
                    <a:pt x="708" y="1239"/>
                  </a:lnTo>
                  <a:lnTo>
                    <a:pt x="708" y="1241"/>
                  </a:lnTo>
                  <a:lnTo>
                    <a:pt x="709" y="1241"/>
                  </a:lnTo>
                  <a:lnTo>
                    <a:pt x="711" y="1241"/>
                  </a:lnTo>
                  <a:lnTo>
                    <a:pt x="713" y="1239"/>
                  </a:lnTo>
                  <a:lnTo>
                    <a:pt x="715" y="1237"/>
                  </a:lnTo>
                  <a:lnTo>
                    <a:pt x="715" y="1237"/>
                  </a:lnTo>
                  <a:lnTo>
                    <a:pt x="735" y="1235"/>
                  </a:lnTo>
                  <a:lnTo>
                    <a:pt x="736" y="1235"/>
                  </a:lnTo>
                  <a:lnTo>
                    <a:pt x="738" y="1237"/>
                  </a:lnTo>
                  <a:lnTo>
                    <a:pt x="729" y="1237"/>
                  </a:lnTo>
                  <a:lnTo>
                    <a:pt x="720" y="1239"/>
                  </a:lnTo>
                  <a:lnTo>
                    <a:pt x="720" y="1239"/>
                  </a:lnTo>
                  <a:lnTo>
                    <a:pt x="722" y="1241"/>
                  </a:lnTo>
                  <a:lnTo>
                    <a:pt x="722" y="1241"/>
                  </a:lnTo>
                  <a:lnTo>
                    <a:pt x="724" y="1242"/>
                  </a:lnTo>
                  <a:lnTo>
                    <a:pt x="724" y="1244"/>
                  </a:lnTo>
                  <a:lnTo>
                    <a:pt x="724" y="1246"/>
                  </a:lnTo>
                  <a:lnTo>
                    <a:pt x="724" y="1248"/>
                  </a:lnTo>
                  <a:lnTo>
                    <a:pt x="722" y="1248"/>
                  </a:lnTo>
                  <a:lnTo>
                    <a:pt x="722" y="1246"/>
                  </a:lnTo>
                  <a:lnTo>
                    <a:pt x="722" y="1242"/>
                  </a:lnTo>
                  <a:lnTo>
                    <a:pt x="722" y="1242"/>
                  </a:lnTo>
                  <a:lnTo>
                    <a:pt x="720" y="1241"/>
                  </a:lnTo>
                  <a:lnTo>
                    <a:pt x="720" y="1241"/>
                  </a:lnTo>
                  <a:lnTo>
                    <a:pt x="718" y="1239"/>
                  </a:lnTo>
                  <a:lnTo>
                    <a:pt x="718" y="1239"/>
                  </a:lnTo>
                  <a:lnTo>
                    <a:pt x="717" y="1239"/>
                  </a:lnTo>
                  <a:lnTo>
                    <a:pt x="715" y="1239"/>
                  </a:lnTo>
                  <a:lnTo>
                    <a:pt x="715" y="1242"/>
                  </a:lnTo>
                  <a:lnTo>
                    <a:pt x="713" y="1242"/>
                  </a:lnTo>
                  <a:lnTo>
                    <a:pt x="711" y="1242"/>
                  </a:lnTo>
                  <a:lnTo>
                    <a:pt x="711" y="1242"/>
                  </a:lnTo>
                  <a:lnTo>
                    <a:pt x="711" y="1244"/>
                  </a:lnTo>
                  <a:lnTo>
                    <a:pt x="709" y="1244"/>
                  </a:lnTo>
                  <a:lnTo>
                    <a:pt x="709" y="1244"/>
                  </a:lnTo>
                  <a:lnTo>
                    <a:pt x="708" y="1244"/>
                  </a:lnTo>
                  <a:lnTo>
                    <a:pt x="706" y="1246"/>
                  </a:lnTo>
                  <a:lnTo>
                    <a:pt x="704" y="1246"/>
                  </a:lnTo>
                  <a:lnTo>
                    <a:pt x="704" y="1248"/>
                  </a:lnTo>
                  <a:lnTo>
                    <a:pt x="706" y="1248"/>
                  </a:lnTo>
                  <a:lnTo>
                    <a:pt x="706" y="1248"/>
                  </a:lnTo>
                  <a:lnTo>
                    <a:pt x="706" y="1248"/>
                  </a:lnTo>
                  <a:lnTo>
                    <a:pt x="706" y="1250"/>
                  </a:lnTo>
                  <a:lnTo>
                    <a:pt x="708" y="1250"/>
                  </a:lnTo>
                  <a:lnTo>
                    <a:pt x="708" y="1250"/>
                  </a:lnTo>
                  <a:lnTo>
                    <a:pt x="709" y="1250"/>
                  </a:lnTo>
                  <a:lnTo>
                    <a:pt x="709" y="1250"/>
                  </a:lnTo>
                  <a:lnTo>
                    <a:pt x="708" y="1250"/>
                  </a:lnTo>
                  <a:lnTo>
                    <a:pt x="708" y="1251"/>
                  </a:lnTo>
                  <a:lnTo>
                    <a:pt x="706" y="1251"/>
                  </a:lnTo>
                  <a:lnTo>
                    <a:pt x="708" y="1251"/>
                  </a:lnTo>
                  <a:lnTo>
                    <a:pt x="713" y="1251"/>
                  </a:lnTo>
                  <a:lnTo>
                    <a:pt x="715" y="1251"/>
                  </a:lnTo>
                  <a:lnTo>
                    <a:pt x="717" y="1253"/>
                  </a:lnTo>
                  <a:lnTo>
                    <a:pt x="718" y="1255"/>
                  </a:lnTo>
                  <a:lnTo>
                    <a:pt x="717" y="1255"/>
                  </a:lnTo>
                  <a:lnTo>
                    <a:pt x="717" y="1255"/>
                  </a:lnTo>
                  <a:lnTo>
                    <a:pt x="718" y="1257"/>
                  </a:lnTo>
                  <a:lnTo>
                    <a:pt x="718" y="1257"/>
                  </a:lnTo>
                  <a:lnTo>
                    <a:pt x="713" y="1255"/>
                  </a:lnTo>
                  <a:lnTo>
                    <a:pt x="709" y="1255"/>
                  </a:lnTo>
                  <a:lnTo>
                    <a:pt x="709" y="1257"/>
                  </a:lnTo>
                  <a:lnTo>
                    <a:pt x="709" y="1259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5" y="1259"/>
                  </a:lnTo>
                  <a:lnTo>
                    <a:pt x="717" y="1259"/>
                  </a:lnTo>
                  <a:lnTo>
                    <a:pt x="717" y="1259"/>
                  </a:lnTo>
                  <a:lnTo>
                    <a:pt x="718" y="1259"/>
                  </a:lnTo>
                  <a:lnTo>
                    <a:pt x="717" y="1261"/>
                  </a:lnTo>
                  <a:lnTo>
                    <a:pt x="717" y="1261"/>
                  </a:lnTo>
                  <a:lnTo>
                    <a:pt x="715" y="1261"/>
                  </a:lnTo>
                  <a:lnTo>
                    <a:pt x="715" y="1261"/>
                  </a:lnTo>
                  <a:lnTo>
                    <a:pt x="715" y="1261"/>
                  </a:lnTo>
                  <a:lnTo>
                    <a:pt x="715" y="1262"/>
                  </a:lnTo>
                  <a:lnTo>
                    <a:pt x="717" y="1262"/>
                  </a:lnTo>
                  <a:lnTo>
                    <a:pt x="717" y="1264"/>
                  </a:lnTo>
                  <a:lnTo>
                    <a:pt x="717" y="1264"/>
                  </a:lnTo>
                  <a:lnTo>
                    <a:pt x="717" y="1264"/>
                  </a:lnTo>
                  <a:lnTo>
                    <a:pt x="720" y="1262"/>
                  </a:lnTo>
                  <a:lnTo>
                    <a:pt x="720" y="1262"/>
                  </a:lnTo>
                  <a:lnTo>
                    <a:pt x="722" y="1261"/>
                  </a:lnTo>
                  <a:lnTo>
                    <a:pt x="724" y="1264"/>
                  </a:lnTo>
                  <a:lnTo>
                    <a:pt x="726" y="1266"/>
                  </a:lnTo>
                  <a:lnTo>
                    <a:pt x="727" y="1266"/>
                  </a:lnTo>
                  <a:lnTo>
                    <a:pt x="731" y="1264"/>
                  </a:lnTo>
                  <a:lnTo>
                    <a:pt x="733" y="1261"/>
                  </a:lnTo>
                  <a:lnTo>
                    <a:pt x="735" y="1261"/>
                  </a:lnTo>
                  <a:lnTo>
                    <a:pt x="740" y="1261"/>
                  </a:lnTo>
                  <a:lnTo>
                    <a:pt x="742" y="1259"/>
                  </a:lnTo>
                  <a:lnTo>
                    <a:pt x="742" y="1259"/>
                  </a:lnTo>
                  <a:lnTo>
                    <a:pt x="742" y="1259"/>
                  </a:lnTo>
                  <a:lnTo>
                    <a:pt x="744" y="1259"/>
                  </a:lnTo>
                  <a:lnTo>
                    <a:pt x="744" y="1259"/>
                  </a:lnTo>
                  <a:lnTo>
                    <a:pt x="745" y="1257"/>
                  </a:lnTo>
                  <a:lnTo>
                    <a:pt x="745" y="1255"/>
                  </a:lnTo>
                  <a:lnTo>
                    <a:pt x="745" y="1255"/>
                  </a:lnTo>
                  <a:lnTo>
                    <a:pt x="745" y="1253"/>
                  </a:lnTo>
                  <a:lnTo>
                    <a:pt x="745" y="1255"/>
                  </a:lnTo>
                  <a:lnTo>
                    <a:pt x="745" y="1257"/>
                  </a:lnTo>
                  <a:lnTo>
                    <a:pt x="747" y="1259"/>
                  </a:lnTo>
                  <a:lnTo>
                    <a:pt x="751" y="1259"/>
                  </a:lnTo>
                  <a:lnTo>
                    <a:pt x="754" y="1257"/>
                  </a:lnTo>
                  <a:lnTo>
                    <a:pt x="758" y="1253"/>
                  </a:lnTo>
                  <a:lnTo>
                    <a:pt x="758" y="1255"/>
                  </a:lnTo>
                  <a:lnTo>
                    <a:pt x="756" y="1255"/>
                  </a:lnTo>
                  <a:lnTo>
                    <a:pt x="754" y="1257"/>
                  </a:lnTo>
                  <a:lnTo>
                    <a:pt x="758" y="1259"/>
                  </a:lnTo>
                  <a:lnTo>
                    <a:pt x="760" y="1259"/>
                  </a:lnTo>
                  <a:lnTo>
                    <a:pt x="764" y="1259"/>
                  </a:lnTo>
                  <a:lnTo>
                    <a:pt x="765" y="1255"/>
                  </a:lnTo>
                  <a:lnTo>
                    <a:pt x="767" y="1259"/>
                  </a:lnTo>
                  <a:lnTo>
                    <a:pt x="771" y="1261"/>
                  </a:lnTo>
                  <a:lnTo>
                    <a:pt x="776" y="1262"/>
                  </a:lnTo>
                  <a:lnTo>
                    <a:pt x="778" y="1262"/>
                  </a:lnTo>
                  <a:lnTo>
                    <a:pt x="782" y="1261"/>
                  </a:lnTo>
                  <a:lnTo>
                    <a:pt x="782" y="1261"/>
                  </a:lnTo>
                  <a:lnTo>
                    <a:pt x="782" y="1259"/>
                  </a:lnTo>
                  <a:lnTo>
                    <a:pt x="782" y="1259"/>
                  </a:lnTo>
                  <a:lnTo>
                    <a:pt x="782" y="1257"/>
                  </a:lnTo>
                  <a:lnTo>
                    <a:pt x="782" y="1255"/>
                  </a:lnTo>
                  <a:lnTo>
                    <a:pt x="782" y="1255"/>
                  </a:lnTo>
                  <a:lnTo>
                    <a:pt x="782" y="1253"/>
                  </a:lnTo>
                  <a:lnTo>
                    <a:pt x="780" y="1253"/>
                  </a:lnTo>
                  <a:lnTo>
                    <a:pt x="780" y="1253"/>
                  </a:lnTo>
                  <a:lnTo>
                    <a:pt x="780" y="1253"/>
                  </a:lnTo>
                  <a:lnTo>
                    <a:pt x="783" y="1253"/>
                  </a:lnTo>
                  <a:lnTo>
                    <a:pt x="783" y="1251"/>
                  </a:lnTo>
                  <a:lnTo>
                    <a:pt x="783" y="1251"/>
                  </a:lnTo>
                  <a:lnTo>
                    <a:pt x="783" y="1251"/>
                  </a:lnTo>
                  <a:lnTo>
                    <a:pt x="783" y="1250"/>
                  </a:lnTo>
                  <a:lnTo>
                    <a:pt x="782" y="1248"/>
                  </a:lnTo>
                  <a:lnTo>
                    <a:pt x="782" y="1248"/>
                  </a:lnTo>
                  <a:lnTo>
                    <a:pt x="782" y="1246"/>
                  </a:lnTo>
                  <a:lnTo>
                    <a:pt x="782" y="1246"/>
                  </a:lnTo>
                  <a:lnTo>
                    <a:pt x="783" y="1244"/>
                  </a:lnTo>
                  <a:lnTo>
                    <a:pt x="783" y="1244"/>
                  </a:lnTo>
                  <a:lnTo>
                    <a:pt x="783" y="1244"/>
                  </a:lnTo>
                  <a:lnTo>
                    <a:pt x="785" y="1246"/>
                  </a:lnTo>
                  <a:lnTo>
                    <a:pt x="785" y="1246"/>
                  </a:lnTo>
                  <a:lnTo>
                    <a:pt x="787" y="1246"/>
                  </a:lnTo>
                  <a:lnTo>
                    <a:pt x="789" y="1242"/>
                  </a:lnTo>
                  <a:lnTo>
                    <a:pt x="792" y="1233"/>
                  </a:lnTo>
                  <a:lnTo>
                    <a:pt x="792" y="1233"/>
                  </a:lnTo>
                  <a:lnTo>
                    <a:pt x="792" y="1233"/>
                  </a:lnTo>
                  <a:lnTo>
                    <a:pt x="792" y="1233"/>
                  </a:lnTo>
                  <a:lnTo>
                    <a:pt x="792" y="1235"/>
                  </a:lnTo>
                  <a:lnTo>
                    <a:pt x="792" y="1235"/>
                  </a:lnTo>
                  <a:lnTo>
                    <a:pt x="792" y="1235"/>
                  </a:lnTo>
                  <a:lnTo>
                    <a:pt x="791" y="1237"/>
                  </a:lnTo>
                  <a:lnTo>
                    <a:pt x="791" y="1239"/>
                  </a:lnTo>
                  <a:lnTo>
                    <a:pt x="791" y="1239"/>
                  </a:lnTo>
                  <a:lnTo>
                    <a:pt x="791" y="1241"/>
                  </a:lnTo>
                  <a:lnTo>
                    <a:pt x="791" y="1241"/>
                  </a:lnTo>
                  <a:lnTo>
                    <a:pt x="787" y="1246"/>
                  </a:lnTo>
                  <a:lnTo>
                    <a:pt x="787" y="1248"/>
                  </a:lnTo>
                  <a:lnTo>
                    <a:pt x="785" y="1250"/>
                  </a:lnTo>
                  <a:lnTo>
                    <a:pt x="785" y="1251"/>
                  </a:lnTo>
                  <a:lnTo>
                    <a:pt x="791" y="1253"/>
                  </a:lnTo>
                  <a:lnTo>
                    <a:pt x="798" y="1255"/>
                  </a:lnTo>
                  <a:lnTo>
                    <a:pt x="801" y="1257"/>
                  </a:lnTo>
                  <a:lnTo>
                    <a:pt x="803" y="1257"/>
                  </a:lnTo>
                  <a:lnTo>
                    <a:pt x="805" y="1257"/>
                  </a:lnTo>
                  <a:lnTo>
                    <a:pt x="807" y="1255"/>
                  </a:lnTo>
                  <a:lnTo>
                    <a:pt x="805" y="1257"/>
                  </a:lnTo>
                  <a:lnTo>
                    <a:pt x="803" y="1259"/>
                  </a:lnTo>
                  <a:lnTo>
                    <a:pt x="803" y="1261"/>
                  </a:lnTo>
                  <a:lnTo>
                    <a:pt x="803" y="1262"/>
                  </a:lnTo>
                  <a:lnTo>
                    <a:pt x="805" y="1262"/>
                  </a:lnTo>
                  <a:lnTo>
                    <a:pt x="805" y="1262"/>
                  </a:lnTo>
                  <a:lnTo>
                    <a:pt x="807" y="1261"/>
                  </a:lnTo>
                  <a:lnTo>
                    <a:pt x="814" y="1259"/>
                  </a:lnTo>
                  <a:lnTo>
                    <a:pt x="814" y="1259"/>
                  </a:lnTo>
                  <a:lnTo>
                    <a:pt x="814" y="1259"/>
                  </a:lnTo>
                  <a:lnTo>
                    <a:pt x="814" y="1257"/>
                  </a:lnTo>
                  <a:lnTo>
                    <a:pt x="814" y="1257"/>
                  </a:lnTo>
                  <a:lnTo>
                    <a:pt x="814" y="1257"/>
                  </a:lnTo>
                  <a:lnTo>
                    <a:pt x="816" y="1257"/>
                  </a:lnTo>
                  <a:lnTo>
                    <a:pt x="818" y="1255"/>
                  </a:lnTo>
                  <a:lnTo>
                    <a:pt x="818" y="1255"/>
                  </a:lnTo>
                  <a:lnTo>
                    <a:pt x="818" y="1255"/>
                  </a:lnTo>
                  <a:lnTo>
                    <a:pt x="820" y="1257"/>
                  </a:lnTo>
                  <a:lnTo>
                    <a:pt x="820" y="1257"/>
                  </a:lnTo>
                  <a:lnTo>
                    <a:pt x="821" y="1257"/>
                  </a:lnTo>
                  <a:lnTo>
                    <a:pt x="821" y="1257"/>
                  </a:lnTo>
                  <a:lnTo>
                    <a:pt x="821" y="1257"/>
                  </a:lnTo>
                  <a:lnTo>
                    <a:pt x="823" y="1257"/>
                  </a:lnTo>
                  <a:lnTo>
                    <a:pt x="825" y="1255"/>
                  </a:lnTo>
                  <a:lnTo>
                    <a:pt x="823" y="1253"/>
                  </a:lnTo>
                  <a:lnTo>
                    <a:pt x="823" y="1253"/>
                  </a:lnTo>
                  <a:lnTo>
                    <a:pt x="823" y="1251"/>
                  </a:lnTo>
                  <a:lnTo>
                    <a:pt x="821" y="1248"/>
                  </a:lnTo>
                  <a:lnTo>
                    <a:pt x="821" y="1246"/>
                  </a:lnTo>
                  <a:lnTo>
                    <a:pt x="820" y="1244"/>
                  </a:lnTo>
                  <a:lnTo>
                    <a:pt x="820" y="1244"/>
                  </a:lnTo>
                  <a:lnTo>
                    <a:pt x="820" y="1242"/>
                  </a:lnTo>
                  <a:lnTo>
                    <a:pt x="821" y="1239"/>
                  </a:lnTo>
                  <a:lnTo>
                    <a:pt x="821" y="1237"/>
                  </a:lnTo>
                  <a:lnTo>
                    <a:pt x="821" y="1235"/>
                  </a:lnTo>
                  <a:lnTo>
                    <a:pt x="821" y="1235"/>
                  </a:lnTo>
                  <a:lnTo>
                    <a:pt x="820" y="1233"/>
                  </a:lnTo>
                  <a:lnTo>
                    <a:pt x="821" y="1233"/>
                  </a:lnTo>
                  <a:lnTo>
                    <a:pt x="823" y="1233"/>
                  </a:lnTo>
                  <a:lnTo>
                    <a:pt x="825" y="1233"/>
                  </a:lnTo>
                  <a:lnTo>
                    <a:pt x="830" y="1226"/>
                  </a:lnTo>
                  <a:lnTo>
                    <a:pt x="836" y="1224"/>
                  </a:lnTo>
                  <a:lnTo>
                    <a:pt x="834" y="1226"/>
                  </a:lnTo>
                  <a:lnTo>
                    <a:pt x="834" y="1226"/>
                  </a:lnTo>
                  <a:lnTo>
                    <a:pt x="832" y="1228"/>
                  </a:lnTo>
                  <a:lnTo>
                    <a:pt x="830" y="1228"/>
                  </a:lnTo>
                  <a:lnTo>
                    <a:pt x="830" y="1228"/>
                  </a:lnTo>
                  <a:lnTo>
                    <a:pt x="829" y="1230"/>
                  </a:lnTo>
                  <a:lnTo>
                    <a:pt x="829" y="1232"/>
                  </a:lnTo>
                  <a:lnTo>
                    <a:pt x="829" y="1233"/>
                  </a:lnTo>
                  <a:lnTo>
                    <a:pt x="825" y="1235"/>
                  </a:lnTo>
                  <a:lnTo>
                    <a:pt x="825" y="1237"/>
                  </a:lnTo>
                  <a:lnTo>
                    <a:pt x="825" y="1239"/>
                  </a:lnTo>
                  <a:lnTo>
                    <a:pt x="825" y="1241"/>
                  </a:lnTo>
                  <a:lnTo>
                    <a:pt x="823" y="1242"/>
                  </a:lnTo>
                  <a:lnTo>
                    <a:pt x="823" y="1244"/>
                  </a:lnTo>
                  <a:lnTo>
                    <a:pt x="823" y="1244"/>
                  </a:lnTo>
                  <a:lnTo>
                    <a:pt x="823" y="1246"/>
                  </a:lnTo>
                  <a:lnTo>
                    <a:pt x="823" y="1246"/>
                  </a:lnTo>
                  <a:lnTo>
                    <a:pt x="823" y="1248"/>
                  </a:lnTo>
                  <a:lnTo>
                    <a:pt x="823" y="1248"/>
                  </a:lnTo>
                  <a:lnTo>
                    <a:pt x="823" y="1250"/>
                  </a:lnTo>
                  <a:lnTo>
                    <a:pt x="825" y="1251"/>
                  </a:lnTo>
                  <a:lnTo>
                    <a:pt x="825" y="1253"/>
                  </a:lnTo>
                  <a:lnTo>
                    <a:pt x="827" y="1253"/>
                  </a:lnTo>
                  <a:lnTo>
                    <a:pt x="829" y="1253"/>
                  </a:lnTo>
                  <a:lnTo>
                    <a:pt x="838" y="1251"/>
                  </a:lnTo>
                  <a:lnTo>
                    <a:pt x="838" y="1251"/>
                  </a:lnTo>
                  <a:lnTo>
                    <a:pt x="839" y="1250"/>
                  </a:lnTo>
                  <a:lnTo>
                    <a:pt x="841" y="1250"/>
                  </a:lnTo>
                  <a:lnTo>
                    <a:pt x="839" y="1253"/>
                  </a:lnTo>
                  <a:lnTo>
                    <a:pt x="838" y="1253"/>
                  </a:lnTo>
                  <a:lnTo>
                    <a:pt x="830" y="1255"/>
                  </a:lnTo>
                  <a:lnTo>
                    <a:pt x="829" y="1255"/>
                  </a:lnTo>
                  <a:lnTo>
                    <a:pt x="827" y="1257"/>
                  </a:lnTo>
                  <a:lnTo>
                    <a:pt x="827" y="1257"/>
                  </a:lnTo>
                  <a:lnTo>
                    <a:pt x="825" y="1259"/>
                  </a:lnTo>
                  <a:lnTo>
                    <a:pt x="825" y="1259"/>
                  </a:lnTo>
                  <a:lnTo>
                    <a:pt x="825" y="1261"/>
                  </a:lnTo>
                  <a:lnTo>
                    <a:pt x="827" y="1262"/>
                  </a:lnTo>
                  <a:lnTo>
                    <a:pt x="827" y="1262"/>
                  </a:lnTo>
                  <a:lnTo>
                    <a:pt x="827" y="1262"/>
                  </a:lnTo>
                  <a:lnTo>
                    <a:pt x="829" y="1262"/>
                  </a:lnTo>
                  <a:lnTo>
                    <a:pt x="829" y="1264"/>
                  </a:lnTo>
                  <a:lnTo>
                    <a:pt x="825" y="1264"/>
                  </a:lnTo>
                  <a:lnTo>
                    <a:pt x="823" y="1262"/>
                  </a:lnTo>
                  <a:lnTo>
                    <a:pt x="823" y="1261"/>
                  </a:lnTo>
                  <a:lnTo>
                    <a:pt x="821" y="1261"/>
                  </a:lnTo>
                  <a:lnTo>
                    <a:pt x="818" y="1261"/>
                  </a:lnTo>
                  <a:lnTo>
                    <a:pt x="818" y="1261"/>
                  </a:lnTo>
                  <a:lnTo>
                    <a:pt x="816" y="1261"/>
                  </a:lnTo>
                  <a:lnTo>
                    <a:pt x="816" y="1262"/>
                  </a:lnTo>
                  <a:lnTo>
                    <a:pt x="810" y="1264"/>
                  </a:lnTo>
                  <a:lnTo>
                    <a:pt x="807" y="1264"/>
                  </a:lnTo>
                  <a:lnTo>
                    <a:pt x="807" y="1264"/>
                  </a:lnTo>
                  <a:lnTo>
                    <a:pt x="807" y="1266"/>
                  </a:lnTo>
                  <a:lnTo>
                    <a:pt x="807" y="1266"/>
                  </a:lnTo>
                  <a:lnTo>
                    <a:pt x="807" y="1270"/>
                  </a:lnTo>
                  <a:lnTo>
                    <a:pt x="809" y="1270"/>
                  </a:lnTo>
                  <a:lnTo>
                    <a:pt x="809" y="1271"/>
                  </a:lnTo>
                  <a:lnTo>
                    <a:pt x="809" y="1271"/>
                  </a:lnTo>
                  <a:lnTo>
                    <a:pt x="810" y="1277"/>
                  </a:lnTo>
                  <a:lnTo>
                    <a:pt x="812" y="1279"/>
                  </a:lnTo>
                  <a:lnTo>
                    <a:pt x="812" y="1279"/>
                  </a:lnTo>
                  <a:lnTo>
                    <a:pt x="814" y="1279"/>
                  </a:lnTo>
                  <a:lnTo>
                    <a:pt x="814" y="1279"/>
                  </a:lnTo>
                  <a:lnTo>
                    <a:pt x="816" y="1282"/>
                  </a:lnTo>
                  <a:lnTo>
                    <a:pt x="814" y="1284"/>
                  </a:lnTo>
                  <a:lnTo>
                    <a:pt x="814" y="1288"/>
                  </a:lnTo>
                  <a:lnTo>
                    <a:pt x="812" y="1289"/>
                  </a:lnTo>
                  <a:lnTo>
                    <a:pt x="814" y="1284"/>
                  </a:lnTo>
                  <a:lnTo>
                    <a:pt x="814" y="1282"/>
                  </a:lnTo>
                  <a:lnTo>
                    <a:pt x="812" y="1280"/>
                  </a:lnTo>
                  <a:lnTo>
                    <a:pt x="809" y="1279"/>
                  </a:lnTo>
                  <a:lnTo>
                    <a:pt x="807" y="1277"/>
                  </a:lnTo>
                  <a:lnTo>
                    <a:pt x="805" y="1279"/>
                  </a:lnTo>
                  <a:lnTo>
                    <a:pt x="800" y="1280"/>
                  </a:lnTo>
                  <a:lnTo>
                    <a:pt x="803" y="1277"/>
                  </a:lnTo>
                  <a:lnTo>
                    <a:pt x="805" y="1277"/>
                  </a:lnTo>
                  <a:lnTo>
                    <a:pt x="807" y="1275"/>
                  </a:lnTo>
                  <a:lnTo>
                    <a:pt x="807" y="1275"/>
                  </a:lnTo>
                  <a:lnTo>
                    <a:pt x="807" y="1273"/>
                  </a:lnTo>
                  <a:lnTo>
                    <a:pt x="807" y="1273"/>
                  </a:lnTo>
                  <a:lnTo>
                    <a:pt x="807" y="1271"/>
                  </a:lnTo>
                  <a:lnTo>
                    <a:pt x="805" y="1270"/>
                  </a:lnTo>
                  <a:lnTo>
                    <a:pt x="805" y="1266"/>
                  </a:lnTo>
                  <a:lnTo>
                    <a:pt x="805" y="1266"/>
                  </a:lnTo>
                  <a:lnTo>
                    <a:pt x="803" y="1264"/>
                  </a:lnTo>
                  <a:lnTo>
                    <a:pt x="801" y="1266"/>
                  </a:lnTo>
                  <a:lnTo>
                    <a:pt x="800" y="1264"/>
                  </a:lnTo>
                  <a:lnTo>
                    <a:pt x="800" y="1264"/>
                  </a:lnTo>
                  <a:lnTo>
                    <a:pt x="800" y="1264"/>
                  </a:lnTo>
                  <a:lnTo>
                    <a:pt x="800" y="1262"/>
                  </a:lnTo>
                  <a:lnTo>
                    <a:pt x="800" y="1261"/>
                  </a:lnTo>
                  <a:lnTo>
                    <a:pt x="800" y="1261"/>
                  </a:lnTo>
                  <a:lnTo>
                    <a:pt x="798" y="1261"/>
                  </a:lnTo>
                  <a:lnTo>
                    <a:pt x="796" y="1259"/>
                  </a:lnTo>
                  <a:lnTo>
                    <a:pt x="789" y="1259"/>
                  </a:lnTo>
                  <a:lnTo>
                    <a:pt x="789" y="1257"/>
                  </a:lnTo>
                  <a:lnTo>
                    <a:pt x="787" y="1257"/>
                  </a:lnTo>
                  <a:lnTo>
                    <a:pt x="787" y="1257"/>
                  </a:lnTo>
                  <a:lnTo>
                    <a:pt x="787" y="1257"/>
                  </a:lnTo>
                  <a:lnTo>
                    <a:pt x="785" y="1259"/>
                  </a:lnTo>
                  <a:lnTo>
                    <a:pt x="785" y="1262"/>
                  </a:lnTo>
                  <a:lnTo>
                    <a:pt x="783" y="1264"/>
                  </a:lnTo>
                  <a:lnTo>
                    <a:pt x="783" y="1264"/>
                  </a:lnTo>
                  <a:lnTo>
                    <a:pt x="780" y="1264"/>
                  </a:lnTo>
                  <a:lnTo>
                    <a:pt x="778" y="1266"/>
                  </a:lnTo>
                  <a:lnTo>
                    <a:pt x="778" y="1268"/>
                  </a:lnTo>
                  <a:lnTo>
                    <a:pt x="776" y="1270"/>
                  </a:lnTo>
                  <a:lnTo>
                    <a:pt x="776" y="1271"/>
                  </a:lnTo>
                  <a:lnTo>
                    <a:pt x="774" y="1271"/>
                  </a:lnTo>
                  <a:lnTo>
                    <a:pt x="776" y="1273"/>
                  </a:lnTo>
                  <a:lnTo>
                    <a:pt x="774" y="1273"/>
                  </a:lnTo>
                  <a:lnTo>
                    <a:pt x="774" y="1273"/>
                  </a:lnTo>
                  <a:lnTo>
                    <a:pt x="774" y="1271"/>
                  </a:lnTo>
                  <a:lnTo>
                    <a:pt x="774" y="1270"/>
                  </a:lnTo>
                  <a:lnTo>
                    <a:pt x="774" y="1268"/>
                  </a:lnTo>
                  <a:lnTo>
                    <a:pt x="774" y="1268"/>
                  </a:lnTo>
                  <a:lnTo>
                    <a:pt x="774" y="1268"/>
                  </a:lnTo>
                  <a:lnTo>
                    <a:pt x="773" y="1268"/>
                  </a:lnTo>
                  <a:lnTo>
                    <a:pt x="773" y="1268"/>
                  </a:lnTo>
                  <a:lnTo>
                    <a:pt x="773" y="1268"/>
                  </a:lnTo>
                  <a:lnTo>
                    <a:pt x="771" y="1270"/>
                  </a:lnTo>
                  <a:lnTo>
                    <a:pt x="771" y="1270"/>
                  </a:lnTo>
                  <a:lnTo>
                    <a:pt x="769" y="1270"/>
                  </a:lnTo>
                  <a:lnTo>
                    <a:pt x="771" y="1268"/>
                  </a:lnTo>
                  <a:lnTo>
                    <a:pt x="771" y="1266"/>
                  </a:lnTo>
                  <a:lnTo>
                    <a:pt x="769" y="1264"/>
                  </a:lnTo>
                  <a:lnTo>
                    <a:pt x="769" y="1264"/>
                  </a:lnTo>
                  <a:lnTo>
                    <a:pt x="767" y="1264"/>
                  </a:lnTo>
                  <a:lnTo>
                    <a:pt x="764" y="1262"/>
                  </a:lnTo>
                  <a:lnTo>
                    <a:pt x="762" y="1262"/>
                  </a:lnTo>
                  <a:lnTo>
                    <a:pt x="758" y="1262"/>
                  </a:lnTo>
                  <a:lnTo>
                    <a:pt x="758" y="1262"/>
                  </a:lnTo>
                  <a:lnTo>
                    <a:pt x="756" y="1262"/>
                  </a:lnTo>
                  <a:lnTo>
                    <a:pt x="751" y="1262"/>
                  </a:lnTo>
                  <a:lnTo>
                    <a:pt x="749" y="1262"/>
                  </a:lnTo>
                  <a:lnTo>
                    <a:pt x="749" y="1262"/>
                  </a:lnTo>
                  <a:lnTo>
                    <a:pt x="749" y="1264"/>
                  </a:lnTo>
                  <a:lnTo>
                    <a:pt x="749" y="1264"/>
                  </a:lnTo>
                  <a:lnTo>
                    <a:pt x="749" y="1264"/>
                  </a:lnTo>
                  <a:lnTo>
                    <a:pt x="747" y="1266"/>
                  </a:lnTo>
                  <a:lnTo>
                    <a:pt x="747" y="1266"/>
                  </a:lnTo>
                  <a:lnTo>
                    <a:pt x="745" y="1268"/>
                  </a:lnTo>
                  <a:lnTo>
                    <a:pt x="745" y="1268"/>
                  </a:lnTo>
                  <a:lnTo>
                    <a:pt x="745" y="1266"/>
                  </a:lnTo>
                  <a:lnTo>
                    <a:pt x="745" y="1264"/>
                  </a:lnTo>
                  <a:lnTo>
                    <a:pt x="745" y="1262"/>
                  </a:lnTo>
                  <a:lnTo>
                    <a:pt x="744" y="1262"/>
                  </a:lnTo>
                  <a:lnTo>
                    <a:pt x="742" y="1264"/>
                  </a:lnTo>
                  <a:lnTo>
                    <a:pt x="740" y="1266"/>
                  </a:lnTo>
                  <a:lnTo>
                    <a:pt x="740" y="1264"/>
                  </a:lnTo>
                  <a:lnTo>
                    <a:pt x="738" y="1264"/>
                  </a:lnTo>
                  <a:lnTo>
                    <a:pt x="736" y="1266"/>
                  </a:lnTo>
                  <a:lnTo>
                    <a:pt x="736" y="1266"/>
                  </a:lnTo>
                  <a:lnTo>
                    <a:pt x="736" y="1266"/>
                  </a:lnTo>
                  <a:lnTo>
                    <a:pt x="738" y="1268"/>
                  </a:lnTo>
                  <a:lnTo>
                    <a:pt x="738" y="1268"/>
                  </a:lnTo>
                  <a:lnTo>
                    <a:pt x="736" y="1268"/>
                  </a:lnTo>
                  <a:lnTo>
                    <a:pt x="735" y="1268"/>
                  </a:lnTo>
                  <a:lnTo>
                    <a:pt x="733" y="1266"/>
                  </a:lnTo>
                  <a:lnTo>
                    <a:pt x="731" y="1268"/>
                  </a:lnTo>
                  <a:lnTo>
                    <a:pt x="731" y="1268"/>
                  </a:lnTo>
                  <a:lnTo>
                    <a:pt x="729" y="1270"/>
                  </a:lnTo>
                  <a:lnTo>
                    <a:pt x="729" y="1271"/>
                  </a:lnTo>
                  <a:lnTo>
                    <a:pt x="729" y="1271"/>
                  </a:lnTo>
                  <a:lnTo>
                    <a:pt x="729" y="1273"/>
                  </a:lnTo>
                  <a:lnTo>
                    <a:pt x="729" y="1273"/>
                  </a:lnTo>
                  <a:lnTo>
                    <a:pt x="729" y="1275"/>
                  </a:lnTo>
                  <a:lnTo>
                    <a:pt x="729" y="1275"/>
                  </a:lnTo>
                  <a:lnTo>
                    <a:pt x="729" y="1273"/>
                  </a:lnTo>
                  <a:lnTo>
                    <a:pt x="729" y="1273"/>
                  </a:lnTo>
                  <a:lnTo>
                    <a:pt x="729" y="1271"/>
                  </a:lnTo>
                  <a:lnTo>
                    <a:pt x="727" y="1271"/>
                  </a:lnTo>
                  <a:lnTo>
                    <a:pt x="726" y="1271"/>
                  </a:lnTo>
                  <a:lnTo>
                    <a:pt x="722" y="1271"/>
                  </a:lnTo>
                  <a:lnTo>
                    <a:pt x="720" y="1270"/>
                  </a:lnTo>
                  <a:lnTo>
                    <a:pt x="717" y="1268"/>
                  </a:lnTo>
                  <a:lnTo>
                    <a:pt x="713" y="1266"/>
                  </a:lnTo>
                  <a:lnTo>
                    <a:pt x="709" y="1266"/>
                  </a:lnTo>
                  <a:lnTo>
                    <a:pt x="708" y="1270"/>
                  </a:lnTo>
                  <a:lnTo>
                    <a:pt x="708" y="1271"/>
                  </a:lnTo>
                  <a:lnTo>
                    <a:pt x="708" y="1273"/>
                  </a:lnTo>
                  <a:lnTo>
                    <a:pt x="708" y="1275"/>
                  </a:lnTo>
                  <a:lnTo>
                    <a:pt x="708" y="1277"/>
                  </a:lnTo>
                  <a:lnTo>
                    <a:pt x="708" y="1277"/>
                  </a:lnTo>
                  <a:lnTo>
                    <a:pt x="711" y="1277"/>
                  </a:lnTo>
                  <a:lnTo>
                    <a:pt x="711" y="1277"/>
                  </a:lnTo>
                  <a:lnTo>
                    <a:pt x="713" y="1277"/>
                  </a:lnTo>
                  <a:lnTo>
                    <a:pt x="713" y="1275"/>
                  </a:lnTo>
                  <a:lnTo>
                    <a:pt x="713" y="1275"/>
                  </a:lnTo>
                  <a:lnTo>
                    <a:pt x="713" y="1275"/>
                  </a:lnTo>
                  <a:lnTo>
                    <a:pt x="713" y="1275"/>
                  </a:lnTo>
                  <a:lnTo>
                    <a:pt x="713" y="1277"/>
                  </a:lnTo>
                  <a:lnTo>
                    <a:pt x="713" y="1279"/>
                  </a:lnTo>
                  <a:lnTo>
                    <a:pt x="713" y="1279"/>
                  </a:lnTo>
                  <a:lnTo>
                    <a:pt x="711" y="1279"/>
                  </a:lnTo>
                  <a:lnTo>
                    <a:pt x="711" y="1280"/>
                  </a:lnTo>
                  <a:lnTo>
                    <a:pt x="711" y="1286"/>
                  </a:lnTo>
                  <a:lnTo>
                    <a:pt x="711" y="1288"/>
                  </a:lnTo>
                  <a:lnTo>
                    <a:pt x="711" y="1288"/>
                  </a:lnTo>
                  <a:lnTo>
                    <a:pt x="711" y="1286"/>
                  </a:lnTo>
                  <a:lnTo>
                    <a:pt x="711" y="1284"/>
                  </a:lnTo>
                  <a:lnTo>
                    <a:pt x="711" y="1280"/>
                  </a:lnTo>
                  <a:lnTo>
                    <a:pt x="711" y="1280"/>
                  </a:lnTo>
                  <a:lnTo>
                    <a:pt x="709" y="1279"/>
                  </a:lnTo>
                  <a:lnTo>
                    <a:pt x="709" y="1279"/>
                  </a:lnTo>
                  <a:lnTo>
                    <a:pt x="708" y="1279"/>
                  </a:lnTo>
                  <a:lnTo>
                    <a:pt x="706" y="1279"/>
                  </a:lnTo>
                  <a:lnTo>
                    <a:pt x="706" y="1279"/>
                  </a:lnTo>
                  <a:lnTo>
                    <a:pt x="706" y="1280"/>
                  </a:lnTo>
                  <a:lnTo>
                    <a:pt x="708" y="1282"/>
                  </a:lnTo>
                  <a:lnTo>
                    <a:pt x="708" y="1282"/>
                  </a:lnTo>
                  <a:lnTo>
                    <a:pt x="708" y="1282"/>
                  </a:lnTo>
                  <a:lnTo>
                    <a:pt x="708" y="1284"/>
                  </a:lnTo>
                  <a:lnTo>
                    <a:pt x="708" y="1284"/>
                  </a:lnTo>
                  <a:lnTo>
                    <a:pt x="708" y="1284"/>
                  </a:lnTo>
                  <a:lnTo>
                    <a:pt x="708" y="1286"/>
                  </a:lnTo>
                  <a:lnTo>
                    <a:pt x="709" y="1289"/>
                  </a:lnTo>
                  <a:lnTo>
                    <a:pt x="709" y="1291"/>
                  </a:lnTo>
                  <a:lnTo>
                    <a:pt x="709" y="1291"/>
                  </a:lnTo>
                  <a:lnTo>
                    <a:pt x="713" y="1291"/>
                  </a:lnTo>
                  <a:lnTo>
                    <a:pt x="713" y="1291"/>
                  </a:lnTo>
                  <a:lnTo>
                    <a:pt x="713" y="1291"/>
                  </a:lnTo>
                  <a:lnTo>
                    <a:pt x="713" y="1293"/>
                  </a:lnTo>
                  <a:lnTo>
                    <a:pt x="715" y="1293"/>
                  </a:lnTo>
                  <a:lnTo>
                    <a:pt x="715" y="1291"/>
                  </a:lnTo>
                  <a:lnTo>
                    <a:pt x="715" y="1289"/>
                  </a:lnTo>
                  <a:lnTo>
                    <a:pt x="717" y="1291"/>
                  </a:lnTo>
                  <a:lnTo>
                    <a:pt x="718" y="1293"/>
                  </a:lnTo>
                  <a:lnTo>
                    <a:pt x="722" y="1293"/>
                  </a:lnTo>
                  <a:lnTo>
                    <a:pt x="722" y="1291"/>
                  </a:lnTo>
                  <a:lnTo>
                    <a:pt x="724" y="1288"/>
                  </a:lnTo>
                  <a:lnTo>
                    <a:pt x="724" y="1288"/>
                  </a:lnTo>
                  <a:lnTo>
                    <a:pt x="727" y="1286"/>
                  </a:lnTo>
                  <a:lnTo>
                    <a:pt x="731" y="1284"/>
                  </a:lnTo>
                  <a:lnTo>
                    <a:pt x="731" y="1284"/>
                  </a:lnTo>
                  <a:lnTo>
                    <a:pt x="731" y="1286"/>
                  </a:lnTo>
                  <a:lnTo>
                    <a:pt x="731" y="1286"/>
                  </a:lnTo>
                  <a:lnTo>
                    <a:pt x="733" y="1288"/>
                  </a:lnTo>
                  <a:lnTo>
                    <a:pt x="733" y="1288"/>
                  </a:lnTo>
                  <a:lnTo>
                    <a:pt x="733" y="1288"/>
                  </a:lnTo>
                  <a:lnTo>
                    <a:pt x="731" y="1288"/>
                  </a:lnTo>
                  <a:lnTo>
                    <a:pt x="731" y="1289"/>
                  </a:lnTo>
                  <a:lnTo>
                    <a:pt x="729" y="1288"/>
                  </a:lnTo>
                  <a:lnTo>
                    <a:pt x="729" y="1288"/>
                  </a:lnTo>
                  <a:lnTo>
                    <a:pt x="727" y="1288"/>
                  </a:lnTo>
                  <a:lnTo>
                    <a:pt x="724" y="1289"/>
                  </a:lnTo>
                  <a:lnTo>
                    <a:pt x="724" y="1291"/>
                  </a:lnTo>
                  <a:lnTo>
                    <a:pt x="724" y="1293"/>
                  </a:lnTo>
                  <a:lnTo>
                    <a:pt x="724" y="1295"/>
                  </a:lnTo>
                  <a:lnTo>
                    <a:pt x="720" y="1295"/>
                  </a:lnTo>
                  <a:lnTo>
                    <a:pt x="720" y="1295"/>
                  </a:lnTo>
                  <a:lnTo>
                    <a:pt x="718" y="1297"/>
                  </a:lnTo>
                  <a:lnTo>
                    <a:pt x="718" y="1297"/>
                  </a:lnTo>
                  <a:lnTo>
                    <a:pt x="718" y="1298"/>
                  </a:lnTo>
                  <a:lnTo>
                    <a:pt x="718" y="1298"/>
                  </a:lnTo>
                  <a:lnTo>
                    <a:pt x="720" y="1298"/>
                  </a:lnTo>
                  <a:lnTo>
                    <a:pt x="720" y="1300"/>
                  </a:lnTo>
                  <a:lnTo>
                    <a:pt x="722" y="1300"/>
                  </a:lnTo>
                  <a:lnTo>
                    <a:pt x="724" y="1300"/>
                  </a:lnTo>
                  <a:lnTo>
                    <a:pt x="726" y="1300"/>
                  </a:lnTo>
                  <a:lnTo>
                    <a:pt x="726" y="1302"/>
                  </a:lnTo>
                  <a:lnTo>
                    <a:pt x="726" y="1302"/>
                  </a:lnTo>
                  <a:lnTo>
                    <a:pt x="726" y="1304"/>
                  </a:lnTo>
                  <a:lnTo>
                    <a:pt x="726" y="1304"/>
                  </a:lnTo>
                  <a:lnTo>
                    <a:pt x="727" y="1304"/>
                  </a:lnTo>
                  <a:lnTo>
                    <a:pt x="727" y="1306"/>
                  </a:lnTo>
                  <a:lnTo>
                    <a:pt x="727" y="1307"/>
                  </a:lnTo>
                  <a:lnTo>
                    <a:pt x="727" y="1307"/>
                  </a:lnTo>
                  <a:lnTo>
                    <a:pt x="729" y="1309"/>
                  </a:lnTo>
                  <a:lnTo>
                    <a:pt x="727" y="1309"/>
                  </a:lnTo>
                  <a:lnTo>
                    <a:pt x="726" y="1307"/>
                  </a:lnTo>
                  <a:lnTo>
                    <a:pt x="726" y="1307"/>
                  </a:lnTo>
                  <a:lnTo>
                    <a:pt x="726" y="1307"/>
                  </a:lnTo>
                  <a:lnTo>
                    <a:pt x="726" y="1309"/>
                  </a:lnTo>
                  <a:lnTo>
                    <a:pt x="727" y="1311"/>
                  </a:lnTo>
                  <a:lnTo>
                    <a:pt x="729" y="1313"/>
                  </a:lnTo>
                  <a:lnTo>
                    <a:pt x="727" y="1311"/>
                  </a:lnTo>
                  <a:lnTo>
                    <a:pt x="726" y="1309"/>
                  </a:lnTo>
                  <a:lnTo>
                    <a:pt x="724" y="1309"/>
                  </a:lnTo>
                  <a:lnTo>
                    <a:pt x="724" y="1309"/>
                  </a:lnTo>
                  <a:lnTo>
                    <a:pt x="724" y="1311"/>
                  </a:lnTo>
                  <a:lnTo>
                    <a:pt x="726" y="1311"/>
                  </a:lnTo>
                  <a:lnTo>
                    <a:pt x="726" y="1311"/>
                  </a:lnTo>
                  <a:lnTo>
                    <a:pt x="724" y="1311"/>
                  </a:lnTo>
                  <a:lnTo>
                    <a:pt x="724" y="1309"/>
                  </a:lnTo>
                  <a:lnTo>
                    <a:pt x="722" y="1307"/>
                  </a:lnTo>
                  <a:lnTo>
                    <a:pt x="722" y="1306"/>
                  </a:lnTo>
                  <a:lnTo>
                    <a:pt x="722" y="1304"/>
                  </a:lnTo>
                  <a:lnTo>
                    <a:pt x="720" y="1302"/>
                  </a:lnTo>
                  <a:lnTo>
                    <a:pt x="715" y="1300"/>
                  </a:lnTo>
                  <a:lnTo>
                    <a:pt x="715" y="1300"/>
                  </a:lnTo>
                  <a:lnTo>
                    <a:pt x="713" y="1298"/>
                  </a:lnTo>
                  <a:lnTo>
                    <a:pt x="709" y="1297"/>
                  </a:lnTo>
                  <a:lnTo>
                    <a:pt x="708" y="1295"/>
                  </a:lnTo>
                  <a:lnTo>
                    <a:pt x="706" y="1295"/>
                  </a:lnTo>
                  <a:lnTo>
                    <a:pt x="704" y="1295"/>
                  </a:lnTo>
                  <a:lnTo>
                    <a:pt x="702" y="1295"/>
                  </a:lnTo>
                  <a:lnTo>
                    <a:pt x="704" y="1295"/>
                  </a:lnTo>
                  <a:lnTo>
                    <a:pt x="706" y="1297"/>
                  </a:lnTo>
                  <a:lnTo>
                    <a:pt x="708" y="1300"/>
                  </a:lnTo>
                  <a:lnTo>
                    <a:pt x="709" y="1302"/>
                  </a:lnTo>
                  <a:lnTo>
                    <a:pt x="711" y="1302"/>
                  </a:lnTo>
                  <a:lnTo>
                    <a:pt x="713" y="1302"/>
                  </a:lnTo>
                  <a:lnTo>
                    <a:pt x="715" y="1304"/>
                  </a:lnTo>
                  <a:lnTo>
                    <a:pt x="711" y="1304"/>
                  </a:lnTo>
                  <a:lnTo>
                    <a:pt x="711" y="1304"/>
                  </a:lnTo>
                  <a:lnTo>
                    <a:pt x="715" y="1307"/>
                  </a:lnTo>
                  <a:lnTo>
                    <a:pt x="718" y="1313"/>
                  </a:lnTo>
                  <a:lnTo>
                    <a:pt x="718" y="1313"/>
                  </a:lnTo>
                  <a:lnTo>
                    <a:pt x="715" y="1311"/>
                  </a:lnTo>
                  <a:lnTo>
                    <a:pt x="713" y="1309"/>
                  </a:lnTo>
                  <a:lnTo>
                    <a:pt x="711" y="1309"/>
                  </a:lnTo>
                  <a:lnTo>
                    <a:pt x="711" y="1311"/>
                  </a:lnTo>
                  <a:lnTo>
                    <a:pt x="715" y="1313"/>
                  </a:lnTo>
                  <a:lnTo>
                    <a:pt x="717" y="1316"/>
                  </a:lnTo>
                  <a:lnTo>
                    <a:pt x="718" y="1318"/>
                  </a:lnTo>
                  <a:lnTo>
                    <a:pt x="718" y="1318"/>
                  </a:lnTo>
                  <a:lnTo>
                    <a:pt x="720" y="1320"/>
                  </a:lnTo>
                  <a:lnTo>
                    <a:pt x="722" y="1320"/>
                  </a:lnTo>
                  <a:lnTo>
                    <a:pt x="726" y="1316"/>
                  </a:lnTo>
                  <a:lnTo>
                    <a:pt x="729" y="1315"/>
                  </a:lnTo>
                  <a:lnTo>
                    <a:pt x="731" y="1313"/>
                  </a:lnTo>
                  <a:lnTo>
                    <a:pt x="733" y="1313"/>
                  </a:lnTo>
                  <a:lnTo>
                    <a:pt x="733" y="1311"/>
                  </a:lnTo>
                  <a:lnTo>
                    <a:pt x="733" y="1306"/>
                  </a:lnTo>
                  <a:lnTo>
                    <a:pt x="733" y="1306"/>
                  </a:lnTo>
                  <a:lnTo>
                    <a:pt x="735" y="1306"/>
                  </a:lnTo>
                  <a:lnTo>
                    <a:pt x="736" y="1306"/>
                  </a:lnTo>
                  <a:lnTo>
                    <a:pt x="736" y="1306"/>
                  </a:lnTo>
                  <a:lnTo>
                    <a:pt x="738" y="1304"/>
                  </a:lnTo>
                  <a:lnTo>
                    <a:pt x="738" y="1304"/>
                  </a:lnTo>
                  <a:lnTo>
                    <a:pt x="738" y="1302"/>
                  </a:lnTo>
                  <a:lnTo>
                    <a:pt x="740" y="1300"/>
                  </a:lnTo>
                  <a:lnTo>
                    <a:pt x="740" y="1298"/>
                  </a:lnTo>
                  <a:lnTo>
                    <a:pt x="742" y="1300"/>
                  </a:lnTo>
                  <a:lnTo>
                    <a:pt x="740" y="1300"/>
                  </a:lnTo>
                  <a:lnTo>
                    <a:pt x="740" y="1302"/>
                  </a:lnTo>
                  <a:lnTo>
                    <a:pt x="740" y="1304"/>
                  </a:lnTo>
                  <a:lnTo>
                    <a:pt x="740" y="1304"/>
                  </a:lnTo>
                  <a:lnTo>
                    <a:pt x="742" y="1306"/>
                  </a:lnTo>
                  <a:lnTo>
                    <a:pt x="744" y="1304"/>
                  </a:lnTo>
                  <a:lnTo>
                    <a:pt x="744" y="1304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4" y="1309"/>
                  </a:lnTo>
                  <a:lnTo>
                    <a:pt x="744" y="1309"/>
                  </a:lnTo>
                  <a:lnTo>
                    <a:pt x="742" y="1311"/>
                  </a:lnTo>
                  <a:lnTo>
                    <a:pt x="742" y="1315"/>
                  </a:lnTo>
                  <a:lnTo>
                    <a:pt x="742" y="1318"/>
                  </a:lnTo>
                  <a:lnTo>
                    <a:pt x="742" y="1322"/>
                  </a:lnTo>
                  <a:lnTo>
                    <a:pt x="742" y="1326"/>
                  </a:lnTo>
                  <a:lnTo>
                    <a:pt x="742" y="1327"/>
                  </a:lnTo>
                  <a:lnTo>
                    <a:pt x="742" y="1329"/>
                  </a:lnTo>
                  <a:lnTo>
                    <a:pt x="742" y="1329"/>
                  </a:lnTo>
                  <a:lnTo>
                    <a:pt x="740" y="1329"/>
                  </a:lnTo>
                  <a:lnTo>
                    <a:pt x="738" y="1331"/>
                  </a:lnTo>
                  <a:lnTo>
                    <a:pt x="740" y="1333"/>
                  </a:lnTo>
                  <a:lnTo>
                    <a:pt x="738" y="1335"/>
                  </a:lnTo>
                  <a:lnTo>
                    <a:pt x="735" y="1335"/>
                  </a:lnTo>
                  <a:lnTo>
                    <a:pt x="733" y="1333"/>
                  </a:lnTo>
                  <a:lnTo>
                    <a:pt x="731" y="1333"/>
                  </a:lnTo>
                  <a:lnTo>
                    <a:pt x="729" y="1331"/>
                  </a:lnTo>
                  <a:lnTo>
                    <a:pt x="726" y="1327"/>
                  </a:lnTo>
                  <a:lnTo>
                    <a:pt x="726" y="1327"/>
                  </a:lnTo>
                  <a:lnTo>
                    <a:pt x="726" y="1326"/>
                  </a:lnTo>
                  <a:lnTo>
                    <a:pt x="724" y="1324"/>
                  </a:lnTo>
                  <a:lnTo>
                    <a:pt x="722" y="1322"/>
                  </a:lnTo>
                  <a:lnTo>
                    <a:pt x="720" y="1324"/>
                  </a:lnTo>
                  <a:lnTo>
                    <a:pt x="718" y="1327"/>
                  </a:lnTo>
                  <a:lnTo>
                    <a:pt x="718" y="1327"/>
                  </a:lnTo>
                  <a:lnTo>
                    <a:pt x="720" y="1331"/>
                  </a:lnTo>
                  <a:lnTo>
                    <a:pt x="720" y="1331"/>
                  </a:lnTo>
                  <a:lnTo>
                    <a:pt x="718" y="1333"/>
                  </a:lnTo>
                  <a:lnTo>
                    <a:pt x="720" y="1336"/>
                  </a:lnTo>
                  <a:lnTo>
                    <a:pt x="722" y="1336"/>
                  </a:lnTo>
                  <a:lnTo>
                    <a:pt x="720" y="1336"/>
                  </a:lnTo>
                  <a:lnTo>
                    <a:pt x="715" y="1336"/>
                  </a:lnTo>
                  <a:lnTo>
                    <a:pt x="715" y="1338"/>
                  </a:lnTo>
                  <a:lnTo>
                    <a:pt x="713" y="1340"/>
                  </a:lnTo>
                  <a:lnTo>
                    <a:pt x="715" y="1342"/>
                  </a:lnTo>
                  <a:lnTo>
                    <a:pt x="715" y="1342"/>
                  </a:lnTo>
                  <a:lnTo>
                    <a:pt x="717" y="1342"/>
                  </a:lnTo>
                  <a:lnTo>
                    <a:pt x="717" y="1342"/>
                  </a:lnTo>
                  <a:lnTo>
                    <a:pt x="718" y="1344"/>
                  </a:lnTo>
                  <a:lnTo>
                    <a:pt x="717" y="1344"/>
                  </a:lnTo>
                  <a:lnTo>
                    <a:pt x="717" y="1344"/>
                  </a:lnTo>
                  <a:lnTo>
                    <a:pt x="715" y="1344"/>
                  </a:lnTo>
                  <a:lnTo>
                    <a:pt x="715" y="1345"/>
                  </a:lnTo>
                  <a:lnTo>
                    <a:pt x="715" y="1345"/>
                  </a:lnTo>
                  <a:lnTo>
                    <a:pt x="715" y="1347"/>
                  </a:lnTo>
                  <a:lnTo>
                    <a:pt x="715" y="1347"/>
                  </a:lnTo>
                  <a:lnTo>
                    <a:pt x="720" y="1349"/>
                  </a:lnTo>
                  <a:lnTo>
                    <a:pt x="722" y="1349"/>
                  </a:lnTo>
                  <a:lnTo>
                    <a:pt x="722" y="1351"/>
                  </a:lnTo>
                  <a:lnTo>
                    <a:pt x="718" y="1354"/>
                  </a:lnTo>
                  <a:lnTo>
                    <a:pt x="718" y="1354"/>
                  </a:lnTo>
                  <a:lnTo>
                    <a:pt x="722" y="1354"/>
                  </a:lnTo>
                  <a:lnTo>
                    <a:pt x="724" y="1354"/>
                  </a:lnTo>
                  <a:lnTo>
                    <a:pt x="724" y="1354"/>
                  </a:lnTo>
                  <a:lnTo>
                    <a:pt x="722" y="1354"/>
                  </a:lnTo>
                  <a:lnTo>
                    <a:pt x="722" y="1356"/>
                  </a:lnTo>
                  <a:lnTo>
                    <a:pt x="722" y="1356"/>
                  </a:lnTo>
                  <a:lnTo>
                    <a:pt x="722" y="1358"/>
                  </a:lnTo>
                  <a:lnTo>
                    <a:pt x="726" y="1358"/>
                  </a:lnTo>
                  <a:lnTo>
                    <a:pt x="726" y="1360"/>
                  </a:lnTo>
                  <a:lnTo>
                    <a:pt x="726" y="1360"/>
                  </a:lnTo>
                  <a:lnTo>
                    <a:pt x="724" y="1360"/>
                  </a:lnTo>
                  <a:lnTo>
                    <a:pt x="726" y="1362"/>
                  </a:lnTo>
                  <a:lnTo>
                    <a:pt x="727" y="1363"/>
                  </a:lnTo>
                  <a:lnTo>
                    <a:pt x="727" y="1362"/>
                  </a:lnTo>
                  <a:lnTo>
                    <a:pt x="727" y="1360"/>
                  </a:lnTo>
                  <a:lnTo>
                    <a:pt x="727" y="1360"/>
                  </a:lnTo>
                  <a:lnTo>
                    <a:pt x="729" y="1358"/>
                  </a:lnTo>
                  <a:lnTo>
                    <a:pt x="731" y="1356"/>
                  </a:lnTo>
                  <a:lnTo>
                    <a:pt x="733" y="1354"/>
                  </a:lnTo>
                  <a:lnTo>
                    <a:pt x="733" y="1354"/>
                  </a:lnTo>
                  <a:lnTo>
                    <a:pt x="733" y="1353"/>
                  </a:lnTo>
                  <a:lnTo>
                    <a:pt x="735" y="1347"/>
                  </a:lnTo>
                  <a:lnTo>
                    <a:pt x="735" y="1347"/>
                  </a:lnTo>
                  <a:lnTo>
                    <a:pt x="736" y="1345"/>
                  </a:lnTo>
                  <a:lnTo>
                    <a:pt x="736" y="1342"/>
                  </a:lnTo>
                  <a:lnTo>
                    <a:pt x="738" y="1340"/>
                  </a:lnTo>
                  <a:lnTo>
                    <a:pt x="738" y="1338"/>
                  </a:lnTo>
                  <a:lnTo>
                    <a:pt x="738" y="1340"/>
                  </a:lnTo>
                  <a:lnTo>
                    <a:pt x="738" y="1340"/>
                  </a:lnTo>
                  <a:lnTo>
                    <a:pt x="738" y="1342"/>
                  </a:lnTo>
                  <a:lnTo>
                    <a:pt x="738" y="1340"/>
                  </a:lnTo>
                  <a:lnTo>
                    <a:pt x="740" y="1338"/>
                  </a:lnTo>
                  <a:lnTo>
                    <a:pt x="740" y="1338"/>
                  </a:lnTo>
                  <a:lnTo>
                    <a:pt x="742" y="1338"/>
                  </a:lnTo>
                  <a:lnTo>
                    <a:pt x="742" y="1338"/>
                  </a:lnTo>
                  <a:lnTo>
                    <a:pt x="742" y="1336"/>
                  </a:lnTo>
                  <a:lnTo>
                    <a:pt x="744" y="1336"/>
                  </a:lnTo>
                  <a:lnTo>
                    <a:pt x="744" y="1338"/>
                  </a:lnTo>
                  <a:lnTo>
                    <a:pt x="742" y="1338"/>
                  </a:lnTo>
                  <a:lnTo>
                    <a:pt x="740" y="1340"/>
                  </a:lnTo>
                  <a:lnTo>
                    <a:pt x="740" y="1340"/>
                  </a:lnTo>
                  <a:lnTo>
                    <a:pt x="740" y="1340"/>
                  </a:lnTo>
                  <a:lnTo>
                    <a:pt x="740" y="1342"/>
                  </a:lnTo>
                  <a:lnTo>
                    <a:pt x="738" y="1344"/>
                  </a:lnTo>
                  <a:lnTo>
                    <a:pt x="738" y="1344"/>
                  </a:lnTo>
                  <a:lnTo>
                    <a:pt x="738" y="1344"/>
                  </a:lnTo>
                  <a:lnTo>
                    <a:pt x="736" y="1347"/>
                  </a:lnTo>
                  <a:lnTo>
                    <a:pt x="736" y="1349"/>
                  </a:lnTo>
                  <a:lnTo>
                    <a:pt x="736" y="1349"/>
                  </a:lnTo>
                  <a:lnTo>
                    <a:pt x="736" y="1349"/>
                  </a:lnTo>
                  <a:lnTo>
                    <a:pt x="735" y="1351"/>
                  </a:lnTo>
                  <a:lnTo>
                    <a:pt x="735" y="1353"/>
                  </a:lnTo>
                  <a:lnTo>
                    <a:pt x="736" y="1351"/>
                  </a:lnTo>
                  <a:lnTo>
                    <a:pt x="736" y="1349"/>
                  </a:lnTo>
                  <a:lnTo>
                    <a:pt x="738" y="1349"/>
                  </a:lnTo>
                  <a:lnTo>
                    <a:pt x="738" y="1349"/>
                  </a:lnTo>
                  <a:lnTo>
                    <a:pt x="738" y="1349"/>
                  </a:lnTo>
                  <a:lnTo>
                    <a:pt x="738" y="1351"/>
                  </a:lnTo>
                  <a:lnTo>
                    <a:pt x="736" y="1353"/>
                  </a:lnTo>
                  <a:lnTo>
                    <a:pt x="738" y="1353"/>
                  </a:lnTo>
                  <a:lnTo>
                    <a:pt x="742" y="1353"/>
                  </a:lnTo>
                  <a:lnTo>
                    <a:pt x="742" y="1353"/>
                  </a:lnTo>
                  <a:lnTo>
                    <a:pt x="740" y="1353"/>
                  </a:lnTo>
                  <a:lnTo>
                    <a:pt x="736" y="1354"/>
                  </a:lnTo>
                  <a:lnTo>
                    <a:pt x="735" y="1356"/>
                  </a:lnTo>
                  <a:lnTo>
                    <a:pt x="735" y="1356"/>
                  </a:lnTo>
                  <a:lnTo>
                    <a:pt x="736" y="1356"/>
                  </a:lnTo>
                  <a:lnTo>
                    <a:pt x="735" y="1358"/>
                  </a:lnTo>
                  <a:lnTo>
                    <a:pt x="735" y="1360"/>
                  </a:lnTo>
                  <a:lnTo>
                    <a:pt x="735" y="1360"/>
                  </a:lnTo>
                  <a:lnTo>
                    <a:pt x="735" y="1360"/>
                  </a:lnTo>
                  <a:lnTo>
                    <a:pt x="735" y="1362"/>
                  </a:lnTo>
                  <a:lnTo>
                    <a:pt x="736" y="1362"/>
                  </a:lnTo>
                  <a:lnTo>
                    <a:pt x="738" y="1362"/>
                  </a:lnTo>
                  <a:lnTo>
                    <a:pt x="738" y="1362"/>
                  </a:lnTo>
                  <a:lnTo>
                    <a:pt x="738" y="1362"/>
                  </a:lnTo>
                  <a:lnTo>
                    <a:pt x="740" y="1360"/>
                  </a:lnTo>
                  <a:lnTo>
                    <a:pt x="740" y="1358"/>
                  </a:lnTo>
                  <a:lnTo>
                    <a:pt x="740" y="1358"/>
                  </a:lnTo>
                  <a:lnTo>
                    <a:pt x="740" y="1356"/>
                  </a:lnTo>
                  <a:lnTo>
                    <a:pt x="742" y="1356"/>
                  </a:lnTo>
                  <a:lnTo>
                    <a:pt x="744" y="1354"/>
                  </a:lnTo>
                  <a:lnTo>
                    <a:pt x="745" y="1354"/>
                  </a:lnTo>
                  <a:lnTo>
                    <a:pt x="745" y="1356"/>
                  </a:lnTo>
                  <a:lnTo>
                    <a:pt x="744" y="1356"/>
                  </a:lnTo>
                  <a:lnTo>
                    <a:pt x="742" y="1358"/>
                  </a:lnTo>
                  <a:lnTo>
                    <a:pt x="742" y="1360"/>
                  </a:lnTo>
                  <a:lnTo>
                    <a:pt x="744" y="1363"/>
                  </a:lnTo>
                  <a:lnTo>
                    <a:pt x="744" y="1363"/>
                  </a:lnTo>
                  <a:lnTo>
                    <a:pt x="742" y="1365"/>
                  </a:lnTo>
                  <a:lnTo>
                    <a:pt x="742" y="1365"/>
                  </a:lnTo>
                  <a:lnTo>
                    <a:pt x="742" y="1365"/>
                  </a:lnTo>
                  <a:lnTo>
                    <a:pt x="742" y="1367"/>
                  </a:lnTo>
                  <a:lnTo>
                    <a:pt x="742" y="1367"/>
                  </a:lnTo>
                  <a:lnTo>
                    <a:pt x="744" y="1367"/>
                  </a:lnTo>
                  <a:lnTo>
                    <a:pt x="744" y="1367"/>
                  </a:lnTo>
                  <a:lnTo>
                    <a:pt x="744" y="1367"/>
                  </a:lnTo>
                  <a:lnTo>
                    <a:pt x="744" y="1367"/>
                  </a:lnTo>
                  <a:lnTo>
                    <a:pt x="744" y="1367"/>
                  </a:lnTo>
                  <a:lnTo>
                    <a:pt x="747" y="1367"/>
                  </a:lnTo>
                  <a:lnTo>
                    <a:pt x="745" y="1369"/>
                  </a:lnTo>
                  <a:lnTo>
                    <a:pt x="745" y="1369"/>
                  </a:lnTo>
                  <a:lnTo>
                    <a:pt x="744" y="1371"/>
                  </a:lnTo>
                  <a:lnTo>
                    <a:pt x="744" y="1371"/>
                  </a:lnTo>
                  <a:lnTo>
                    <a:pt x="742" y="1369"/>
                  </a:lnTo>
                  <a:lnTo>
                    <a:pt x="742" y="1369"/>
                  </a:lnTo>
                  <a:lnTo>
                    <a:pt x="740" y="1372"/>
                  </a:lnTo>
                  <a:lnTo>
                    <a:pt x="742" y="1372"/>
                  </a:lnTo>
                  <a:lnTo>
                    <a:pt x="742" y="1372"/>
                  </a:lnTo>
                  <a:lnTo>
                    <a:pt x="742" y="1374"/>
                  </a:lnTo>
                  <a:lnTo>
                    <a:pt x="742" y="1374"/>
                  </a:lnTo>
                  <a:lnTo>
                    <a:pt x="742" y="1374"/>
                  </a:lnTo>
                  <a:lnTo>
                    <a:pt x="744" y="1376"/>
                  </a:lnTo>
                  <a:lnTo>
                    <a:pt x="744" y="1376"/>
                  </a:lnTo>
                  <a:lnTo>
                    <a:pt x="745" y="1374"/>
                  </a:lnTo>
                  <a:lnTo>
                    <a:pt x="745" y="1374"/>
                  </a:lnTo>
                  <a:lnTo>
                    <a:pt x="745" y="1374"/>
                  </a:lnTo>
                  <a:lnTo>
                    <a:pt x="745" y="1376"/>
                  </a:lnTo>
                  <a:lnTo>
                    <a:pt x="747" y="1374"/>
                  </a:lnTo>
                  <a:lnTo>
                    <a:pt x="749" y="1374"/>
                  </a:lnTo>
                  <a:lnTo>
                    <a:pt x="751" y="1371"/>
                  </a:lnTo>
                  <a:lnTo>
                    <a:pt x="751" y="1367"/>
                  </a:lnTo>
                  <a:lnTo>
                    <a:pt x="749" y="1362"/>
                  </a:lnTo>
                  <a:lnTo>
                    <a:pt x="749" y="1362"/>
                  </a:lnTo>
                  <a:lnTo>
                    <a:pt x="749" y="1360"/>
                  </a:lnTo>
                  <a:lnTo>
                    <a:pt x="751" y="1360"/>
                  </a:lnTo>
                  <a:lnTo>
                    <a:pt x="751" y="1360"/>
                  </a:lnTo>
                  <a:lnTo>
                    <a:pt x="753" y="1360"/>
                  </a:lnTo>
                  <a:lnTo>
                    <a:pt x="753" y="1358"/>
                  </a:lnTo>
                  <a:lnTo>
                    <a:pt x="753" y="1356"/>
                  </a:lnTo>
                  <a:lnTo>
                    <a:pt x="754" y="1354"/>
                  </a:lnTo>
                  <a:lnTo>
                    <a:pt x="756" y="1353"/>
                  </a:lnTo>
                  <a:lnTo>
                    <a:pt x="756" y="1351"/>
                  </a:lnTo>
                  <a:lnTo>
                    <a:pt x="756" y="1349"/>
                  </a:lnTo>
                  <a:lnTo>
                    <a:pt x="758" y="1349"/>
                  </a:lnTo>
                  <a:lnTo>
                    <a:pt x="758" y="1349"/>
                  </a:lnTo>
                  <a:lnTo>
                    <a:pt x="762" y="1351"/>
                  </a:lnTo>
                  <a:lnTo>
                    <a:pt x="762" y="1351"/>
                  </a:lnTo>
                  <a:lnTo>
                    <a:pt x="764" y="1351"/>
                  </a:lnTo>
                  <a:lnTo>
                    <a:pt x="764" y="1351"/>
                  </a:lnTo>
                  <a:lnTo>
                    <a:pt x="764" y="1349"/>
                  </a:lnTo>
                  <a:lnTo>
                    <a:pt x="765" y="1347"/>
                  </a:lnTo>
                  <a:lnTo>
                    <a:pt x="764" y="1347"/>
                  </a:lnTo>
                  <a:lnTo>
                    <a:pt x="764" y="1345"/>
                  </a:lnTo>
                  <a:lnTo>
                    <a:pt x="764" y="1345"/>
                  </a:lnTo>
                  <a:lnTo>
                    <a:pt x="764" y="1344"/>
                  </a:lnTo>
                  <a:lnTo>
                    <a:pt x="765" y="1342"/>
                  </a:lnTo>
                  <a:lnTo>
                    <a:pt x="765" y="1340"/>
                  </a:lnTo>
                  <a:lnTo>
                    <a:pt x="764" y="1340"/>
                  </a:lnTo>
                  <a:lnTo>
                    <a:pt x="762" y="1338"/>
                  </a:lnTo>
                  <a:lnTo>
                    <a:pt x="764" y="1338"/>
                  </a:lnTo>
                  <a:lnTo>
                    <a:pt x="765" y="1338"/>
                  </a:lnTo>
                  <a:lnTo>
                    <a:pt x="767" y="1338"/>
                  </a:lnTo>
                  <a:lnTo>
                    <a:pt x="767" y="1338"/>
                  </a:lnTo>
                  <a:lnTo>
                    <a:pt x="769" y="1338"/>
                  </a:lnTo>
                  <a:lnTo>
                    <a:pt x="769" y="1336"/>
                  </a:lnTo>
                  <a:lnTo>
                    <a:pt x="769" y="1336"/>
                  </a:lnTo>
                  <a:lnTo>
                    <a:pt x="767" y="1335"/>
                  </a:lnTo>
                  <a:lnTo>
                    <a:pt x="767" y="1333"/>
                  </a:lnTo>
                  <a:lnTo>
                    <a:pt x="765" y="1331"/>
                  </a:lnTo>
                  <a:lnTo>
                    <a:pt x="765" y="1331"/>
                  </a:lnTo>
                  <a:lnTo>
                    <a:pt x="765" y="1329"/>
                  </a:lnTo>
                  <a:lnTo>
                    <a:pt x="765" y="1329"/>
                  </a:lnTo>
                  <a:lnTo>
                    <a:pt x="765" y="1329"/>
                  </a:lnTo>
                  <a:lnTo>
                    <a:pt x="767" y="1329"/>
                  </a:lnTo>
                  <a:lnTo>
                    <a:pt x="767" y="1333"/>
                  </a:lnTo>
                  <a:lnTo>
                    <a:pt x="767" y="1335"/>
                  </a:lnTo>
                  <a:lnTo>
                    <a:pt x="769" y="1336"/>
                  </a:lnTo>
                  <a:lnTo>
                    <a:pt x="771" y="1336"/>
                  </a:lnTo>
                  <a:lnTo>
                    <a:pt x="771" y="1336"/>
                  </a:lnTo>
                  <a:lnTo>
                    <a:pt x="773" y="1336"/>
                  </a:lnTo>
                  <a:lnTo>
                    <a:pt x="774" y="1333"/>
                  </a:lnTo>
                  <a:lnTo>
                    <a:pt x="776" y="1333"/>
                  </a:lnTo>
                  <a:lnTo>
                    <a:pt x="778" y="1333"/>
                  </a:lnTo>
                  <a:lnTo>
                    <a:pt x="782" y="1331"/>
                  </a:lnTo>
                  <a:lnTo>
                    <a:pt x="782" y="1331"/>
                  </a:lnTo>
                  <a:lnTo>
                    <a:pt x="785" y="1329"/>
                  </a:lnTo>
                  <a:lnTo>
                    <a:pt x="789" y="1324"/>
                  </a:lnTo>
                  <a:lnTo>
                    <a:pt x="791" y="1324"/>
                  </a:lnTo>
                  <a:lnTo>
                    <a:pt x="791" y="1326"/>
                  </a:lnTo>
                  <a:lnTo>
                    <a:pt x="787" y="1329"/>
                  </a:lnTo>
                  <a:lnTo>
                    <a:pt x="787" y="1331"/>
                  </a:lnTo>
                  <a:lnTo>
                    <a:pt x="787" y="1333"/>
                  </a:lnTo>
                  <a:lnTo>
                    <a:pt x="789" y="1333"/>
                  </a:lnTo>
                  <a:lnTo>
                    <a:pt x="789" y="1333"/>
                  </a:lnTo>
                  <a:lnTo>
                    <a:pt x="791" y="1333"/>
                  </a:lnTo>
                  <a:lnTo>
                    <a:pt x="794" y="1329"/>
                  </a:lnTo>
                  <a:lnTo>
                    <a:pt x="796" y="1327"/>
                  </a:lnTo>
                  <a:lnTo>
                    <a:pt x="798" y="1326"/>
                  </a:lnTo>
                  <a:lnTo>
                    <a:pt x="800" y="1326"/>
                  </a:lnTo>
                  <a:lnTo>
                    <a:pt x="801" y="1322"/>
                  </a:lnTo>
                  <a:lnTo>
                    <a:pt x="803" y="1320"/>
                  </a:lnTo>
                  <a:lnTo>
                    <a:pt x="805" y="1318"/>
                  </a:lnTo>
                  <a:lnTo>
                    <a:pt x="807" y="1316"/>
                  </a:lnTo>
                  <a:lnTo>
                    <a:pt x="807" y="1316"/>
                  </a:lnTo>
                  <a:lnTo>
                    <a:pt x="805" y="1322"/>
                  </a:lnTo>
                  <a:lnTo>
                    <a:pt x="805" y="1322"/>
                  </a:lnTo>
                  <a:lnTo>
                    <a:pt x="803" y="1322"/>
                  </a:lnTo>
                  <a:lnTo>
                    <a:pt x="803" y="1322"/>
                  </a:lnTo>
                  <a:lnTo>
                    <a:pt x="803" y="1324"/>
                  </a:lnTo>
                  <a:lnTo>
                    <a:pt x="803" y="1324"/>
                  </a:lnTo>
                  <a:lnTo>
                    <a:pt x="803" y="1324"/>
                  </a:lnTo>
                  <a:lnTo>
                    <a:pt x="801" y="1324"/>
                  </a:lnTo>
                  <a:lnTo>
                    <a:pt x="801" y="1324"/>
                  </a:lnTo>
                  <a:lnTo>
                    <a:pt x="801" y="1326"/>
                  </a:lnTo>
                  <a:lnTo>
                    <a:pt x="812" y="1326"/>
                  </a:lnTo>
                  <a:lnTo>
                    <a:pt x="810" y="1327"/>
                  </a:lnTo>
                  <a:lnTo>
                    <a:pt x="809" y="1327"/>
                  </a:lnTo>
                  <a:lnTo>
                    <a:pt x="803" y="1326"/>
                  </a:lnTo>
                  <a:lnTo>
                    <a:pt x="796" y="1327"/>
                  </a:lnTo>
                  <a:lnTo>
                    <a:pt x="796" y="1329"/>
                  </a:lnTo>
                  <a:lnTo>
                    <a:pt x="794" y="1329"/>
                  </a:lnTo>
                  <a:lnTo>
                    <a:pt x="794" y="1331"/>
                  </a:lnTo>
                  <a:lnTo>
                    <a:pt x="792" y="1335"/>
                  </a:lnTo>
                  <a:lnTo>
                    <a:pt x="792" y="1336"/>
                  </a:lnTo>
                  <a:lnTo>
                    <a:pt x="791" y="1336"/>
                  </a:lnTo>
                  <a:lnTo>
                    <a:pt x="789" y="1338"/>
                  </a:lnTo>
                  <a:lnTo>
                    <a:pt x="789" y="1340"/>
                  </a:lnTo>
                  <a:lnTo>
                    <a:pt x="787" y="1345"/>
                  </a:lnTo>
                  <a:lnTo>
                    <a:pt x="785" y="1349"/>
                  </a:lnTo>
                  <a:lnTo>
                    <a:pt x="785" y="1351"/>
                  </a:lnTo>
                  <a:lnTo>
                    <a:pt x="785" y="1353"/>
                  </a:lnTo>
                  <a:lnTo>
                    <a:pt x="785" y="1353"/>
                  </a:lnTo>
                  <a:lnTo>
                    <a:pt x="783" y="1358"/>
                  </a:lnTo>
                  <a:lnTo>
                    <a:pt x="783" y="1360"/>
                  </a:lnTo>
                  <a:lnTo>
                    <a:pt x="783" y="1362"/>
                  </a:lnTo>
                  <a:lnTo>
                    <a:pt x="783" y="1367"/>
                  </a:lnTo>
                  <a:lnTo>
                    <a:pt x="783" y="1367"/>
                  </a:lnTo>
                  <a:lnTo>
                    <a:pt x="782" y="1365"/>
                  </a:lnTo>
                  <a:lnTo>
                    <a:pt x="782" y="1362"/>
                  </a:lnTo>
                  <a:lnTo>
                    <a:pt x="782" y="1360"/>
                  </a:lnTo>
                  <a:lnTo>
                    <a:pt x="783" y="1358"/>
                  </a:lnTo>
                  <a:lnTo>
                    <a:pt x="783" y="1349"/>
                  </a:lnTo>
                  <a:lnTo>
                    <a:pt x="783" y="1349"/>
                  </a:lnTo>
                  <a:lnTo>
                    <a:pt x="785" y="1347"/>
                  </a:lnTo>
                  <a:lnTo>
                    <a:pt x="785" y="1345"/>
                  </a:lnTo>
                  <a:lnTo>
                    <a:pt x="785" y="1342"/>
                  </a:lnTo>
                  <a:lnTo>
                    <a:pt x="787" y="1340"/>
                  </a:lnTo>
                  <a:lnTo>
                    <a:pt x="789" y="1335"/>
                  </a:lnTo>
                  <a:lnTo>
                    <a:pt x="785" y="1333"/>
                  </a:lnTo>
                  <a:lnTo>
                    <a:pt x="783" y="1333"/>
                  </a:lnTo>
                  <a:lnTo>
                    <a:pt x="782" y="1333"/>
                  </a:lnTo>
                  <a:lnTo>
                    <a:pt x="780" y="1333"/>
                  </a:lnTo>
                  <a:lnTo>
                    <a:pt x="778" y="1336"/>
                  </a:lnTo>
                  <a:lnTo>
                    <a:pt x="778" y="1338"/>
                  </a:lnTo>
                  <a:lnTo>
                    <a:pt x="776" y="1338"/>
                  </a:lnTo>
                  <a:lnTo>
                    <a:pt x="774" y="1338"/>
                  </a:lnTo>
                  <a:lnTo>
                    <a:pt x="774" y="1340"/>
                  </a:lnTo>
                  <a:lnTo>
                    <a:pt x="774" y="1340"/>
                  </a:lnTo>
                  <a:lnTo>
                    <a:pt x="774" y="1340"/>
                  </a:lnTo>
                  <a:lnTo>
                    <a:pt x="774" y="1340"/>
                  </a:lnTo>
                  <a:lnTo>
                    <a:pt x="773" y="1340"/>
                  </a:lnTo>
                  <a:lnTo>
                    <a:pt x="774" y="1342"/>
                  </a:lnTo>
                  <a:lnTo>
                    <a:pt x="773" y="1342"/>
                  </a:lnTo>
                  <a:lnTo>
                    <a:pt x="773" y="1342"/>
                  </a:lnTo>
                  <a:lnTo>
                    <a:pt x="773" y="1342"/>
                  </a:lnTo>
                  <a:lnTo>
                    <a:pt x="771" y="1344"/>
                  </a:lnTo>
                  <a:lnTo>
                    <a:pt x="771" y="1344"/>
                  </a:lnTo>
                  <a:lnTo>
                    <a:pt x="769" y="1345"/>
                  </a:lnTo>
                  <a:lnTo>
                    <a:pt x="767" y="1345"/>
                  </a:lnTo>
                  <a:lnTo>
                    <a:pt x="767" y="1347"/>
                  </a:lnTo>
                  <a:lnTo>
                    <a:pt x="767" y="1347"/>
                  </a:lnTo>
                  <a:lnTo>
                    <a:pt x="765" y="1349"/>
                  </a:lnTo>
                  <a:lnTo>
                    <a:pt x="765" y="1351"/>
                  </a:lnTo>
                  <a:lnTo>
                    <a:pt x="765" y="1353"/>
                  </a:lnTo>
                  <a:lnTo>
                    <a:pt x="764" y="1354"/>
                  </a:lnTo>
                  <a:lnTo>
                    <a:pt x="760" y="1356"/>
                  </a:lnTo>
                  <a:lnTo>
                    <a:pt x="762" y="1358"/>
                  </a:lnTo>
                  <a:lnTo>
                    <a:pt x="762" y="1362"/>
                  </a:lnTo>
                  <a:lnTo>
                    <a:pt x="762" y="1365"/>
                  </a:lnTo>
                  <a:lnTo>
                    <a:pt x="764" y="1365"/>
                  </a:lnTo>
                  <a:lnTo>
                    <a:pt x="765" y="1363"/>
                  </a:lnTo>
                  <a:lnTo>
                    <a:pt x="767" y="1363"/>
                  </a:lnTo>
                  <a:lnTo>
                    <a:pt x="767" y="1362"/>
                  </a:lnTo>
                  <a:lnTo>
                    <a:pt x="767" y="1362"/>
                  </a:lnTo>
                  <a:lnTo>
                    <a:pt x="769" y="1360"/>
                  </a:lnTo>
                  <a:lnTo>
                    <a:pt x="769" y="1360"/>
                  </a:lnTo>
                  <a:lnTo>
                    <a:pt x="769" y="1360"/>
                  </a:lnTo>
                  <a:lnTo>
                    <a:pt x="769" y="1360"/>
                  </a:lnTo>
                  <a:lnTo>
                    <a:pt x="769" y="1362"/>
                  </a:lnTo>
                  <a:lnTo>
                    <a:pt x="771" y="1363"/>
                  </a:lnTo>
                  <a:lnTo>
                    <a:pt x="771" y="1363"/>
                  </a:lnTo>
                  <a:lnTo>
                    <a:pt x="771" y="1363"/>
                  </a:lnTo>
                  <a:lnTo>
                    <a:pt x="762" y="1367"/>
                  </a:lnTo>
                  <a:lnTo>
                    <a:pt x="756" y="1371"/>
                  </a:lnTo>
                  <a:lnTo>
                    <a:pt x="754" y="1376"/>
                  </a:lnTo>
                  <a:lnTo>
                    <a:pt x="756" y="1378"/>
                  </a:lnTo>
                  <a:lnTo>
                    <a:pt x="756" y="1378"/>
                  </a:lnTo>
                  <a:lnTo>
                    <a:pt x="756" y="1378"/>
                  </a:lnTo>
                  <a:lnTo>
                    <a:pt x="756" y="1380"/>
                  </a:lnTo>
                  <a:lnTo>
                    <a:pt x="754" y="1380"/>
                  </a:lnTo>
                  <a:lnTo>
                    <a:pt x="754" y="1380"/>
                  </a:lnTo>
                  <a:lnTo>
                    <a:pt x="749" y="1382"/>
                  </a:lnTo>
                  <a:lnTo>
                    <a:pt x="747" y="1382"/>
                  </a:lnTo>
                  <a:lnTo>
                    <a:pt x="745" y="1383"/>
                  </a:lnTo>
                  <a:lnTo>
                    <a:pt x="744" y="1385"/>
                  </a:lnTo>
                  <a:lnTo>
                    <a:pt x="744" y="1387"/>
                  </a:lnTo>
                  <a:lnTo>
                    <a:pt x="742" y="1389"/>
                  </a:lnTo>
                  <a:lnTo>
                    <a:pt x="740" y="1391"/>
                  </a:lnTo>
                  <a:lnTo>
                    <a:pt x="738" y="1391"/>
                  </a:lnTo>
                  <a:lnTo>
                    <a:pt x="740" y="1392"/>
                  </a:lnTo>
                  <a:lnTo>
                    <a:pt x="740" y="1392"/>
                  </a:lnTo>
                  <a:lnTo>
                    <a:pt x="742" y="1391"/>
                  </a:lnTo>
                  <a:lnTo>
                    <a:pt x="742" y="1391"/>
                  </a:lnTo>
                  <a:lnTo>
                    <a:pt x="742" y="1392"/>
                  </a:lnTo>
                  <a:lnTo>
                    <a:pt x="742" y="1392"/>
                  </a:lnTo>
                  <a:lnTo>
                    <a:pt x="744" y="1392"/>
                  </a:lnTo>
                  <a:lnTo>
                    <a:pt x="745" y="1394"/>
                  </a:lnTo>
                  <a:lnTo>
                    <a:pt x="745" y="1396"/>
                  </a:lnTo>
                  <a:lnTo>
                    <a:pt x="747" y="1398"/>
                  </a:lnTo>
                  <a:lnTo>
                    <a:pt x="749" y="1398"/>
                  </a:lnTo>
                  <a:lnTo>
                    <a:pt x="749" y="1398"/>
                  </a:lnTo>
                  <a:lnTo>
                    <a:pt x="751" y="1398"/>
                  </a:lnTo>
                  <a:lnTo>
                    <a:pt x="753" y="1396"/>
                  </a:lnTo>
                  <a:lnTo>
                    <a:pt x="753" y="1396"/>
                  </a:lnTo>
                  <a:lnTo>
                    <a:pt x="753" y="1394"/>
                  </a:lnTo>
                  <a:lnTo>
                    <a:pt x="753" y="1392"/>
                  </a:lnTo>
                  <a:lnTo>
                    <a:pt x="754" y="1391"/>
                  </a:lnTo>
                  <a:lnTo>
                    <a:pt x="754" y="1391"/>
                  </a:lnTo>
                  <a:lnTo>
                    <a:pt x="754" y="1391"/>
                  </a:lnTo>
                  <a:lnTo>
                    <a:pt x="754" y="1392"/>
                  </a:lnTo>
                  <a:lnTo>
                    <a:pt x="754" y="1394"/>
                  </a:lnTo>
                  <a:lnTo>
                    <a:pt x="754" y="1396"/>
                  </a:lnTo>
                  <a:lnTo>
                    <a:pt x="754" y="1396"/>
                  </a:lnTo>
                  <a:lnTo>
                    <a:pt x="753" y="1396"/>
                  </a:lnTo>
                  <a:lnTo>
                    <a:pt x="753" y="1398"/>
                  </a:lnTo>
                  <a:lnTo>
                    <a:pt x="754" y="1400"/>
                  </a:lnTo>
                  <a:lnTo>
                    <a:pt x="754" y="1400"/>
                  </a:lnTo>
                  <a:lnTo>
                    <a:pt x="756" y="1400"/>
                  </a:lnTo>
                  <a:lnTo>
                    <a:pt x="758" y="1400"/>
                  </a:lnTo>
                  <a:lnTo>
                    <a:pt x="758" y="1400"/>
                  </a:lnTo>
                  <a:lnTo>
                    <a:pt x="764" y="1396"/>
                  </a:lnTo>
                  <a:lnTo>
                    <a:pt x="769" y="1391"/>
                  </a:lnTo>
                  <a:lnTo>
                    <a:pt x="773" y="1391"/>
                  </a:lnTo>
                  <a:lnTo>
                    <a:pt x="771" y="1392"/>
                  </a:lnTo>
                  <a:lnTo>
                    <a:pt x="767" y="1392"/>
                  </a:lnTo>
                  <a:lnTo>
                    <a:pt x="767" y="1394"/>
                  </a:lnTo>
                  <a:lnTo>
                    <a:pt x="767" y="1394"/>
                  </a:lnTo>
                  <a:lnTo>
                    <a:pt x="767" y="1396"/>
                  </a:lnTo>
                  <a:lnTo>
                    <a:pt x="765" y="1396"/>
                  </a:lnTo>
                  <a:lnTo>
                    <a:pt x="765" y="1396"/>
                  </a:lnTo>
                  <a:lnTo>
                    <a:pt x="765" y="1396"/>
                  </a:lnTo>
                  <a:lnTo>
                    <a:pt x="758" y="1401"/>
                  </a:lnTo>
                  <a:lnTo>
                    <a:pt x="756" y="1401"/>
                  </a:lnTo>
                  <a:lnTo>
                    <a:pt x="753" y="1401"/>
                  </a:lnTo>
                  <a:lnTo>
                    <a:pt x="753" y="1401"/>
                  </a:lnTo>
                  <a:lnTo>
                    <a:pt x="753" y="1400"/>
                  </a:lnTo>
                  <a:lnTo>
                    <a:pt x="753" y="1400"/>
                  </a:lnTo>
                  <a:lnTo>
                    <a:pt x="753" y="1400"/>
                  </a:lnTo>
                  <a:lnTo>
                    <a:pt x="751" y="1400"/>
                  </a:lnTo>
                  <a:lnTo>
                    <a:pt x="751" y="1400"/>
                  </a:lnTo>
                  <a:lnTo>
                    <a:pt x="751" y="1401"/>
                  </a:lnTo>
                  <a:lnTo>
                    <a:pt x="751" y="1401"/>
                  </a:lnTo>
                  <a:lnTo>
                    <a:pt x="751" y="1401"/>
                  </a:lnTo>
                  <a:lnTo>
                    <a:pt x="747" y="1403"/>
                  </a:lnTo>
                  <a:lnTo>
                    <a:pt x="747" y="1403"/>
                  </a:lnTo>
                  <a:lnTo>
                    <a:pt x="747" y="1403"/>
                  </a:lnTo>
                  <a:lnTo>
                    <a:pt x="747" y="1405"/>
                  </a:lnTo>
                  <a:lnTo>
                    <a:pt x="744" y="1407"/>
                  </a:lnTo>
                  <a:lnTo>
                    <a:pt x="744" y="1409"/>
                  </a:lnTo>
                  <a:lnTo>
                    <a:pt x="745" y="1409"/>
                  </a:lnTo>
                  <a:lnTo>
                    <a:pt x="745" y="1410"/>
                  </a:lnTo>
                  <a:lnTo>
                    <a:pt x="751" y="1409"/>
                  </a:lnTo>
                  <a:lnTo>
                    <a:pt x="751" y="1410"/>
                  </a:lnTo>
                  <a:lnTo>
                    <a:pt x="747" y="1410"/>
                  </a:lnTo>
                  <a:lnTo>
                    <a:pt x="745" y="1410"/>
                  </a:lnTo>
                  <a:lnTo>
                    <a:pt x="745" y="1410"/>
                  </a:lnTo>
                  <a:lnTo>
                    <a:pt x="745" y="1412"/>
                  </a:lnTo>
                  <a:lnTo>
                    <a:pt x="745" y="1414"/>
                  </a:lnTo>
                  <a:lnTo>
                    <a:pt x="745" y="1414"/>
                  </a:lnTo>
                  <a:lnTo>
                    <a:pt x="744" y="1414"/>
                  </a:lnTo>
                  <a:lnTo>
                    <a:pt x="744" y="1414"/>
                  </a:lnTo>
                  <a:lnTo>
                    <a:pt x="742" y="1414"/>
                  </a:lnTo>
                  <a:lnTo>
                    <a:pt x="744" y="1412"/>
                  </a:lnTo>
                  <a:lnTo>
                    <a:pt x="744" y="1410"/>
                  </a:lnTo>
                  <a:lnTo>
                    <a:pt x="742" y="1409"/>
                  </a:lnTo>
                  <a:lnTo>
                    <a:pt x="742" y="1409"/>
                  </a:lnTo>
                  <a:lnTo>
                    <a:pt x="738" y="1409"/>
                  </a:lnTo>
                  <a:lnTo>
                    <a:pt x="736" y="1409"/>
                  </a:lnTo>
                  <a:lnTo>
                    <a:pt x="736" y="1409"/>
                  </a:lnTo>
                  <a:lnTo>
                    <a:pt x="735" y="1409"/>
                  </a:lnTo>
                  <a:lnTo>
                    <a:pt x="735" y="1409"/>
                  </a:lnTo>
                  <a:lnTo>
                    <a:pt x="733" y="1412"/>
                  </a:lnTo>
                  <a:lnTo>
                    <a:pt x="733" y="1414"/>
                  </a:lnTo>
                  <a:lnTo>
                    <a:pt x="733" y="1414"/>
                  </a:lnTo>
                  <a:lnTo>
                    <a:pt x="733" y="1416"/>
                  </a:lnTo>
                  <a:lnTo>
                    <a:pt x="733" y="1418"/>
                  </a:lnTo>
                  <a:lnTo>
                    <a:pt x="733" y="1419"/>
                  </a:lnTo>
                  <a:lnTo>
                    <a:pt x="733" y="1419"/>
                  </a:lnTo>
                  <a:lnTo>
                    <a:pt x="733" y="1421"/>
                  </a:lnTo>
                  <a:lnTo>
                    <a:pt x="731" y="1421"/>
                  </a:lnTo>
                  <a:lnTo>
                    <a:pt x="729" y="1423"/>
                  </a:lnTo>
                  <a:lnTo>
                    <a:pt x="729" y="1423"/>
                  </a:lnTo>
                  <a:lnTo>
                    <a:pt x="727" y="1425"/>
                  </a:lnTo>
                  <a:lnTo>
                    <a:pt x="727" y="1425"/>
                  </a:lnTo>
                  <a:lnTo>
                    <a:pt x="727" y="1425"/>
                  </a:lnTo>
                  <a:lnTo>
                    <a:pt x="727" y="1423"/>
                  </a:lnTo>
                  <a:lnTo>
                    <a:pt x="727" y="1423"/>
                  </a:lnTo>
                  <a:lnTo>
                    <a:pt x="727" y="1421"/>
                  </a:lnTo>
                  <a:lnTo>
                    <a:pt x="727" y="1421"/>
                  </a:lnTo>
                  <a:lnTo>
                    <a:pt x="727" y="1421"/>
                  </a:lnTo>
                  <a:lnTo>
                    <a:pt x="727" y="1421"/>
                  </a:lnTo>
                  <a:lnTo>
                    <a:pt x="729" y="1421"/>
                  </a:lnTo>
                  <a:lnTo>
                    <a:pt x="729" y="1421"/>
                  </a:lnTo>
                  <a:lnTo>
                    <a:pt x="729" y="1419"/>
                  </a:lnTo>
                  <a:lnTo>
                    <a:pt x="729" y="1419"/>
                  </a:lnTo>
                  <a:lnTo>
                    <a:pt x="731" y="1419"/>
                  </a:lnTo>
                  <a:lnTo>
                    <a:pt x="731" y="1418"/>
                  </a:lnTo>
                  <a:lnTo>
                    <a:pt x="731" y="1418"/>
                  </a:lnTo>
                  <a:lnTo>
                    <a:pt x="731" y="1416"/>
                  </a:lnTo>
                  <a:lnTo>
                    <a:pt x="731" y="1414"/>
                  </a:lnTo>
                  <a:lnTo>
                    <a:pt x="731" y="1414"/>
                  </a:lnTo>
                  <a:lnTo>
                    <a:pt x="731" y="1412"/>
                  </a:lnTo>
                  <a:lnTo>
                    <a:pt x="731" y="1410"/>
                  </a:lnTo>
                  <a:lnTo>
                    <a:pt x="731" y="1409"/>
                  </a:lnTo>
                  <a:lnTo>
                    <a:pt x="731" y="1407"/>
                  </a:lnTo>
                  <a:lnTo>
                    <a:pt x="731" y="1405"/>
                  </a:lnTo>
                  <a:lnTo>
                    <a:pt x="731" y="1405"/>
                  </a:lnTo>
                  <a:lnTo>
                    <a:pt x="731" y="1403"/>
                  </a:lnTo>
                  <a:lnTo>
                    <a:pt x="731" y="1403"/>
                  </a:lnTo>
                  <a:lnTo>
                    <a:pt x="731" y="1403"/>
                  </a:lnTo>
                  <a:lnTo>
                    <a:pt x="731" y="1401"/>
                  </a:lnTo>
                  <a:lnTo>
                    <a:pt x="729" y="1405"/>
                  </a:lnTo>
                  <a:lnTo>
                    <a:pt x="727" y="1407"/>
                  </a:lnTo>
                  <a:lnTo>
                    <a:pt x="727" y="1409"/>
                  </a:lnTo>
                  <a:lnTo>
                    <a:pt x="727" y="1410"/>
                  </a:lnTo>
                  <a:lnTo>
                    <a:pt x="727" y="1410"/>
                  </a:lnTo>
                  <a:lnTo>
                    <a:pt x="727" y="1412"/>
                  </a:lnTo>
                  <a:lnTo>
                    <a:pt x="727" y="1412"/>
                  </a:lnTo>
                  <a:lnTo>
                    <a:pt x="727" y="1414"/>
                  </a:lnTo>
                  <a:lnTo>
                    <a:pt x="727" y="1416"/>
                  </a:lnTo>
                  <a:lnTo>
                    <a:pt x="727" y="1416"/>
                  </a:lnTo>
                  <a:lnTo>
                    <a:pt x="726" y="1412"/>
                  </a:lnTo>
                  <a:lnTo>
                    <a:pt x="726" y="1410"/>
                  </a:lnTo>
                  <a:lnTo>
                    <a:pt x="726" y="1410"/>
                  </a:lnTo>
                  <a:lnTo>
                    <a:pt x="724" y="1410"/>
                  </a:lnTo>
                  <a:lnTo>
                    <a:pt x="722" y="1412"/>
                  </a:lnTo>
                  <a:lnTo>
                    <a:pt x="722" y="1412"/>
                  </a:lnTo>
                  <a:lnTo>
                    <a:pt x="722" y="1416"/>
                  </a:lnTo>
                  <a:lnTo>
                    <a:pt x="718" y="1419"/>
                  </a:lnTo>
                  <a:lnTo>
                    <a:pt x="718" y="1419"/>
                  </a:lnTo>
                  <a:lnTo>
                    <a:pt x="717" y="1421"/>
                  </a:lnTo>
                  <a:lnTo>
                    <a:pt x="717" y="1421"/>
                  </a:lnTo>
                  <a:lnTo>
                    <a:pt x="718" y="1423"/>
                  </a:lnTo>
                  <a:lnTo>
                    <a:pt x="718" y="1423"/>
                  </a:lnTo>
                  <a:lnTo>
                    <a:pt x="717" y="1423"/>
                  </a:lnTo>
                  <a:lnTo>
                    <a:pt x="717" y="1423"/>
                  </a:lnTo>
                  <a:lnTo>
                    <a:pt x="717" y="1423"/>
                  </a:lnTo>
                  <a:lnTo>
                    <a:pt x="717" y="1425"/>
                  </a:lnTo>
                  <a:lnTo>
                    <a:pt x="717" y="1425"/>
                  </a:lnTo>
                  <a:lnTo>
                    <a:pt x="717" y="1425"/>
                  </a:lnTo>
                  <a:lnTo>
                    <a:pt x="717" y="1425"/>
                  </a:lnTo>
                  <a:lnTo>
                    <a:pt x="717" y="1428"/>
                  </a:lnTo>
                  <a:lnTo>
                    <a:pt x="717" y="1430"/>
                  </a:lnTo>
                  <a:lnTo>
                    <a:pt x="717" y="1432"/>
                  </a:lnTo>
                  <a:lnTo>
                    <a:pt x="718" y="1432"/>
                  </a:lnTo>
                  <a:lnTo>
                    <a:pt x="722" y="1441"/>
                  </a:lnTo>
                  <a:lnTo>
                    <a:pt x="724" y="1439"/>
                  </a:lnTo>
                  <a:lnTo>
                    <a:pt x="724" y="1439"/>
                  </a:lnTo>
                  <a:lnTo>
                    <a:pt x="724" y="1434"/>
                  </a:lnTo>
                  <a:lnTo>
                    <a:pt x="724" y="1434"/>
                  </a:lnTo>
                  <a:lnTo>
                    <a:pt x="724" y="1434"/>
                  </a:lnTo>
                  <a:lnTo>
                    <a:pt x="724" y="1434"/>
                  </a:lnTo>
                  <a:lnTo>
                    <a:pt x="724" y="1436"/>
                  </a:lnTo>
                  <a:lnTo>
                    <a:pt x="724" y="1436"/>
                  </a:lnTo>
                  <a:lnTo>
                    <a:pt x="724" y="1439"/>
                  </a:lnTo>
                  <a:lnTo>
                    <a:pt x="724" y="1439"/>
                  </a:lnTo>
                  <a:lnTo>
                    <a:pt x="726" y="1441"/>
                  </a:lnTo>
                  <a:lnTo>
                    <a:pt x="726" y="1443"/>
                  </a:lnTo>
                  <a:lnTo>
                    <a:pt x="726" y="1445"/>
                  </a:lnTo>
                  <a:lnTo>
                    <a:pt x="726" y="1445"/>
                  </a:lnTo>
                  <a:lnTo>
                    <a:pt x="726" y="1445"/>
                  </a:lnTo>
                  <a:lnTo>
                    <a:pt x="727" y="1445"/>
                  </a:lnTo>
                  <a:lnTo>
                    <a:pt x="727" y="1445"/>
                  </a:lnTo>
                  <a:lnTo>
                    <a:pt x="727" y="1443"/>
                  </a:lnTo>
                  <a:lnTo>
                    <a:pt x="727" y="1439"/>
                  </a:lnTo>
                  <a:lnTo>
                    <a:pt x="727" y="1438"/>
                  </a:lnTo>
                  <a:lnTo>
                    <a:pt x="727" y="1436"/>
                  </a:lnTo>
                  <a:lnTo>
                    <a:pt x="727" y="1434"/>
                  </a:lnTo>
                  <a:lnTo>
                    <a:pt x="729" y="1436"/>
                  </a:lnTo>
                  <a:lnTo>
                    <a:pt x="729" y="1438"/>
                  </a:lnTo>
                  <a:lnTo>
                    <a:pt x="727" y="1439"/>
                  </a:lnTo>
                  <a:lnTo>
                    <a:pt x="727" y="1443"/>
                  </a:lnTo>
                  <a:lnTo>
                    <a:pt x="729" y="1445"/>
                  </a:lnTo>
                  <a:lnTo>
                    <a:pt x="729" y="1447"/>
                  </a:lnTo>
                  <a:lnTo>
                    <a:pt x="731" y="1447"/>
                  </a:lnTo>
                  <a:lnTo>
                    <a:pt x="731" y="1447"/>
                  </a:lnTo>
                  <a:lnTo>
                    <a:pt x="733" y="1447"/>
                  </a:lnTo>
                  <a:lnTo>
                    <a:pt x="735" y="1445"/>
                  </a:lnTo>
                  <a:lnTo>
                    <a:pt x="735" y="1443"/>
                  </a:lnTo>
                  <a:lnTo>
                    <a:pt x="735" y="1441"/>
                  </a:lnTo>
                  <a:lnTo>
                    <a:pt x="735" y="1438"/>
                  </a:lnTo>
                  <a:lnTo>
                    <a:pt x="736" y="1436"/>
                  </a:lnTo>
                  <a:lnTo>
                    <a:pt x="736" y="1436"/>
                  </a:lnTo>
                  <a:lnTo>
                    <a:pt x="735" y="1434"/>
                  </a:lnTo>
                  <a:lnTo>
                    <a:pt x="735" y="1434"/>
                  </a:lnTo>
                  <a:lnTo>
                    <a:pt x="736" y="1434"/>
                  </a:lnTo>
                  <a:lnTo>
                    <a:pt x="736" y="1436"/>
                  </a:lnTo>
                  <a:lnTo>
                    <a:pt x="738" y="1439"/>
                  </a:lnTo>
                  <a:lnTo>
                    <a:pt x="738" y="1441"/>
                  </a:lnTo>
                  <a:lnTo>
                    <a:pt x="738" y="1443"/>
                  </a:lnTo>
                  <a:lnTo>
                    <a:pt x="738" y="1443"/>
                  </a:lnTo>
                  <a:lnTo>
                    <a:pt x="738" y="1443"/>
                  </a:lnTo>
                  <a:lnTo>
                    <a:pt x="736" y="1445"/>
                  </a:lnTo>
                  <a:lnTo>
                    <a:pt x="736" y="1447"/>
                  </a:lnTo>
                  <a:lnTo>
                    <a:pt x="738" y="1447"/>
                  </a:lnTo>
                  <a:lnTo>
                    <a:pt x="740" y="1445"/>
                  </a:lnTo>
                  <a:lnTo>
                    <a:pt x="740" y="1445"/>
                  </a:lnTo>
                  <a:lnTo>
                    <a:pt x="740" y="1443"/>
                  </a:lnTo>
                  <a:lnTo>
                    <a:pt x="742" y="1443"/>
                  </a:lnTo>
                  <a:lnTo>
                    <a:pt x="742" y="1443"/>
                  </a:lnTo>
                  <a:lnTo>
                    <a:pt x="742" y="1441"/>
                  </a:lnTo>
                  <a:lnTo>
                    <a:pt x="742" y="1441"/>
                  </a:lnTo>
                  <a:lnTo>
                    <a:pt x="742" y="1441"/>
                  </a:lnTo>
                  <a:lnTo>
                    <a:pt x="744" y="1441"/>
                  </a:lnTo>
                  <a:lnTo>
                    <a:pt x="744" y="1441"/>
                  </a:lnTo>
                  <a:lnTo>
                    <a:pt x="745" y="1441"/>
                  </a:lnTo>
                  <a:lnTo>
                    <a:pt x="745" y="1441"/>
                  </a:lnTo>
                  <a:lnTo>
                    <a:pt x="749" y="1441"/>
                  </a:lnTo>
                  <a:lnTo>
                    <a:pt x="749" y="1439"/>
                  </a:lnTo>
                  <a:lnTo>
                    <a:pt x="749" y="1438"/>
                  </a:lnTo>
                  <a:lnTo>
                    <a:pt x="749" y="1438"/>
                  </a:lnTo>
                  <a:lnTo>
                    <a:pt x="747" y="1434"/>
                  </a:lnTo>
                  <a:lnTo>
                    <a:pt x="745" y="1432"/>
                  </a:lnTo>
                  <a:lnTo>
                    <a:pt x="745" y="1432"/>
                  </a:lnTo>
                  <a:lnTo>
                    <a:pt x="744" y="1432"/>
                  </a:lnTo>
                  <a:lnTo>
                    <a:pt x="740" y="1434"/>
                  </a:lnTo>
                  <a:lnTo>
                    <a:pt x="738" y="1434"/>
                  </a:lnTo>
                  <a:lnTo>
                    <a:pt x="742" y="1432"/>
                  </a:lnTo>
                  <a:lnTo>
                    <a:pt x="742" y="1430"/>
                  </a:lnTo>
                  <a:lnTo>
                    <a:pt x="742" y="1428"/>
                  </a:lnTo>
                  <a:lnTo>
                    <a:pt x="744" y="1430"/>
                  </a:lnTo>
                  <a:lnTo>
                    <a:pt x="744" y="1430"/>
                  </a:lnTo>
                  <a:lnTo>
                    <a:pt x="745" y="1430"/>
                  </a:lnTo>
                  <a:lnTo>
                    <a:pt x="747" y="1428"/>
                  </a:lnTo>
                  <a:lnTo>
                    <a:pt x="747" y="1427"/>
                  </a:lnTo>
                  <a:lnTo>
                    <a:pt x="747" y="1427"/>
                  </a:lnTo>
                  <a:lnTo>
                    <a:pt x="745" y="1423"/>
                  </a:lnTo>
                  <a:lnTo>
                    <a:pt x="745" y="1423"/>
                  </a:lnTo>
                  <a:lnTo>
                    <a:pt x="747" y="1421"/>
                  </a:lnTo>
                  <a:lnTo>
                    <a:pt x="747" y="1421"/>
                  </a:lnTo>
                  <a:lnTo>
                    <a:pt x="747" y="1421"/>
                  </a:lnTo>
                  <a:lnTo>
                    <a:pt x="749" y="1423"/>
                  </a:lnTo>
                  <a:lnTo>
                    <a:pt x="749" y="1425"/>
                  </a:lnTo>
                  <a:lnTo>
                    <a:pt x="749" y="1425"/>
                  </a:lnTo>
                  <a:lnTo>
                    <a:pt x="749" y="1427"/>
                  </a:lnTo>
                  <a:lnTo>
                    <a:pt x="751" y="1427"/>
                  </a:lnTo>
                  <a:lnTo>
                    <a:pt x="751" y="1427"/>
                  </a:lnTo>
                  <a:lnTo>
                    <a:pt x="751" y="1427"/>
                  </a:lnTo>
                  <a:lnTo>
                    <a:pt x="758" y="1428"/>
                  </a:lnTo>
                  <a:lnTo>
                    <a:pt x="760" y="1427"/>
                  </a:lnTo>
                  <a:lnTo>
                    <a:pt x="762" y="1427"/>
                  </a:lnTo>
                  <a:lnTo>
                    <a:pt x="764" y="1427"/>
                  </a:lnTo>
                  <a:lnTo>
                    <a:pt x="764" y="1428"/>
                  </a:lnTo>
                  <a:lnTo>
                    <a:pt x="753" y="1430"/>
                  </a:lnTo>
                  <a:lnTo>
                    <a:pt x="751" y="1430"/>
                  </a:lnTo>
                  <a:lnTo>
                    <a:pt x="751" y="1432"/>
                  </a:lnTo>
                  <a:lnTo>
                    <a:pt x="751" y="1432"/>
                  </a:lnTo>
                  <a:lnTo>
                    <a:pt x="751" y="1434"/>
                  </a:lnTo>
                  <a:lnTo>
                    <a:pt x="751" y="1436"/>
                  </a:lnTo>
                  <a:lnTo>
                    <a:pt x="751" y="1436"/>
                  </a:lnTo>
                  <a:lnTo>
                    <a:pt x="751" y="1436"/>
                  </a:lnTo>
                  <a:lnTo>
                    <a:pt x="753" y="1438"/>
                  </a:lnTo>
                  <a:lnTo>
                    <a:pt x="753" y="1438"/>
                  </a:lnTo>
                  <a:lnTo>
                    <a:pt x="753" y="1439"/>
                  </a:lnTo>
                  <a:lnTo>
                    <a:pt x="754" y="1439"/>
                  </a:lnTo>
                  <a:lnTo>
                    <a:pt x="756" y="1438"/>
                  </a:lnTo>
                  <a:lnTo>
                    <a:pt x="756" y="1436"/>
                  </a:lnTo>
                  <a:lnTo>
                    <a:pt x="756" y="1436"/>
                  </a:lnTo>
                  <a:lnTo>
                    <a:pt x="756" y="1436"/>
                  </a:lnTo>
                  <a:lnTo>
                    <a:pt x="754" y="1436"/>
                  </a:lnTo>
                  <a:lnTo>
                    <a:pt x="754" y="1434"/>
                  </a:lnTo>
                  <a:lnTo>
                    <a:pt x="754" y="1434"/>
                  </a:lnTo>
                  <a:lnTo>
                    <a:pt x="756" y="1434"/>
                  </a:lnTo>
                  <a:lnTo>
                    <a:pt x="756" y="1434"/>
                  </a:lnTo>
                  <a:lnTo>
                    <a:pt x="756" y="1432"/>
                  </a:lnTo>
                  <a:lnTo>
                    <a:pt x="756" y="1432"/>
                  </a:lnTo>
                  <a:lnTo>
                    <a:pt x="756" y="1434"/>
                  </a:lnTo>
                  <a:lnTo>
                    <a:pt x="758" y="1436"/>
                  </a:lnTo>
                  <a:lnTo>
                    <a:pt x="758" y="1434"/>
                  </a:lnTo>
                  <a:lnTo>
                    <a:pt x="760" y="1434"/>
                  </a:lnTo>
                  <a:lnTo>
                    <a:pt x="762" y="1432"/>
                  </a:lnTo>
                  <a:lnTo>
                    <a:pt x="764" y="1430"/>
                  </a:lnTo>
                  <a:lnTo>
                    <a:pt x="764" y="1430"/>
                  </a:lnTo>
                  <a:lnTo>
                    <a:pt x="765" y="1428"/>
                  </a:lnTo>
                  <a:lnTo>
                    <a:pt x="767" y="1425"/>
                  </a:lnTo>
                  <a:lnTo>
                    <a:pt x="767" y="1423"/>
                  </a:lnTo>
                  <a:lnTo>
                    <a:pt x="769" y="1421"/>
                  </a:lnTo>
                  <a:lnTo>
                    <a:pt x="769" y="1419"/>
                  </a:lnTo>
                  <a:lnTo>
                    <a:pt x="769" y="1419"/>
                  </a:lnTo>
                  <a:lnTo>
                    <a:pt x="769" y="1416"/>
                  </a:lnTo>
                  <a:lnTo>
                    <a:pt x="771" y="1412"/>
                  </a:lnTo>
                  <a:lnTo>
                    <a:pt x="771" y="1410"/>
                  </a:lnTo>
                  <a:lnTo>
                    <a:pt x="773" y="1410"/>
                  </a:lnTo>
                  <a:lnTo>
                    <a:pt x="771" y="1410"/>
                  </a:lnTo>
                  <a:lnTo>
                    <a:pt x="771" y="1412"/>
                  </a:lnTo>
                  <a:lnTo>
                    <a:pt x="771" y="1414"/>
                  </a:lnTo>
                  <a:lnTo>
                    <a:pt x="771" y="1416"/>
                  </a:lnTo>
                  <a:lnTo>
                    <a:pt x="771" y="1418"/>
                  </a:lnTo>
                  <a:lnTo>
                    <a:pt x="771" y="1419"/>
                  </a:lnTo>
                  <a:lnTo>
                    <a:pt x="769" y="1421"/>
                  </a:lnTo>
                  <a:lnTo>
                    <a:pt x="769" y="1423"/>
                  </a:lnTo>
                  <a:lnTo>
                    <a:pt x="771" y="1423"/>
                  </a:lnTo>
                  <a:lnTo>
                    <a:pt x="774" y="1419"/>
                  </a:lnTo>
                  <a:lnTo>
                    <a:pt x="782" y="1418"/>
                  </a:lnTo>
                  <a:lnTo>
                    <a:pt x="783" y="1419"/>
                  </a:lnTo>
                  <a:lnTo>
                    <a:pt x="778" y="1421"/>
                  </a:lnTo>
                  <a:lnTo>
                    <a:pt x="769" y="1425"/>
                  </a:lnTo>
                  <a:lnTo>
                    <a:pt x="767" y="1425"/>
                  </a:lnTo>
                  <a:lnTo>
                    <a:pt x="767" y="1427"/>
                  </a:lnTo>
                  <a:lnTo>
                    <a:pt x="767" y="1428"/>
                  </a:lnTo>
                  <a:lnTo>
                    <a:pt x="767" y="1428"/>
                  </a:lnTo>
                  <a:lnTo>
                    <a:pt x="767" y="1430"/>
                  </a:lnTo>
                  <a:lnTo>
                    <a:pt x="767" y="1432"/>
                  </a:lnTo>
                  <a:lnTo>
                    <a:pt x="765" y="1432"/>
                  </a:lnTo>
                  <a:lnTo>
                    <a:pt x="765" y="1432"/>
                  </a:lnTo>
                  <a:lnTo>
                    <a:pt x="765" y="1432"/>
                  </a:lnTo>
                  <a:lnTo>
                    <a:pt x="765" y="1430"/>
                  </a:lnTo>
                  <a:lnTo>
                    <a:pt x="764" y="1432"/>
                  </a:lnTo>
                  <a:lnTo>
                    <a:pt x="764" y="1434"/>
                  </a:lnTo>
                  <a:lnTo>
                    <a:pt x="760" y="1436"/>
                  </a:lnTo>
                  <a:lnTo>
                    <a:pt x="760" y="1436"/>
                  </a:lnTo>
                  <a:lnTo>
                    <a:pt x="758" y="1438"/>
                  </a:lnTo>
                  <a:lnTo>
                    <a:pt x="758" y="1438"/>
                  </a:lnTo>
                  <a:lnTo>
                    <a:pt x="758" y="1439"/>
                  </a:lnTo>
                  <a:lnTo>
                    <a:pt x="758" y="1439"/>
                  </a:lnTo>
                  <a:lnTo>
                    <a:pt x="756" y="1441"/>
                  </a:lnTo>
                  <a:lnTo>
                    <a:pt x="756" y="1441"/>
                  </a:lnTo>
                  <a:lnTo>
                    <a:pt x="756" y="1441"/>
                  </a:lnTo>
                  <a:lnTo>
                    <a:pt x="758" y="1443"/>
                  </a:lnTo>
                  <a:lnTo>
                    <a:pt x="758" y="1443"/>
                  </a:lnTo>
                  <a:lnTo>
                    <a:pt x="760" y="1441"/>
                  </a:lnTo>
                  <a:lnTo>
                    <a:pt x="760" y="1439"/>
                  </a:lnTo>
                  <a:lnTo>
                    <a:pt x="760" y="1441"/>
                  </a:lnTo>
                  <a:lnTo>
                    <a:pt x="760" y="1441"/>
                  </a:lnTo>
                  <a:lnTo>
                    <a:pt x="760" y="1443"/>
                  </a:lnTo>
                  <a:lnTo>
                    <a:pt x="762" y="1443"/>
                  </a:lnTo>
                  <a:lnTo>
                    <a:pt x="762" y="1443"/>
                  </a:lnTo>
                  <a:lnTo>
                    <a:pt x="762" y="1443"/>
                  </a:lnTo>
                  <a:lnTo>
                    <a:pt x="764" y="1443"/>
                  </a:lnTo>
                  <a:lnTo>
                    <a:pt x="764" y="1443"/>
                  </a:lnTo>
                  <a:lnTo>
                    <a:pt x="764" y="1441"/>
                  </a:lnTo>
                  <a:lnTo>
                    <a:pt x="764" y="1441"/>
                  </a:lnTo>
                  <a:lnTo>
                    <a:pt x="765" y="1441"/>
                  </a:lnTo>
                  <a:lnTo>
                    <a:pt x="765" y="1443"/>
                  </a:lnTo>
                  <a:lnTo>
                    <a:pt x="765" y="1443"/>
                  </a:lnTo>
                  <a:lnTo>
                    <a:pt x="765" y="1443"/>
                  </a:lnTo>
                  <a:lnTo>
                    <a:pt x="767" y="1441"/>
                  </a:lnTo>
                  <a:lnTo>
                    <a:pt x="767" y="1441"/>
                  </a:lnTo>
                  <a:lnTo>
                    <a:pt x="767" y="1439"/>
                  </a:lnTo>
                  <a:lnTo>
                    <a:pt x="767" y="1441"/>
                  </a:lnTo>
                  <a:lnTo>
                    <a:pt x="767" y="1443"/>
                  </a:lnTo>
                  <a:lnTo>
                    <a:pt x="769" y="1443"/>
                  </a:lnTo>
                  <a:lnTo>
                    <a:pt x="769" y="1443"/>
                  </a:lnTo>
                  <a:lnTo>
                    <a:pt x="762" y="1445"/>
                  </a:lnTo>
                  <a:lnTo>
                    <a:pt x="762" y="1448"/>
                  </a:lnTo>
                  <a:lnTo>
                    <a:pt x="764" y="1448"/>
                  </a:lnTo>
                  <a:lnTo>
                    <a:pt x="767" y="1447"/>
                  </a:lnTo>
                  <a:lnTo>
                    <a:pt x="773" y="1443"/>
                  </a:lnTo>
                  <a:lnTo>
                    <a:pt x="774" y="1443"/>
                  </a:lnTo>
                  <a:lnTo>
                    <a:pt x="780" y="1443"/>
                  </a:lnTo>
                  <a:lnTo>
                    <a:pt x="780" y="1443"/>
                  </a:lnTo>
                  <a:lnTo>
                    <a:pt x="774" y="1443"/>
                  </a:lnTo>
                  <a:lnTo>
                    <a:pt x="773" y="1443"/>
                  </a:lnTo>
                  <a:lnTo>
                    <a:pt x="769" y="1447"/>
                  </a:lnTo>
                  <a:lnTo>
                    <a:pt x="765" y="1448"/>
                  </a:lnTo>
                  <a:lnTo>
                    <a:pt x="764" y="1452"/>
                  </a:lnTo>
                  <a:lnTo>
                    <a:pt x="760" y="1454"/>
                  </a:lnTo>
                  <a:lnTo>
                    <a:pt x="760" y="1454"/>
                  </a:lnTo>
                  <a:lnTo>
                    <a:pt x="758" y="1457"/>
                  </a:lnTo>
                  <a:lnTo>
                    <a:pt x="756" y="1459"/>
                  </a:lnTo>
                  <a:lnTo>
                    <a:pt x="758" y="1459"/>
                  </a:lnTo>
                  <a:lnTo>
                    <a:pt x="762" y="1459"/>
                  </a:lnTo>
                  <a:lnTo>
                    <a:pt x="764" y="1459"/>
                  </a:lnTo>
                  <a:lnTo>
                    <a:pt x="762" y="1461"/>
                  </a:lnTo>
                  <a:lnTo>
                    <a:pt x="760" y="1461"/>
                  </a:lnTo>
                  <a:lnTo>
                    <a:pt x="758" y="1463"/>
                  </a:lnTo>
                  <a:lnTo>
                    <a:pt x="753" y="1463"/>
                  </a:lnTo>
                  <a:lnTo>
                    <a:pt x="751" y="1465"/>
                  </a:lnTo>
                  <a:lnTo>
                    <a:pt x="751" y="1466"/>
                  </a:lnTo>
                  <a:lnTo>
                    <a:pt x="751" y="1468"/>
                  </a:lnTo>
                  <a:lnTo>
                    <a:pt x="751" y="1470"/>
                  </a:lnTo>
                  <a:lnTo>
                    <a:pt x="753" y="1472"/>
                  </a:lnTo>
                  <a:lnTo>
                    <a:pt x="753" y="1472"/>
                  </a:lnTo>
                  <a:lnTo>
                    <a:pt x="754" y="1472"/>
                  </a:lnTo>
                  <a:lnTo>
                    <a:pt x="756" y="1472"/>
                  </a:lnTo>
                  <a:lnTo>
                    <a:pt x="756" y="1472"/>
                  </a:lnTo>
                  <a:lnTo>
                    <a:pt x="758" y="1472"/>
                  </a:lnTo>
                  <a:lnTo>
                    <a:pt x="758" y="1474"/>
                  </a:lnTo>
                  <a:lnTo>
                    <a:pt x="760" y="1474"/>
                  </a:lnTo>
                  <a:lnTo>
                    <a:pt x="758" y="1475"/>
                  </a:lnTo>
                  <a:lnTo>
                    <a:pt x="756" y="1475"/>
                  </a:lnTo>
                  <a:lnTo>
                    <a:pt x="756" y="1475"/>
                  </a:lnTo>
                  <a:lnTo>
                    <a:pt x="756" y="1477"/>
                  </a:lnTo>
                  <a:lnTo>
                    <a:pt x="756" y="1479"/>
                  </a:lnTo>
                  <a:lnTo>
                    <a:pt x="758" y="1483"/>
                  </a:lnTo>
                  <a:lnTo>
                    <a:pt x="764" y="1475"/>
                  </a:lnTo>
                  <a:lnTo>
                    <a:pt x="765" y="1474"/>
                  </a:lnTo>
                  <a:lnTo>
                    <a:pt x="771" y="1474"/>
                  </a:lnTo>
                  <a:lnTo>
                    <a:pt x="774" y="1472"/>
                  </a:lnTo>
                  <a:lnTo>
                    <a:pt x="789" y="1468"/>
                  </a:lnTo>
                  <a:lnTo>
                    <a:pt x="789" y="1470"/>
                  </a:lnTo>
                  <a:lnTo>
                    <a:pt x="767" y="1475"/>
                  </a:lnTo>
                  <a:lnTo>
                    <a:pt x="764" y="1477"/>
                  </a:lnTo>
                  <a:lnTo>
                    <a:pt x="762" y="1479"/>
                  </a:lnTo>
                  <a:lnTo>
                    <a:pt x="760" y="1481"/>
                  </a:lnTo>
                  <a:lnTo>
                    <a:pt x="760" y="1483"/>
                  </a:lnTo>
                  <a:lnTo>
                    <a:pt x="760" y="1484"/>
                  </a:lnTo>
                  <a:lnTo>
                    <a:pt x="760" y="1486"/>
                  </a:lnTo>
                  <a:lnTo>
                    <a:pt x="760" y="1486"/>
                  </a:lnTo>
                  <a:lnTo>
                    <a:pt x="762" y="1488"/>
                  </a:lnTo>
                  <a:lnTo>
                    <a:pt x="762" y="1488"/>
                  </a:lnTo>
                  <a:lnTo>
                    <a:pt x="767" y="1488"/>
                  </a:lnTo>
                  <a:lnTo>
                    <a:pt x="769" y="1490"/>
                  </a:lnTo>
                  <a:lnTo>
                    <a:pt x="764" y="1490"/>
                  </a:lnTo>
                  <a:lnTo>
                    <a:pt x="762" y="1490"/>
                  </a:lnTo>
                  <a:lnTo>
                    <a:pt x="754" y="1484"/>
                  </a:lnTo>
                  <a:lnTo>
                    <a:pt x="754" y="1483"/>
                  </a:lnTo>
                  <a:lnTo>
                    <a:pt x="753" y="1481"/>
                  </a:lnTo>
                  <a:lnTo>
                    <a:pt x="753" y="1479"/>
                  </a:lnTo>
                  <a:lnTo>
                    <a:pt x="751" y="1479"/>
                  </a:lnTo>
                  <a:lnTo>
                    <a:pt x="749" y="1477"/>
                  </a:lnTo>
                  <a:lnTo>
                    <a:pt x="749" y="1477"/>
                  </a:lnTo>
                  <a:lnTo>
                    <a:pt x="747" y="1477"/>
                  </a:lnTo>
                  <a:lnTo>
                    <a:pt x="747" y="1479"/>
                  </a:lnTo>
                  <a:lnTo>
                    <a:pt x="747" y="1479"/>
                  </a:lnTo>
                  <a:lnTo>
                    <a:pt x="747" y="1481"/>
                  </a:lnTo>
                  <a:lnTo>
                    <a:pt x="747" y="1481"/>
                  </a:lnTo>
                  <a:lnTo>
                    <a:pt x="744" y="1481"/>
                  </a:lnTo>
                  <a:lnTo>
                    <a:pt x="744" y="1481"/>
                  </a:lnTo>
                  <a:lnTo>
                    <a:pt x="742" y="1486"/>
                  </a:lnTo>
                  <a:lnTo>
                    <a:pt x="742" y="1484"/>
                  </a:lnTo>
                  <a:lnTo>
                    <a:pt x="742" y="1483"/>
                  </a:lnTo>
                  <a:lnTo>
                    <a:pt x="742" y="1479"/>
                  </a:lnTo>
                  <a:lnTo>
                    <a:pt x="742" y="1477"/>
                  </a:lnTo>
                  <a:lnTo>
                    <a:pt x="735" y="1470"/>
                  </a:lnTo>
                  <a:lnTo>
                    <a:pt x="735" y="1474"/>
                  </a:lnTo>
                  <a:lnTo>
                    <a:pt x="733" y="1474"/>
                  </a:lnTo>
                  <a:lnTo>
                    <a:pt x="733" y="1475"/>
                  </a:lnTo>
                  <a:lnTo>
                    <a:pt x="733" y="1475"/>
                  </a:lnTo>
                  <a:lnTo>
                    <a:pt x="736" y="1475"/>
                  </a:lnTo>
                  <a:lnTo>
                    <a:pt x="736" y="1477"/>
                  </a:lnTo>
                  <a:lnTo>
                    <a:pt x="736" y="1475"/>
                  </a:lnTo>
                  <a:lnTo>
                    <a:pt x="735" y="1475"/>
                  </a:lnTo>
                  <a:lnTo>
                    <a:pt x="735" y="1477"/>
                  </a:lnTo>
                  <a:lnTo>
                    <a:pt x="735" y="1477"/>
                  </a:lnTo>
                  <a:lnTo>
                    <a:pt x="736" y="1479"/>
                  </a:lnTo>
                  <a:lnTo>
                    <a:pt x="738" y="1481"/>
                  </a:lnTo>
                  <a:lnTo>
                    <a:pt x="738" y="1481"/>
                  </a:lnTo>
                  <a:lnTo>
                    <a:pt x="738" y="1483"/>
                  </a:lnTo>
                  <a:lnTo>
                    <a:pt x="736" y="1483"/>
                  </a:lnTo>
                  <a:lnTo>
                    <a:pt x="735" y="1479"/>
                  </a:lnTo>
                  <a:lnTo>
                    <a:pt x="735" y="1479"/>
                  </a:lnTo>
                  <a:lnTo>
                    <a:pt x="735" y="1479"/>
                  </a:lnTo>
                  <a:lnTo>
                    <a:pt x="733" y="1479"/>
                  </a:lnTo>
                  <a:lnTo>
                    <a:pt x="733" y="1479"/>
                  </a:lnTo>
                  <a:lnTo>
                    <a:pt x="735" y="1481"/>
                  </a:lnTo>
                  <a:lnTo>
                    <a:pt x="735" y="1483"/>
                  </a:lnTo>
                  <a:lnTo>
                    <a:pt x="735" y="1483"/>
                  </a:lnTo>
                  <a:lnTo>
                    <a:pt x="735" y="1483"/>
                  </a:lnTo>
                  <a:lnTo>
                    <a:pt x="735" y="1484"/>
                  </a:lnTo>
                  <a:lnTo>
                    <a:pt x="735" y="1484"/>
                  </a:lnTo>
                  <a:lnTo>
                    <a:pt x="735" y="1486"/>
                  </a:lnTo>
                  <a:lnTo>
                    <a:pt x="735" y="1486"/>
                  </a:lnTo>
                  <a:lnTo>
                    <a:pt x="733" y="1486"/>
                  </a:lnTo>
                  <a:lnTo>
                    <a:pt x="733" y="1486"/>
                  </a:lnTo>
                  <a:lnTo>
                    <a:pt x="733" y="1488"/>
                  </a:lnTo>
                  <a:lnTo>
                    <a:pt x="733" y="1490"/>
                  </a:lnTo>
                  <a:lnTo>
                    <a:pt x="733" y="1492"/>
                  </a:lnTo>
                  <a:lnTo>
                    <a:pt x="733" y="1494"/>
                  </a:lnTo>
                  <a:lnTo>
                    <a:pt x="733" y="1495"/>
                  </a:lnTo>
                  <a:lnTo>
                    <a:pt x="731" y="1497"/>
                  </a:lnTo>
                  <a:lnTo>
                    <a:pt x="731" y="1499"/>
                  </a:lnTo>
                  <a:lnTo>
                    <a:pt x="733" y="1501"/>
                  </a:lnTo>
                  <a:lnTo>
                    <a:pt x="733" y="1503"/>
                  </a:lnTo>
                  <a:lnTo>
                    <a:pt x="733" y="1504"/>
                  </a:lnTo>
                  <a:lnTo>
                    <a:pt x="735" y="1506"/>
                  </a:lnTo>
                  <a:lnTo>
                    <a:pt x="735" y="1510"/>
                  </a:lnTo>
                  <a:lnTo>
                    <a:pt x="738" y="1513"/>
                  </a:lnTo>
                  <a:lnTo>
                    <a:pt x="740" y="1517"/>
                  </a:lnTo>
                  <a:lnTo>
                    <a:pt x="738" y="1517"/>
                  </a:lnTo>
                  <a:lnTo>
                    <a:pt x="742" y="1521"/>
                  </a:lnTo>
                  <a:lnTo>
                    <a:pt x="744" y="1521"/>
                  </a:lnTo>
                  <a:lnTo>
                    <a:pt x="745" y="1521"/>
                  </a:lnTo>
                  <a:lnTo>
                    <a:pt x="747" y="1524"/>
                  </a:lnTo>
                  <a:lnTo>
                    <a:pt x="749" y="1524"/>
                  </a:lnTo>
                  <a:lnTo>
                    <a:pt x="753" y="1524"/>
                  </a:lnTo>
                  <a:lnTo>
                    <a:pt x="754" y="1524"/>
                  </a:lnTo>
                  <a:lnTo>
                    <a:pt x="754" y="1526"/>
                  </a:lnTo>
                  <a:lnTo>
                    <a:pt x="754" y="1526"/>
                  </a:lnTo>
                  <a:lnTo>
                    <a:pt x="754" y="1528"/>
                  </a:lnTo>
                  <a:lnTo>
                    <a:pt x="754" y="1528"/>
                  </a:lnTo>
                  <a:lnTo>
                    <a:pt x="754" y="1530"/>
                  </a:lnTo>
                  <a:lnTo>
                    <a:pt x="756" y="1531"/>
                  </a:lnTo>
                  <a:lnTo>
                    <a:pt x="756" y="1531"/>
                  </a:lnTo>
                  <a:lnTo>
                    <a:pt x="756" y="1533"/>
                  </a:lnTo>
                  <a:lnTo>
                    <a:pt x="756" y="1533"/>
                  </a:lnTo>
                  <a:lnTo>
                    <a:pt x="758" y="1533"/>
                  </a:lnTo>
                  <a:lnTo>
                    <a:pt x="760" y="1533"/>
                  </a:lnTo>
                  <a:lnTo>
                    <a:pt x="760" y="1535"/>
                  </a:lnTo>
                  <a:lnTo>
                    <a:pt x="762" y="1535"/>
                  </a:lnTo>
                  <a:lnTo>
                    <a:pt x="764" y="1539"/>
                  </a:lnTo>
                  <a:lnTo>
                    <a:pt x="767" y="1539"/>
                  </a:lnTo>
                  <a:lnTo>
                    <a:pt x="767" y="1539"/>
                  </a:lnTo>
                  <a:lnTo>
                    <a:pt x="769" y="1539"/>
                  </a:lnTo>
                  <a:lnTo>
                    <a:pt x="769" y="1540"/>
                  </a:lnTo>
                  <a:lnTo>
                    <a:pt x="771" y="1540"/>
                  </a:lnTo>
                  <a:lnTo>
                    <a:pt x="771" y="1540"/>
                  </a:lnTo>
                  <a:lnTo>
                    <a:pt x="771" y="1540"/>
                  </a:lnTo>
                  <a:lnTo>
                    <a:pt x="774" y="1542"/>
                  </a:lnTo>
                  <a:lnTo>
                    <a:pt x="776" y="1544"/>
                  </a:lnTo>
                  <a:lnTo>
                    <a:pt x="782" y="1546"/>
                  </a:lnTo>
                  <a:lnTo>
                    <a:pt x="785" y="1548"/>
                  </a:lnTo>
                  <a:lnTo>
                    <a:pt x="789" y="1548"/>
                  </a:lnTo>
                  <a:lnTo>
                    <a:pt x="787" y="1544"/>
                  </a:lnTo>
                  <a:lnTo>
                    <a:pt x="787" y="1540"/>
                  </a:lnTo>
                  <a:lnTo>
                    <a:pt x="789" y="1540"/>
                  </a:lnTo>
                  <a:lnTo>
                    <a:pt x="791" y="1539"/>
                  </a:lnTo>
                  <a:lnTo>
                    <a:pt x="791" y="1539"/>
                  </a:lnTo>
                  <a:lnTo>
                    <a:pt x="792" y="1540"/>
                  </a:lnTo>
                  <a:lnTo>
                    <a:pt x="791" y="1542"/>
                  </a:lnTo>
                  <a:lnTo>
                    <a:pt x="791" y="1540"/>
                  </a:lnTo>
                  <a:lnTo>
                    <a:pt x="789" y="1540"/>
                  </a:lnTo>
                  <a:lnTo>
                    <a:pt x="789" y="1542"/>
                  </a:lnTo>
                  <a:lnTo>
                    <a:pt x="789" y="1544"/>
                  </a:lnTo>
                  <a:lnTo>
                    <a:pt x="789" y="1544"/>
                  </a:lnTo>
                  <a:lnTo>
                    <a:pt x="791" y="1548"/>
                  </a:lnTo>
                  <a:lnTo>
                    <a:pt x="791" y="1550"/>
                  </a:lnTo>
                  <a:lnTo>
                    <a:pt x="792" y="1550"/>
                  </a:lnTo>
                  <a:lnTo>
                    <a:pt x="794" y="1546"/>
                  </a:lnTo>
                  <a:lnTo>
                    <a:pt x="796" y="1544"/>
                  </a:lnTo>
                  <a:lnTo>
                    <a:pt x="798" y="1544"/>
                  </a:lnTo>
                  <a:lnTo>
                    <a:pt x="800" y="1544"/>
                  </a:lnTo>
                  <a:lnTo>
                    <a:pt x="794" y="1546"/>
                  </a:lnTo>
                  <a:lnTo>
                    <a:pt x="792" y="1550"/>
                  </a:lnTo>
                  <a:lnTo>
                    <a:pt x="791" y="1550"/>
                  </a:lnTo>
                  <a:lnTo>
                    <a:pt x="789" y="1551"/>
                  </a:lnTo>
                  <a:lnTo>
                    <a:pt x="791" y="1551"/>
                  </a:lnTo>
                  <a:lnTo>
                    <a:pt x="791" y="1553"/>
                  </a:lnTo>
                  <a:lnTo>
                    <a:pt x="789" y="1553"/>
                  </a:lnTo>
                  <a:lnTo>
                    <a:pt x="787" y="1553"/>
                  </a:lnTo>
                  <a:lnTo>
                    <a:pt x="785" y="1555"/>
                  </a:lnTo>
                  <a:lnTo>
                    <a:pt x="785" y="1557"/>
                  </a:lnTo>
                  <a:lnTo>
                    <a:pt x="785" y="1557"/>
                  </a:lnTo>
                  <a:lnTo>
                    <a:pt x="783" y="1559"/>
                  </a:lnTo>
                  <a:lnTo>
                    <a:pt x="783" y="1559"/>
                  </a:lnTo>
                  <a:lnTo>
                    <a:pt x="783" y="1560"/>
                  </a:lnTo>
                  <a:lnTo>
                    <a:pt x="787" y="1562"/>
                  </a:lnTo>
                  <a:lnTo>
                    <a:pt x="787" y="1564"/>
                  </a:lnTo>
                  <a:lnTo>
                    <a:pt x="792" y="1564"/>
                  </a:lnTo>
                  <a:lnTo>
                    <a:pt x="794" y="1564"/>
                  </a:lnTo>
                  <a:lnTo>
                    <a:pt x="794" y="1564"/>
                  </a:lnTo>
                  <a:lnTo>
                    <a:pt x="794" y="1564"/>
                  </a:lnTo>
                  <a:lnTo>
                    <a:pt x="796" y="1564"/>
                  </a:lnTo>
                  <a:lnTo>
                    <a:pt x="796" y="1564"/>
                  </a:lnTo>
                  <a:lnTo>
                    <a:pt x="796" y="1562"/>
                  </a:lnTo>
                  <a:lnTo>
                    <a:pt x="794" y="1562"/>
                  </a:lnTo>
                  <a:lnTo>
                    <a:pt x="794" y="1560"/>
                  </a:lnTo>
                  <a:lnTo>
                    <a:pt x="792" y="1560"/>
                  </a:lnTo>
                  <a:lnTo>
                    <a:pt x="792" y="1560"/>
                  </a:lnTo>
                  <a:lnTo>
                    <a:pt x="792" y="1559"/>
                  </a:lnTo>
                  <a:lnTo>
                    <a:pt x="792" y="1559"/>
                  </a:lnTo>
                  <a:lnTo>
                    <a:pt x="791" y="1559"/>
                  </a:lnTo>
                  <a:lnTo>
                    <a:pt x="792" y="1557"/>
                  </a:lnTo>
                  <a:lnTo>
                    <a:pt x="792" y="1551"/>
                  </a:lnTo>
                  <a:lnTo>
                    <a:pt x="792" y="1553"/>
                  </a:lnTo>
                  <a:lnTo>
                    <a:pt x="792" y="1555"/>
                  </a:lnTo>
                  <a:lnTo>
                    <a:pt x="792" y="1557"/>
                  </a:lnTo>
                  <a:lnTo>
                    <a:pt x="792" y="1557"/>
                  </a:lnTo>
                  <a:lnTo>
                    <a:pt x="792" y="1559"/>
                  </a:lnTo>
                  <a:lnTo>
                    <a:pt x="794" y="1559"/>
                  </a:lnTo>
                  <a:lnTo>
                    <a:pt x="798" y="1559"/>
                  </a:lnTo>
                  <a:lnTo>
                    <a:pt x="798" y="1559"/>
                  </a:lnTo>
                  <a:lnTo>
                    <a:pt x="796" y="1553"/>
                  </a:lnTo>
                  <a:lnTo>
                    <a:pt x="796" y="1553"/>
                  </a:lnTo>
                  <a:lnTo>
                    <a:pt x="800" y="1557"/>
                  </a:lnTo>
                  <a:lnTo>
                    <a:pt x="800" y="1557"/>
                  </a:lnTo>
                  <a:lnTo>
                    <a:pt x="801" y="1557"/>
                  </a:lnTo>
                  <a:lnTo>
                    <a:pt x="805" y="1557"/>
                  </a:lnTo>
                  <a:lnTo>
                    <a:pt x="807" y="1557"/>
                  </a:lnTo>
                  <a:lnTo>
                    <a:pt x="805" y="1559"/>
                  </a:lnTo>
                  <a:lnTo>
                    <a:pt x="805" y="1559"/>
                  </a:lnTo>
                  <a:lnTo>
                    <a:pt x="800" y="1559"/>
                  </a:lnTo>
                  <a:lnTo>
                    <a:pt x="800" y="1559"/>
                  </a:lnTo>
                  <a:lnTo>
                    <a:pt x="796" y="1560"/>
                  </a:lnTo>
                  <a:lnTo>
                    <a:pt x="798" y="1562"/>
                  </a:lnTo>
                  <a:lnTo>
                    <a:pt x="798" y="1562"/>
                  </a:lnTo>
                  <a:lnTo>
                    <a:pt x="800" y="1562"/>
                  </a:lnTo>
                  <a:lnTo>
                    <a:pt x="800" y="1562"/>
                  </a:lnTo>
                  <a:lnTo>
                    <a:pt x="801" y="1562"/>
                  </a:lnTo>
                  <a:lnTo>
                    <a:pt x="801" y="1560"/>
                  </a:lnTo>
                  <a:lnTo>
                    <a:pt x="801" y="1560"/>
                  </a:lnTo>
                  <a:lnTo>
                    <a:pt x="803" y="1562"/>
                  </a:lnTo>
                  <a:lnTo>
                    <a:pt x="801" y="1562"/>
                  </a:lnTo>
                  <a:lnTo>
                    <a:pt x="801" y="1564"/>
                  </a:lnTo>
                  <a:lnTo>
                    <a:pt x="801" y="1566"/>
                  </a:lnTo>
                  <a:lnTo>
                    <a:pt x="803" y="1564"/>
                  </a:lnTo>
                  <a:lnTo>
                    <a:pt x="805" y="1560"/>
                  </a:lnTo>
                  <a:lnTo>
                    <a:pt x="807" y="1560"/>
                  </a:lnTo>
                  <a:lnTo>
                    <a:pt x="805" y="1562"/>
                  </a:lnTo>
                  <a:lnTo>
                    <a:pt x="805" y="1564"/>
                  </a:lnTo>
                  <a:lnTo>
                    <a:pt x="803" y="1566"/>
                  </a:lnTo>
                  <a:lnTo>
                    <a:pt x="805" y="1566"/>
                  </a:lnTo>
                  <a:lnTo>
                    <a:pt x="809" y="1564"/>
                  </a:lnTo>
                  <a:lnTo>
                    <a:pt x="809" y="1564"/>
                  </a:lnTo>
                  <a:lnTo>
                    <a:pt x="810" y="1562"/>
                  </a:lnTo>
                  <a:lnTo>
                    <a:pt x="812" y="1560"/>
                  </a:lnTo>
                  <a:lnTo>
                    <a:pt x="814" y="1560"/>
                  </a:lnTo>
                  <a:lnTo>
                    <a:pt x="814" y="1560"/>
                  </a:lnTo>
                  <a:lnTo>
                    <a:pt x="814" y="1562"/>
                  </a:lnTo>
                  <a:lnTo>
                    <a:pt x="812" y="1564"/>
                  </a:lnTo>
                  <a:lnTo>
                    <a:pt x="812" y="1564"/>
                  </a:lnTo>
                  <a:lnTo>
                    <a:pt x="812" y="1564"/>
                  </a:lnTo>
                  <a:lnTo>
                    <a:pt x="812" y="1564"/>
                  </a:lnTo>
                  <a:lnTo>
                    <a:pt x="810" y="1564"/>
                  </a:lnTo>
                  <a:lnTo>
                    <a:pt x="810" y="1564"/>
                  </a:lnTo>
                  <a:lnTo>
                    <a:pt x="809" y="1566"/>
                  </a:lnTo>
                  <a:lnTo>
                    <a:pt x="809" y="1566"/>
                  </a:lnTo>
                  <a:lnTo>
                    <a:pt x="807" y="1568"/>
                  </a:lnTo>
                  <a:lnTo>
                    <a:pt x="807" y="1569"/>
                  </a:lnTo>
                  <a:lnTo>
                    <a:pt x="807" y="1569"/>
                  </a:lnTo>
                  <a:lnTo>
                    <a:pt x="807" y="1571"/>
                  </a:lnTo>
                  <a:lnTo>
                    <a:pt x="809" y="1571"/>
                  </a:lnTo>
                  <a:lnTo>
                    <a:pt x="810" y="1569"/>
                  </a:lnTo>
                  <a:lnTo>
                    <a:pt x="810" y="1569"/>
                  </a:lnTo>
                  <a:lnTo>
                    <a:pt x="810" y="1569"/>
                  </a:lnTo>
                  <a:lnTo>
                    <a:pt x="810" y="1569"/>
                  </a:lnTo>
                  <a:lnTo>
                    <a:pt x="810" y="1568"/>
                  </a:lnTo>
                  <a:lnTo>
                    <a:pt x="810" y="1568"/>
                  </a:lnTo>
                  <a:lnTo>
                    <a:pt x="810" y="1568"/>
                  </a:lnTo>
                  <a:lnTo>
                    <a:pt x="810" y="1568"/>
                  </a:lnTo>
                  <a:lnTo>
                    <a:pt x="810" y="1566"/>
                  </a:lnTo>
                  <a:lnTo>
                    <a:pt x="814" y="1566"/>
                  </a:lnTo>
                  <a:lnTo>
                    <a:pt x="816" y="1566"/>
                  </a:lnTo>
                  <a:lnTo>
                    <a:pt x="816" y="1568"/>
                  </a:lnTo>
                  <a:lnTo>
                    <a:pt x="816" y="1566"/>
                  </a:lnTo>
                  <a:lnTo>
                    <a:pt x="820" y="1564"/>
                  </a:lnTo>
                  <a:lnTo>
                    <a:pt x="820" y="1566"/>
                  </a:lnTo>
                  <a:lnTo>
                    <a:pt x="820" y="1566"/>
                  </a:lnTo>
                  <a:lnTo>
                    <a:pt x="827" y="1568"/>
                  </a:lnTo>
                  <a:lnTo>
                    <a:pt x="836" y="1568"/>
                  </a:lnTo>
                  <a:lnTo>
                    <a:pt x="836" y="1568"/>
                  </a:lnTo>
                  <a:lnTo>
                    <a:pt x="836" y="1568"/>
                  </a:lnTo>
                  <a:lnTo>
                    <a:pt x="836" y="1566"/>
                  </a:lnTo>
                  <a:lnTo>
                    <a:pt x="836" y="1568"/>
                  </a:lnTo>
                  <a:lnTo>
                    <a:pt x="838" y="1568"/>
                  </a:lnTo>
                  <a:lnTo>
                    <a:pt x="838" y="1568"/>
                  </a:lnTo>
                  <a:lnTo>
                    <a:pt x="838" y="1566"/>
                  </a:lnTo>
                  <a:lnTo>
                    <a:pt x="839" y="1566"/>
                  </a:lnTo>
                  <a:lnTo>
                    <a:pt x="839" y="1566"/>
                  </a:lnTo>
                  <a:lnTo>
                    <a:pt x="839" y="1566"/>
                  </a:lnTo>
                  <a:lnTo>
                    <a:pt x="839" y="1564"/>
                  </a:lnTo>
                  <a:lnTo>
                    <a:pt x="839" y="1564"/>
                  </a:lnTo>
                  <a:lnTo>
                    <a:pt x="841" y="1564"/>
                  </a:lnTo>
                  <a:lnTo>
                    <a:pt x="843" y="1564"/>
                  </a:lnTo>
                  <a:lnTo>
                    <a:pt x="845" y="1564"/>
                  </a:lnTo>
                  <a:lnTo>
                    <a:pt x="852" y="1562"/>
                  </a:lnTo>
                  <a:lnTo>
                    <a:pt x="854" y="1560"/>
                  </a:lnTo>
                  <a:lnTo>
                    <a:pt x="854" y="1560"/>
                  </a:lnTo>
                  <a:lnTo>
                    <a:pt x="854" y="1559"/>
                  </a:lnTo>
                  <a:lnTo>
                    <a:pt x="857" y="1557"/>
                  </a:lnTo>
                  <a:lnTo>
                    <a:pt x="857" y="1555"/>
                  </a:lnTo>
                  <a:lnTo>
                    <a:pt x="857" y="1553"/>
                  </a:lnTo>
                  <a:lnTo>
                    <a:pt x="857" y="1551"/>
                  </a:lnTo>
                  <a:lnTo>
                    <a:pt x="857" y="1550"/>
                  </a:lnTo>
                  <a:lnTo>
                    <a:pt x="857" y="1550"/>
                  </a:lnTo>
                  <a:lnTo>
                    <a:pt x="859" y="1551"/>
                  </a:lnTo>
                  <a:lnTo>
                    <a:pt x="859" y="1553"/>
                  </a:lnTo>
                  <a:lnTo>
                    <a:pt x="861" y="1555"/>
                  </a:lnTo>
                  <a:lnTo>
                    <a:pt x="861" y="1555"/>
                  </a:lnTo>
                  <a:lnTo>
                    <a:pt x="859" y="1557"/>
                  </a:lnTo>
                  <a:lnTo>
                    <a:pt x="857" y="1557"/>
                  </a:lnTo>
                  <a:lnTo>
                    <a:pt x="859" y="1559"/>
                  </a:lnTo>
                  <a:lnTo>
                    <a:pt x="859" y="1559"/>
                  </a:lnTo>
                  <a:lnTo>
                    <a:pt x="859" y="1559"/>
                  </a:lnTo>
                  <a:lnTo>
                    <a:pt x="859" y="1560"/>
                  </a:lnTo>
                  <a:lnTo>
                    <a:pt x="861" y="1560"/>
                  </a:lnTo>
                  <a:lnTo>
                    <a:pt x="863" y="1560"/>
                  </a:lnTo>
                  <a:lnTo>
                    <a:pt x="863" y="1560"/>
                  </a:lnTo>
                  <a:lnTo>
                    <a:pt x="863" y="1559"/>
                  </a:lnTo>
                  <a:lnTo>
                    <a:pt x="865" y="1557"/>
                  </a:lnTo>
                  <a:lnTo>
                    <a:pt x="865" y="1557"/>
                  </a:lnTo>
                  <a:lnTo>
                    <a:pt x="866" y="1557"/>
                  </a:lnTo>
                  <a:lnTo>
                    <a:pt x="866" y="1559"/>
                  </a:lnTo>
                  <a:lnTo>
                    <a:pt x="868" y="1557"/>
                  </a:lnTo>
                  <a:lnTo>
                    <a:pt x="868" y="1557"/>
                  </a:lnTo>
                  <a:lnTo>
                    <a:pt x="868" y="1555"/>
                  </a:lnTo>
                  <a:lnTo>
                    <a:pt x="868" y="1555"/>
                  </a:lnTo>
                  <a:lnTo>
                    <a:pt x="868" y="1555"/>
                  </a:lnTo>
                  <a:lnTo>
                    <a:pt x="870" y="1553"/>
                  </a:lnTo>
                  <a:lnTo>
                    <a:pt x="870" y="1553"/>
                  </a:lnTo>
                  <a:lnTo>
                    <a:pt x="870" y="1551"/>
                  </a:lnTo>
                  <a:lnTo>
                    <a:pt x="870" y="1551"/>
                  </a:lnTo>
                  <a:lnTo>
                    <a:pt x="870" y="1551"/>
                  </a:lnTo>
                  <a:lnTo>
                    <a:pt x="868" y="1551"/>
                  </a:lnTo>
                  <a:lnTo>
                    <a:pt x="870" y="1550"/>
                  </a:lnTo>
                  <a:lnTo>
                    <a:pt x="872" y="1550"/>
                  </a:lnTo>
                  <a:lnTo>
                    <a:pt x="872" y="1550"/>
                  </a:lnTo>
                  <a:lnTo>
                    <a:pt x="872" y="1550"/>
                  </a:lnTo>
                  <a:lnTo>
                    <a:pt x="874" y="1548"/>
                  </a:lnTo>
                  <a:lnTo>
                    <a:pt x="874" y="1548"/>
                  </a:lnTo>
                  <a:lnTo>
                    <a:pt x="875" y="1548"/>
                  </a:lnTo>
                  <a:lnTo>
                    <a:pt x="877" y="1548"/>
                  </a:lnTo>
                  <a:lnTo>
                    <a:pt x="877" y="1546"/>
                  </a:lnTo>
                  <a:lnTo>
                    <a:pt x="877" y="1544"/>
                  </a:lnTo>
                  <a:lnTo>
                    <a:pt x="877" y="1544"/>
                  </a:lnTo>
                  <a:lnTo>
                    <a:pt x="877" y="1544"/>
                  </a:lnTo>
                  <a:lnTo>
                    <a:pt x="879" y="1546"/>
                  </a:lnTo>
                  <a:lnTo>
                    <a:pt x="879" y="1544"/>
                  </a:lnTo>
                  <a:lnTo>
                    <a:pt x="881" y="1546"/>
                  </a:lnTo>
                  <a:lnTo>
                    <a:pt x="883" y="1546"/>
                  </a:lnTo>
                  <a:lnTo>
                    <a:pt x="883" y="1544"/>
                  </a:lnTo>
                  <a:lnTo>
                    <a:pt x="883" y="1542"/>
                  </a:lnTo>
                  <a:lnTo>
                    <a:pt x="883" y="1542"/>
                  </a:lnTo>
                  <a:lnTo>
                    <a:pt x="885" y="1540"/>
                  </a:lnTo>
                  <a:lnTo>
                    <a:pt x="886" y="1537"/>
                  </a:lnTo>
                  <a:lnTo>
                    <a:pt x="886" y="1537"/>
                  </a:lnTo>
                  <a:lnTo>
                    <a:pt x="886" y="1539"/>
                  </a:lnTo>
                  <a:lnTo>
                    <a:pt x="886" y="1539"/>
                  </a:lnTo>
                  <a:lnTo>
                    <a:pt x="886" y="1539"/>
                  </a:lnTo>
                  <a:lnTo>
                    <a:pt x="888" y="1539"/>
                  </a:lnTo>
                  <a:lnTo>
                    <a:pt x="888" y="1537"/>
                  </a:lnTo>
                  <a:lnTo>
                    <a:pt x="888" y="1537"/>
                  </a:lnTo>
                  <a:lnTo>
                    <a:pt x="888" y="1535"/>
                  </a:lnTo>
                  <a:lnTo>
                    <a:pt x="890" y="1535"/>
                  </a:lnTo>
                  <a:lnTo>
                    <a:pt x="890" y="1535"/>
                  </a:lnTo>
                  <a:lnTo>
                    <a:pt x="892" y="1535"/>
                  </a:lnTo>
                  <a:lnTo>
                    <a:pt x="892" y="1533"/>
                  </a:lnTo>
                  <a:lnTo>
                    <a:pt x="892" y="1533"/>
                  </a:lnTo>
                  <a:lnTo>
                    <a:pt x="894" y="1531"/>
                  </a:lnTo>
                  <a:lnTo>
                    <a:pt x="894" y="1531"/>
                  </a:lnTo>
                  <a:lnTo>
                    <a:pt x="895" y="1530"/>
                  </a:lnTo>
                  <a:lnTo>
                    <a:pt x="895" y="1530"/>
                  </a:lnTo>
                  <a:lnTo>
                    <a:pt x="897" y="1528"/>
                  </a:lnTo>
                  <a:lnTo>
                    <a:pt x="897" y="1528"/>
                  </a:lnTo>
                  <a:lnTo>
                    <a:pt x="899" y="1526"/>
                  </a:lnTo>
                  <a:lnTo>
                    <a:pt x="903" y="1522"/>
                  </a:lnTo>
                  <a:lnTo>
                    <a:pt x="903" y="1521"/>
                  </a:lnTo>
                  <a:lnTo>
                    <a:pt x="904" y="1521"/>
                  </a:lnTo>
                  <a:lnTo>
                    <a:pt x="904" y="1519"/>
                  </a:lnTo>
                  <a:lnTo>
                    <a:pt x="904" y="1515"/>
                  </a:lnTo>
                  <a:lnTo>
                    <a:pt x="904" y="1515"/>
                  </a:lnTo>
                  <a:lnTo>
                    <a:pt x="904" y="1513"/>
                  </a:lnTo>
                  <a:lnTo>
                    <a:pt x="903" y="1513"/>
                  </a:lnTo>
                  <a:lnTo>
                    <a:pt x="903" y="1512"/>
                  </a:lnTo>
                  <a:lnTo>
                    <a:pt x="903" y="1512"/>
                  </a:lnTo>
                  <a:lnTo>
                    <a:pt x="904" y="1513"/>
                  </a:lnTo>
                  <a:lnTo>
                    <a:pt x="904" y="1513"/>
                  </a:lnTo>
                  <a:lnTo>
                    <a:pt x="904" y="1513"/>
                  </a:lnTo>
                  <a:lnTo>
                    <a:pt x="906" y="1513"/>
                  </a:lnTo>
                  <a:lnTo>
                    <a:pt x="906" y="1513"/>
                  </a:lnTo>
                  <a:lnTo>
                    <a:pt x="906" y="1513"/>
                  </a:lnTo>
                  <a:lnTo>
                    <a:pt x="906" y="1513"/>
                  </a:lnTo>
                  <a:lnTo>
                    <a:pt x="906" y="1513"/>
                  </a:lnTo>
                  <a:lnTo>
                    <a:pt x="908" y="1513"/>
                  </a:lnTo>
                  <a:lnTo>
                    <a:pt x="912" y="1512"/>
                  </a:lnTo>
                  <a:lnTo>
                    <a:pt x="915" y="1508"/>
                  </a:lnTo>
                  <a:lnTo>
                    <a:pt x="917" y="1506"/>
                  </a:lnTo>
                  <a:lnTo>
                    <a:pt x="917" y="1506"/>
                  </a:lnTo>
                  <a:lnTo>
                    <a:pt x="915" y="1504"/>
                  </a:lnTo>
                  <a:lnTo>
                    <a:pt x="915" y="1504"/>
                  </a:lnTo>
                  <a:lnTo>
                    <a:pt x="912" y="1504"/>
                  </a:lnTo>
                  <a:lnTo>
                    <a:pt x="910" y="1504"/>
                  </a:lnTo>
                  <a:lnTo>
                    <a:pt x="912" y="1504"/>
                  </a:lnTo>
                  <a:lnTo>
                    <a:pt x="917" y="1504"/>
                  </a:lnTo>
                  <a:lnTo>
                    <a:pt x="917" y="1503"/>
                  </a:lnTo>
                  <a:lnTo>
                    <a:pt x="917" y="1501"/>
                  </a:lnTo>
                  <a:lnTo>
                    <a:pt x="912" y="1499"/>
                  </a:lnTo>
                  <a:lnTo>
                    <a:pt x="913" y="1501"/>
                  </a:lnTo>
                  <a:lnTo>
                    <a:pt x="915" y="1503"/>
                  </a:lnTo>
                  <a:lnTo>
                    <a:pt x="913" y="1503"/>
                  </a:lnTo>
                  <a:lnTo>
                    <a:pt x="910" y="1501"/>
                  </a:lnTo>
                  <a:lnTo>
                    <a:pt x="910" y="1501"/>
                  </a:lnTo>
                  <a:lnTo>
                    <a:pt x="910" y="1501"/>
                  </a:lnTo>
                  <a:lnTo>
                    <a:pt x="910" y="1499"/>
                  </a:lnTo>
                  <a:lnTo>
                    <a:pt x="912" y="1499"/>
                  </a:lnTo>
                  <a:lnTo>
                    <a:pt x="919" y="1501"/>
                  </a:lnTo>
                  <a:lnTo>
                    <a:pt x="922" y="1499"/>
                  </a:lnTo>
                  <a:lnTo>
                    <a:pt x="924" y="1499"/>
                  </a:lnTo>
                  <a:lnTo>
                    <a:pt x="924" y="1497"/>
                  </a:lnTo>
                  <a:lnTo>
                    <a:pt x="926" y="1495"/>
                  </a:lnTo>
                  <a:lnTo>
                    <a:pt x="926" y="1495"/>
                  </a:lnTo>
                  <a:lnTo>
                    <a:pt x="928" y="1495"/>
                  </a:lnTo>
                  <a:lnTo>
                    <a:pt x="928" y="1494"/>
                  </a:lnTo>
                  <a:lnTo>
                    <a:pt x="926" y="1494"/>
                  </a:lnTo>
                  <a:lnTo>
                    <a:pt x="926" y="1495"/>
                  </a:lnTo>
                  <a:lnTo>
                    <a:pt x="926" y="1494"/>
                  </a:lnTo>
                  <a:lnTo>
                    <a:pt x="928" y="1492"/>
                  </a:lnTo>
                  <a:lnTo>
                    <a:pt x="930" y="1490"/>
                  </a:lnTo>
                  <a:lnTo>
                    <a:pt x="928" y="1490"/>
                  </a:lnTo>
                  <a:lnTo>
                    <a:pt x="928" y="1490"/>
                  </a:lnTo>
                  <a:lnTo>
                    <a:pt x="926" y="1490"/>
                  </a:lnTo>
                  <a:lnTo>
                    <a:pt x="924" y="1490"/>
                  </a:lnTo>
                  <a:lnTo>
                    <a:pt x="922" y="1492"/>
                  </a:lnTo>
                  <a:lnTo>
                    <a:pt x="922" y="1492"/>
                  </a:lnTo>
                  <a:lnTo>
                    <a:pt x="922" y="1492"/>
                  </a:lnTo>
                  <a:lnTo>
                    <a:pt x="921" y="1490"/>
                  </a:lnTo>
                  <a:lnTo>
                    <a:pt x="921" y="1490"/>
                  </a:lnTo>
                  <a:lnTo>
                    <a:pt x="922" y="1486"/>
                  </a:lnTo>
                  <a:lnTo>
                    <a:pt x="922" y="1486"/>
                  </a:lnTo>
                  <a:lnTo>
                    <a:pt x="922" y="1488"/>
                  </a:lnTo>
                  <a:lnTo>
                    <a:pt x="924" y="1488"/>
                  </a:lnTo>
                  <a:lnTo>
                    <a:pt x="926" y="1486"/>
                  </a:lnTo>
                  <a:lnTo>
                    <a:pt x="926" y="1486"/>
                  </a:lnTo>
                  <a:lnTo>
                    <a:pt x="926" y="1486"/>
                  </a:lnTo>
                  <a:lnTo>
                    <a:pt x="928" y="1486"/>
                  </a:lnTo>
                  <a:lnTo>
                    <a:pt x="926" y="1484"/>
                  </a:lnTo>
                  <a:lnTo>
                    <a:pt x="926" y="1484"/>
                  </a:lnTo>
                  <a:lnTo>
                    <a:pt x="926" y="1484"/>
                  </a:lnTo>
                  <a:lnTo>
                    <a:pt x="924" y="1486"/>
                  </a:lnTo>
                  <a:lnTo>
                    <a:pt x="926" y="1484"/>
                  </a:lnTo>
                  <a:lnTo>
                    <a:pt x="926" y="1484"/>
                  </a:lnTo>
                  <a:lnTo>
                    <a:pt x="928" y="1484"/>
                  </a:lnTo>
                  <a:lnTo>
                    <a:pt x="930" y="1486"/>
                  </a:lnTo>
                  <a:lnTo>
                    <a:pt x="930" y="1484"/>
                  </a:lnTo>
                  <a:lnTo>
                    <a:pt x="930" y="1484"/>
                  </a:lnTo>
                  <a:lnTo>
                    <a:pt x="933" y="1484"/>
                  </a:lnTo>
                  <a:lnTo>
                    <a:pt x="933" y="1484"/>
                  </a:lnTo>
                  <a:lnTo>
                    <a:pt x="931" y="1483"/>
                  </a:lnTo>
                  <a:lnTo>
                    <a:pt x="930" y="1481"/>
                  </a:lnTo>
                  <a:lnTo>
                    <a:pt x="935" y="1483"/>
                  </a:lnTo>
                  <a:lnTo>
                    <a:pt x="937" y="1481"/>
                  </a:lnTo>
                  <a:lnTo>
                    <a:pt x="937" y="1481"/>
                  </a:lnTo>
                  <a:lnTo>
                    <a:pt x="937" y="1481"/>
                  </a:lnTo>
                  <a:lnTo>
                    <a:pt x="937" y="1479"/>
                  </a:lnTo>
                  <a:lnTo>
                    <a:pt x="941" y="1479"/>
                  </a:lnTo>
                  <a:lnTo>
                    <a:pt x="941" y="1479"/>
                  </a:lnTo>
                  <a:lnTo>
                    <a:pt x="941" y="1477"/>
                  </a:lnTo>
                  <a:lnTo>
                    <a:pt x="941" y="1477"/>
                  </a:lnTo>
                  <a:lnTo>
                    <a:pt x="941" y="1477"/>
                  </a:lnTo>
                  <a:lnTo>
                    <a:pt x="941" y="1477"/>
                  </a:lnTo>
                  <a:lnTo>
                    <a:pt x="941" y="1475"/>
                  </a:lnTo>
                  <a:lnTo>
                    <a:pt x="941" y="1475"/>
                  </a:lnTo>
                  <a:lnTo>
                    <a:pt x="942" y="1475"/>
                  </a:lnTo>
                  <a:lnTo>
                    <a:pt x="942" y="1474"/>
                  </a:lnTo>
                  <a:lnTo>
                    <a:pt x="942" y="1475"/>
                  </a:lnTo>
                  <a:lnTo>
                    <a:pt x="942" y="1475"/>
                  </a:lnTo>
                  <a:lnTo>
                    <a:pt x="942" y="1475"/>
                  </a:lnTo>
                  <a:lnTo>
                    <a:pt x="942" y="1475"/>
                  </a:lnTo>
                  <a:lnTo>
                    <a:pt x="944" y="1474"/>
                  </a:lnTo>
                  <a:lnTo>
                    <a:pt x="942" y="1472"/>
                  </a:lnTo>
                  <a:lnTo>
                    <a:pt x="939" y="1470"/>
                  </a:lnTo>
                  <a:lnTo>
                    <a:pt x="939" y="1470"/>
                  </a:lnTo>
                  <a:lnTo>
                    <a:pt x="939" y="1466"/>
                  </a:lnTo>
                  <a:lnTo>
                    <a:pt x="935" y="1465"/>
                  </a:lnTo>
                  <a:lnTo>
                    <a:pt x="933" y="1463"/>
                  </a:lnTo>
                  <a:lnTo>
                    <a:pt x="937" y="1463"/>
                  </a:lnTo>
                  <a:lnTo>
                    <a:pt x="939" y="1461"/>
                  </a:lnTo>
                  <a:lnTo>
                    <a:pt x="939" y="1463"/>
                  </a:lnTo>
                  <a:lnTo>
                    <a:pt x="939" y="1463"/>
                  </a:lnTo>
                  <a:lnTo>
                    <a:pt x="939" y="1465"/>
                  </a:lnTo>
                  <a:lnTo>
                    <a:pt x="939" y="1465"/>
                  </a:lnTo>
                  <a:lnTo>
                    <a:pt x="939" y="1465"/>
                  </a:lnTo>
                  <a:lnTo>
                    <a:pt x="939" y="1466"/>
                  </a:lnTo>
                  <a:lnTo>
                    <a:pt x="939" y="1466"/>
                  </a:lnTo>
                  <a:lnTo>
                    <a:pt x="941" y="1468"/>
                  </a:lnTo>
                  <a:lnTo>
                    <a:pt x="941" y="1470"/>
                  </a:lnTo>
                  <a:lnTo>
                    <a:pt x="941" y="1470"/>
                  </a:lnTo>
                  <a:lnTo>
                    <a:pt x="941" y="1468"/>
                  </a:lnTo>
                  <a:lnTo>
                    <a:pt x="941" y="1466"/>
                  </a:lnTo>
                  <a:lnTo>
                    <a:pt x="941" y="1465"/>
                  </a:lnTo>
                  <a:lnTo>
                    <a:pt x="942" y="1466"/>
                  </a:lnTo>
                  <a:lnTo>
                    <a:pt x="942" y="1466"/>
                  </a:lnTo>
                  <a:lnTo>
                    <a:pt x="942" y="1468"/>
                  </a:lnTo>
                  <a:lnTo>
                    <a:pt x="942" y="1468"/>
                  </a:lnTo>
                  <a:lnTo>
                    <a:pt x="942" y="1468"/>
                  </a:lnTo>
                  <a:lnTo>
                    <a:pt x="942" y="1468"/>
                  </a:lnTo>
                  <a:lnTo>
                    <a:pt x="942" y="1468"/>
                  </a:lnTo>
                  <a:lnTo>
                    <a:pt x="944" y="1470"/>
                  </a:lnTo>
                  <a:lnTo>
                    <a:pt x="944" y="1472"/>
                  </a:lnTo>
                  <a:lnTo>
                    <a:pt x="946" y="1470"/>
                  </a:lnTo>
                  <a:lnTo>
                    <a:pt x="946" y="1470"/>
                  </a:lnTo>
                  <a:lnTo>
                    <a:pt x="948" y="1472"/>
                  </a:lnTo>
                  <a:lnTo>
                    <a:pt x="950" y="1474"/>
                  </a:lnTo>
                  <a:lnTo>
                    <a:pt x="950" y="1475"/>
                  </a:lnTo>
                  <a:lnTo>
                    <a:pt x="950" y="1477"/>
                  </a:lnTo>
                  <a:lnTo>
                    <a:pt x="948" y="1477"/>
                  </a:lnTo>
                  <a:lnTo>
                    <a:pt x="950" y="1479"/>
                  </a:lnTo>
                  <a:lnTo>
                    <a:pt x="955" y="1479"/>
                  </a:lnTo>
                  <a:lnTo>
                    <a:pt x="957" y="1477"/>
                  </a:lnTo>
                  <a:lnTo>
                    <a:pt x="957" y="1477"/>
                  </a:lnTo>
                  <a:lnTo>
                    <a:pt x="959" y="1475"/>
                  </a:lnTo>
                  <a:lnTo>
                    <a:pt x="959" y="1472"/>
                  </a:lnTo>
                  <a:lnTo>
                    <a:pt x="959" y="1472"/>
                  </a:lnTo>
                  <a:lnTo>
                    <a:pt x="960" y="1472"/>
                  </a:lnTo>
                  <a:lnTo>
                    <a:pt x="960" y="1472"/>
                  </a:lnTo>
                  <a:lnTo>
                    <a:pt x="960" y="1472"/>
                  </a:lnTo>
                  <a:lnTo>
                    <a:pt x="962" y="1470"/>
                  </a:lnTo>
                  <a:lnTo>
                    <a:pt x="962" y="1470"/>
                  </a:lnTo>
                  <a:lnTo>
                    <a:pt x="964" y="1470"/>
                  </a:lnTo>
                  <a:lnTo>
                    <a:pt x="966" y="1470"/>
                  </a:lnTo>
                  <a:lnTo>
                    <a:pt x="966" y="1470"/>
                  </a:lnTo>
                  <a:lnTo>
                    <a:pt x="966" y="1472"/>
                  </a:lnTo>
                  <a:lnTo>
                    <a:pt x="964" y="1474"/>
                  </a:lnTo>
                  <a:lnTo>
                    <a:pt x="962" y="1474"/>
                  </a:lnTo>
                  <a:lnTo>
                    <a:pt x="964" y="1474"/>
                  </a:lnTo>
                  <a:lnTo>
                    <a:pt x="966" y="1474"/>
                  </a:lnTo>
                  <a:lnTo>
                    <a:pt x="968" y="1472"/>
                  </a:lnTo>
                  <a:lnTo>
                    <a:pt x="968" y="1472"/>
                  </a:lnTo>
                  <a:lnTo>
                    <a:pt x="969" y="1470"/>
                  </a:lnTo>
                  <a:lnTo>
                    <a:pt x="968" y="1470"/>
                  </a:lnTo>
                  <a:lnTo>
                    <a:pt x="968" y="1468"/>
                  </a:lnTo>
                  <a:lnTo>
                    <a:pt x="968" y="1468"/>
                  </a:lnTo>
                  <a:lnTo>
                    <a:pt x="968" y="1466"/>
                  </a:lnTo>
                  <a:lnTo>
                    <a:pt x="968" y="1465"/>
                  </a:lnTo>
                  <a:lnTo>
                    <a:pt x="968" y="1463"/>
                  </a:lnTo>
                  <a:lnTo>
                    <a:pt x="968" y="1463"/>
                  </a:lnTo>
                  <a:lnTo>
                    <a:pt x="969" y="1470"/>
                  </a:lnTo>
                  <a:lnTo>
                    <a:pt x="969" y="1470"/>
                  </a:lnTo>
                  <a:lnTo>
                    <a:pt x="971" y="1470"/>
                  </a:lnTo>
                  <a:lnTo>
                    <a:pt x="971" y="1465"/>
                  </a:lnTo>
                  <a:lnTo>
                    <a:pt x="971" y="1463"/>
                  </a:lnTo>
                  <a:lnTo>
                    <a:pt x="971" y="1465"/>
                  </a:lnTo>
                  <a:lnTo>
                    <a:pt x="971" y="1466"/>
                  </a:lnTo>
                  <a:lnTo>
                    <a:pt x="971" y="1468"/>
                  </a:lnTo>
                  <a:lnTo>
                    <a:pt x="973" y="1468"/>
                  </a:lnTo>
                  <a:lnTo>
                    <a:pt x="971" y="1466"/>
                  </a:lnTo>
                  <a:lnTo>
                    <a:pt x="971" y="1463"/>
                  </a:lnTo>
                  <a:lnTo>
                    <a:pt x="971" y="1461"/>
                  </a:lnTo>
                  <a:lnTo>
                    <a:pt x="973" y="1461"/>
                  </a:lnTo>
                  <a:lnTo>
                    <a:pt x="973" y="1461"/>
                  </a:lnTo>
                  <a:lnTo>
                    <a:pt x="973" y="1459"/>
                  </a:lnTo>
                  <a:lnTo>
                    <a:pt x="973" y="1457"/>
                  </a:lnTo>
                  <a:lnTo>
                    <a:pt x="973" y="1454"/>
                  </a:lnTo>
                  <a:lnTo>
                    <a:pt x="973" y="1454"/>
                  </a:lnTo>
                  <a:lnTo>
                    <a:pt x="973" y="1454"/>
                  </a:lnTo>
                  <a:lnTo>
                    <a:pt x="975" y="1454"/>
                  </a:lnTo>
                  <a:lnTo>
                    <a:pt x="975" y="1452"/>
                  </a:lnTo>
                  <a:lnTo>
                    <a:pt x="975" y="1452"/>
                  </a:lnTo>
                  <a:lnTo>
                    <a:pt x="975" y="1450"/>
                  </a:lnTo>
                  <a:lnTo>
                    <a:pt x="975" y="1448"/>
                  </a:lnTo>
                  <a:lnTo>
                    <a:pt x="975" y="1448"/>
                  </a:lnTo>
                  <a:lnTo>
                    <a:pt x="975" y="1448"/>
                  </a:lnTo>
                  <a:lnTo>
                    <a:pt x="978" y="1448"/>
                  </a:lnTo>
                  <a:lnTo>
                    <a:pt x="980" y="1450"/>
                  </a:lnTo>
                  <a:lnTo>
                    <a:pt x="980" y="1450"/>
                  </a:lnTo>
                  <a:lnTo>
                    <a:pt x="980" y="1448"/>
                  </a:lnTo>
                  <a:lnTo>
                    <a:pt x="982" y="1447"/>
                  </a:lnTo>
                  <a:lnTo>
                    <a:pt x="982" y="1447"/>
                  </a:lnTo>
                  <a:lnTo>
                    <a:pt x="982" y="1445"/>
                  </a:lnTo>
                  <a:lnTo>
                    <a:pt x="982" y="1443"/>
                  </a:lnTo>
                  <a:lnTo>
                    <a:pt x="980" y="1441"/>
                  </a:lnTo>
                  <a:lnTo>
                    <a:pt x="978" y="1441"/>
                  </a:lnTo>
                  <a:lnTo>
                    <a:pt x="978" y="1439"/>
                  </a:lnTo>
                  <a:lnTo>
                    <a:pt x="980" y="1436"/>
                  </a:lnTo>
                  <a:lnTo>
                    <a:pt x="980" y="1434"/>
                  </a:lnTo>
                  <a:lnTo>
                    <a:pt x="980" y="1432"/>
                  </a:lnTo>
                  <a:lnTo>
                    <a:pt x="980" y="1432"/>
                  </a:lnTo>
                  <a:lnTo>
                    <a:pt x="975" y="1430"/>
                  </a:lnTo>
                  <a:lnTo>
                    <a:pt x="973" y="1427"/>
                  </a:lnTo>
                  <a:lnTo>
                    <a:pt x="973" y="1425"/>
                  </a:lnTo>
                  <a:lnTo>
                    <a:pt x="971" y="1425"/>
                  </a:lnTo>
                  <a:lnTo>
                    <a:pt x="971" y="1423"/>
                  </a:lnTo>
                  <a:lnTo>
                    <a:pt x="969" y="1421"/>
                  </a:lnTo>
                  <a:lnTo>
                    <a:pt x="969" y="1419"/>
                  </a:lnTo>
                  <a:lnTo>
                    <a:pt x="971" y="1419"/>
                  </a:lnTo>
                  <a:lnTo>
                    <a:pt x="973" y="1423"/>
                  </a:lnTo>
                  <a:lnTo>
                    <a:pt x="975" y="1423"/>
                  </a:lnTo>
                  <a:lnTo>
                    <a:pt x="977" y="1421"/>
                  </a:lnTo>
                  <a:lnTo>
                    <a:pt x="977" y="1419"/>
                  </a:lnTo>
                  <a:lnTo>
                    <a:pt x="977" y="1418"/>
                  </a:lnTo>
                  <a:lnTo>
                    <a:pt x="977" y="1414"/>
                  </a:lnTo>
                  <a:lnTo>
                    <a:pt x="977" y="1412"/>
                  </a:lnTo>
                  <a:lnTo>
                    <a:pt x="977" y="1410"/>
                  </a:lnTo>
                  <a:lnTo>
                    <a:pt x="975" y="1409"/>
                  </a:lnTo>
                  <a:lnTo>
                    <a:pt x="971" y="1407"/>
                  </a:lnTo>
                  <a:lnTo>
                    <a:pt x="971" y="1407"/>
                  </a:lnTo>
                  <a:lnTo>
                    <a:pt x="971" y="1407"/>
                  </a:lnTo>
                  <a:lnTo>
                    <a:pt x="969" y="1405"/>
                  </a:lnTo>
                  <a:lnTo>
                    <a:pt x="969" y="1403"/>
                  </a:lnTo>
                  <a:lnTo>
                    <a:pt x="968" y="1403"/>
                  </a:lnTo>
                  <a:lnTo>
                    <a:pt x="969" y="1401"/>
                  </a:lnTo>
                  <a:lnTo>
                    <a:pt x="969" y="1401"/>
                  </a:lnTo>
                  <a:lnTo>
                    <a:pt x="971" y="1403"/>
                  </a:lnTo>
                  <a:lnTo>
                    <a:pt x="973" y="1405"/>
                  </a:lnTo>
                  <a:lnTo>
                    <a:pt x="975" y="1405"/>
                  </a:lnTo>
                  <a:lnTo>
                    <a:pt x="975" y="1405"/>
                  </a:lnTo>
                  <a:lnTo>
                    <a:pt x="975" y="1405"/>
                  </a:lnTo>
                  <a:lnTo>
                    <a:pt x="975" y="1405"/>
                  </a:lnTo>
                  <a:lnTo>
                    <a:pt x="975" y="1405"/>
                  </a:lnTo>
                  <a:lnTo>
                    <a:pt x="975" y="1405"/>
                  </a:lnTo>
                  <a:lnTo>
                    <a:pt x="977" y="1407"/>
                  </a:lnTo>
                  <a:lnTo>
                    <a:pt x="977" y="1407"/>
                  </a:lnTo>
                  <a:lnTo>
                    <a:pt x="977" y="1409"/>
                  </a:lnTo>
                  <a:lnTo>
                    <a:pt x="977" y="1409"/>
                  </a:lnTo>
                  <a:lnTo>
                    <a:pt x="978" y="1412"/>
                  </a:lnTo>
                  <a:lnTo>
                    <a:pt x="978" y="1414"/>
                  </a:lnTo>
                  <a:lnTo>
                    <a:pt x="978" y="1416"/>
                  </a:lnTo>
                  <a:lnTo>
                    <a:pt x="978" y="1419"/>
                  </a:lnTo>
                  <a:lnTo>
                    <a:pt x="978" y="1421"/>
                  </a:lnTo>
                  <a:lnTo>
                    <a:pt x="978" y="1423"/>
                  </a:lnTo>
                  <a:lnTo>
                    <a:pt x="980" y="1425"/>
                  </a:lnTo>
                  <a:lnTo>
                    <a:pt x="984" y="1421"/>
                  </a:lnTo>
                  <a:lnTo>
                    <a:pt x="987" y="1418"/>
                  </a:lnTo>
                  <a:lnTo>
                    <a:pt x="987" y="1414"/>
                  </a:lnTo>
                  <a:lnTo>
                    <a:pt x="987" y="1414"/>
                  </a:lnTo>
                  <a:lnTo>
                    <a:pt x="987" y="1410"/>
                  </a:lnTo>
                  <a:lnTo>
                    <a:pt x="986" y="1409"/>
                  </a:lnTo>
                  <a:lnTo>
                    <a:pt x="986" y="1409"/>
                  </a:lnTo>
                  <a:lnTo>
                    <a:pt x="984" y="1409"/>
                  </a:lnTo>
                  <a:lnTo>
                    <a:pt x="982" y="1407"/>
                  </a:lnTo>
                  <a:lnTo>
                    <a:pt x="982" y="1405"/>
                  </a:lnTo>
                  <a:lnTo>
                    <a:pt x="982" y="1403"/>
                  </a:lnTo>
                  <a:lnTo>
                    <a:pt x="982" y="1400"/>
                  </a:lnTo>
                  <a:lnTo>
                    <a:pt x="982" y="1398"/>
                  </a:lnTo>
                  <a:lnTo>
                    <a:pt x="982" y="1396"/>
                  </a:lnTo>
                  <a:lnTo>
                    <a:pt x="982" y="1394"/>
                  </a:lnTo>
                  <a:lnTo>
                    <a:pt x="982" y="1392"/>
                  </a:lnTo>
                  <a:lnTo>
                    <a:pt x="980" y="1392"/>
                  </a:lnTo>
                  <a:lnTo>
                    <a:pt x="980" y="1391"/>
                  </a:lnTo>
                  <a:lnTo>
                    <a:pt x="982" y="1389"/>
                  </a:lnTo>
                  <a:lnTo>
                    <a:pt x="984" y="1387"/>
                  </a:lnTo>
                  <a:lnTo>
                    <a:pt x="984" y="1387"/>
                  </a:lnTo>
                  <a:lnTo>
                    <a:pt x="987" y="1387"/>
                  </a:lnTo>
                  <a:lnTo>
                    <a:pt x="987" y="1387"/>
                  </a:lnTo>
                  <a:lnTo>
                    <a:pt x="987" y="1387"/>
                  </a:lnTo>
                  <a:lnTo>
                    <a:pt x="987" y="1387"/>
                  </a:lnTo>
                  <a:lnTo>
                    <a:pt x="991" y="1387"/>
                  </a:lnTo>
                  <a:lnTo>
                    <a:pt x="991" y="1387"/>
                  </a:lnTo>
                  <a:lnTo>
                    <a:pt x="991" y="1385"/>
                  </a:lnTo>
                  <a:lnTo>
                    <a:pt x="991" y="1385"/>
                  </a:lnTo>
                  <a:lnTo>
                    <a:pt x="993" y="1385"/>
                  </a:lnTo>
                  <a:lnTo>
                    <a:pt x="995" y="1387"/>
                  </a:lnTo>
                  <a:lnTo>
                    <a:pt x="995" y="1387"/>
                  </a:lnTo>
                  <a:lnTo>
                    <a:pt x="995" y="1387"/>
                  </a:lnTo>
                  <a:lnTo>
                    <a:pt x="995" y="1391"/>
                  </a:lnTo>
                  <a:lnTo>
                    <a:pt x="995" y="1394"/>
                  </a:lnTo>
                  <a:lnTo>
                    <a:pt x="993" y="1398"/>
                  </a:lnTo>
                  <a:lnTo>
                    <a:pt x="993" y="1401"/>
                  </a:lnTo>
                  <a:lnTo>
                    <a:pt x="991" y="1398"/>
                  </a:lnTo>
                  <a:lnTo>
                    <a:pt x="991" y="1392"/>
                  </a:lnTo>
                  <a:lnTo>
                    <a:pt x="989" y="1391"/>
                  </a:lnTo>
                  <a:lnTo>
                    <a:pt x="987" y="1392"/>
                  </a:lnTo>
                  <a:lnTo>
                    <a:pt x="987" y="1394"/>
                  </a:lnTo>
                  <a:lnTo>
                    <a:pt x="986" y="1400"/>
                  </a:lnTo>
                  <a:lnTo>
                    <a:pt x="986" y="1401"/>
                  </a:lnTo>
                  <a:lnTo>
                    <a:pt x="986" y="1403"/>
                  </a:lnTo>
                  <a:lnTo>
                    <a:pt x="986" y="1405"/>
                  </a:lnTo>
                  <a:lnTo>
                    <a:pt x="987" y="1407"/>
                  </a:lnTo>
                  <a:lnTo>
                    <a:pt x="987" y="1407"/>
                  </a:lnTo>
                  <a:lnTo>
                    <a:pt x="987" y="1409"/>
                  </a:lnTo>
                  <a:lnTo>
                    <a:pt x="987" y="1412"/>
                  </a:lnTo>
                  <a:lnTo>
                    <a:pt x="989" y="1414"/>
                  </a:lnTo>
                  <a:lnTo>
                    <a:pt x="989" y="1416"/>
                  </a:lnTo>
                  <a:lnTo>
                    <a:pt x="989" y="1418"/>
                  </a:lnTo>
                  <a:lnTo>
                    <a:pt x="989" y="1421"/>
                  </a:lnTo>
                  <a:lnTo>
                    <a:pt x="989" y="1423"/>
                  </a:lnTo>
                  <a:lnTo>
                    <a:pt x="989" y="1425"/>
                  </a:lnTo>
                  <a:lnTo>
                    <a:pt x="991" y="1427"/>
                  </a:lnTo>
                  <a:lnTo>
                    <a:pt x="991" y="1427"/>
                  </a:lnTo>
                  <a:lnTo>
                    <a:pt x="991" y="1427"/>
                  </a:lnTo>
                  <a:lnTo>
                    <a:pt x="991" y="1428"/>
                  </a:lnTo>
                  <a:lnTo>
                    <a:pt x="991" y="1430"/>
                  </a:lnTo>
                  <a:lnTo>
                    <a:pt x="991" y="1432"/>
                  </a:lnTo>
                  <a:lnTo>
                    <a:pt x="989" y="1432"/>
                  </a:lnTo>
                  <a:lnTo>
                    <a:pt x="989" y="1430"/>
                  </a:lnTo>
                  <a:lnTo>
                    <a:pt x="989" y="1428"/>
                  </a:lnTo>
                  <a:lnTo>
                    <a:pt x="989" y="1427"/>
                  </a:lnTo>
                  <a:lnTo>
                    <a:pt x="989" y="1425"/>
                  </a:lnTo>
                  <a:lnTo>
                    <a:pt x="989" y="1427"/>
                  </a:lnTo>
                  <a:lnTo>
                    <a:pt x="987" y="1427"/>
                  </a:lnTo>
                  <a:lnTo>
                    <a:pt x="987" y="1430"/>
                  </a:lnTo>
                  <a:lnTo>
                    <a:pt x="986" y="1432"/>
                  </a:lnTo>
                  <a:lnTo>
                    <a:pt x="987" y="1432"/>
                  </a:lnTo>
                  <a:lnTo>
                    <a:pt x="989" y="1434"/>
                  </a:lnTo>
                  <a:lnTo>
                    <a:pt x="989" y="1434"/>
                  </a:lnTo>
                  <a:lnTo>
                    <a:pt x="989" y="1436"/>
                  </a:lnTo>
                  <a:lnTo>
                    <a:pt x="989" y="1436"/>
                  </a:lnTo>
                  <a:lnTo>
                    <a:pt x="989" y="1438"/>
                  </a:lnTo>
                  <a:lnTo>
                    <a:pt x="989" y="1439"/>
                  </a:lnTo>
                  <a:lnTo>
                    <a:pt x="991" y="1441"/>
                  </a:lnTo>
                  <a:lnTo>
                    <a:pt x="991" y="1443"/>
                  </a:lnTo>
                  <a:lnTo>
                    <a:pt x="991" y="1445"/>
                  </a:lnTo>
                  <a:lnTo>
                    <a:pt x="993" y="1445"/>
                  </a:lnTo>
                  <a:lnTo>
                    <a:pt x="993" y="1443"/>
                  </a:lnTo>
                  <a:lnTo>
                    <a:pt x="993" y="1441"/>
                  </a:lnTo>
                  <a:lnTo>
                    <a:pt x="995" y="1443"/>
                  </a:lnTo>
                  <a:lnTo>
                    <a:pt x="995" y="1443"/>
                  </a:lnTo>
                  <a:lnTo>
                    <a:pt x="995" y="1443"/>
                  </a:lnTo>
                  <a:lnTo>
                    <a:pt x="996" y="1443"/>
                  </a:lnTo>
                  <a:lnTo>
                    <a:pt x="995" y="1447"/>
                  </a:lnTo>
                  <a:lnTo>
                    <a:pt x="995" y="1448"/>
                  </a:lnTo>
                  <a:lnTo>
                    <a:pt x="993" y="1450"/>
                  </a:lnTo>
                  <a:lnTo>
                    <a:pt x="995" y="1454"/>
                  </a:lnTo>
                  <a:lnTo>
                    <a:pt x="995" y="1452"/>
                  </a:lnTo>
                  <a:lnTo>
                    <a:pt x="995" y="1450"/>
                  </a:lnTo>
                  <a:lnTo>
                    <a:pt x="995" y="1450"/>
                  </a:lnTo>
                  <a:lnTo>
                    <a:pt x="995" y="1452"/>
                  </a:lnTo>
                  <a:lnTo>
                    <a:pt x="996" y="1454"/>
                  </a:lnTo>
                  <a:lnTo>
                    <a:pt x="996" y="1456"/>
                  </a:lnTo>
                  <a:lnTo>
                    <a:pt x="996" y="1456"/>
                  </a:lnTo>
                  <a:lnTo>
                    <a:pt x="998" y="1459"/>
                  </a:lnTo>
                  <a:lnTo>
                    <a:pt x="998" y="1459"/>
                  </a:lnTo>
                  <a:lnTo>
                    <a:pt x="1000" y="1457"/>
                  </a:lnTo>
                  <a:lnTo>
                    <a:pt x="1000" y="1457"/>
                  </a:lnTo>
                  <a:lnTo>
                    <a:pt x="1000" y="1457"/>
                  </a:lnTo>
                  <a:lnTo>
                    <a:pt x="1000" y="1457"/>
                  </a:lnTo>
                  <a:lnTo>
                    <a:pt x="1000" y="1456"/>
                  </a:lnTo>
                  <a:lnTo>
                    <a:pt x="1002" y="1456"/>
                  </a:lnTo>
                  <a:lnTo>
                    <a:pt x="1002" y="1456"/>
                  </a:lnTo>
                  <a:lnTo>
                    <a:pt x="1002" y="1457"/>
                  </a:lnTo>
                  <a:lnTo>
                    <a:pt x="1002" y="1459"/>
                  </a:lnTo>
                  <a:lnTo>
                    <a:pt x="1002" y="1459"/>
                  </a:lnTo>
                  <a:lnTo>
                    <a:pt x="1002" y="1461"/>
                  </a:lnTo>
                  <a:lnTo>
                    <a:pt x="1004" y="1461"/>
                  </a:lnTo>
                  <a:lnTo>
                    <a:pt x="1004" y="1459"/>
                  </a:lnTo>
                  <a:lnTo>
                    <a:pt x="1004" y="1457"/>
                  </a:lnTo>
                  <a:lnTo>
                    <a:pt x="1004" y="1457"/>
                  </a:lnTo>
                  <a:lnTo>
                    <a:pt x="1004" y="1456"/>
                  </a:lnTo>
                  <a:lnTo>
                    <a:pt x="1006" y="1457"/>
                  </a:lnTo>
                  <a:lnTo>
                    <a:pt x="1007" y="1457"/>
                  </a:lnTo>
                  <a:lnTo>
                    <a:pt x="1007" y="1459"/>
                  </a:lnTo>
                  <a:lnTo>
                    <a:pt x="1009" y="1459"/>
                  </a:lnTo>
                  <a:lnTo>
                    <a:pt x="1009" y="1461"/>
                  </a:lnTo>
                  <a:lnTo>
                    <a:pt x="1009" y="1461"/>
                  </a:lnTo>
                  <a:lnTo>
                    <a:pt x="1011" y="1461"/>
                  </a:lnTo>
                  <a:lnTo>
                    <a:pt x="1013" y="1461"/>
                  </a:lnTo>
                  <a:lnTo>
                    <a:pt x="1011" y="1459"/>
                  </a:lnTo>
                  <a:lnTo>
                    <a:pt x="1011" y="1457"/>
                  </a:lnTo>
                  <a:lnTo>
                    <a:pt x="1013" y="1459"/>
                  </a:lnTo>
                  <a:lnTo>
                    <a:pt x="1013" y="1461"/>
                  </a:lnTo>
                  <a:lnTo>
                    <a:pt x="1015" y="1461"/>
                  </a:lnTo>
                  <a:lnTo>
                    <a:pt x="1015" y="1459"/>
                  </a:lnTo>
                  <a:lnTo>
                    <a:pt x="1015" y="1459"/>
                  </a:lnTo>
                  <a:lnTo>
                    <a:pt x="1015" y="1457"/>
                  </a:lnTo>
                  <a:lnTo>
                    <a:pt x="1015" y="1457"/>
                  </a:lnTo>
                  <a:lnTo>
                    <a:pt x="1015" y="1456"/>
                  </a:lnTo>
                  <a:lnTo>
                    <a:pt x="1016" y="1456"/>
                  </a:lnTo>
                  <a:lnTo>
                    <a:pt x="1016" y="1456"/>
                  </a:lnTo>
                  <a:lnTo>
                    <a:pt x="1016" y="1456"/>
                  </a:lnTo>
                  <a:lnTo>
                    <a:pt x="1016" y="1457"/>
                  </a:lnTo>
                  <a:lnTo>
                    <a:pt x="1016" y="1457"/>
                  </a:lnTo>
                  <a:lnTo>
                    <a:pt x="1016" y="1457"/>
                  </a:lnTo>
                  <a:lnTo>
                    <a:pt x="1016" y="1459"/>
                  </a:lnTo>
                  <a:lnTo>
                    <a:pt x="1016" y="1459"/>
                  </a:lnTo>
                  <a:lnTo>
                    <a:pt x="1016" y="1459"/>
                  </a:lnTo>
                  <a:lnTo>
                    <a:pt x="1016" y="1459"/>
                  </a:lnTo>
                  <a:lnTo>
                    <a:pt x="1018" y="1461"/>
                  </a:lnTo>
                  <a:lnTo>
                    <a:pt x="1016" y="1461"/>
                  </a:lnTo>
                  <a:lnTo>
                    <a:pt x="1016" y="1461"/>
                  </a:lnTo>
                  <a:lnTo>
                    <a:pt x="1016" y="1461"/>
                  </a:lnTo>
                  <a:lnTo>
                    <a:pt x="1016" y="1461"/>
                  </a:lnTo>
                  <a:lnTo>
                    <a:pt x="1016" y="1463"/>
                  </a:lnTo>
                  <a:lnTo>
                    <a:pt x="1018" y="1463"/>
                  </a:lnTo>
                  <a:lnTo>
                    <a:pt x="1022" y="1463"/>
                  </a:lnTo>
                  <a:lnTo>
                    <a:pt x="1024" y="1463"/>
                  </a:lnTo>
                  <a:lnTo>
                    <a:pt x="1025" y="1465"/>
                  </a:lnTo>
                  <a:lnTo>
                    <a:pt x="1027" y="1466"/>
                  </a:lnTo>
                  <a:lnTo>
                    <a:pt x="1027" y="1468"/>
                  </a:lnTo>
                  <a:lnTo>
                    <a:pt x="1027" y="1470"/>
                  </a:lnTo>
                  <a:lnTo>
                    <a:pt x="1027" y="1470"/>
                  </a:lnTo>
                  <a:lnTo>
                    <a:pt x="1029" y="1474"/>
                  </a:lnTo>
                  <a:lnTo>
                    <a:pt x="1029" y="1475"/>
                  </a:lnTo>
                  <a:lnTo>
                    <a:pt x="1029" y="1475"/>
                  </a:lnTo>
                  <a:lnTo>
                    <a:pt x="1029" y="1475"/>
                  </a:lnTo>
                  <a:lnTo>
                    <a:pt x="1029" y="1475"/>
                  </a:lnTo>
                  <a:lnTo>
                    <a:pt x="1029" y="1477"/>
                  </a:lnTo>
                  <a:lnTo>
                    <a:pt x="1029" y="1484"/>
                  </a:lnTo>
                  <a:lnTo>
                    <a:pt x="1031" y="1484"/>
                  </a:lnTo>
                  <a:lnTo>
                    <a:pt x="1034" y="1486"/>
                  </a:lnTo>
                  <a:lnTo>
                    <a:pt x="1038" y="1484"/>
                  </a:lnTo>
                  <a:lnTo>
                    <a:pt x="1040" y="1483"/>
                  </a:lnTo>
                  <a:lnTo>
                    <a:pt x="1042" y="1477"/>
                  </a:lnTo>
                  <a:lnTo>
                    <a:pt x="1042" y="1474"/>
                  </a:lnTo>
                  <a:lnTo>
                    <a:pt x="1042" y="1472"/>
                  </a:lnTo>
                  <a:lnTo>
                    <a:pt x="1043" y="1468"/>
                  </a:lnTo>
                  <a:lnTo>
                    <a:pt x="1043" y="1465"/>
                  </a:lnTo>
                  <a:lnTo>
                    <a:pt x="1045" y="1461"/>
                  </a:lnTo>
                  <a:lnTo>
                    <a:pt x="1045" y="1454"/>
                  </a:lnTo>
                  <a:lnTo>
                    <a:pt x="1047" y="1454"/>
                  </a:lnTo>
                  <a:lnTo>
                    <a:pt x="1047" y="1452"/>
                  </a:lnTo>
                  <a:lnTo>
                    <a:pt x="1047" y="1450"/>
                  </a:lnTo>
                  <a:lnTo>
                    <a:pt x="1047" y="1450"/>
                  </a:lnTo>
                  <a:lnTo>
                    <a:pt x="1047" y="1448"/>
                  </a:lnTo>
                  <a:lnTo>
                    <a:pt x="1047" y="1447"/>
                  </a:lnTo>
                  <a:lnTo>
                    <a:pt x="1047" y="1439"/>
                  </a:lnTo>
                  <a:lnTo>
                    <a:pt x="1042" y="1419"/>
                  </a:lnTo>
                  <a:lnTo>
                    <a:pt x="1040" y="1418"/>
                  </a:lnTo>
                  <a:lnTo>
                    <a:pt x="1042" y="1414"/>
                  </a:lnTo>
                  <a:lnTo>
                    <a:pt x="1042" y="1414"/>
                  </a:lnTo>
                  <a:lnTo>
                    <a:pt x="1049" y="1410"/>
                  </a:lnTo>
                  <a:lnTo>
                    <a:pt x="1049" y="1409"/>
                  </a:lnTo>
                  <a:lnTo>
                    <a:pt x="1052" y="1405"/>
                  </a:lnTo>
                  <a:lnTo>
                    <a:pt x="1052" y="1405"/>
                  </a:lnTo>
                  <a:lnTo>
                    <a:pt x="1052" y="1403"/>
                  </a:lnTo>
                  <a:lnTo>
                    <a:pt x="1052" y="1400"/>
                  </a:lnTo>
                  <a:lnTo>
                    <a:pt x="1052" y="1398"/>
                  </a:lnTo>
                  <a:lnTo>
                    <a:pt x="1051" y="1396"/>
                  </a:lnTo>
                  <a:lnTo>
                    <a:pt x="1051" y="1396"/>
                  </a:lnTo>
                  <a:lnTo>
                    <a:pt x="1049" y="1394"/>
                  </a:lnTo>
                  <a:lnTo>
                    <a:pt x="1049" y="1392"/>
                  </a:lnTo>
                  <a:lnTo>
                    <a:pt x="1049" y="1389"/>
                  </a:lnTo>
                  <a:lnTo>
                    <a:pt x="1051" y="1387"/>
                  </a:lnTo>
                  <a:lnTo>
                    <a:pt x="1051" y="1387"/>
                  </a:lnTo>
                  <a:lnTo>
                    <a:pt x="1054" y="1385"/>
                  </a:lnTo>
                  <a:lnTo>
                    <a:pt x="1061" y="1387"/>
                  </a:lnTo>
                  <a:lnTo>
                    <a:pt x="1063" y="1385"/>
                  </a:lnTo>
                  <a:lnTo>
                    <a:pt x="1072" y="1380"/>
                  </a:lnTo>
                  <a:lnTo>
                    <a:pt x="1080" y="1371"/>
                  </a:lnTo>
                  <a:lnTo>
                    <a:pt x="1081" y="1367"/>
                  </a:lnTo>
                  <a:lnTo>
                    <a:pt x="1083" y="1363"/>
                  </a:lnTo>
                  <a:lnTo>
                    <a:pt x="1083" y="1360"/>
                  </a:lnTo>
                  <a:lnTo>
                    <a:pt x="1083" y="1356"/>
                  </a:lnTo>
                  <a:lnTo>
                    <a:pt x="1081" y="1349"/>
                  </a:lnTo>
                  <a:lnTo>
                    <a:pt x="1081" y="1345"/>
                  </a:lnTo>
                  <a:lnTo>
                    <a:pt x="1081" y="1344"/>
                  </a:lnTo>
                  <a:lnTo>
                    <a:pt x="1083" y="1344"/>
                  </a:lnTo>
                  <a:lnTo>
                    <a:pt x="1085" y="1340"/>
                  </a:lnTo>
                  <a:lnTo>
                    <a:pt x="1087" y="1338"/>
                  </a:lnTo>
                  <a:lnTo>
                    <a:pt x="1087" y="1336"/>
                  </a:lnTo>
                  <a:lnTo>
                    <a:pt x="1087" y="1335"/>
                  </a:lnTo>
                  <a:lnTo>
                    <a:pt x="1087" y="1329"/>
                  </a:lnTo>
                  <a:lnTo>
                    <a:pt x="1087" y="1327"/>
                  </a:lnTo>
                  <a:lnTo>
                    <a:pt x="1087" y="1324"/>
                  </a:lnTo>
                  <a:lnTo>
                    <a:pt x="1081" y="1309"/>
                  </a:lnTo>
                  <a:lnTo>
                    <a:pt x="1076" y="1300"/>
                  </a:lnTo>
                  <a:lnTo>
                    <a:pt x="1074" y="1295"/>
                  </a:lnTo>
                  <a:lnTo>
                    <a:pt x="1074" y="1291"/>
                  </a:lnTo>
                  <a:lnTo>
                    <a:pt x="1072" y="1284"/>
                  </a:lnTo>
                  <a:lnTo>
                    <a:pt x="1072" y="1280"/>
                  </a:lnTo>
                  <a:lnTo>
                    <a:pt x="1071" y="1277"/>
                  </a:lnTo>
                  <a:lnTo>
                    <a:pt x="1071" y="1275"/>
                  </a:lnTo>
                  <a:lnTo>
                    <a:pt x="1071" y="1273"/>
                  </a:lnTo>
                  <a:lnTo>
                    <a:pt x="1083" y="1270"/>
                  </a:lnTo>
                  <a:lnTo>
                    <a:pt x="1085" y="1270"/>
                  </a:lnTo>
                  <a:lnTo>
                    <a:pt x="1090" y="1270"/>
                  </a:lnTo>
                  <a:lnTo>
                    <a:pt x="1092" y="1270"/>
                  </a:lnTo>
                  <a:lnTo>
                    <a:pt x="1092" y="1268"/>
                  </a:lnTo>
                  <a:lnTo>
                    <a:pt x="1092" y="1268"/>
                  </a:lnTo>
                  <a:lnTo>
                    <a:pt x="1094" y="1261"/>
                  </a:lnTo>
                  <a:lnTo>
                    <a:pt x="1094" y="1259"/>
                  </a:lnTo>
                  <a:lnTo>
                    <a:pt x="1094" y="1259"/>
                  </a:lnTo>
                  <a:lnTo>
                    <a:pt x="1098" y="1253"/>
                  </a:lnTo>
                  <a:lnTo>
                    <a:pt x="1099" y="1251"/>
                  </a:lnTo>
                  <a:lnTo>
                    <a:pt x="1099" y="1248"/>
                  </a:lnTo>
                  <a:lnTo>
                    <a:pt x="1101" y="1239"/>
                  </a:lnTo>
                  <a:lnTo>
                    <a:pt x="1101" y="1237"/>
                  </a:lnTo>
                  <a:lnTo>
                    <a:pt x="1101" y="1235"/>
                  </a:lnTo>
                  <a:lnTo>
                    <a:pt x="1089" y="1217"/>
                  </a:lnTo>
                  <a:lnTo>
                    <a:pt x="1087" y="1215"/>
                  </a:lnTo>
                  <a:lnTo>
                    <a:pt x="1085" y="1215"/>
                  </a:lnTo>
                  <a:lnTo>
                    <a:pt x="1081" y="1215"/>
                  </a:lnTo>
                  <a:lnTo>
                    <a:pt x="1080" y="1215"/>
                  </a:lnTo>
                  <a:lnTo>
                    <a:pt x="1078" y="1214"/>
                  </a:lnTo>
                  <a:lnTo>
                    <a:pt x="1074" y="1208"/>
                  </a:lnTo>
                  <a:lnTo>
                    <a:pt x="1072" y="1206"/>
                  </a:lnTo>
                  <a:lnTo>
                    <a:pt x="1065" y="1201"/>
                  </a:lnTo>
                  <a:lnTo>
                    <a:pt x="1065" y="1199"/>
                  </a:lnTo>
                  <a:lnTo>
                    <a:pt x="1069" y="1172"/>
                  </a:lnTo>
                  <a:lnTo>
                    <a:pt x="1072" y="1145"/>
                  </a:lnTo>
                  <a:lnTo>
                    <a:pt x="1072" y="1141"/>
                  </a:lnTo>
                  <a:lnTo>
                    <a:pt x="1072" y="1139"/>
                  </a:lnTo>
                  <a:lnTo>
                    <a:pt x="1071" y="1134"/>
                  </a:lnTo>
                  <a:lnTo>
                    <a:pt x="1071" y="1132"/>
                  </a:lnTo>
                  <a:lnTo>
                    <a:pt x="1061" y="1107"/>
                  </a:lnTo>
                  <a:lnTo>
                    <a:pt x="1061" y="1105"/>
                  </a:lnTo>
                  <a:lnTo>
                    <a:pt x="1061" y="1102"/>
                  </a:lnTo>
                  <a:lnTo>
                    <a:pt x="1063" y="1096"/>
                  </a:lnTo>
                  <a:lnTo>
                    <a:pt x="1065" y="1093"/>
                  </a:lnTo>
                  <a:lnTo>
                    <a:pt x="1065" y="1091"/>
                  </a:lnTo>
                  <a:lnTo>
                    <a:pt x="1061" y="1074"/>
                  </a:lnTo>
                  <a:lnTo>
                    <a:pt x="1061" y="1071"/>
                  </a:lnTo>
                  <a:lnTo>
                    <a:pt x="1061" y="1069"/>
                  </a:lnTo>
                  <a:lnTo>
                    <a:pt x="1069" y="1062"/>
                  </a:lnTo>
                  <a:lnTo>
                    <a:pt x="1060" y="1038"/>
                  </a:lnTo>
                  <a:lnTo>
                    <a:pt x="1056" y="1029"/>
                  </a:lnTo>
                  <a:lnTo>
                    <a:pt x="1067" y="1011"/>
                  </a:lnTo>
                  <a:lnTo>
                    <a:pt x="1069" y="1009"/>
                  </a:lnTo>
                  <a:lnTo>
                    <a:pt x="1069" y="1006"/>
                  </a:lnTo>
                  <a:lnTo>
                    <a:pt x="1065" y="995"/>
                  </a:lnTo>
                  <a:lnTo>
                    <a:pt x="1072" y="988"/>
                  </a:lnTo>
                  <a:lnTo>
                    <a:pt x="1081" y="971"/>
                  </a:lnTo>
                  <a:lnTo>
                    <a:pt x="1090" y="953"/>
                  </a:lnTo>
                  <a:lnTo>
                    <a:pt x="1094" y="950"/>
                  </a:lnTo>
                  <a:lnTo>
                    <a:pt x="1107" y="943"/>
                  </a:lnTo>
                  <a:lnTo>
                    <a:pt x="1119" y="939"/>
                  </a:lnTo>
                  <a:lnTo>
                    <a:pt x="1136" y="943"/>
                  </a:lnTo>
                  <a:lnTo>
                    <a:pt x="1154" y="948"/>
                  </a:lnTo>
                  <a:lnTo>
                    <a:pt x="1155" y="948"/>
                  </a:lnTo>
                  <a:lnTo>
                    <a:pt x="1155" y="946"/>
                  </a:lnTo>
                  <a:lnTo>
                    <a:pt x="1164" y="930"/>
                  </a:lnTo>
                  <a:lnTo>
                    <a:pt x="1164" y="928"/>
                  </a:lnTo>
                  <a:lnTo>
                    <a:pt x="1164" y="926"/>
                  </a:lnTo>
                  <a:lnTo>
                    <a:pt x="1163" y="899"/>
                  </a:lnTo>
                  <a:lnTo>
                    <a:pt x="1163" y="896"/>
                  </a:lnTo>
                  <a:lnTo>
                    <a:pt x="1161" y="894"/>
                  </a:lnTo>
                  <a:lnTo>
                    <a:pt x="1155" y="894"/>
                  </a:lnTo>
                  <a:lnTo>
                    <a:pt x="1154" y="892"/>
                  </a:lnTo>
                  <a:lnTo>
                    <a:pt x="1139" y="881"/>
                  </a:lnTo>
                  <a:lnTo>
                    <a:pt x="1152" y="858"/>
                  </a:lnTo>
                  <a:lnTo>
                    <a:pt x="1166" y="834"/>
                  </a:lnTo>
                  <a:lnTo>
                    <a:pt x="1166" y="834"/>
                  </a:lnTo>
                  <a:lnTo>
                    <a:pt x="1173" y="823"/>
                  </a:lnTo>
                  <a:lnTo>
                    <a:pt x="1173" y="820"/>
                  </a:lnTo>
                  <a:lnTo>
                    <a:pt x="1173" y="820"/>
                  </a:lnTo>
                  <a:lnTo>
                    <a:pt x="1173" y="818"/>
                  </a:lnTo>
                  <a:lnTo>
                    <a:pt x="1175" y="807"/>
                  </a:lnTo>
                  <a:lnTo>
                    <a:pt x="1175" y="805"/>
                  </a:lnTo>
                  <a:lnTo>
                    <a:pt x="1177" y="804"/>
                  </a:lnTo>
                  <a:lnTo>
                    <a:pt x="1181" y="798"/>
                  </a:lnTo>
                  <a:lnTo>
                    <a:pt x="1182" y="794"/>
                  </a:lnTo>
                  <a:lnTo>
                    <a:pt x="1182" y="789"/>
                  </a:lnTo>
                  <a:lnTo>
                    <a:pt x="1182" y="784"/>
                  </a:lnTo>
                  <a:lnTo>
                    <a:pt x="1182" y="778"/>
                  </a:lnTo>
                  <a:lnTo>
                    <a:pt x="1184" y="749"/>
                  </a:lnTo>
                  <a:lnTo>
                    <a:pt x="1186" y="748"/>
                  </a:lnTo>
                  <a:lnTo>
                    <a:pt x="1190" y="738"/>
                  </a:lnTo>
                  <a:lnTo>
                    <a:pt x="1190" y="737"/>
                  </a:lnTo>
                  <a:lnTo>
                    <a:pt x="1190" y="731"/>
                  </a:lnTo>
                  <a:lnTo>
                    <a:pt x="1184" y="697"/>
                  </a:lnTo>
                  <a:lnTo>
                    <a:pt x="1197" y="695"/>
                  </a:lnTo>
                  <a:lnTo>
                    <a:pt x="1210" y="693"/>
                  </a:lnTo>
                  <a:lnTo>
                    <a:pt x="1231" y="679"/>
                  </a:lnTo>
                  <a:lnTo>
                    <a:pt x="1231" y="677"/>
                  </a:lnTo>
                  <a:lnTo>
                    <a:pt x="1231" y="673"/>
                  </a:lnTo>
                  <a:lnTo>
                    <a:pt x="1231" y="670"/>
                  </a:lnTo>
                  <a:lnTo>
                    <a:pt x="1231" y="668"/>
                  </a:lnTo>
                  <a:lnTo>
                    <a:pt x="1229" y="655"/>
                  </a:lnTo>
                  <a:lnTo>
                    <a:pt x="1228" y="652"/>
                  </a:lnTo>
                  <a:lnTo>
                    <a:pt x="1240" y="637"/>
                  </a:lnTo>
                  <a:lnTo>
                    <a:pt x="1258" y="601"/>
                  </a:lnTo>
                  <a:lnTo>
                    <a:pt x="1264" y="596"/>
                  </a:lnTo>
                  <a:lnTo>
                    <a:pt x="1273" y="585"/>
                  </a:lnTo>
                  <a:lnTo>
                    <a:pt x="1276" y="583"/>
                  </a:lnTo>
                  <a:lnTo>
                    <a:pt x="1276" y="583"/>
                  </a:lnTo>
                  <a:lnTo>
                    <a:pt x="1278" y="580"/>
                  </a:lnTo>
                  <a:lnTo>
                    <a:pt x="1280" y="563"/>
                  </a:lnTo>
                  <a:lnTo>
                    <a:pt x="1280" y="561"/>
                  </a:lnTo>
                  <a:lnTo>
                    <a:pt x="1264" y="533"/>
                  </a:lnTo>
                  <a:lnTo>
                    <a:pt x="1266" y="524"/>
                  </a:lnTo>
                  <a:lnTo>
                    <a:pt x="1267" y="522"/>
                  </a:lnTo>
                  <a:lnTo>
                    <a:pt x="1276" y="520"/>
                  </a:lnTo>
                  <a:lnTo>
                    <a:pt x="1278" y="518"/>
                  </a:lnTo>
                  <a:lnTo>
                    <a:pt x="1282" y="514"/>
                  </a:lnTo>
                  <a:lnTo>
                    <a:pt x="1287" y="505"/>
                  </a:lnTo>
                  <a:lnTo>
                    <a:pt x="1287" y="504"/>
                  </a:lnTo>
                  <a:lnTo>
                    <a:pt x="1296" y="473"/>
                  </a:lnTo>
                  <a:lnTo>
                    <a:pt x="1296" y="469"/>
                  </a:lnTo>
                  <a:lnTo>
                    <a:pt x="1298" y="468"/>
                  </a:lnTo>
                  <a:lnTo>
                    <a:pt x="1318" y="451"/>
                  </a:lnTo>
                  <a:lnTo>
                    <a:pt x="1322" y="442"/>
                  </a:lnTo>
                  <a:lnTo>
                    <a:pt x="1323" y="442"/>
                  </a:lnTo>
                  <a:lnTo>
                    <a:pt x="1338" y="451"/>
                  </a:lnTo>
                  <a:lnTo>
                    <a:pt x="1352" y="460"/>
                  </a:lnTo>
                  <a:lnTo>
                    <a:pt x="1354" y="460"/>
                  </a:lnTo>
                  <a:lnTo>
                    <a:pt x="1354" y="457"/>
                  </a:lnTo>
                  <a:lnTo>
                    <a:pt x="1356" y="455"/>
                  </a:lnTo>
                  <a:lnTo>
                    <a:pt x="1365" y="435"/>
                  </a:lnTo>
                  <a:lnTo>
                    <a:pt x="1367" y="430"/>
                  </a:lnTo>
                  <a:lnTo>
                    <a:pt x="1365" y="403"/>
                  </a:lnTo>
                  <a:lnTo>
                    <a:pt x="1365" y="399"/>
                  </a:lnTo>
                  <a:lnTo>
                    <a:pt x="1365" y="386"/>
                  </a:lnTo>
                  <a:lnTo>
                    <a:pt x="1365" y="384"/>
                  </a:lnTo>
                  <a:lnTo>
                    <a:pt x="1367" y="384"/>
                  </a:lnTo>
                  <a:lnTo>
                    <a:pt x="1367" y="383"/>
                  </a:lnTo>
                  <a:lnTo>
                    <a:pt x="1379" y="379"/>
                  </a:lnTo>
                  <a:lnTo>
                    <a:pt x="1381" y="381"/>
                  </a:lnTo>
                  <a:lnTo>
                    <a:pt x="1390" y="388"/>
                  </a:lnTo>
                  <a:lnTo>
                    <a:pt x="1392" y="390"/>
                  </a:lnTo>
                  <a:lnTo>
                    <a:pt x="1410" y="388"/>
                  </a:lnTo>
                  <a:lnTo>
                    <a:pt x="1432" y="399"/>
                  </a:lnTo>
                  <a:lnTo>
                    <a:pt x="1453" y="410"/>
                  </a:lnTo>
                  <a:lnTo>
                    <a:pt x="1455" y="410"/>
                  </a:lnTo>
                  <a:lnTo>
                    <a:pt x="1459" y="408"/>
                  </a:lnTo>
                  <a:lnTo>
                    <a:pt x="1470" y="392"/>
                  </a:lnTo>
                  <a:lnTo>
                    <a:pt x="1455" y="383"/>
                  </a:lnTo>
                  <a:lnTo>
                    <a:pt x="1464" y="374"/>
                  </a:lnTo>
                  <a:lnTo>
                    <a:pt x="1470" y="366"/>
                  </a:lnTo>
                  <a:lnTo>
                    <a:pt x="1475" y="352"/>
                  </a:lnTo>
                  <a:lnTo>
                    <a:pt x="1475" y="350"/>
                  </a:lnTo>
                  <a:lnTo>
                    <a:pt x="1475" y="347"/>
                  </a:lnTo>
                  <a:lnTo>
                    <a:pt x="1475" y="334"/>
                  </a:lnTo>
                  <a:lnTo>
                    <a:pt x="1475" y="332"/>
                  </a:lnTo>
                  <a:lnTo>
                    <a:pt x="1462" y="316"/>
                  </a:lnTo>
                  <a:lnTo>
                    <a:pt x="1475" y="316"/>
                  </a:lnTo>
                  <a:lnTo>
                    <a:pt x="1489" y="314"/>
                  </a:lnTo>
                  <a:lnTo>
                    <a:pt x="1493" y="307"/>
                  </a:lnTo>
                  <a:lnTo>
                    <a:pt x="1495" y="305"/>
                  </a:lnTo>
                  <a:lnTo>
                    <a:pt x="1509" y="314"/>
                  </a:lnTo>
                  <a:lnTo>
                    <a:pt x="1511" y="314"/>
                  </a:lnTo>
                  <a:lnTo>
                    <a:pt x="1513" y="314"/>
                  </a:lnTo>
                  <a:lnTo>
                    <a:pt x="1515" y="307"/>
                  </a:lnTo>
                  <a:lnTo>
                    <a:pt x="1509" y="294"/>
                  </a:lnTo>
                  <a:lnTo>
                    <a:pt x="1511" y="289"/>
                  </a:lnTo>
                  <a:lnTo>
                    <a:pt x="1511" y="287"/>
                  </a:lnTo>
                  <a:lnTo>
                    <a:pt x="1513" y="287"/>
                  </a:lnTo>
                  <a:lnTo>
                    <a:pt x="1524" y="278"/>
                  </a:lnTo>
                  <a:lnTo>
                    <a:pt x="1540" y="281"/>
                  </a:lnTo>
                  <a:lnTo>
                    <a:pt x="1540" y="283"/>
                  </a:lnTo>
                  <a:lnTo>
                    <a:pt x="1554" y="310"/>
                  </a:lnTo>
                  <a:lnTo>
                    <a:pt x="1558" y="318"/>
                  </a:lnTo>
                  <a:lnTo>
                    <a:pt x="1565" y="327"/>
                  </a:lnTo>
                  <a:lnTo>
                    <a:pt x="1567" y="328"/>
                  </a:lnTo>
                  <a:lnTo>
                    <a:pt x="1567" y="330"/>
                  </a:lnTo>
                  <a:lnTo>
                    <a:pt x="1567" y="332"/>
                  </a:lnTo>
                  <a:lnTo>
                    <a:pt x="1571" y="339"/>
                  </a:lnTo>
                  <a:lnTo>
                    <a:pt x="1576" y="343"/>
                  </a:lnTo>
                  <a:lnTo>
                    <a:pt x="1576" y="345"/>
                  </a:lnTo>
                  <a:lnTo>
                    <a:pt x="1578" y="357"/>
                  </a:lnTo>
                  <a:lnTo>
                    <a:pt x="1578" y="359"/>
                  </a:lnTo>
                  <a:lnTo>
                    <a:pt x="1580" y="359"/>
                  </a:lnTo>
                  <a:lnTo>
                    <a:pt x="1585" y="357"/>
                  </a:lnTo>
                  <a:lnTo>
                    <a:pt x="1587" y="357"/>
                  </a:lnTo>
                  <a:lnTo>
                    <a:pt x="1587" y="357"/>
                  </a:lnTo>
                  <a:lnTo>
                    <a:pt x="1600" y="365"/>
                  </a:lnTo>
                  <a:lnTo>
                    <a:pt x="1609" y="363"/>
                  </a:lnTo>
                  <a:lnTo>
                    <a:pt x="1610" y="365"/>
                  </a:lnTo>
                  <a:lnTo>
                    <a:pt x="1612" y="365"/>
                  </a:lnTo>
                  <a:lnTo>
                    <a:pt x="1616" y="372"/>
                  </a:lnTo>
                  <a:lnTo>
                    <a:pt x="1618" y="372"/>
                  </a:lnTo>
                  <a:lnTo>
                    <a:pt x="1632" y="363"/>
                  </a:lnTo>
                  <a:lnTo>
                    <a:pt x="1639" y="363"/>
                  </a:lnTo>
                  <a:lnTo>
                    <a:pt x="1645" y="359"/>
                  </a:lnTo>
                  <a:lnTo>
                    <a:pt x="1647" y="354"/>
                  </a:lnTo>
                  <a:lnTo>
                    <a:pt x="1647" y="348"/>
                  </a:lnTo>
                  <a:lnTo>
                    <a:pt x="1650" y="345"/>
                  </a:lnTo>
                  <a:lnTo>
                    <a:pt x="1654" y="345"/>
                  </a:lnTo>
                  <a:lnTo>
                    <a:pt x="1665" y="350"/>
                  </a:lnTo>
                  <a:lnTo>
                    <a:pt x="1666" y="354"/>
                  </a:lnTo>
                  <a:lnTo>
                    <a:pt x="1666" y="356"/>
                  </a:lnTo>
                  <a:lnTo>
                    <a:pt x="1674" y="361"/>
                  </a:lnTo>
                  <a:lnTo>
                    <a:pt x="1681" y="363"/>
                  </a:lnTo>
                  <a:lnTo>
                    <a:pt x="1692" y="366"/>
                  </a:lnTo>
                  <a:lnTo>
                    <a:pt x="1695" y="370"/>
                  </a:lnTo>
                  <a:lnTo>
                    <a:pt x="1699" y="375"/>
                  </a:lnTo>
                  <a:lnTo>
                    <a:pt x="1701" y="381"/>
                  </a:lnTo>
                  <a:lnTo>
                    <a:pt x="1703" y="381"/>
                  </a:lnTo>
                  <a:lnTo>
                    <a:pt x="1703" y="381"/>
                  </a:lnTo>
                  <a:lnTo>
                    <a:pt x="1704" y="379"/>
                  </a:lnTo>
                  <a:lnTo>
                    <a:pt x="1704" y="377"/>
                  </a:lnTo>
                  <a:lnTo>
                    <a:pt x="1706" y="374"/>
                  </a:lnTo>
                  <a:lnTo>
                    <a:pt x="1706" y="374"/>
                  </a:lnTo>
                  <a:lnTo>
                    <a:pt x="1708" y="374"/>
                  </a:lnTo>
                  <a:lnTo>
                    <a:pt x="1712" y="370"/>
                  </a:lnTo>
                  <a:lnTo>
                    <a:pt x="1713" y="370"/>
                  </a:lnTo>
                  <a:lnTo>
                    <a:pt x="1713" y="370"/>
                  </a:lnTo>
                  <a:lnTo>
                    <a:pt x="1715" y="368"/>
                  </a:lnTo>
                  <a:lnTo>
                    <a:pt x="1715" y="366"/>
                  </a:lnTo>
                  <a:lnTo>
                    <a:pt x="1715" y="365"/>
                  </a:lnTo>
                  <a:lnTo>
                    <a:pt x="1715" y="365"/>
                  </a:lnTo>
                  <a:lnTo>
                    <a:pt x="1715" y="363"/>
                  </a:lnTo>
                  <a:lnTo>
                    <a:pt x="1715" y="361"/>
                  </a:lnTo>
                  <a:lnTo>
                    <a:pt x="1715" y="356"/>
                  </a:lnTo>
                  <a:lnTo>
                    <a:pt x="1715" y="352"/>
                  </a:lnTo>
                  <a:lnTo>
                    <a:pt x="1715" y="350"/>
                  </a:lnTo>
                  <a:lnTo>
                    <a:pt x="1717" y="347"/>
                  </a:lnTo>
                  <a:lnTo>
                    <a:pt x="1728" y="337"/>
                  </a:lnTo>
                  <a:lnTo>
                    <a:pt x="1730" y="336"/>
                  </a:lnTo>
                  <a:lnTo>
                    <a:pt x="1731" y="336"/>
                  </a:lnTo>
                  <a:lnTo>
                    <a:pt x="1739" y="337"/>
                  </a:lnTo>
                  <a:lnTo>
                    <a:pt x="1739" y="337"/>
                  </a:lnTo>
                  <a:lnTo>
                    <a:pt x="1740" y="336"/>
                  </a:lnTo>
                  <a:lnTo>
                    <a:pt x="1740" y="334"/>
                  </a:lnTo>
                  <a:lnTo>
                    <a:pt x="1742" y="332"/>
                  </a:lnTo>
                  <a:lnTo>
                    <a:pt x="1742" y="330"/>
                  </a:lnTo>
                  <a:lnTo>
                    <a:pt x="1744" y="328"/>
                  </a:lnTo>
                  <a:lnTo>
                    <a:pt x="1744" y="327"/>
                  </a:lnTo>
                  <a:lnTo>
                    <a:pt x="1744" y="325"/>
                  </a:lnTo>
                  <a:lnTo>
                    <a:pt x="1746" y="323"/>
                  </a:lnTo>
                  <a:lnTo>
                    <a:pt x="1748" y="321"/>
                  </a:lnTo>
                  <a:lnTo>
                    <a:pt x="1748" y="319"/>
                  </a:lnTo>
                  <a:lnTo>
                    <a:pt x="1748" y="318"/>
                  </a:lnTo>
                  <a:lnTo>
                    <a:pt x="1748" y="318"/>
                  </a:lnTo>
                  <a:lnTo>
                    <a:pt x="1746" y="316"/>
                  </a:lnTo>
                  <a:lnTo>
                    <a:pt x="1746" y="316"/>
                  </a:lnTo>
                  <a:lnTo>
                    <a:pt x="1746" y="314"/>
                  </a:lnTo>
                  <a:lnTo>
                    <a:pt x="1746" y="314"/>
                  </a:lnTo>
                  <a:lnTo>
                    <a:pt x="1746" y="314"/>
                  </a:lnTo>
                  <a:lnTo>
                    <a:pt x="1746" y="312"/>
                  </a:lnTo>
                  <a:lnTo>
                    <a:pt x="1746" y="310"/>
                  </a:lnTo>
                  <a:lnTo>
                    <a:pt x="1746" y="309"/>
                  </a:lnTo>
                  <a:lnTo>
                    <a:pt x="1746" y="309"/>
                  </a:lnTo>
                  <a:lnTo>
                    <a:pt x="1746" y="303"/>
                  </a:lnTo>
                  <a:lnTo>
                    <a:pt x="1746" y="303"/>
                  </a:lnTo>
                  <a:lnTo>
                    <a:pt x="1746" y="303"/>
                  </a:lnTo>
                  <a:lnTo>
                    <a:pt x="1746" y="301"/>
                  </a:lnTo>
                  <a:lnTo>
                    <a:pt x="1746" y="301"/>
                  </a:lnTo>
                  <a:lnTo>
                    <a:pt x="1746" y="300"/>
                  </a:lnTo>
                  <a:lnTo>
                    <a:pt x="1746" y="298"/>
                  </a:lnTo>
                  <a:lnTo>
                    <a:pt x="1746" y="296"/>
                  </a:lnTo>
                  <a:lnTo>
                    <a:pt x="1744" y="292"/>
                  </a:lnTo>
                  <a:lnTo>
                    <a:pt x="1744" y="289"/>
                  </a:lnTo>
                  <a:lnTo>
                    <a:pt x="1746" y="278"/>
                  </a:lnTo>
                  <a:lnTo>
                    <a:pt x="1748" y="276"/>
                  </a:lnTo>
                  <a:lnTo>
                    <a:pt x="1751" y="267"/>
                  </a:lnTo>
                  <a:lnTo>
                    <a:pt x="1751" y="267"/>
                  </a:lnTo>
                  <a:lnTo>
                    <a:pt x="1750" y="262"/>
                  </a:lnTo>
                  <a:lnTo>
                    <a:pt x="1751" y="258"/>
                  </a:lnTo>
                  <a:lnTo>
                    <a:pt x="1751" y="256"/>
                  </a:lnTo>
                  <a:lnTo>
                    <a:pt x="1751" y="256"/>
                  </a:lnTo>
                  <a:lnTo>
                    <a:pt x="1751" y="253"/>
                  </a:lnTo>
                  <a:lnTo>
                    <a:pt x="1753" y="251"/>
                  </a:lnTo>
                  <a:lnTo>
                    <a:pt x="1753" y="249"/>
                  </a:lnTo>
                  <a:lnTo>
                    <a:pt x="1753" y="247"/>
                  </a:lnTo>
                  <a:lnTo>
                    <a:pt x="1753" y="247"/>
                  </a:lnTo>
                  <a:lnTo>
                    <a:pt x="1751" y="245"/>
                  </a:lnTo>
                  <a:lnTo>
                    <a:pt x="1753" y="245"/>
                  </a:lnTo>
                  <a:lnTo>
                    <a:pt x="1755" y="242"/>
                  </a:lnTo>
                  <a:lnTo>
                    <a:pt x="1757" y="240"/>
                  </a:lnTo>
                  <a:lnTo>
                    <a:pt x="1759" y="236"/>
                  </a:lnTo>
                  <a:lnTo>
                    <a:pt x="1759" y="233"/>
                  </a:lnTo>
                  <a:lnTo>
                    <a:pt x="1757" y="229"/>
                  </a:lnTo>
                  <a:lnTo>
                    <a:pt x="1757" y="229"/>
                  </a:lnTo>
                  <a:lnTo>
                    <a:pt x="1757" y="227"/>
                  </a:lnTo>
                  <a:lnTo>
                    <a:pt x="1757" y="225"/>
                  </a:lnTo>
                  <a:lnTo>
                    <a:pt x="1757" y="224"/>
                  </a:lnTo>
                  <a:lnTo>
                    <a:pt x="1759" y="222"/>
                  </a:lnTo>
                  <a:lnTo>
                    <a:pt x="1759" y="220"/>
                  </a:lnTo>
                  <a:lnTo>
                    <a:pt x="1768" y="218"/>
                  </a:lnTo>
                  <a:lnTo>
                    <a:pt x="1768" y="218"/>
                  </a:lnTo>
                  <a:lnTo>
                    <a:pt x="1768" y="216"/>
                  </a:lnTo>
                  <a:lnTo>
                    <a:pt x="1769" y="216"/>
                  </a:lnTo>
                  <a:lnTo>
                    <a:pt x="1771" y="213"/>
                  </a:lnTo>
                  <a:lnTo>
                    <a:pt x="1773" y="207"/>
                  </a:lnTo>
                  <a:lnTo>
                    <a:pt x="1778" y="200"/>
                  </a:lnTo>
                  <a:lnTo>
                    <a:pt x="1780" y="198"/>
                  </a:lnTo>
                  <a:lnTo>
                    <a:pt x="1780" y="195"/>
                  </a:lnTo>
                  <a:lnTo>
                    <a:pt x="1780" y="195"/>
                  </a:lnTo>
                  <a:lnTo>
                    <a:pt x="1782" y="191"/>
                  </a:lnTo>
                  <a:lnTo>
                    <a:pt x="1782" y="189"/>
                  </a:lnTo>
                  <a:lnTo>
                    <a:pt x="1784" y="188"/>
                  </a:lnTo>
                  <a:lnTo>
                    <a:pt x="1793" y="186"/>
                  </a:lnTo>
                  <a:lnTo>
                    <a:pt x="1796" y="188"/>
                  </a:lnTo>
                  <a:lnTo>
                    <a:pt x="1802" y="186"/>
                  </a:lnTo>
                  <a:lnTo>
                    <a:pt x="1802" y="186"/>
                  </a:lnTo>
                  <a:lnTo>
                    <a:pt x="1806" y="189"/>
                  </a:lnTo>
                  <a:lnTo>
                    <a:pt x="1807" y="188"/>
                  </a:lnTo>
                  <a:lnTo>
                    <a:pt x="1809" y="188"/>
                  </a:lnTo>
                  <a:lnTo>
                    <a:pt x="1813" y="191"/>
                  </a:lnTo>
                  <a:lnTo>
                    <a:pt x="1813" y="191"/>
                  </a:lnTo>
                  <a:lnTo>
                    <a:pt x="1824" y="188"/>
                  </a:lnTo>
                  <a:lnTo>
                    <a:pt x="1825" y="184"/>
                  </a:lnTo>
                  <a:lnTo>
                    <a:pt x="1825" y="184"/>
                  </a:lnTo>
                  <a:lnTo>
                    <a:pt x="1824" y="184"/>
                  </a:lnTo>
                  <a:lnTo>
                    <a:pt x="1824" y="182"/>
                  </a:lnTo>
                  <a:lnTo>
                    <a:pt x="1825" y="182"/>
                  </a:lnTo>
                  <a:lnTo>
                    <a:pt x="1825" y="180"/>
                  </a:lnTo>
                  <a:lnTo>
                    <a:pt x="1825" y="180"/>
                  </a:lnTo>
                  <a:lnTo>
                    <a:pt x="1827" y="180"/>
                  </a:lnTo>
                  <a:lnTo>
                    <a:pt x="1831" y="177"/>
                  </a:lnTo>
                  <a:lnTo>
                    <a:pt x="1836" y="173"/>
                  </a:lnTo>
                  <a:lnTo>
                    <a:pt x="1836" y="171"/>
                  </a:lnTo>
                  <a:lnTo>
                    <a:pt x="1838" y="168"/>
                  </a:lnTo>
                  <a:lnTo>
                    <a:pt x="1842" y="168"/>
                  </a:lnTo>
                  <a:lnTo>
                    <a:pt x="1847" y="168"/>
                  </a:lnTo>
                  <a:lnTo>
                    <a:pt x="1851" y="166"/>
                  </a:lnTo>
                  <a:lnTo>
                    <a:pt x="1852" y="166"/>
                  </a:lnTo>
                  <a:lnTo>
                    <a:pt x="1854" y="169"/>
                  </a:lnTo>
                  <a:lnTo>
                    <a:pt x="1856" y="175"/>
                  </a:lnTo>
                  <a:lnTo>
                    <a:pt x="1867" y="193"/>
                  </a:lnTo>
                  <a:lnTo>
                    <a:pt x="1867" y="193"/>
                  </a:lnTo>
                  <a:lnTo>
                    <a:pt x="1878" y="198"/>
                  </a:lnTo>
                  <a:lnTo>
                    <a:pt x="1878" y="202"/>
                  </a:lnTo>
                  <a:lnTo>
                    <a:pt x="1878" y="206"/>
                  </a:lnTo>
                  <a:lnTo>
                    <a:pt x="1880" y="207"/>
                  </a:lnTo>
                  <a:lnTo>
                    <a:pt x="1881" y="207"/>
                  </a:lnTo>
                  <a:lnTo>
                    <a:pt x="1898" y="216"/>
                  </a:lnTo>
                  <a:lnTo>
                    <a:pt x="1914" y="224"/>
                  </a:lnTo>
                  <a:lnTo>
                    <a:pt x="1916" y="225"/>
                  </a:lnTo>
                  <a:lnTo>
                    <a:pt x="1917" y="236"/>
                  </a:lnTo>
                  <a:lnTo>
                    <a:pt x="1925" y="254"/>
                  </a:lnTo>
                  <a:lnTo>
                    <a:pt x="1919" y="267"/>
                  </a:lnTo>
                  <a:lnTo>
                    <a:pt x="1901" y="289"/>
                  </a:lnTo>
                  <a:lnTo>
                    <a:pt x="1901" y="291"/>
                  </a:lnTo>
                  <a:lnTo>
                    <a:pt x="1899" y="294"/>
                  </a:lnTo>
                  <a:lnTo>
                    <a:pt x="1899" y="305"/>
                  </a:lnTo>
                  <a:lnTo>
                    <a:pt x="1899" y="307"/>
                  </a:lnTo>
                  <a:lnTo>
                    <a:pt x="1899" y="309"/>
                  </a:lnTo>
                  <a:lnTo>
                    <a:pt x="1905" y="316"/>
                  </a:lnTo>
                  <a:lnTo>
                    <a:pt x="1907" y="316"/>
                  </a:lnTo>
                  <a:lnTo>
                    <a:pt x="1908" y="314"/>
                  </a:lnTo>
                  <a:lnTo>
                    <a:pt x="1912" y="314"/>
                  </a:lnTo>
                  <a:lnTo>
                    <a:pt x="1914" y="314"/>
                  </a:lnTo>
                  <a:lnTo>
                    <a:pt x="1917" y="310"/>
                  </a:lnTo>
                  <a:lnTo>
                    <a:pt x="1919" y="307"/>
                  </a:lnTo>
                  <a:lnTo>
                    <a:pt x="1919" y="303"/>
                  </a:lnTo>
                  <a:lnTo>
                    <a:pt x="1921" y="301"/>
                  </a:lnTo>
                  <a:lnTo>
                    <a:pt x="1921" y="296"/>
                  </a:lnTo>
                  <a:lnTo>
                    <a:pt x="1921" y="296"/>
                  </a:lnTo>
                  <a:lnTo>
                    <a:pt x="1923" y="292"/>
                  </a:lnTo>
                  <a:lnTo>
                    <a:pt x="1923" y="292"/>
                  </a:lnTo>
                  <a:lnTo>
                    <a:pt x="1923" y="291"/>
                  </a:lnTo>
                  <a:lnTo>
                    <a:pt x="1923" y="289"/>
                  </a:lnTo>
                  <a:lnTo>
                    <a:pt x="1923" y="289"/>
                  </a:lnTo>
                  <a:lnTo>
                    <a:pt x="1923" y="287"/>
                  </a:lnTo>
                  <a:lnTo>
                    <a:pt x="1925" y="283"/>
                  </a:lnTo>
                  <a:lnTo>
                    <a:pt x="1925" y="281"/>
                  </a:lnTo>
                  <a:lnTo>
                    <a:pt x="1926" y="278"/>
                  </a:lnTo>
                  <a:lnTo>
                    <a:pt x="1930" y="276"/>
                  </a:lnTo>
                  <a:lnTo>
                    <a:pt x="1937" y="276"/>
                  </a:lnTo>
                  <a:lnTo>
                    <a:pt x="1941" y="274"/>
                  </a:lnTo>
                  <a:lnTo>
                    <a:pt x="1945" y="271"/>
                  </a:lnTo>
                  <a:lnTo>
                    <a:pt x="1946" y="269"/>
                  </a:lnTo>
                  <a:lnTo>
                    <a:pt x="1954" y="269"/>
                  </a:lnTo>
                  <a:lnTo>
                    <a:pt x="1955" y="269"/>
                  </a:lnTo>
                  <a:lnTo>
                    <a:pt x="1957" y="267"/>
                  </a:lnTo>
                  <a:lnTo>
                    <a:pt x="1957" y="263"/>
                  </a:lnTo>
                  <a:lnTo>
                    <a:pt x="1964" y="258"/>
                  </a:lnTo>
                  <a:lnTo>
                    <a:pt x="1964" y="256"/>
                  </a:lnTo>
                  <a:lnTo>
                    <a:pt x="1964" y="254"/>
                  </a:lnTo>
                  <a:lnTo>
                    <a:pt x="1964" y="253"/>
                  </a:lnTo>
                  <a:lnTo>
                    <a:pt x="1964" y="251"/>
                  </a:lnTo>
                  <a:lnTo>
                    <a:pt x="1966" y="249"/>
                  </a:lnTo>
                  <a:lnTo>
                    <a:pt x="1966" y="247"/>
                  </a:lnTo>
                  <a:lnTo>
                    <a:pt x="1968" y="247"/>
                  </a:lnTo>
                  <a:lnTo>
                    <a:pt x="1968" y="245"/>
                  </a:lnTo>
                  <a:lnTo>
                    <a:pt x="1970" y="244"/>
                  </a:lnTo>
                  <a:lnTo>
                    <a:pt x="1970" y="240"/>
                  </a:lnTo>
                  <a:lnTo>
                    <a:pt x="1970" y="238"/>
                  </a:lnTo>
                  <a:lnTo>
                    <a:pt x="1970" y="235"/>
                  </a:lnTo>
                  <a:lnTo>
                    <a:pt x="1968" y="233"/>
                  </a:lnTo>
                  <a:lnTo>
                    <a:pt x="1966" y="233"/>
                  </a:lnTo>
                  <a:lnTo>
                    <a:pt x="1964" y="231"/>
                  </a:lnTo>
                  <a:lnTo>
                    <a:pt x="1964" y="229"/>
                  </a:lnTo>
                  <a:lnTo>
                    <a:pt x="1964" y="229"/>
                  </a:lnTo>
                  <a:lnTo>
                    <a:pt x="1968" y="229"/>
                  </a:lnTo>
                  <a:lnTo>
                    <a:pt x="1970" y="229"/>
                  </a:lnTo>
                  <a:lnTo>
                    <a:pt x="1973" y="233"/>
                  </a:lnTo>
                  <a:lnTo>
                    <a:pt x="1982" y="244"/>
                  </a:lnTo>
                  <a:lnTo>
                    <a:pt x="1984" y="244"/>
                  </a:lnTo>
                  <a:lnTo>
                    <a:pt x="1995" y="245"/>
                  </a:lnTo>
                  <a:lnTo>
                    <a:pt x="2001" y="245"/>
                  </a:lnTo>
                  <a:lnTo>
                    <a:pt x="2002" y="244"/>
                  </a:lnTo>
                  <a:lnTo>
                    <a:pt x="2004" y="238"/>
                  </a:lnTo>
                  <a:lnTo>
                    <a:pt x="2004" y="236"/>
                  </a:lnTo>
                  <a:lnTo>
                    <a:pt x="2004" y="224"/>
                  </a:lnTo>
                  <a:lnTo>
                    <a:pt x="2002" y="222"/>
                  </a:lnTo>
                  <a:lnTo>
                    <a:pt x="2002" y="220"/>
                  </a:lnTo>
                  <a:lnTo>
                    <a:pt x="2002" y="218"/>
                  </a:lnTo>
                  <a:lnTo>
                    <a:pt x="2002" y="218"/>
                  </a:lnTo>
                  <a:lnTo>
                    <a:pt x="2002" y="215"/>
                  </a:lnTo>
                  <a:lnTo>
                    <a:pt x="2002" y="213"/>
                  </a:lnTo>
                  <a:lnTo>
                    <a:pt x="2001" y="211"/>
                  </a:lnTo>
                  <a:lnTo>
                    <a:pt x="2001" y="206"/>
                  </a:lnTo>
                  <a:lnTo>
                    <a:pt x="1997" y="207"/>
                  </a:lnTo>
                  <a:lnTo>
                    <a:pt x="1997" y="207"/>
                  </a:lnTo>
                  <a:lnTo>
                    <a:pt x="1995" y="209"/>
                  </a:lnTo>
                  <a:lnTo>
                    <a:pt x="1995" y="209"/>
                  </a:lnTo>
                  <a:lnTo>
                    <a:pt x="1993" y="211"/>
                  </a:lnTo>
                  <a:lnTo>
                    <a:pt x="1993" y="209"/>
                  </a:lnTo>
                  <a:lnTo>
                    <a:pt x="1993" y="209"/>
                  </a:lnTo>
                  <a:lnTo>
                    <a:pt x="1993" y="207"/>
                  </a:lnTo>
                  <a:lnTo>
                    <a:pt x="1993" y="206"/>
                  </a:lnTo>
                  <a:lnTo>
                    <a:pt x="1993" y="204"/>
                  </a:lnTo>
                  <a:lnTo>
                    <a:pt x="1982" y="204"/>
                  </a:lnTo>
                  <a:lnTo>
                    <a:pt x="1981" y="204"/>
                  </a:lnTo>
                  <a:lnTo>
                    <a:pt x="1981" y="207"/>
                  </a:lnTo>
                  <a:lnTo>
                    <a:pt x="1981" y="209"/>
                  </a:lnTo>
                  <a:lnTo>
                    <a:pt x="1981" y="209"/>
                  </a:lnTo>
                  <a:lnTo>
                    <a:pt x="1981" y="211"/>
                  </a:lnTo>
                  <a:lnTo>
                    <a:pt x="1981" y="213"/>
                  </a:lnTo>
                  <a:lnTo>
                    <a:pt x="1981" y="213"/>
                  </a:lnTo>
                  <a:lnTo>
                    <a:pt x="1981" y="215"/>
                  </a:lnTo>
                  <a:lnTo>
                    <a:pt x="1981" y="215"/>
                  </a:lnTo>
                  <a:lnTo>
                    <a:pt x="1981" y="216"/>
                  </a:lnTo>
                  <a:lnTo>
                    <a:pt x="1981" y="216"/>
                  </a:lnTo>
                  <a:lnTo>
                    <a:pt x="1981" y="218"/>
                  </a:lnTo>
                  <a:lnTo>
                    <a:pt x="1981" y="222"/>
                  </a:lnTo>
                  <a:lnTo>
                    <a:pt x="1981" y="224"/>
                  </a:lnTo>
                  <a:lnTo>
                    <a:pt x="1979" y="224"/>
                  </a:lnTo>
                  <a:lnTo>
                    <a:pt x="1975" y="225"/>
                  </a:lnTo>
                  <a:lnTo>
                    <a:pt x="1975" y="224"/>
                  </a:lnTo>
                  <a:lnTo>
                    <a:pt x="1977" y="224"/>
                  </a:lnTo>
                  <a:lnTo>
                    <a:pt x="1979" y="220"/>
                  </a:lnTo>
                  <a:lnTo>
                    <a:pt x="1979" y="215"/>
                  </a:lnTo>
                  <a:lnTo>
                    <a:pt x="1979" y="209"/>
                  </a:lnTo>
                  <a:lnTo>
                    <a:pt x="1979" y="209"/>
                  </a:lnTo>
                  <a:lnTo>
                    <a:pt x="1979" y="206"/>
                  </a:lnTo>
                  <a:lnTo>
                    <a:pt x="1979" y="204"/>
                  </a:lnTo>
                  <a:lnTo>
                    <a:pt x="1979" y="202"/>
                  </a:lnTo>
                  <a:lnTo>
                    <a:pt x="1979" y="202"/>
                  </a:lnTo>
                  <a:lnTo>
                    <a:pt x="1977" y="200"/>
                  </a:lnTo>
                  <a:lnTo>
                    <a:pt x="1977" y="198"/>
                  </a:lnTo>
                  <a:lnTo>
                    <a:pt x="1973" y="200"/>
                  </a:lnTo>
                  <a:lnTo>
                    <a:pt x="1972" y="200"/>
                  </a:lnTo>
                  <a:lnTo>
                    <a:pt x="1973" y="197"/>
                  </a:lnTo>
                  <a:lnTo>
                    <a:pt x="1973" y="197"/>
                  </a:lnTo>
                  <a:lnTo>
                    <a:pt x="1973" y="193"/>
                  </a:lnTo>
                  <a:lnTo>
                    <a:pt x="1972" y="193"/>
                  </a:lnTo>
                  <a:lnTo>
                    <a:pt x="1970" y="195"/>
                  </a:lnTo>
                  <a:lnTo>
                    <a:pt x="1966" y="195"/>
                  </a:lnTo>
                  <a:lnTo>
                    <a:pt x="1966" y="197"/>
                  </a:lnTo>
                  <a:lnTo>
                    <a:pt x="1966" y="198"/>
                  </a:lnTo>
                  <a:lnTo>
                    <a:pt x="1966" y="202"/>
                  </a:lnTo>
                  <a:lnTo>
                    <a:pt x="1966" y="204"/>
                  </a:lnTo>
                  <a:lnTo>
                    <a:pt x="1966" y="206"/>
                  </a:lnTo>
                  <a:lnTo>
                    <a:pt x="1968" y="207"/>
                  </a:lnTo>
                  <a:lnTo>
                    <a:pt x="1968" y="207"/>
                  </a:lnTo>
                  <a:lnTo>
                    <a:pt x="1968" y="211"/>
                  </a:lnTo>
                  <a:lnTo>
                    <a:pt x="1968" y="211"/>
                  </a:lnTo>
                  <a:lnTo>
                    <a:pt x="1964" y="211"/>
                  </a:lnTo>
                  <a:lnTo>
                    <a:pt x="1964" y="213"/>
                  </a:lnTo>
                  <a:lnTo>
                    <a:pt x="1964" y="215"/>
                  </a:lnTo>
                  <a:lnTo>
                    <a:pt x="1966" y="218"/>
                  </a:lnTo>
                  <a:lnTo>
                    <a:pt x="1966" y="220"/>
                  </a:lnTo>
                  <a:lnTo>
                    <a:pt x="1968" y="222"/>
                  </a:lnTo>
                  <a:lnTo>
                    <a:pt x="1968" y="222"/>
                  </a:lnTo>
                  <a:lnTo>
                    <a:pt x="1966" y="222"/>
                  </a:lnTo>
                  <a:lnTo>
                    <a:pt x="1964" y="220"/>
                  </a:lnTo>
                  <a:lnTo>
                    <a:pt x="1963" y="218"/>
                  </a:lnTo>
                  <a:lnTo>
                    <a:pt x="1963" y="215"/>
                  </a:lnTo>
                  <a:lnTo>
                    <a:pt x="1961" y="215"/>
                  </a:lnTo>
                  <a:lnTo>
                    <a:pt x="1959" y="216"/>
                  </a:lnTo>
                  <a:lnTo>
                    <a:pt x="1957" y="218"/>
                  </a:lnTo>
                  <a:lnTo>
                    <a:pt x="1955" y="220"/>
                  </a:lnTo>
                  <a:lnTo>
                    <a:pt x="1955" y="222"/>
                  </a:lnTo>
                  <a:lnTo>
                    <a:pt x="1955" y="220"/>
                  </a:lnTo>
                  <a:lnTo>
                    <a:pt x="1955" y="218"/>
                  </a:lnTo>
                  <a:lnTo>
                    <a:pt x="1957" y="216"/>
                  </a:lnTo>
                  <a:lnTo>
                    <a:pt x="1959" y="215"/>
                  </a:lnTo>
                  <a:lnTo>
                    <a:pt x="1961" y="211"/>
                  </a:lnTo>
                  <a:lnTo>
                    <a:pt x="1961" y="211"/>
                  </a:lnTo>
                  <a:lnTo>
                    <a:pt x="1959" y="209"/>
                  </a:lnTo>
                  <a:lnTo>
                    <a:pt x="1957" y="211"/>
                  </a:lnTo>
                  <a:lnTo>
                    <a:pt x="1954" y="215"/>
                  </a:lnTo>
                  <a:lnTo>
                    <a:pt x="1954" y="215"/>
                  </a:lnTo>
                  <a:lnTo>
                    <a:pt x="1948" y="215"/>
                  </a:lnTo>
                  <a:lnTo>
                    <a:pt x="1945" y="215"/>
                  </a:lnTo>
                  <a:lnTo>
                    <a:pt x="1943" y="215"/>
                  </a:lnTo>
                  <a:lnTo>
                    <a:pt x="1936" y="222"/>
                  </a:lnTo>
                  <a:lnTo>
                    <a:pt x="1936" y="224"/>
                  </a:lnTo>
                  <a:lnTo>
                    <a:pt x="1934" y="225"/>
                  </a:lnTo>
                  <a:lnTo>
                    <a:pt x="1932" y="225"/>
                  </a:lnTo>
                  <a:lnTo>
                    <a:pt x="1934" y="224"/>
                  </a:lnTo>
                  <a:lnTo>
                    <a:pt x="1936" y="222"/>
                  </a:lnTo>
                  <a:lnTo>
                    <a:pt x="1936" y="220"/>
                  </a:lnTo>
                  <a:lnTo>
                    <a:pt x="1934" y="218"/>
                  </a:lnTo>
                  <a:lnTo>
                    <a:pt x="1934" y="218"/>
                  </a:lnTo>
                  <a:lnTo>
                    <a:pt x="1937" y="218"/>
                  </a:lnTo>
                  <a:lnTo>
                    <a:pt x="1937" y="216"/>
                  </a:lnTo>
                  <a:lnTo>
                    <a:pt x="1937" y="216"/>
                  </a:lnTo>
                  <a:lnTo>
                    <a:pt x="1939" y="215"/>
                  </a:lnTo>
                  <a:lnTo>
                    <a:pt x="1939" y="213"/>
                  </a:lnTo>
                  <a:lnTo>
                    <a:pt x="1941" y="213"/>
                  </a:lnTo>
                  <a:lnTo>
                    <a:pt x="1941" y="211"/>
                  </a:lnTo>
                  <a:lnTo>
                    <a:pt x="1941" y="209"/>
                  </a:lnTo>
                  <a:lnTo>
                    <a:pt x="1943" y="207"/>
                  </a:lnTo>
                  <a:lnTo>
                    <a:pt x="1945" y="206"/>
                  </a:lnTo>
                  <a:lnTo>
                    <a:pt x="1946" y="202"/>
                  </a:lnTo>
                  <a:lnTo>
                    <a:pt x="1946" y="200"/>
                  </a:lnTo>
                  <a:lnTo>
                    <a:pt x="1945" y="197"/>
                  </a:lnTo>
                  <a:lnTo>
                    <a:pt x="1945" y="195"/>
                  </a:lnTo>
                  <a:lnTo>
                    <a:pt x="1945" y="193"/>
                  </a:lnTo>
                  <a:lnTo>
                    <a:pt x="1945" y="193"/>
                  </a:lnTo>
                  <a:lnTo>
                    <a:pt x="1945" y="191"/>
                  </a:lnTo>
                  <a:lnTo>
                    <a:pt x="1945" y="189"/>
                  </a:lnTo>
                  <a:lnTo>
                    <a:pt x="1941" y="191"/>
                  </a:lnTo>
                  <a:lnTo>
                    <a:pt x="1939" y="191"/>
                  </a:lnTo>
                  <a:lnTo>
                    <a:pt x="1937" y="191"/>
                  </a:lnTo>
                  <a:lnTo>
                    <a:pt x="1937" y="191"/>
                  </a:lnTo>
                  <a:lnTo>
                    <a:pt x="1937" y="189"/>
                  </a:lnTo>
                  <a:lnTo>
                    <a:pt x="1936" y="189"/>
                  </a:lnTo>
                  <a:lnTo>
                    <a:pt x="1936" y="189"/>
                  </a:lnTo>
                  <a:lnTo>
                    <a:pt x="1936" y="189"/>
                  </a:lnTo>
                  <a:lnTo>
                    <a:pt x="1934" y="189"/>
                  </a:lnTo>
                  <a:lnTo>
                    <a:pt x="1932" y="193"/>
                  </a:lnTo>
                  <a:lnTo>
                    <a:pt x="1930" y="197"/>
                  </a:lnTo>
                  <a:lnTo>
                    <a:pt x="1928" y="198"/>
                  </a:lnTo>
                  <a:lnTo>
                    <a:pt x="1926" y="197"/>
                  </a:lnTo>
                  <a:lnTo>
                    <a:pt x="1928" y="197"/>
                  </a:lnTo>
                  <a:lnTo>
                    <a:pt x="1928" y="197"/>
                  </a:lnTo>
                  <a:lnTo>
                    <a:pt x="1928" y="195"/>
                  </a:lnTo>
                  <a:lnTo>
                    <a:pt x="1928" y="195"/>
                  </a:lnTo>
                  <a:lnTo>
                    <a:pt x="1928" y="193"/>
                  </a:lnTo>
                  <a:lnTo>
                    <a:pt x="1928" y="193"/>
                  </a:lnTo>
                  <a:lnTo>
                    <a:pt x="1930" y="191"/>
                  </a:lnTo>
                  <a:lnTo>
                    <a:pt x="1932" y="189"/>
                  </a:lnTo>
                  <a:lnTo>
                    <a:pt x="1934" y="188"/>
                  </a:lnTo>
                  <a:lnTo>
                    <a:pt x="1937" y="186"/>
                  </a:lnTo>
                  <a:lnTo>
                    <a:pt x="1941" y="182"/>
                  </a:lnTo>
                  <a:lnTo>
                    <a:pt x="1943" y="182"/>
                  </a:lnTo>
                  <a:lnTo>
                    <a:pt x="1928" y="177"/>
                  </a:lnTo>
                  <a:lnTo>
                    <a:pt x="1925" y="175"/>
                  </a:lnTo>
                  <a:lnTo>
                    <a:pt x="1916" y="175"/>
                  </a:lnTo>
                  <a:lnTo>
                    <a:pt x="1914" y="175"/>
                  </a:lnTo>
                  <a:lnTo>
                    <a:pt x="1917" y="171"/>
                  </a:lnTo>
                  <a:lnTo>
                    <a:pt x="1917" y="171"/>
                  </a:lnTo>
                  <a:lnTo>
                    <a:pt x="1917" y="171"/>
                  </a:lnTo>
                  <a:lnTo>
                    <a:pt x="1916" y="169"/>
                  </a:lnTo>
                  <a:lnTo>
                    <a:pt x="1914" y="169"/>
                  </a:lnTo>
                  <a:lnTo>
                    <a:pt x="1914" y="169"/>
                  </a:lnTo>
                  <a:lnTo>
                    <a:pt x="1916" y="168"/>
                  </a:lnTo>
                  <a:lnTo>
                    <a:pt x="1908" y="169"/>
                  </a:lnTo>
                  <a:lnTo>
                    <a:pt x="1905" y="166"/>
                  </a:lnTo>
                  <a:lnTo>
                    <a:pt x="1894" y="164"/>
                  </a:lnTo>
                  <a:lnTo>
                    <a:pt x="1896" y="162"/>
                  </a:lnTo>
                  <a:lnTo>
                    <a:pt x="1901" y="164"/>
                  </a:lnTo>
                  <a:lnTo>
                    <a:pt x="1901" y="162"/>
                  </a:lnTo>
                  <a:lnTo>
                    <a:pt x="1899" y="162"/>
                  </a:lnTo>
                  <a:lnTo>
                    <a:pt x="1898" y="160"/>
                  </a:lnTo>
                  <a:lnTo>
                    <a:pt x="1896" y="160"/>
                  </a:lnTo>
                  <a:lnTo>
                    <a:pt x="1894" y="162"/>
                  </a:lnTo>
                  <a:lnTo>
                    <a:pt x="1890" y="162"/>
                  </a:lnTo>
                  <a:lnTo>
                    <a:pt x="1889" y="160"/>
                  </a:lnTo>
                  <a:lnTo>
                    <a:pt x="1889" y="159"/>
                  </a:lnTo>
                  <a:lnTo>
                    <a:pt x="1890" y="159"/>
                  </a:lnTo>
                  <a:lnTo>
                    <a:pt x="1892" y="157"/>
                  </a:lnTo>
                  <a:lnTo>
                    <a:pt x="1894" y="155"/>
                  </a:lnTo>
                  <a:lnTo>
                    <a:pt x="1896" y="151"/>
                  </a:lnTo>
                  <a:lnTo>
                    <a:pt x="1889" y="153"/>
                  </a:lnTo>
                  <a:lnTo>
                    <a:pt x="1889" y="151"/>
                  </a:lnTo>
                  <a:lnTo>
                    <a:pt x="1890" y="150"/>
                  </a:lnTo>
                  <a:lnTo>
                    <a:pt x="1905" y="155"/>
                  </a:lnTo>
                  <a:lnTo>
                    <a:pt x="1919" y="159"/>
                  </a:lnTo>
                  <a:lnTo>
                    <a:pt x="1919" y="159"/>
                  </a:lnTo>
                  <a:lnTo>
                    <a:pt x="1943" y="162"/>
                  </a:lnTo>
                  <a:lnTo>
                    <a:pt x="1966" y="166"/>
                  </a:lnTo>
                  <a:lnTo>
                    <a:pt x="1964" y="166"/>
                  </a:lnTo>
                  <a:lnTo>
                    <a:pt x="1964" y="166"/>
                  </a:lnTo>
                  <a:lnTo>
                    <a:pt x="1964" y="164"/>
                  </a:lnTo>
                  <a:lnTo>
                    <a:pt x="1964" y="164"/>
                  </a:lnTo>
                  <a:lnTo>
                    <a:pt x="1973" y="160"/>
                  </a:lnTo>
                  <a:lnTo>
                    <a:pt x="1975" y="159"/>
                  </a:lnTo>
                  <a:lnTo>
                    <a:pt x="1977" y="155"/>
                  </a:lnTo>
                  <a:lnTo>
                    <a:pt x="1975" y="153"/>
                  </a:lnTo>
                  <a:lnTo>
                    <a:pt x="1975" y="151"/>
                  </a:lnTo>
                  <a:lnTo>
                    <a:pt x="1977" y="150"/>
                  </a:lnTo>
                  <a:lnTo>
                    <a:pt x="1977" y="148"/>
                  </a:lnTo>
                  <a:lnTo>
                    <a:pt x="1982" y="148"/>
                  </a:lnTo>
                  <a:lnTo>
                    <a:pt x="1984" y="144"/>
                  </a:lnTo>
                  <a:lnTo>
                    <a:pt x="1984" y="142"/>
                  </a:lnTo>
                  <a:lnTo>
                    <a:pt x="1986" y="141"/>
                  </a:lnTo>
                  <a:lnTo>
                    <a:pt x="2004" y="139"/>
                  </a:lnTo>
                  <a:lnTo>
                    <a:pt x="2010" y="135"/>
                  </a:lnTo>
                  <a:lnTo>
                    <a:pt x="2011" y="135"/>
                  </a:lnTo>
                  <a:lnTo>
                    <a:pt x="2011" y="133"/>
                  </a:lnTo>
                  <a:close/>
                  <a:moveTo>
                    <a:pt x="1722" y="23"/>
                  </a:moveTo>
                  <a:lnTo>
                    <a:pt x="1722" y="25"/>
                  </a:lnTo>
                  <a:lnTo>
                    <a:pt x="1724" y="25"/>
                  </a:lnTo>
                  <a:lnTo>
                    <a:pt x="1730" y="23"/>
                  </a:lnTo>
                  <a:lnTo>
                    <a:pt x="1731" y="23"/>
                  </a:lnTo>
                  <a:lnTo>
                    <a:pt x="1731" y="23"/>
                  </a:lnTo>
                  <a:lnTo>
                    <a:pt x="1735" y="25"/>
                  </a:lnTo>
                  <a:lnTo>
                    <a:pt x="1735" y="27"/>
                  </a:lnTo>
                  <a:lnTo>
                    <a:pt x="1728" y="30"/>
                  </a:lnTo>
                  <a:lnTo>
                    <a:pt x="1731" y="30"/>
                  </a:lnTo>
                  <a:lnTo>
                    <a:pt x="1731" y="34"/>
                  </a:lnTo>
                  <a:lnTo>
                    <a:pt x="1733" y="36"/>
                  </a:lnTo>
                  <a:lnTo>
                    <a:pt x="1735" y="38"/>
                  </a:lnTo>
                  <a:lnTo>
                    <a:pt x="1735" y="38"/>
                  </a:lnTo>
                  <a:lnTo>
                    <a:pt x="1737" y="38"/>
                  </a:lnTo>
                  <a:lnTo>
                    <a:pt x="1740" y="36"/>
                  </a:lnTo>
                  <a:lnTo>
                    <a:pt x="1746" y="36"/>
                  </a:lnTo>
                  <a:lnTo>
                    <a:pt x="1746" y="34"/>
                  </a:lnTo>
                  <a:lnTo>
                    <a:pt x="1744" y="34"/>
                  </a:lnTo>
                  <a:lnTo>
                    <a:pt x="1744" y="34"/>
                  </a:lnTo>
                  <a:lnTo>
                    <a:pt x="1744" y="30"/>
                  </a:lnTo>
                  <a:lnTo>
                    <a:pt x="1746" y="30"/>
                  </a:lnTo>
                  <a:lnTo>
                    <a:pt x="1748" y="32"/>
                  </a:lnTo>
                  <a:lnTo>
                    <a:pt x="1753" y="32"/>
                  </a:lnTo>
                  <a:lnTo>
                    <a:pt x="1753" y="32"/>
                  </a:lnTo>
                  <a:lnTo>
                    <a:pt x="1755" y="30"/>
                  </a:lnTo>
                  <a:lnTo>
                    <a:pt x="1757" y="30"/>
                  </a:lnTo>
                  <a:lnTo>
                    <a:pt x="1762" y="30"/>
                  </a:lnTo>
                  <a:lnTo>
                    <a:pt x="1762" y="30"/>
                  </a:lnTo>
                  <a:lnTo>
                    <a:pt x="1764" y="29"/>
                  </a:lnTo>
                  <a:lnTo>
                    <a:pt x="1764" y="27"/>
                  </a:lnTo>
                  <a:lnTo>
                    <a:pt x="1768" y="27"/>
                  </a:lnTo>
                  <a:lnTo>
                    <a:pt x="1768" y="25"/>
                  </a:lnTo>
                  <a:lnTo>
                    <a:pt x="1769" y="21"/>
                  </a:lnTo>
                  <a:lnTo>
                    <a:pt x="1768" y="20"/>
                  </a:lnTo>
                  <a:lnTo>
                    <a:pt x="1768" y="20"/>
                  </a:lnTo>
                  <a:lnTo>
                    <a:pt x="1764" y="21"/>
                  </a:lnTo>
                  <a:lnTo>
                    <a:pt x="1764" y="21"/>
                  </a:lnTo>
                  <a:lnTo>
                    <a:pt x="1762" y="25"/>
                  </a:lnTo>
                  <a:lnTo>
                    <a:pt x="1760" y="27"/>
                  </a:lnTo>
                  <a:lnTo>
                    <a:pt x="1759" y="27"/>
                  </a:lnTo>
                  <a:lnTo>
                    <a:pt x="1757" y="27"/>
                  </a:lnTo>
                  <a:lnTo>
                    <a:pt x="1755" y="27"/>
                  </a:lnTo>
                  <a:lnTo>
                    <a:pt x="1755" y="25"/>
                  </a:lnTo>
                  <a:lnTo>
                    <a:pt x="1755" y="25"/>
                  </a:lnTo>
                  <a:lnTo>
                    <a:pt x="1757" y="25"/>
                  </a:lnTo>
                  <a:lnTo>
                    <a:pt x="1757" y="21"/>
                  </a:lnTo>
                  <a:lnTo>
                    <a:pt x="1755" y="21"/>
                  </a:lnTo>
                  <a:lnTo>
                    <a:pt x="1753" y="21"/>
                  </a:lnTo>
                  <a:lnTo>
                    <a:pt x="1753" y="20"/>
                  </a:lnTo>
                  <a:lnTo>
                    <a:pt x="1753" y="20"/>
                  </a:lnTo>
                  <a:lnTo>
                    <a:pt x="1755" y="18"/>
                  </a:lnTo>
                  <a:lnTo>
                    <a:pt x="1757" y="16"/>
                  </a:lnTo>
                  <a:lnTo>
                    <a:pt x="1760" y="14"/>
                  </a:lnTo>
                  <a:lnTo>
                    <a:pt x="1759" y="9"/>
                  </a:lnTo>
                  <a:lnTo>
                    <a:pt x="1759" y="7"/>
                  </a:lnTo>
                  <a:lnTo>
                    <a:pt x="1755" y="11"/>
                  </a:lnTo>
                  <a:lnTo>
                    <a:pt x="1755" y="11"/>
                  </a:lnTo>
                  <a:lnTo>
                    <a:pt x="1753" y="11"/>
                  </a:lnTo>
                  <a:lnTo>
                    <a:pt x="1753" y="12"/>
                  </a:lnTo>
                  <a:lnTo>
                    <a:pt x="1751" y="12"/>
                  </a:lnTo>
                  <a:lnTo>
                    <a:pt x="1751" y="9"/>
                  </a:lnTo>
                  <a:lnTo>
                    <a:pt x="1751" y="9"/>
                  </a:lnTo>
                  <a:lnTo>
                    <a:pt x="1748" y="12"/>
                  </a:lnTo>
                  <a:lnTo>
                    <a:pt x="1748" y="11"/>
                  </a:lnTo>
                  <a:lnTo>
                    <a:pt x="1748" y="9"/>
                  </a:lnTo>
                  <a:lnTo>
                    <a:pt x="1748" y="5"/>
                  </a:lnTo>
                  <a:lnTo>
                    <a:pt x="1748" y="3"/>
                  </a:lnTo>
                  <a:lnTo>
                    <a:pt x="1742" y="5"/>
                  </a:lnTo>
                  <a:lnTo>
                    <a:pt x="1742" y="2"/>
                  </a:lnTo>
                  <a:lnTo>
                    <a:pt x="1740" y="2"/>
                  </a:lnTo>
                  <a:lnTo>
                    <a:pt x="1740" y="2"/>
                  </a:lnTo>
                  <a:lnTo>
                    <a:pt x="1740" y="2"/>
                  </a:lnTo>
                  <a:lnTo>
                    <a:pt x="1739" y="3"/>
                  </a:lnTo>
                  <a:lnTo>
                    <a:pt x="1739" y="5"/>
                  </a:lnTo>
                  <a:lnTo>
                    <a:pt x="1737" y="3"/>
                  </a:lnTo>
                  <a:lnTo>
                    <a:pt x="1735" y="5"/>
                  </a:lnTo>
                  <a:lnTo>
                    <a:pt x="1742" y="12"/>
                  </a:lnTo>
                  <a:lnTo>
                    <a:pt x="1742" y="14"/>
                  </a:lnTo>
                  <a:lnTo>
                    <a:pt x="1744" y="16"/>
                  </a:lnTo>
                  <a:lnTo>
                    <a:pt x="1744" y="20"/>
                  </a:lnTo>
                  <a:lnTo>
                    <a:pt x="1742" y="18"/>
                  </a:lnTo>
                  <a:lnTo>
                    <a:pt x="1739" y="14"/>
                  </a:lnTo>
                  <a:lnTo>
                    <a:pt x="1737" y="14"/>
                  </a:lnTo>
                  <a:lnTo>
                    <a:pt x="1737" y="14"/>
                  </a:lnTo>
                  <a:lnTo>
                    <a:pt x="1735" y="12"/>
                  </a:lnTo>
                  <a:lnTo>
                    <a:pt x="1735" y="12"/>
                  </a:lnTo>
                  <a:lnTo>
                    <a:pt x="1733" y="12"/>
                  </a:lnTo>
                  <a:lnTo>
                    <a:pt x="1731" y="11"/>
                  </a:lnTo>
                  <a:lnTo>
                    <a:pt x="1731" y="11"/>
                  </a:lnTo>
                  <a:lnTo>
                    <a:pt x="1731" y="12"/>
                  </a:lnTo>
                  <a:lnTo>
                    <a:pt x="1731" y="12"/>
                  </a:lnTo>
                  <a:lnTo>
                    <a:pt x="1731" y="14"/>
                  </a:lnTo>
                  <a:lnTo>
                    <a:pt x="1731" y="14"/>
                  </a:lnTo>
                  <a:lnTo>
                    <a:pt x="1731" y="16"/>
                  </a:lnTo>
                  <a:lnTo>
                    <a:pt x="1730" y="16"/>
                  </a:lnTo>
                  <a:lnTo>
                    <a:pt x="1728" y="14"/>
                  </a:lnTo>
                  <a:lnTo>
                    <a:pt x="1728" y="14"/>
                  </a:lnTo>
                  <a:lnTo>
                    <a:pt x="1726" y="14"/>
                  </a:lnTo>
                  <a:lnTo>
                    <a:pt x="1724" y="14"/>
                  </a:lnTo>
                  <a:lnTo>
                    <a:pt x="1724" y="16"/>
                  </a:lnTo>
                  <a:lnTo>
                    <a:pt x="1726" y="16"/>
                  </a:lnTo>
                  <a:lnTo>
                    <a:pt x="1722" y="20"/>
                  </a:lnTo>
                  <a:lnTo>
                    <a:pt x="1722" y="21"/>
                  </a:lnTo>
                  <a:lnTo>
                    <a:pt x="1722" y="23"/>
                  </a:lnTo>
                  <a:lnTo>
                    <a:pt x="1722" y="23"/>
                  </a:lnTo>
                  <a:close/>
                  <a:moveTo>
                    <a:pt x="57" y="0"/>
                  </a:moveTo>
                  <a:lnTo>
                    <a:pt x="56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39" y="3"/>
                  </a:lnTo>
                  <a:lnTo>
                    <a:pt x="38" y="7"/>
                  </a:lnTo>
                  <a:lnTo>
                    <a:pt x="36" y="9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0" y="23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1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5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1" y="45"/>
                  </a:lnTo>
                  <a:lnTo>
                    <a:pt x="0" y="47"/>
                  </a:lnTo>
                  <a:lnTo>
                    <a:pt x="0" y="48"/>
                  </a:lnTo>
                  <a:lnTo>
                    <a:pt x="3" y="52"/>
                  </a:lnTo>
                  <a:lnTo>
                    <a:pt x="1" y="54"/>
                  </a:lnTo>
                  <a:lnTo>
                    <a:pt x="1" y="54"/>
                  </a:lnTo>
                  <a:lnTo>
                    <a:pt x="1" y="56"/>
                  </a:lnTo>
                  <a:lnTo>
                    <a:pt x="3" y="56"/>
                  </a:lnTo>
                  <a:lnTo>
                    <a:pt x="5" y="56"/>
                  </a:lnTo>
                  <a:lnTo>
                    <a:pt x="7" y="56"/>
                  </a:lnTo>
                  <a:lnTo>
                    <a:pt x="7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10" y="50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21" y="36"/>
                  </a:lnTo>
                  <a:lnTo>
                    <a:pt x="23" y="36"/>
                  </a:lnTo>
                  <a:lnTo>
                    <a:pt x="25" y="34"/>
                  </a:lnTo>
                  <a:lnTo>
                    <a:pt x="30" y="30"/>
                  </a:lnTo>
                  <a:lnTo>
                    <a:pt x="32" y="30"/>
                  </a:lnTo>
                  <a:lnTo>
                    <a:pt x="34" y="32"/>
                  </a:lnTo>
                  <a:lnTo>
                    <a:pt x="36" y="32"/>
                  </a:lnTo>
                  <a:lnTo>
                    <a:pt x="56" y="21"/>
                  </a:lnTo>
                  <a:lnTo>
                    <a:pt x="57" y="20"/>
                  </a:lnTo>
                  <a:lnTo>
                    <a:pt x="56" y="18"/>
                  </a:lnTo>
                  <a:lnTo>
                    <a:pt x="56" y="14"/>
                  </a:lnTo>
                  <a:lnTo>
                    <a:pt x="56" y="11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9" y="5"/>
                  </a:lnTo>
                  <a:lnTo>
                    <a:pt x="59" y="3"/>
                  </a:lnTo>
                  <a:lnTo>
                    <a:pt x="57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DC41176C-8988-7C2D-E5D0-D79FD1E73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2188" y="4271963"/>
              <a:ext cx="358775" cy="230188"/>
            </a:xfrm>
            <a:custGeom>
              <a:avLst/>
              <a:gdLst>
                <a:gd name="T0" fmla="*/ 224 w 226"/>
                <a:gd name="T1" fmla="*/ 78 h 145"/>
                <a:gd name="T2" fmla="*/ 226 w 226"/>
                <a:gd name="T3" fmla="*/ 63 h 145"/>
                <a:gd name="T4" fmla="*/ 217 w 226"/>
                <a:gd name="T5" fmla="*/ 65 h 145"/>
                <a:gd name="T6" fmla="*/ 208 w 226"/>
                <a:gd name="T7" fmla="*/ 71 h 145"/>
                <a:gd name="T8" fmla="*/ 196 w 226"/>
                <a:gd name="T9" fmla="*/ 58 h 145"/>
                <a:gd name="T10" fmla="*/ 177 w 226"/>
                <a:gd name="T11" fmla="*/ 53 h 145"/>
                <a:gd name="T12" fmla="*/ 183 w 226"/>
                <a:gd name="T13" fmla="*/ 34 h 145"/>
                <a:gd name="T14" fmla="*/ 165 w 226"/>
                <a:gd name="T15" fmla="*/ 11 h 145"/>
                <a:gd name="T16" fmla="*/ 145 w 226"/>
                <a:gd name="T17" fmla="*/ 9 h 145"/>
                <a:gd name="T18" fmla="*/ 138 w 226"/>
                <a:gd name="T19" fmla="*/ 6 h 145"/>
                <a:gd name="T20" fmla="*/ 134 w 226"/>
                <a:gd name="T21" fmla="*/ 0 h 145"/>
                <a:gd name="T22" fmla="*/ 127 w 226"/>
                <a:gd name="T23" fmla="*/ 2 h 145"/>
                <a:gd name="T24" fmla="*/ 121 w 226"/>
                <a:gd name="T25" fmla="*/ 9 h 145"/>
                <a:gd name="T26" fmla="*/ 132 w 226"/>
                <a:gd name="T27" fmla="*/ 11 h 145"/>
                <a:gd name="T28" fmla="*/ 132 w 226"/>
                <a:gd name="T29" fmla="*/ 13 h 145"/>
                <a:gd name="T30" fmla="*/ 125 w 226"/>
                <a:gd name="T31" fmla="*/ 15 h 145"/>
                <a:gd name="T32" fmla="*/ 116 w 226"/>
                <a:gd name="T33" fmla="*/ 13 h 145"/>
                <a:gd name="T34" fmla="*/ 107 w 226"/>
                <a:gd name="T35" fmla="*/ 16 h 145"/>
                <a:gd name="T36" fmla="*/ 89 w 226"/>
                <a:gd name="T37" fmla="*/ 18 h 145"/>
                <a:gd name="T38" fmla="*/ 80 w 226"/>
                <a:gd name="T39" fmla="*/ 16 h 145"/>
                <a:gd name="T40" fmla="*/ 76 w 226"/>
                <a:gd name="T41" fmla="*/ 22 h 145"/>
                <a:gd name="T42" fmla="*/ 75 w 226"/>
                <a:gd name="T43" fmla="*/ 22 h 145"/>
                <a:gd name="T44" fmla="*/ 69 w 226"/>
                <a:gd name="T45" fmla="*/ 27 h 145"/>
                <a:gd name="T46" fmla="*/ 62 w 226"/>
                <a:gd name="T47" fmla="*/ 22 h 145"/>
                <a:gd name="T48" fmla="*/ 51 w 226"/>
                <a:gd name="T49" fmla="*/ 22 h 145"/>
                <a:gd name="T50" fmla="*/ 46 w 226"/>
                <a:gd name="T51" fmla="*/ 33 h 145"/>
                <a:gd name="T52" fmla="*/ 51 w 226"/>
                <a:gd name="T53" fmla="*/ 36 h 145"/>
                <a:gd name="T54" fmla="*/ 38 w 226"/>
                <a:gd name="T55" fmla="*/ 51 h 145"/>
                <a:gd name="T56" fmla="*/ 26 w 226"/>
                <a:gd name="T57" fmla="*/ 67 h 145"/>
                <a:gd name="T58" fmla="*/ 24 w 226"/>
                <a:gd name="T59" fmla="*/ 76 h 145"/>
                <a:gd name="T60" fmla="*/ 6 w 226"/>
                <a:gd name="T61" fmla="*/ 96 h 145"/>
                <a:gd name="T62" fmla="*/ 8 w 226"/>
                <a:gd name="T63" fmla="*/ 103 h 145"/>
                <a:gd name="T64" fmla="*/ 6 w 226"/>
                <a:gd name="T65" fmla="*/ 114 h 145"/>
                <a:gd name="T66" fmla="*/ 0 w 226"/>
                <a:gd name="T67" fmla="*/ 119 h 145"/>
                <a:gd name="T68" fmla="*/ 15 w 226"/>
                <a:gd name="T69" fmla="*/ 112 h 145"/>
                <a:gd name="T70" fmla="*/ 20 w 226"/>
                <a:gd name="T71" fmla="*/ 101 h 145"/>
                <a:gd name="T72" fmla="*/ 40 w 226"/>
                <a:gd name="T73" fmla="*/ 105 h 145"/>
                <a:gd name="T74" fmla="*/ 46 w 226"/>
                <a:gd name="T75" fmla="*/ 125 h 145"/>
                <a:gd name="T76" fmla="*/ 47 w 226"/>
                <a:gd name="T77" fmla="*/ 128 h 145"/>
                <a:gd name="T78" fmla="*/ 56 w 226"/>
                <a:gd name="T79" fmla="*/ 139 h 145"/>
                <a:gd name="T80" fmla="*/ 78 w 226"/>
                <a:gd name="T81" fmla="*/ 134 h 145"/>
                <a:gd name="T82" fmla="*/ 93 w 226"/>
                <a:gd name="T83" fmla="*/ 137 h 145"/>
                <a:gd name="T84" fmla="*/ 102 w 226"/>
                <a:gd name="T85" fmla="*/ 132 h 145"/>
                <a:gd name="T86" fmla="*/ 105 w 226"/>
                <a:gd name="T87" fmla="*/ 125 h 145"/>
                <a:gd name="T88" fmla="*/ 112 w 226"/>
                <a:gd name="T89" fmla="*/ 109 h 145"/>
                <a:gd name="T90" fmla="*/ 121 w 226"/>
                <a:gd name="T91" fmla="*/ 100 h 145"/>
                <a:gd name="T92" fmla="*/ 127 w 226"/>
                <a:gd name="T93" fmla="*/ 116 h 145"/>
                <a:gd name="T94" fmla="*/ 140 w 226"/>
                <a:gd name="T95" fmla="*/ 123 h 145"/>
                <a:gd name="T96" fmla="*/ 141 w 226"/>
                <a:gd name="T97" fmla="*/ 132 h 145"/>
                <a:gd name="T98" fmla="*/ 149 w 226"/>
                <a:gd name="T99" fmla="*/ 143 h 145"/>
                <a:gd name="T100" fmla="*/ 152 w 226"/>
                <a:gd name="T101" fmla="*/ 134 h 145"/>
                <a:gd name="T102" fmla="*/ 156 w 226"/>
                <a:gd name="T103" fmla="*/ 127 h 145"/>
                <a:gd name="T104" fmla="*/ 163 w 226"/>
                <a:gd name="T105" fmla="*/ 116 h 145"/>
                <a:gd name="T106" fmla="*/ 165 w 226"/>
                <a:gd name="T107" fmla="*/ 98 h 145"/>
                <a:gd name="T108" fmla="*/ 174 w 226"/>
                <a:gd name="T109" fmla="*/ 96 h 145"/>
                <a:gd name="T110" fmla="*/ 181 w 226"/>
                <a:gd name="T111" fmla="*/ 110 h 145"/>
                <a:gd name="T112" fmla="*/ 196 w 226"/>
                <a:gd name="T113" fmla="*/ 105 h 145"/>
                <a:gd name="T114" fmla="*/ 206 w 226"/>
                <a:gd name="T115" fmla="*/ 116 h 145"/>
                <a:gd name="T116" fmla="*/ 210 w 226"/>
                <a:gd name="T117" fmla="*/ 103 h 145"/>
                <a:gd name="T118" fmla="*/ 205 w 226"/>
                <a:gd name="T119" fmla="*/ 94 h 145"/>
                <a:gd name="T120" fmla="*/ 215 w 226"/>
                <a:gd name="T121" fmla="*/ 87 h 145"/>
                <a:gd name="T122" fmla="*/ 226 w 226"/>
                <a:gd name="T123" fmla="*/ 9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6" h="145">
                  <a:moveTo>
                    <a:pt x="226" y="87"/>
                  </a:moveTo>
                  <a:lnTo>
                    <a:pt x="224" y="85"/>
                  </a:lnTo>
                  <a:lnTo>
                    <a:pt x="223" y="85"/>
                  </a:lnTo>
                  <a:lnTo>
                    <a:pt x="223" y="83"/>
                  </a:lnTo>
                  <a:lnTo>
                    <a:pt x="221" y="83"/>
                  </a:lnTo>
                  <a:lnTo>
                    <a:pt x="221" y="81"/>
                  </a:lnTo>
                  <a:lnTo>
                    <a:pt x="223" y="81"/>
                  </a:lnTo>
                  <a:lnTo>
                    <a:pt x="223" y="80"/>
                  </a:lnTo>
                  <a:lnTo>
                    <a:pt x="223" y="80"/>
                  </a:lnTo>
                  <a:lnTo>
                    <a:pt x="223" y="78"/>
                  </a:lnTo>
                  <a:lnTo>
                    <a:pt x="223" y="78"/>
                  </a:lnTo>
                  <a:lnTo>
                    <a:pt x="224" y="78"/>
                  </a:lnTo>
                  <a:lnTo>
                    <a:pt x="224" y="76"/>
                  </a:lnTo>
                  <a:lnTo>
                    <a:pt x="224" y="76"/>
                  </a:lnTo>
                  <a:lnTo>
                    <a:pt x="224" y="74"/>
                  </a:lnTo>
                  <a:lnTo>
                    <a:pt x="224" y="74"/>
                  </a:lnTo>
                  <a:lnTo>
                    <a:pt x="224" y="72"/>
                  </a:lnTo>
                  <a:lnTo>
                    <a:pt x="224" y="72"/>
                  </a:lnTo>
                  <a:lnTo>
                    <a:pt x="226" y="71"/>
                  </a:lnTo>
                  <a:lnTo>
                    <a:pt x="226" y="69"/>
                  </a:lnTo>
                  <a:lnTo>
                    <a:pt x="226" y="67"/>
                  </a:lnTo>
                  <a:lnTo>
                    <a:pt x="226" y="65"/>
                  </a:lnTo>
                  <a:lnTo>
                    <a:pt x="226" y="63"/>
                  </a:lnTo>
                  <a:lnTo>
                    <a:pt x="226" y="63"/>
                  </a:lnTo>
                  <a:lnTo>
                    <a:pt x="224" y="62"/>
                  </a:lnTo>
                  <a:lnTo>
                    <a:pt x="223" y="60"/>
                  </a:lnTo>
                  <a:lnTo>
                    <a:pt x="223" y="60"/>
                  </a:lnTo>
                  <a:lnTo>
                    <a:pt x="223" y="60"/>
                  </a:lnTo>
                  <a:lnTo>
                    <a:pt x="223" y="60"/>
                  </a:lnTo>
                  <a:lnTo>
                    <a:pt x="223" y="60"/>
                  </a:lnTo>
                  <a:lnTo>
                    <a:pt x="221" y="60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17" y="63"/>
                  </a:lnTo>
                  <a:lnTo>
                    <a:pt x="217" y="65"/>
                  </a:lnTo>
                  <a:lnTo>
                    <a:pt x="217" y="65"/>
                  </a:lnTo>
                  <a:lnTo>
                    <a:pt x="215" y="63"/>
                  </a:lnTo>
                  <a:lnTo>
                    <a:pt x="215" y="63"/>
                  </a:lnTo>
                  <a:lnTo>
                    <a:pt x="214" y="65"/>
                  </a:lnTo>
                  <a:lnTo>
                    <a:pt x="214" y="67"/>
                  </a:lnTo>
                  <a:lnTo>
                    <a:pt x="214" y="67"/>
                  </a:lnTo>
                  <a:lnTo>
                    <a:pt x="214" y="67"/>
                  </a:lnTo>
                  <a:lnTo>
                    <a:pt x="214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1"/>
                  </a:lnTo>
                  <a:lnTo>
                    <a:pt x="208" y="71"/>
                  </a:lnTo>
                  <a:lnTo>
                    <a:pt x="206" y="69"/>
                  </a:lnTo>
                  <a:lnTo>
                    <a:pt x="205" y="69"/>
                  </a:lnTo>
                  <a:lnTo>
                    <a:pt x="203" y="67"/>
                  </a:lnTo>
                  <a:lnTo>
                    <a:pt x="197" y="65"/>
                  </a:lnTo>
                  <a:lnTo>
                    <a:pt x="197" y="63"/>
                  </a:lnTo>
                  <a:lnTo>
                    <a:pt x="196" y="63"/>
                  </a:lnTo>
                  <a:lnTo>
                    <a:pt x="196" y="62"/>
                  </a:lnTo>
                  <a:lnTo>
                    <a:pt x="196" y="62"/>
                  </a:lnTo>
                  <a:lnTo>
                    <a:pt x="196" y="60"/>
                  </a:lnTo>
                  <a:lnTo>
                    <a:pt x="196" y="60"/>
                  </a:lnTo>
                  <a:lnTo>
                    <a:pt x="196" y="58"/>
                  </a:lnTo>
                  <a:lnTo>
                    <a:pt x="196" y="58"/>
                  </a:lnTo>
                  <a:lnTo>
                    <a:pt x="196" y="58"/>
                  </a:lnTo>
                  <a:lnTo>
                    <a:pt x="196" y="58"/>
                  </a:lnTo>
                  <a:lnTo>
                    <a:pt x="196" y="58"/>
                  </a:lnTo>
                  <a:lnTo>
                    <a:pt x="187" y="54"/>
                  </a:lnTo>
                  <a:lnTo>
                    <a:pt x="185" y="54"/>
                  </a:lnTo>
                  <a:lnTo>
                    <a:pt x="183" y="54"/>
                  </a:lnTo>
                  <a:lnTo>
                    <a:pt x="181" y="54"/>
                  </a:lnTo>
                  <a:lnTo>
                    <a:pt x="181" y="54"/>
                  </a:lnTo>
                  <a:lnTo>
                    <a:pt x="177" y="54"/>
                  </a:lnTo>
                  <a:lnTo>
                    <a:pt x="177" y="54"/>
                  </a:lnTo>
                  <a:lnTo>
                    <a:pt x="177" y="53"/>
                  </a:lnTo>
                  <a:lnTo>
                    <a:pt x="177" y="53"/>
                  </a:lnTo>
                  <a:lnTo>
                    <a:pt x="177" y="53"/>
                  </a:lnTo>
                  <a:lnTo>
                    <a:pt x="179" y="51"/>
                  </a:lnTo>
                  <a:lnTo>
                    <a:pt x="179" y="49"/>
                  </a:lnTo>
                  <a:lnTo>
                    <a:pt x="177" y="47"/>
                  </a:lnTo>
                  <a:lnTo>
                    <a:pt x="177" y="47"/>
                  </a:lnTo>
                  <a:lnTo>
                    <a:pt x="177" y="45"/>
                  </a:lnTo>
                  <a:lnTo>
                    <a:pt x="177" y="44"/>
                  </a:lnTo>
                  <a:lnTo>
                    <a:pt x="177" y="40"/>
                  </a:lnTo>
                  <a:lnTo>
                    <a:pt x="179" y="40"/>
                  </a:lnTo>
                  <a:lnTo>
                    <a:pt x="181" y="36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83" y="33"/>
                  </a:lnTo>
                  <a:lnTo>
                    <a:pt x="183" y="33"/>
                  </a:lnTo>
                  <a:lnTo>
                    <a:pt x="185" y="29"/>
                  </a:lnTo>
                  <a:lnTo>
                    <a:pt x="185" y="29"/>
                  </a:lnTo>
                  <a:lnTo>
                    <a:pt x="185" y="25"/>
                  </a:lnTo>
                  <a:lnTo>
                    <a:pt x="185" y="24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0"/>
                  </a:lnTo>
                  <a:lnTo>
                    <a:pt x="181" y="20"/>
                  </a:lnTo>
                  <a:lnTo>
                    <a:pt x="167" y="11"/>
                  </a:lnTo>
                  <a:lnTo>
                    <a:pt x="165" y="11"/>
                  </a:lnTo>
                  <a:lnTo>
                    <a:pt x="163" y="11"/>
                  </a:lnTo>
                  <a:lnTo>
                    <a:pt x="161" y="9"/>
                  </a:lnTo>
                  <a:lnTo>
                    <a:pt x="159" y="9"/>
                  </a:lnTo>
                  <a:lnTo>
                    <a:pt x="154" y="9"/>
                  </a:lnTo>
                  <a:lnTo>
                    <a:pt x="152" y="9"/>
                  </a:lnTo>
                  <a:lnTo>
                    <a:pt x="152" y="9"/>
                  </a:lnTo>
                  <a:lnTo>
                    <a:pt x="150" y="11"/>
                  </a:lnTo>
                  <a:lnTo>
                    <a:pt x="149" y="11"/>
                  </a:lnTo>
                  <a:lnTo>
                    <a:pt x="147" y="11"/>
                  </a:lnTo>
                  <a:lnTo>
                    <a:pt x="145" y="9"/>
                  </a:lnTo>
                  <a:lnTo>
                    <a:pt x="145" y="9"/>
                  </a:lnTo>
                  <a:lnTo>
                    <a:pt x="145" y="9"/>
                  </a:lnTo>
                  <a:lnTo>
                    <a:pt x="145" y="7"/>
                  </a:lnTo>
                  <a:lnTo>
                    <a:pt x="145" y="7"/>
                  </a:lnTo>
                  <a:lnTo>
                    <a:pt x="145" y="7"/>
                  </a:lnTo>
                  <a:lnTo>
                    <a:pt x="143" y="6"/>
                  </a:lnTo>
                  <a:lnTo>
                    <a:pt x="141" y="6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40" y="7"/>
                  </a:lnTo>
                  <a:lnTo>
                    <a:pt x="138" y="7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36" y="2"/>
                  </a:lnTo>
                  <a:lnTo>
                    <a:pt x="136" y="2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27" y="2"/>
                  </a:lnTo>
                  <a:lnTo>
                    <a:pt x="127" y="2"/>
                  </a:lnTo>
                  <a:lnTo>
                    <a:pt x="125" y="2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3" y="6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3" y="9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31" y="9"/>
                  </a:lnTo>
                  <a:lnTo>
                    <a:pt x="132" y="9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2" y="15"/>
                  </a:lnTo>
                  <a:lnTo>
                    <a:pt x="132" y="15"/>
                  </a:lnTo>
                  <a:lnTo>
                    <a:pt x="132" y="15"/>
                  </a:lnTo>
                  <a:lnTo>
                    <a:pt x="132" y="15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31" y="13"/>
                  </a:lnTo>
                  <a:lnTo>
                    <a:pt x="129" y="13"/>
                  </a:lnTo>
                  <a:lnTo>
                    <a:pt x="127" y="13"/>
                  </a:lnTo>
                  <a:lnTo>
                    <a:pt x="125" y="15"/>
                  </a:lnTo>
                  <a:lnTo>
                    <a:pt x="125" y="15"/>
                  </a:lnTo>
                  <a:lnTo>
                    <a:pt x="125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0" y="16"/>
                  </a:lnTo>
                  <a:lnTo>
                    <a:pt x="118" y="15"/>
                  </a:lnTo>
                  <a:lnTo>
                    <a:pt x="118" y="15"/>
                  </a:lnTo>
                  <a:lnTo>
                    <a:pt x="118" y="15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14" y="13"/>
                  </a:lnTo>
                  <a:lnTo>
                    <a:pt x="112" y="13"/>
                  </a:lnTo>
                  <a:lnTo>
                    <a:pt x="111" y="13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09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5" y="18"/>
                  </a:lnTo>
                  <a:lnTo>
                    <a:pt x="98" y="18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1" y="18"/>
                  </a:lnTo>
                  <a:lnTo>
                    <a:pt x="89" y="18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78" y="16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5" y="24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3" y="22"/>
                  </a:lnTo>
                  <a:lnTo>
                    <a:pt x="73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3" y="27"/>
                  </a:lnTo>
                  <a:lnTo>
                    <a:pt x="73" y="27"/>
                  </a:lnTo>
                  <a:lnTo>
                    <a:pt x="71" y="27"/>
                  </a:lnTo>
                  <a:lnTo>
                    <a:pt x="69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2" y="27"/>
                  </a:lnTo>
                  <a:lnTo>
                    <a:pt x="62" y="25"/>
                  </a:lnTo>
                  <a:lnTo>
                    <a:pt x="60" y="25"/>
                  </a:lnTo>
                  <a:lnTo>
                    <a:pt x="62" y="22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1" y="22"/>
                  </a:lnTo>
                  <a:lnTo>
                    <a:pt x="51" y="24"/>
                  </a:lnTo>
                  <a:lnTo>
                    <a:pt x="53" y="24"/>
                  </a:lnTo>
                  <a:lnTo>
                    <a:pt x="53" y="25"/>
                  </a:lnTo>
                  <a:lnTo>
                    <a:pt x="51" y="25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49" y="27"/>
                  </a:lnTo>
                  <a:lnTo>
                    <a:pt x="49" y="29"/>
                  </a:lnTo>
                  <a:lnTo>
                    <a:pt x="47" y="29"/>
                  </a:lnTo>
                  <a:lnTo>
                    <a:pt x="47" y="31"/>
                  </a:lnTo>
                  <a:lnTo>
                    <a:pt x="46" y="31"/>
                  </a:lnTo>
                  <a:lnTo>
                    <a:pt x="46" y="33"/>
                  </a:lnTo>
                  <a:lnTo>
                    <a:pt x="53" y="33"/>
                  </a:lnTo>
                  <a:lnTo>
                    <a:pt x="53" y="31"/>
                  </a:lnTo>
                  <a:lnTo>
                    <a:pt x="53" y="33"/>
                  </a:lnTo>
                  <a:lnTo>
                    <a:pt x="55" y="33"/>
                  </a:lnTo>
                  <a:lnTo>
                    <a:pt x="55" y="34"/>
                  </a:lnTo>
                  <a:lnTo>
                    <a:pt x="55" y="34"/>
                  </a:lnTo>
                  <a:lnTo>
                    <a:pt x="55" y="34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36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40"/>
                  </a:lnTo>
                  <a:lnTo>
                    <a:pt x="47" y="44"/>
                  </a:lnTo>
                  <a:lnTo>
                    <a:pt x="46" y="45"/>
                  </a:lnTo>
                  <a:lnTo>
                    <a:pt x="44" y="45"/>
                  </a:lnTo>
                  <a:lnTo>
                    <a:pt x="44" y="47"/>
                  </a:lnTo>
                  <a:lnTo>
                    <a:pt x="42" y="49"/>
                  </a:lnTo>
                  <a:lnTo>
                    <a:pt x="40" y="49"/>
                  </a:lnTo>
                  <a:lnTo>
                    <a:pt x="40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4"/>
                  </a:lnTo>
                  <a:lnTo>
                    <a:pt x="37" y="56"/>
                  </a:lnTo>
                  <a:lnTo>
                    <a:pt x="37" y="58"/>
                  </a:lnTo>
                  <a:lnTo>
                    <a:pt x="33" y="60"/>
                  </a:lnTo>
                  <a:lnTo>
                    <a:pt x="28" y="62"/>
                  </a:lnTo>
                  <a:lnTo>
                    <a:pt x="24" y="63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6" y="67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4" y="69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2" y="78"/>
                  </a:lnTo>
                  <a:lnTo>
                    <a:pt x="22" y="78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7" y="81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10" y="90"/>
                  </a:lnTo>
                  <a:lnTo>
                    <a:pt x="10" y="90"/>
                  </a:lnTo>
                  <a:lnTo>
                    <a:pt x="8" y="94"/>
                  </a:lnTo>
                  <a:lnTo>
                    <a:pt x="6" y="96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8" y="103"/>
                  </a:lnTo>
                  <a:lnTo>
                    <a:pt x="10" y="103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8" y="107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2" y="116"/>
                  </a:lnTo>
                  <a:lnTo>
                    <a:pt x="0" y="116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1"/>
                  </a:lnTo>
                  <a:lnTo>
                    <a:pt x="13" y="118"/>
                  </a:lnTo>
                  <a:lnTo>
                    <a:pt x="15" y="116"/>
                  </a:lnTo>
                  <a:lnTo>
                    <a:pt x="17" y="114"/>
                  </a:lnTo>
                  <a:lnTo>
                    <a:pt x="17" y="112"/>
                  </a:lnTo>
                  <a:lnTo>
                    <a:pt x="17" y="112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5" y="110"/>
                  </a:lnTo>
                  <a:lnTo>
                    <a:pt x="15" y="110"/>
                  </a:lnTo>
                  <a:lnTo>
                    <a:pt x="13" y="109"/>
                  </a:lnTo>
                  <a:lnTo>
                    <a:pt x="13" y="109"/>
                  </a:lnTo>
                  <a:lnTo>
                    <a:pt x="13" y="107"/>
                  </a:lnTo>
                  <a:lnTo>
                    <a:pt x="15" y="107"/>
                  </a:lnTo>
                  <a:lnTo>
                    <a:pt x="17" y="105"/>
                  </a:lnTo>
                  <a:lnTo>
                    <a:pt x="19" y="103"/>
                  </a:lnTo>
                  <a:lnTo>
                    <a:pt x="19" y="101"/>
                  </a:lnTo>
                  <a:lnTo>
                    <a:pt x="20" y="101"/>
                  </a:lnTo>
                  <a:lnTo>
                    <a:pt x="22" y="101"/>
                  </a:lnTo>
                  <a:lnTo>
                    <a:pt x="28" y="100"/>
                  </a:lnTo>
                  <a:lnTo>
                    <a:pt x="29" y="98"/>
                  </a:lnTo>
                  <a:lnTo>
                    <a:pt x="33" y="98"/>
                  </a:lnTo>
                  <a:lnTo>
                    <a:pt x="40" y="100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3"/>
                  </a:lnTo>
                  <a:lnTo>
                    <a:pt x="42" y="103"/>
                  </a:lnTo>
                  <a:lnTo>
                    <a:pt x="40" y="105"/>
                  </a:lnTo>
                  <a:lnTo>
                    <a:pt x="40" y="107"/>
                  </a:lnTo>
                  <a:lnTo>
                    <a:pt x="42" y="109"/>
                  </a:lnTo>
                  <a:lnTo>
                    <a:pt x="44" y="110"/>
                  </a:lnTo>
                  <a:lnTo>
                    <a:pt x="44" y="112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0" y="119"/>
                  </a:lnTo>
                  <a:lnTo>
                    <a:pt x="42" y="121"/>
                  </a:lnTo>
                  <a:lnTo>
                    <a:pt x="46" y="123"/>
                  </a:lnTo>
                  <a:lnTo>
                    <a:pt x="46" y="123"/>
                  </a:lnTo>
                  <a:lnTo>
                    <a:pt x="46" y="123"/>
                  </a:lnTo>
                  <a:lnTo>
                    <a:pt x="46" y="125"/>
                  </a:lnTo>
                  <a:lnTo>
                    <a:pt x="46" y="125"/>
                  </a:lnTo>
                  <a:lnTo>
                    <a:pt x="46" y="125"/>
                  </a:lnTo>
                  <a:lnTo>
                    <a:pt x="46" y="125"/>
                  </a:lnTo>
                  <a:lnTo>
                    <a:pt x="46" y="125"/>
                  </a:lnTo>
                  <a:lnTo>
                    <a:pt x="46" y="127"/>
                  </a:lnTo>
                  <a:lnTo>
                    <a:pt x="46" y="127"/>
                  </a:lnTo>
                  <a:lnTo>
                    <a:pt x="46" y="127"/>
                  </a:lnTo>
                  <a:lnTo>
                    <a:pt x="46" y="127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47" y="128"/>
                  </a:lnTo>
                  <a:lnTo>
                    <a:pt x="47" y="127"/>
                  </a:lnTo>
                  <a:lnTo>
                    <a:pt x="47" y="127"/>
                  </a:lnTo>
                  <a:lnTo>
                    <a:pt x="49" y="128"/>
                  </a:lnTo>
                  <a:lnTo>
                    <a:pt x="51" y="132"/>
                  </a:lnTo>
                  <a:lnTo>
                    <a:pt x="53" y="132"/>
                  </a:lnTo>
                  <a:lnTo>
                    <a:pt x="53" y="132"/>
                  </a:lnTo>
                  <a:lnTo>
                    <a:pt x="53" y="134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5" y="136"/>
                  </a:lnTo>
                  <a:lnTo>
                    <a:pt x="56" y="139"/>
                  </a:lnTo>
                  <a:lnTo>
                    <a:pt x="56" y="139"/>
                  </a:lnTo>
                  <a:lnTo>
                    <a:pt x="58" y="139"/>
                  </a:lnTo>
                  <a:lnTo>
                    <a:pt x="60" y="139"/>
                  </a:lnTo>
                  <a:lnTo>
                    <a:pt x="62" y="139"/>
                  </a:lnTo>
                  <a:lnTo>
                    <a:pt x="66" y="139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71" y="137"/>
                  </a:lnTo>
                  <a:lnTo>
                    <a:pt x="73" y="137"/>
                  </a:lnTo>
                  <a:lnTo>
                    <a:pt x="75" y="136"/>
                  </a:lnTo>
                  <a:lnTo>
                    <a:pt x="76" y="134"/>
                  </a:lnTo>
                  <a:lnTo>
                    <a:pt x="78" y="134"/>
                  </a:lnTo>
                  <a:lnTo>
                    <a:pt x="78" y="134"/>
                  </a:lnTo>
                  <a:lnTo>
                    <a:pt x="78" y="132"/>
                  </a:lnTo>
                  <a:lnTo>
                    <a:pt x="80" y="132"/>
                  </a:lnTo>
                  <a:lnTo>
                    <a:pt x="85" y="134"/>
                  </a:lnTo>
                  <a:lnTo>
                    <a:pt x="85" y="134"/>
                  </a:lnTo>
                  <a:lnTo>
                    <a:pt x="87" y="134"/>
                  </a:lnTo>
                  <a:lnTo>
                    <a:pt x="87" y="136"/>
                  </a:lnTo>
                  <a:lnTo>
                    <a:pt x="87" y="136"/>
                  </a:lnTo>
                  <a:lnTo>
                    <a:pt x="87" y="136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89" y="136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4" y="137"/>
                  </a:lnTo>
                  <a:lnTo>
                    <a:pt x="94" y="137"/>
                  </a:lnTo>
                  <a:lnTo>
                    <a:pt x="94" y="137"/>
                  </a:lnTo>
                  <a:lnTo>
                    <a:pt x="94" y="137"/>
                  </a:lnTo>
                  <a:lnTo>
                    <a:pt x="94" y="136"/>
                  </a:lnTo>
                  <a:lnTo>
                    <a:pt x="94" y="136"/>
                  </a:lnTo>
                  <a:lnTo>
                    <a:pt x="94" y="136"/>
                  </a:lnTo>
                  <a:lnTo>
                    <a:pt x="96" y="134"/>
                  </a:lnTo>
                  <a:lnTo>
                    <a:pt x="98" y="132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103" y="130"/>
                  </a:lnTo>
                  <a:lnTo>
                    <a:pt x="103" y="130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7"/>
                  </a:lnTo>
                  <a:lnTo>
                    <a:pt x="103" y="127"/>
                  </a:lnTo>
                  <a:lnTo>
                    <a:pt x="103" y="125"/>
                  </a:lnTo>
                  <a:lnTo>
                    <a:pt x="103" y="125"/>
                  </a:lnTo>
                  <a:lnTo>
                    <a:pt x="105" y="125"/>
                  </a:lnTo>
                  <a:lnTo>
                    <a:pt x="105" y="125"/>
                  </a:lnTo>
                  <a:lnTo>
                    <a:pt x="105" y="125"/>
                  </a:lnTo>
                  <a:lnTo>
                    <a:pt x="109" y="121"/>
                  </a:lnTo>
                  <a:lnTo>
                    <a:pt x="109" y="119"/>
                  </a:lnTo>
                  <a:lnTo>
                    <a:pt x="109" y="118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9" y="110"/>
                  </a:lnTo>
                  <a:lnTo>
                    <a:pt x="109" y="110"/>
                  </a:lnTo>
                  <a:lnTo>
                    <a:pt x="111" y="110"/>
                  </a:lnTo>
                  <a:lnTo>
                    <a:pt x="112" y="109"/>
                  </a:lnTo>
                  <a:lnTo>
                    <a:pt x="114" y="105"/>
                  </a:lnTo>
                  <a:lnTo>
                    <a:pt x="116" y="105"/>
                  </a:lnTo>
                  <a:lnTo>
                    <a:pt x="116" y="105"/>
                  </a:lnTo>
                  <a:lnTo>
                    <a:pt x="118" y="103"/>
                  </a:lnTo>
                  <a:lnTo>
                    <a:pt x="118" y="103"/>
                  </a:lnTo>
                  <a:lnTo>
                    <a:pt x="118" y="103"/>
                  </a:lnTo>
                  <a:lnTo>
                    <a:pt x="118" y="103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8" y="100"/>
                  </a:lnTo>
                  <a:lnTo>
                    <a:pt x="120" y="100"/>
                  </a:lnTo>
                  <a:lnTo>
                    <a:pt x="121" y="100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5" y="100"/>
                  </a:lnTo>
                  <a:lnTo>
                    <a:pt x="125" y="101"/>
                  </a:lnTo>
                  <a:lnTo>
                    <a:pt x="125" y="103"/>
                  </a:lnTo>
                  <a:lnTo>
                    <a:pt x="125" y="105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5" y="114"/>
                  </a:lnTo>
                  <a:lnTo>
                    <a:pt x="125" y="116"/>
                  </a:lnTo>
                  <a:lnTo>
                    <a:pt x="127" y="116"/>
                  </a:lnTo>
                  <a:lnTo>
                    <a:pt x="129" y="116"/>
                  </a:lnTo>
                  <a:lnTo>
                    <a:pt x="131" y="118"/>
                  </a:lnTo>
                  <a:lnTo>
                    <a:pt x="132" y="123"/>
                  </a:lnTo>
                  <a:lnTo>
                    <a:pt x="134" y="123"/>
                  </a:lnTo>
                  <a:lnTo>
                    <a:pt x="134" y="123"/>
                  </a:lnTo>
                  <a:lnTo>
                    <a:pt x="136" y="125"/>
                  </a:lnTo>
                  <a:lnTo>
                    <a:pt x="138" y="125"/>
                  </a:lnTo>
                  <a:lnTo>
                    <a:pt x="138" y="125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41" y="125"/>
                  </a:lnTo>
                  <a:lnTo>
                    <a:pt x="143" y="125"/>
                  </a:lnTo>
                  <a:lnTo>
                    <a:pt x="143" y="125"/>
                  </a:lnTo>
                  <a:lnTo>
                    <a:pt x="145" y="127"/>
                  </a:lnTo>
                  <a:lnTo>
                    <a:pt x="143" y="128"/>
                  </a:lnTo>
                  <a:lnTo>
                    <a:pt x="143" y="130"/>
                  </a:lnTo>
                  <a:lnTo>
                    <a:pt x="141" y="132"/>
                  </a:lnTo>
                  <a:lnTo>
                    <a:pt x="141" y="132"/>
                  </a:lnTo>
                  <a:lnTo>
                    <a:pt x="141" y="132"/>
                  </a:lnTo>
                  <a:lnTo>
                    <a:pt x="141" y="132"/>
                  </a:lnTo>
                  <a:lnTo>
                    <a:pt x="143" y="132"/>
                  </a:lnTo>
                  <a:lnTo>
                    <a:pt x="145" y="134"/>
                  </a:lnTo>
                  <a:lnTo>
                    <a:pt x="147" y="134"/>
                  </a:lnTo>
                  <a:lnTo>
                    <a:pt x="147" y="136"/>
                  </a:lnTo>
                  <a:lnTo>
                    <a:pt x="147" y="136"/>
                  </a:lnTo>
                  <a:lnTo>
                    <a:pt x="149" y="137"/>
                  </a:lnTo>
                  <a:lnTo>
                    <a:pt x="149" y="139"/>
                  </a:lnTo>
                  <a:lnTo>
                    <a:pt x="149" y="139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49" y="143"/>
                  </a:lnTo>
                  <a:lnTo>
                    <a:pt x="149" y="143"/>
                  </a:lnTo>
                  <a:lnTo>
                    <a:pt x="150" y="143"/>
                  </a:lnTo>
                  <a:lnTo>
                    <a:pt x="152" y="143"/>
                  </a:lnTo>
                  <a:lnTo>
                    <a:pt x="152" y="145"/>
                  </a:lnTo>
                  <a:lnTo>
                    <a:pt x="154" y="143"/>
                  </a:lnTo>
                  <a:lnTo>
                    <a:pt x="156" y="139"/>
                  </a:lnTo>
                  <a:lnTo>
                    <a:pt x="156" y="139"/>
                  </a:lnTo>
                  <a:lnTo>
                    <a:pt x="156" y="137"/>
                  </a:lnTo>
                  <a:lnTo>
                    <a:pt x="156" y="137"/>
                  </a:lnTo>
                  <a:lnTo>
                    <a:pt x="154" y="137"/>
                  </a:lnTo>
                  <a:lnTo>
                    <a:pt x="154" y="136"/>
                  </a:lnTo>
                  <a:lnTo>
                    <a:pt x="152" y="136"/>
                  </a:lnTo>
                  <a:lnTo>
                    <a:pt x="152" y="134"/>
                  </a:lnTo>
                  <a:lnTo>
                    <a:pt x="152" y="134"/>
                  </a:lnTo>
                  <a:lnTo>
                    <a:pt x="152" y="134"/>
                  </a:lnTo>
                  <a:lnTo>
                    <a:pt x="152" y="134"/>
                  </a:lnTo>
                  <a:lnTo>
                    <a:pt x="152" y="134"/>
                  </a:lnTo>
                  <a:lnTo>
                    <a:pt x="152" y="134"/>
                  </a:lnTo>
                  <a:lnTo>
                    <a:pt x="154" y="132"/>
                  </a:lnTo>
                  <a:lnTo>
                    <a:pt x="152" y="128"/>
                  </a:lnTo>
                  <a:lnTo>
                    <a:pt x="152" y="128"/>
                  </a:lnTo>
                  <a:lnTo>
                    <a:pt x="154" y="127"/>
                  </a:lnTo>
                  <a:lnTo>
                    <a:pt x="156" y="127"/>
                  </a:lnTo>
                  <a:lnTo>
                    <a:pt x="156" y="127"/>
                  </a:lnTo>
                  <a:lnTo>
                    <a:pt x="156" y="127"/>
                  </a:lnTo>
                  <a:lnTo>
                    <a:pt x="156" y="125"/>
                  </a:lnTo>
                  <a:lnTo>
                    <a:pt x="156" y="123"/>
                  </a:lnTo>
                  <a:lnTo>
                    <a:pt x="156" y="123"/>
                  </a:lnTo>
                  <a:lnTo>
                    <a:pt x="158" y="121"/>
                  </a:lnTo>
                  <a:lnTo>
                    <a:pt x="161" y="119"/>
                  </a:lnTo>
                  <a:lnTo>
                    <a:pt x="161" y="119"/>
                  </a:lnTo>
                  <a:lnTo>
                    <a:pt x="161" y="118"/>
                  </a:lnTo>
                  <a:lnTo>
                    <a:pt x="161" y="118"/>
                  </a:lnTo>
                  <a:lnTo>
                    <a:pt x="161" y="116"/>
                  </a:lnTo>
                  <a:lnTo>
                    <a:pt x="163" y="116"/>
                  </a:lnTo>
                  <a:lnTo>
                    <a:pt x="163" y="116"/>
                  </a:lnTo>
                  <a:lnTo>
                    <a:pt x="163" y="116"/>
                  </a:lnTo>
                  <a:lnTo>
                    <a:pt x="165" y="114"/>
                  </a:lnTo>
                  <a:lnTo>
                    <a:pt x="165" y="112"/>
                  </a:lnTo>
                  <a:lnTo>
                    <a:pt x="167" y="109"/>
                  </a:lnTo>
                  <a:lnTo>
                    <a:pt x="167" y="107"/>
                  </a:lnTo>
                  <a:lnTo>
                    <a:pt x="167" y="107"/>
                  </a:lnTo>
                  <a:lnTo>
                    <a:pt x="167" y="103"/>
                  </a:lnTo>
                  <a:lnTo>
                    <a:pt x="167" y="103"/>
                  </a:lnTo>
                  <a:lnTo>
                    <a:pt x="167" y="101"/>
                  </a:lnTo>
                  <a:lnTo>
                    <a:pt x="167" y="101"/>
                  </a:lnTo>
                  <a:lnTo>
                    <a:pt x="165" y="101"/>
                  </a:lnTo>
                  <a:lnTo>
                    <a:pt x="165" y="100"/>
                  </a:lnTo>
                  <a:lnTo>
                    <a:pt x="165" y="98"/>
                  </a:lnTo>
                  <a:lnTo>
                    <a:pt x="167" y="96"/>
                  </a:lnTo>
                  <a:lnTo>
                    <a:pt x="167" y="96"/>
                  </a:lnTo>
                  <a:lnTo>
                    <a:pt x="170" y="94"/>
                  </a:lnTo>
                  <a:lnTo>
                    <a:pt x="170" y="96"/>
                  </a:lnTo>
                  <a:lnTo>
                    <a:pt x="170" y="96"/>
                  </a:lnTo>
                  <a:lnTo>
                    <a:pt x="172" y="98"/>
                  </a:lnTo>
                  <a:lnTo>
                    <a:pt x="172" y="98"/>
                  </a:lnTo>
                  <a:lnTo>
                    <a:pt x="172" y="98"/>
                  </a:lnTo>
                  <a:lnTo>
                    <a:pt x="172" y="98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6" y="103"/>
                  </a:lnTo>
                  <a:lnTo>
                    <a:pt x="176" y="103"/>
                  </a:lnTo>
                  <a:lnTo>
                    <a:pt x="176" y="105"/>
                  </a:lnTo>
                  <a:lnTo>
                    <a:pt x="176" y="105"/>
                  </a:lnTo>
                  <a:lnTo>
                    <a:pt x="176" y="105"/>
                  </a:lnTo>
                  <a:lnTo>
                    <a:pt x="177" y="105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79" y="110"/>
                  </a:lnTo>
                  <a:lnTo>
                    <a:pt x="181" y="110"/>
                  </a:lnTo>
                  <a:lnTo>
                    <a:pt x="187" y="110"/>
                  </a:lnTo>
                  <a:lnTo>
                    <a:pt x="188" y="110"/>
                  </a:lnTo>
                  <a:lnTo>
                    <a:pt x="188" y="109"/>
                  </a:lnTo>
                  <a:lnTo>
                    <a:pt x="188" y="109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90" y="107"/>
                  </a:lnTo>
                  <a:lnTo>
                    <a:pt x="190" y="107"/>
                  </a:lnTo>
                  <a:lnTo>
                    <a:pt x="192" y="107"/>
                  </a:lnTo>
                  <a:lnTo>
                    <a:pt x="192" y="107"/>
                  </a:lnTo>
                  <a:lnTo>
                    <a:pt x="196" y="105"/>
                  </a:lnTo>
                  <a:lnTo>
                    <a:pt x="197" y="105"/>
                  </a:lnTo>
                  <a:lnTo>
                    <a:pt x="199" y="105"/>
                  </a:lnTo>
                  <a:lnTo>
                    <a:pt x="199" y="105"/>
                  </a:lnTo>
                  <a:lnTo>
                    <a:pt x="201" y="105"/>
                  </a:lnTo>
                  <a:lnTo>
                    <a:pt x="201" y="107"/>
                  </a:lnTo>
                  <a:lnTo>
                    <a:pt x="201" y="109"/>
                  </a:lnTo>
                  <a:lnTo>
                    <a:pt x="201" y="110"/>
                  </a:lnTo>
                  <a:lnTo>
                    <a:pt x="203" y="110"/>
                  </a:lnTo>
                  <a:lnTo>
                    <a:pt x="205" y="112"/>
                  </a:lnTo>
                  <a:lnTo>
                    <a:pt x="205" y="114"/>
                  </a:lnTo>
                  <a:lnTo>
                    <a:pt x="205" y="116"/>
                  </a:lnTo>
                  <a:lnTo>
                    <a:pt x="206" y="116"/>
                  </a:lnTo>
                  <a:lnTo>
                    <a:pt x="208" y="114"/>
                  </a:lnTo>
                  <a:lnTo>
                    <a:pt x="210" y="114"/>
                  </a:lnTo>
                  <a:lnTo>
                    <a:pt x="210" y="112"/>
                  </a:lnTo>
                  <a:lnTo>
                    <a:pt x="210" y="110"/>
                  </a:lnTo>
                  <a:lnTo>
                    <a:pt x="208" y="109"/>
                  </a:lnTo>
                  <a:lnTo>
                    <a:pt x="208" y="109"/>
                  </a:lnTo>
                  <a:lnTo>
                    <a:pt x="208" y="107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5"/>
                  </a:lnTo>
                  <a:lnTo>
                    <a:pt x="210" y="105"/>
                  </a:lnTo>
                  <a:lnTo>
                    <a:pt x="210" y="103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08" y="101"/>
                  </a:lnTo>
                  <a:lnTo>
                    <a:pt x="206" y="101"/>
                  </a:lnTo>
                  <a:lnTo>
                    <a:pt x="205" y="100"/>
                  </a:lnTo>
                  <a:lnTo>
                    <a:pt x="205" y="100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4"/>
                  </a:lnTo>
                  <a:lnTo>
                    <a:pt x="205" y="94"/>
                  </a:lnTo>
                  <a:lnTo>
                    <a:pt x="205" y="92"/>
                  </a:lnTo>
                  <a:lnTo>
                    <a:pt x="205" y="92"/>
                  </a:lnTo>
                  <a:lnTo>
                    <a:pt x="206" y="90"/>
                  </a:lnTo>
                  <a:lnTo>
                    <a:pt x="206" y="90"/>
                  </a:lnTo>
                  <a:lnTo>
                    <a:pt x="206" y="89"/>
                  </a:lnTo>
                  <a:lnTo>
                    <a:pt x="208" y="87"/>
                  </a:lnTo>
                  <a:lnTo>
                    <a:pt x="208" y="87"/>
                  </a:lnTo>
                  <a:lnTo>
                    <a:pt x="212" y="85"/>
                  </a:lnTo>
                  <a:lnTo>
                    <a:pt x="214" y="85"/>
                  </a:lnTo>
                  <a:lnTo>
                    <a:pt x="215" y="87"/>
                  </a:lnTo>
                  <a:lnTo>
                    <a:pt x="215" y="87"/>
                  </a:lnTo>
                  <a:lnTo>
                    <a:pt x="214" y="89"/>
                  </a:lnTo>
                  <a:lnTo>
                    <a:pt x="215" y="90"/>
                  </a:lnTo>
                  <a:lnTo>
                    <a:pt x="217" y="90"/>
                  </a:lnTo>
                  <a:lnTo>
                    <a:pt x="217" y="90"/>
                  </a:lnTo>
                  <a:lnTo>
                    <a:pt x="217" y="90"/>
                  </a:lnTo>
                  <a:lnTo>
                    <a:pt x="217" y="90"/>
                  </a:lnTo>
                  <a:lnTo>
                    <a:pt x="219" y="92"/>
                  </a:lnTo>
                  <a:lnTo>
                    <a:pt x="219" y="92"/>
                  </a:lnTo>
                  <a:lnTo>
                    <a:pt x="221" y="92"/>
                  </a:lnTo>
                  <a:lnTo>
                    <a:pt x="224" y="92"/>
                  </a:lnTo>
                  <a:lnTo>
                    <a:pt x="224" y="92"/>
                  </a:lnTo>
                  <a:lnTo>
                    <a:pt x="226" y="92"/>
                  </a:lnTo>
                  <a:lnTo>
                    <a:pt x="226" y="90"/>
                  </a:lnTo>
                  <a:lnTo>
                    <a:pt x="226" y="89"/>
                  </a:lnTo>
                  <a:lnTo>
                    <a:pt x="226" y="87"/>
                  </a:lnTo>
                  <a:lnTo>
                    <a:pt x="226" y="87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521B4669-5200-750E-B628-84C989041C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3350" y="928688"/>
              <a:ext cx="1036638" cy="2376488"/>
            </a:xfrm>
            <a:custGeom>
              <a:avLst/>
              <a:gdLst>
                <a:gd name="T0" fmla="*/ 265 w 653"/>
                <a:gd name="T1" fmla="*/ 1420 h 1497"/>
                <a:gd name="T2" fmla="*/ 296 w 653"/>
                <a:gd name="T3" fmla="*/ 1324 h 1497"/>
                <a:gd name="T4" fmla="*/ 354 w 653"/>
                <a:gd name="T5" fmla="*/ 1313 h 1497"/>
                <a:gd name="T6" fmla="*/ 386 w 653"/>
                <a:gd name="T7" fmla="*/ 1313 h 1497"/>
                <a:gd name="T8" fmla="*/ 402 w 653"/>
                <a:gd name="T9" fmla="*/ 1257 h 1497"/>
                <a:gd name="T10" fmla="*/ 25 w 653"/>
                <a:gd name="T11" fmla="*/ 1261 h 1497"/>
                <a:gd name="T12" fmla="*/ 404 w 653"/>
                <a:gd name="T13" fmla="*/ 1223 h 1497"/>
                <a:gd name="T14" fmla="*/ 352 w 653"/>
                <a:gd name="T15" fmla="*/ 1163 h 1497"/>
                <a:gd name="T16" fmla="*/ 330 w 653"/>
                <a:gd name="T17" fmla="*/ 1165 h 1497"/>
                <a:gd name="T18" fmla="*/ 384 w 653"/>
                <a:gd name="T19" fmla="*/ 1133 h 1497"/>
                <a:gd name="T20" fmla="*/ 386 w 653"/>
                <a:gd name="T21" fmla="*/ 1122 h 1497"/>
                <a:gd name="T22" fmla="*/ 370 w 653"/>
                <a:gd name="T23" fmla="*/ 1116 h 1497"/>
                <a:gd name="T24" fmla="*/ 390 w 653"/>
                <a:gd name="T25" fmla="*/ 1084 h 1497"/>
                <a:gd name="T26" fmla="*/ 366 w 653"/>
                <a:gd name="T27" fmla="*/ 1015 h 1497"/>
                <a:gd name="T28" fmla="*/ 491 w 653"/>
                <a:gd name="T29" fmla="*/ 661 h 1497"/>
                <a:gd name="T30" fmla="*/ 563 w 653"/>
                <a:gd name="T31" fmla="*/ 461 h 1497"/>
                <a:gd name="T32" fmla="*/ 634 w 653"/>
                <a:gd name="T33" fmla="*/ 430 h 1497"/>
                <a:gd name="T34" fmla="*/ 634 w 653"/>
                <a:gd name="T35" fmla="*/ 334 h 1497"/>
                <a:gd name="T36" fmla="*/ 621 w 653"/>
                <a:gd name="T37" fmla="*/ 199 h 1497"/>
                <a:gd name="T38" fmla="*/ 545 w 653"/>
                <a:gd name="T39" fmla="*/ 74 h 1497"/>
                <a:gd name="T40" fmla="*/ 305 w 653"/>
                <a:gd name="T41" fmla="*/ 137 h 1497"/>
                <a:gd name="T42" fmla="*/ 54 w 653"/>
                <a:gd name="T43" fmla="*/ 697 h 1497"/>
                <a:gd name="T44" fmla="*/ 38 w 653"/>
                <a:gd name="T45" fmla="*/ 1073 h 1497"/>
                <a:gd name="T46" fmla="*/ 5 w 653"/>
                <a:gd name="T47" fmla="*/ 1180 h 1497"/>
                <a:gd name="T48" fmla="*/ 14 w 653"/>
                <a:gd name="T49" fmla="*/ 1219 h 1497"/>
                <a:gd name="T50" fmla="*/ 38 w 653"/>
                <a:gd name="T51" fmla="*/ 1237 h 1497"/>
                <a:gd name="T52" fmla="*/ 39 w 653"/>
                <a:gd name="T53" fmla="*/ 1301 h 1497"/>
                <a:gd name="T54" fmla="*/ 54 w 653"/>
                <a:gd name="T55" fmla="*/ 1331 h 1497"/>
                <a:gd name="T56" fmla="*/ 85 w 653"/>
                <a:gd name="T57" fmla="*/ 1420 h 1497"/>
                <a:gd name="T58" fmla="*/ 90 w 653"/>
                <a:gd name="T59" fmla="*/ 1492 h 1497"/>
                <a:gd name="T60" fmla="*/ 155 w 653"/>
                <a:gd name="T61" fmla="*/ 1452 h 1497"/>
                <a:gd name="T62" fmla="*/ 198 w 653"/>
                <a:gd name="T63" fmla="*/ 1425 h 1497"/>
                <a:gd name="T64" fmla="*/ 253 w 653"/>
                <a:gd name="T65" fmla="*/ 1393 h 1497"/>
                <a:gd name="T66" fmla="*/ 271 w 653"/>
                <a:gd name="T67" fmla="*/ 1344 h 1497"/>
                <a:gd name="T68" fmla="*/ 276 w 653"/>
                <a:gd name="T69" fmla="*/ 1292 h 1497"/>
                <a:gd name="T70" fmla="*/ 274 w 653"/>
                <a:gd name="T71" fmla="*/ 1263 h 1497"/>
                <a:gd name="T72" fmla="*/ 285 w 653"/>
                <a:gd name="T73" fmla="*/ 1239 h 1497"/>
                <a:gd name="T74" fmla="*/ 285 w 653"/>
                <a:gd name="T75" fmla="*/ 1203 h 1497"/>
                <a:gd name="T76" fmla="*/ 298 w 653"/>
                <a:gd name="T77" fmla="*/ 1185 h 1497"/>
                <a:gd name="T78" fmla="*/ 328 w 653"/>
                <a:gd name="T79" fmla="*/ 1149 h 1497"/>
                <a:gd name="T80" fmla="*/ 352 w 653"/>
                <a:gd name="T81" fmla="*/ 1151 h 1497"/>
                <a:gd name="T82" fmla="*/ 372 w 653"/>
                <a:gd name="T83" fmla="*/ 1131 h 1497"/>
                <a:gd name="T84" fmla="*/ 361 w 653"/>
                <a:gd name="T85" fmla="*/ 1120 h 1497"/>
                <a:gd name="T86" fmla="*/ 397 w 653"/>
                <a:gd name="T87" fmla="*/ 1078 h 1497"/>
                <a:gd name="T88" fmla="*/ 372 w 653"/>
                <a:gd name="T89" fmla="*/ 1039 h 1497"/>
                <a:gd name="T90" fmla="*/ 310 w 653"/>
                <a:gd name="T91" fmla="*/ 999 h 1497"/>
                <a:gd name="T92" fmla="*/ 303 w 653"/>
                <a:gd name="T93" fmla="*/ 945 h 1497"/>
                <a:gd name="T94" fmla="*/ 301 w 653"/>
                <a:gd name="T95" fmla="*/ 898 h 1497"/>
                <a:gd name="T96" fmla="*/ 312 w 653"/>
                <a:gd name="T97" fmla="*/ 871 h 1497"/>
                <a:gd name="T98" fmla="*/ 312 w 653"/>
                <a:gd name="T99" fmla="*/ 813 h 1497"/>
                <a:gd name="T100" fmla="*/ 343 w 653"/>
                <a:gd name="T101" fmla="*/ 775 h 1497"/>
                <a:gd name="T102" fmla="*/ 354 w 653"/>
                <a:gd name="T103" fmla="*/ 769 h 1497"/>
                <a:gd name="T104" fmla="*/ 363 w 653"/>
                <a:gd name="T105" fmla="*/ 744 h 1497"/>
                <a:gd name="T106" fmla="*/ 393 w 653"/>
                <a:gd name="T107" fmla="*/ 723 h 1497"/>
                <a:gd name="T108" fmla="*/ 424 w 653"/>
                <a:gd name="T109" fmla="*/ 692 h 1497"/>
                <a:gd name="T110" fmla="*/ 466 w 653"/>
                <a:gd name="T111" fmla="*/ 663 h 1497"/>
                <a:gd name="T112" fmla="*/ 511 w 653"/>
                <a:gd name="T113" fmla="*/ 598 h 1497"/>
                <a:gd name="T114" fmla="*/ 513 w 653"/>
                <a:gd name="T115" fmla="*/ 567 h 1497"/>
                <a:gd name="T116" fmla="*/ 505 w 653"/>
                <a:gd name="T117" fmla="*/ 529 h 1497"/>
                <a:gd name="T118" fmla="*/ 523 w 653"/>
                <a:gd name="T119" fmla="*/ 480 h 1497"/>
                <a:gd name="T120" fmla="*/ 543 w 653"/>
                <a:gd name="T121" fmla="*/ 443 h 1497"/>
                <a:gd name="T122" fmla="*/ 556 w 653"/>
                <a:gd name="T123" fmla="*/ 428 h 1497"/>
                <a:gd name="T124" fmla="*/ 608 w 653"/>
                <a:gd name="T125" fmla="*/ 423 h 1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3" h="1497">
                  <a:moveTo>
                    <a:pt x="229" y="1429"/>
                  </a:moveTo>
                  <a:lnTo>
                    <a:pt x="229" y="1429"/>
                  </a:lnTo>
                  <a:lnTo>
                    <a:pt x="229" y="1429"/>
                  </a:lnTo>
                  <a:lnTo>
                    <a:pt x="227" y="1429"/>
                  </a:lnTo>
                  <a:lnTo>
                    <a:pt x="227" y="1429"/>
                  </a:lnTo>
                  <a:lnTo>
                    <a:pt x="227" y="1429"/>
                  </a:lnTo>
                  <a:lnTo>
                    <a:pt x="225" y="1431"/>
                  </a:lnTo>
                  <a:lnTo>
                    <a:pt x="227" y="1431"/>
                  </a:lnTo>
                  <a:lnTo>
                    <a:pt x="229" y="1432"/>
                  </a:lnTo>
                  <a:lnTo>
                    <a:pt x="229" y="1432"/>
                  </a:lnTo>
                  <a:lnTo>
                    <a:pt x="229" y="1432"/>
                  </a:lnTo>
                  <a:lnTo>
                    <a:pt x="229" y="1432"/>
                  </a:lnTo>
                  <a:lnTo>
                    <a:pt x="229" y="1432"/>
                  </a:lnTo>
                  <a:lnTo>
                    <a:pt x="229" y="1432"/>
                  </a:lnTo>
                  <a:lnTo>
                    <a:pt x="229" y="1431"/>
                  </a:lnTo>
                  <a:lnTo>
                    <a:pt x="229" y="1431"/>
                  </a:lnTo>
                  <a:lnTo>
                    <a:pt x="229" y="1431"/>
                  </a:lnTo>
                  <a:lnTo>
                    <a:pt x="231" y="1429"/>
                  </a:lnTo>
                  <a:lnTo>
                    <a:pt x="231" y="1429"/>
                  </a:lnTo>
                  <a:lnTo>
                    <a:pt x="231" y="1429"/>
                  </a:lnTo>
                  <a:lnTo>
                    <a:pt x="229" y="1429"/>
                  </a:lnTo>
                  <a:close/>
                  <a:moveTo>
                    <a:pt x="300" y="1319"/>
                  </a:moveTo>
                  <a:lnTo>
                    <a:pt x="300" y="1319"/>
                  </a:lnTo>
                  <a:lnTo>
                    <a:pt x="300" y="1317"/>
                  </a:lnTo>
                  <a:lnTo>
                    <a:pt x="300" y="1317"/>
                  </a:lnTo>
                  <a:lnTo>
                    <a:pt x="300" y="1317"/>
                  </a:lnTo>
                  <a:lnTo>
                    <a:pt x="300" y="1317"/>
                  </a:lnTo>
                  <a:lnTo>
                    <a:pt x="300" y="1317"/>
                  </a:lnTo>
                  <a:lnTo>
                    <a:pt x="300" y="1317"/>
                  </a:lnTo>
                  <a:lnTo>
                    <a:pt x="300" y="1317"/>
                  </a:lnTo>
                  <a:lnTo>
                    <a:pt x="298" y="1317"/>
                  </a:lnTo>
                  <a:lnTo>
                    <a:pt x="298" y="1317"/>
                  </a:lnTo>
                  <a:lnTo>
                    <a:pt x="298" y="1317"/>
                  </a:lnTo>
                  <a:lnTo>
                    <a:pt x="298" y="1317"/>
                  </a:lnTo>
                  <a:lnTo>
                    <a:pt x="296" y="1317"/>
                  </a:lnTo>
                  <a:lnTo>
                    <a:pt x="296" y="1317"/>
                  </a:lnTo>
                  <a:lnTo>
                    <a:pt x="294" y="1320"/>
                  </a:lnTo>
                  <a:lnTo>
                    <a:pt x="292" y="1320"/>
                  </a:lnTo>
                  <a:lnTo>
                    <a:pt x="292" y="1322"/>
                  </a:lnTo>
                  <a:lnTo>
                    <a:pt x="292" y="1328"/>
                  </a:lnTo>
                  <a:lnTo>
                    <a:pt x="292" y="1329"/>
                  </a:lnTo>
                  <a:lnTo>
                    <a:pt x="290" y="1329"/>
                  </a:lnTo>
                  <a:lnTo>
                    <a:pt x="290" y="1329"/>
                  </a:lnTo>
                  <a:lnTo>
                    <a:pt x="290" y="1331"/>
                  </a:lnTo>
                  <a:lnTo>
                    <a:pt x="289" y="1331"/>
                  </a:lnTo>
                  <a:lnTo>
                    <a:pt x="289" y="1338"/>
                  </a:lnTo>
                  <a:lnTo>
                    <a:pt x="287" y="1344"/>
                  </a:lnTo>
                  <a:lnTo>
                    <a:pt x="283" y="1349"/>
                  </a:lnTo>
                  <a:lnTo>
                    <a:pt x="281" y="1355"/>
                  </a:lnTo>
                  <a:lnTo>
                    <a:pt x="281" y="1358"/>
                  </a:lnTo>
                  <a:lnTo>
                    <a:pt x="280" y="1358"/>
                  </a:lnTo>
                  <a:lnTo>
                    <a:pt x="280" y="1360"/>
                  </a:lnTo>
                  <a:lnTo>
                    <a:pt x="278" y="1360"/>
                  </a:lnTo>
                  <a:lnTo>
                    <a:pt x="276" y="1360"/>
                  </a:lnTo>
                  <a:lnTo>
                    <a:pt x="276" y="1360"/>
                  </a:lnTo>
                  <a:lnTo>
                    <a:pt x="267" y="1382"/>
                  </a:lnTo>
                  <a:lnTo>
                    <a:pt x="267" y="1384"/>
                  </a:lnTo>
                  <a:lnTo>
                    <a:pt x="267" y="1385"/>
                  </a:lnTo>
                  <a:lnTo>
                    <a:pt x="265" y="1387"/>
                  </a:lnTo>
                  <a:lnTo>
                    <a:pt x="265" y="1389"/>
                  </a:lnTo>
                  <a:lnTo>
                    <a:pt x="263" y="1391"/>
                  </a:lnTo>
                  <a:lnTo>
                    <a:pt x="263" y="1398"/>
                  </a:lnTo>
                  <a:lnTo>
                    <a:pt x="263" y="1400"/>
                  </a:lnTo>
                  <a:lnTo>
                    <a:pt x="265" y="1402"/>
                  </a:lnTo>
                  <a:lnTo>
                    <a:pt x="265" y="1404"/>
                  </a:lnTo>
                  <a:lnTo>
                    <a:pt x="265" y="1405"/>
                  </a:lnTo>
                  <a:lnTo>
                    <a:pt x="265" y="1409"/>
                  </a:lnTo>
                  <a:lnTo>
                    <a:pt x="265" y="1411"/>
                  </a:lnTo>
                  <a:lnTo>
                    <a:pt x="263" y="1413"/>
                  </a:lnTo>
                  <a:lnTo>
                    <a:pt x="265" y="1414"/>
                  </a:lnTo>
                  <a:lnTo>
                    <a:pt x="265" y="1416"/>
                  </a:lnTo>
                  <a:lnTo>
                    <a:pt x="265" y="1418"/>
                  </a:lnTo>
                  <a:lnTo>
                    <a:pt x="265" y="1420"/>
                  </a:lnTo>
                  <a:lnTo>
                    <a:pt x="265" y="1420"/>
                  </a:lnTo>
                  <a:lnTo>
                    <a:pt x="267" y="1420"/>
                  </a:lnTo>
                  <a:lnTo>
                    <a:pt x="267" y="1420"/>
                  </a:lnTo>
                  <a:lnTo>
                    <a:pt x="269" y="1418"/>
                  </a:lnTo>
                  <a:lnTo>
                    <a:pt x="271" y="1413"/>
                  </a:lnTo>
                  <a:lnTo>
                    <a:pt x="272" y="1411"/>
                  </a:lnTo>
                  <a:lnTo>
                    <a:pt x="272" y="1409"/>
                  </a:lnTo>
                  <a:lnTo>
                    <a:pt x="272" y="1409"/>
                  </a:lnTo>
                  <a:lnTo>
                    <a:pt x="272" y="1407"/>
                  </a:lnTo>
                  <a:lnTo>
                    <a:pt x="272" y="1405"/>
                  </a:lnTo>
                  <a:lnTo>
                    <a:pt x="272" y="1405"/>
                  </a:lnTo>
                  <a:lnTo>
                    <a:pt x="272" y="1404"/>
                  </a:lnTo>
                  <a:lnTo>
                    <a:pt x="274" y="1402"/>
                  </a:lnTo>
                  <a:lnTo>
                    <a:pt x="274" y="1400"/>
                  </a:lnTo>
                  <a:lnTo>
                    <a:pt x="274" y="1398"/>
                  </a:lnTo>
                  <a:lnTo>
                    <a:pt x="276" y="1396"/>
                  </a:lnTo>
                  <a:lnTo>
                    <a:pt x="276" y="1396"/>
                  </a:lnTo>
                  <a:lnTo>
                    <a:pt x="276" y="1394"/>
                  </a:lnTo>
                  <a:lnTo>
                    <a:pt x="276" y="1394"/>
                  </a:lnTo>
                  <a:lnTo>
                    <a:pt x="276" y="1393"/>
                  </a:lnTo>
                  <a:lnTo>
                    <a:pt x="276" y="1393"/>
                  </a:lnTo>
                  <a:lnTo>
                    <a:pt x="276" y="1393"/>
                  </a:lnTo>
                  <a:lnTo>
                    <a:pt x="276" y="1391"/>
                  </a:lnTo>
                  <a:lnTo>
                    <a:pt x="276" y="1391"/>
                  </a:lnTo>
                  <a:lnTo>
                    <a:pt x="276" y="1389"/>
                  </a:lnTo>
                  <a:lnTo>
                    <a:pt x="276" y="1389"/>
                  </a:lnTo>
                  <a:lnTo>
                    <a:pt x="278" y="1387"/>
                  </a:lnTo>
                  <a:lnTo>
                    <a:pt x="278" y="1387"/>
                  </a:lnTo>
                  <a:lnTo>
                    <a:pt x="278" y="1387"/>
                  </a:lnTo>
                  <a:lnTo>
                    <a:pt x="278" y="1385"/>
                  </a:lnTo>
                  <a:lnTo>
                    <a:pt x="278" y="1385"/>
                  </a:lnTo>
                  <a:lnTo>
                    <a:pt x="280" y="1384"/>
                  </a:lnTo>
                  <a:lnTo>
                    <a:pt x="280" y="1382"/>
                  </a:lnTo>
                  <a:lnTo>
                    <a:pt x="281" y="1373"/>
                  </a:lnTo>
                  <a:lnTo>
                    <a:pt x="281" y="1371"/>
                  </a:lnTo>
                  <a:lnTo>
                    <a:pt x="283" y="1369"/>
                  </a:lnTo>
                  <a:lnTo>
                    <a:pt x="283" y="1369"/>
                  </a:lnTo>
                  <a:lnTo>
                    <a:pt x="283" y="1367"/>
                  </a:lnTo>
                  <a:lnTo>
                    <a:pt x="283" y="1367"/>
                  </a:lnTo>
                  <a:lnTo>
                    <a:pt x="283" y="1366"/>
                  </a:lnTo>
                  <a:lnTo>
                    <a:pt x="285" y="1366"/>
                  </a:lnTo>
                  <a:lnTo>
                    <a:pt x="285" y="1366"/>
                  </a:lnTo>
                  <a:lnTo>
                    <a:pt x="287" y="1364"/>
                  </a:lnTo>
                  <a:lnTo>
                    <a:pt x="287" y="1358"/>
                  </a:lnTo>
                  <a:lnTo>
                    <a:pt x="287" y="1358"/>
                  </a:lnTo>
                  <a:lnTo>
                    <a:pt x="289" y="1357"/>
                  </a:lnTo>
                  <a:lnTo>
                    <a:pt x="289" y="1355"/>
                  </a:lnTo>
                  <a:lnTo>
                    <a:pt x="289" y="1353"/>
                  </a:lnTo>
                  <a:lnTo>
                    <a:pt x="289" y="1351"/>
                  </a:lnTo>
                  <a:lnTo>
                    <a:pt x="289" y="1349"/>
                  </a:lnTo>
                  <a:lnTo>
                    <a:pt x="290" y="1348"/>
                  </a:lnTo>
                  <a:lnTo>
                    <a:pt x="290" y="1348"/>
                  </a:lnTo>
                  <a:lnTo>
                    <a:pt x="290" y="1348"/>
                  </a:lnTo>
                  <a:lnTo>
                    <a:pt x="290" y="1348"/>
                  </a:lnTo>
                  <a:lnTo>
                    <a:pt x="289" y="1346"/>
                  </a:lnTo>
                  <a:lnTo>
                    <a:pt x="289" y="1346"/>
                  </a:lnTo>
                  <a:lnTo>
                    <a:pt x="290" y="1344"/>
                  </a:lnTo>
                  <a:lnTo>
                    <a:pt x="292" y="1344"/>
                  </a:lnTo>
                  <a:lnTo>
                    <a:pt x="292" y="1344"/>
                  </a:lnTo>
                  <a:lnTo>
                    <a:pt x="292" y="1340"/>
                  </a:lnTo>
                  <a:lnTo>
                    <a:pt x="292" y="1340"/>
                  </a:lnTo>
                  <a:lnTo>
                    <a:pt x="296" y="1335"/>
                  </a:lnTo>
                  <a:lnTo>
                    <a:pt x="296" y="1335"/>
                  </a:lnTo>
                  <a:lnTo>
                    <a:pt x="296" y="1333"/>
                  </a:lnTo>
                  <a:lnTo>
                    <a:pt x="296" y="1333"/>
                  </a:lnTo>
                  <a:lnTo>
                    <a:pt x="296" y="1331"/>
                  </a:lnTo>
                  <a:lnTo>
                    <a:pt x="296" y="1331"/>
                  </a:lnTo>
                  <a:lnTo>
                    <a:pt x="296" y="1331"/>
                  </a:lnTo>
                  <a:lnTo>
                    <a:pt x="298" y="1331"/>
                  </a:lnTo>
                  <a:lnTo>
                    <a:pt x="298" y="1331"/>
                  </a:lnTo>
                  <a:lnTo>
                    <a:pt x="298" y="1328"/>
                  </a:lnTo>
                  <a:lnTo>
                    <a:pt x="298" y="1326"/>
                  </a:lnTo>
                  <a:lnTo>
                    <a:pt x="296" y="1324"/>
                  </a:lnTo>
                  <a:lnTo>
                    <a:pt x="298" y="1320"/>
                  </a:lnTo>
                  <a:lnTo>
                    <a:pt x="300" y="1320"/>
                  </a:lnTo>
                  <a:lnTo>
                    <a:pt x="301" y="1320"/>
                  </a:lnTo>
                  <a:lnTo>
                    <a:pt x="301" y="1319"/>
                  </a:lnTo>
                  <a:lnTo>
                    <a:pt x="300" y="1319"/>
                  </a:lnTo>
                  <a:close/>
                  <a:moveTo>
                    <a:pt x="397" y="1270"/>
                  </a:moveTo>
                  <a:lnTo>
                    <a:pt x="397" y="1268"/>
                  </a:lnTo>
                  <a:lnTo>
                    <a:pt x="395" y="1268"/>
                  </a:lnTo>
                  <a:lnTo>
                    <a:pt x="395" y="1268"/>
                  </a:lnTo>
                  <a:lnTo>
                    <a:pt x="395" y="1266"/>
                  </a:lnTo>
                  <a:lnTo>
                    <a:pt x="395" y="1264"/>
                  </a:lnTo>
                  <a:lnTo>
                    <a:pt x="395" y="1264"/>
                  </a:lnTo>
                  <a:lnTo>
                    <a:pt x="393" y="1264"/>
                  </a:lnTo>
                  <a:lnTo>
                    <a:pt x="393" y="1264"/>
                  </a:lnTo>
                  <a:lnTo>
                    <a:pt x="392" y="1264"/>
                  </a:lnTo>
                  <a:lnTo>
                    <a:pt x="392" y="1264"/>
                  </a:lnTo>
                  <a:lnTo>
                    <a:pt x="392" y="1266"/>
                  </a:lnTo>
                  <a:lnTo>
                    <a:pt x="390" y="1266"/>
                  </a:lnTo>
                  <a:lnTo>
                    <a:pt x="390" y="1266"/>
                  </a:lnTo>
                  <a:lnTo>
                    <a:pt x="390" y="1264"/>
                  </a:lnTo>
                  <a:lnTo>
                    <a:pt x="390" y="1263"/>
                  </a:lnTo>
                  <a:lnTo>
                    <a:pt x="386" y="1264"/>
                  </a:lnTo>
                  <a:lnTo>
                    <a:pt x="386" y="1264"/>
                  </a:lnTo>
                  <a:lnTo>
                    <a:pt x="386" y="1264"/>
                  </a:lnTo>
                  <a:lnTo>
                    <a:pt x="386" y="1266"/>
                  </a:lnTo>
                  <a:lnTo>
                    <a:pt x="386" y="1266"/>
                  </a:lnTo>
                  <a:lnTo>
                    <a:pt x="386" y="1268"/>
                  </a:lnTo>
                  <a:lnTo>
                    <a:pt x="386" y="1268"/>
                  </a:lnTo>
                  <a:lnTo>
                    <a:pt x="384" y="1270"/>
                  </a:lnTo>
                  <a:lnTo>
                    <a:pt x="384" y="1272"/>
                  </a:lnTo>
                  <a:lnTo>
                    <a:pt x="384" y="1272"/>
                  </a:lnTo>
                  <a:lnTo>
                    <a:pt x="383" y="1270"/>
                  </a:lnTo>
                  <a:lnTo>
                    <a:pt x="383" y="1270"/>
                  </a:lnTo>
                  <a:lnTo>
                    <a:pt x="383" y="1270"/>
                  </a:lnTo>
                  <a:lnTo>
                    <a:pt x="383" y="1270"/>
                  </a:lnTo>
                  <a:lnTo>
                    <a:pt x="383" y="1268"/>
                  </a:lnTo>
                  <a:lnTo>
                    <a:pt x="383" y="1268"/>
                  </a:lnTo>
                  <a:lnTo>
                    <a:pt x="383" y="1268"/>
                  </a:lnTo>
                  <a:lnTo>
                    <a:pt x="383" y="1268"/>
                  </a:lnTo>
                  <a:lnTo>
                    <a:pt x="383" y="1266"/>
                  </a:lnTo>
                  <a:lnTo>
                    <a:pt x="383" y="1266"/>
                  </a:lnTo>
                  <a:lnTo>
                    <a:pt x="383" y="1264"/>
                  </a:lnTo>
                  <a:lnTo>
                    <a:pt x="381" y="1264"/>
                  </a:lnTo>
                  <a:lnTo>
                    <a:pt x="381" y="1263"/>
                  </a:lnTo>
                  <a:lnTo>
                    <a:pt x="379" y="1263"/>
                  </a:lnTo>
                  <a:lnTo>
                    <a:pt x="379" y="1264"/>
                  </a:lnTo>
                  <a:lnTo>
                    <a:pt x="377" y="1264"/>
                  </a:lnTo>
                  <a:lnTo>
                    <a:pt x="377" y="1266"/>
                  </a:lnTo>
                  <a:lnTo>
                    <a:pt x="375" y="1268"/>
                  </a:lnTo>
                  <a:lnTo>
                    <a:pt x="375" y="1270"/>
                  </a:lnTo>
                  <a:lnTo>
                    <a:pt x="375" y="1270"/>
                  </a:lnTo>
                  <a:lnTo>
                    <a:pt x="375" y="1272"/>
                  </a:lnTo>
                  <a:lnTo>
                    <a:pt x="374" y="1272"/>
                  </a:lnTo>
                  <a:lnTo>
                    <a:pt x="374" y="1272"/>
                  </a:lnTo>
                  <a:lnTo>
                    <a:pt x="372" y="1272"/>
                  </a:lnTo>
                  <a:lnTo>
                    <a:pt x="372" y="1272"/>
                  </a:lnTo>
                  <a:lnTo>
                    <a:pt x="370" y="1272"/>
                  </a:lnTo>
                  <a:lnTo>
                    <a:pt x="368" y="1275"/>
                  </a:lnTo>
                  <a:lnTo>
                    <a:pt x="361" y="1286"/>
                  </a:lnTo>
                  <a:lnTo>
                    <a:pt x="352" y="1295"/>
                  </a:lnTo>
                  <a:lnTo>
                    <a:pt x="350" y="1299"/>
                  </a:lnTo>
                  <a:lnTo>
                    <a:pt x="350" y="1302"/>
                  </a:lnTo>
                  <a:lnTo>
                    <a:pt x="350" y="1304"/>
                  </a:lnTo>
                  <a:lnTo>
                    <a:pt x="350" y="1306"/>
                  </a:lnTo>
                  <a:lnTo>
                    <a:pt x="350" y="1308"/>
                  </a:lnTo>
                  <a:lnTo>
                    <a:pt x="352" y="1310"/>
                  </a:lnTo>
                  <a:lnTo>
                    <a:pt x="352" y="1310"/>
                  </a:lnTo>
                  <a:lnTo>
                    <a:pt x="352" y="1311"/>
                  </a:lnTo>
                  <a:lnTo>
                    <a:pt x="352" y="1311"/>
                  </a:lnTo>
                  <a:lnTo>
                    <a:pt x="352" y="1311"/>
                  </a:lnTo>
                  <a:lnTo>
                    <a:pt x="352" y="1313"/>
                  </a:lnTo>
                  <a:lnTo>
                    <a:pt x="352" y="1313"/>
                  </a:lnTo>
                  <a:lnTo>
                    <a:pt x="354" y="1313"/>
                  </a:lnTo>
                  <a:lnTo>
                    <a:pt x="354" y="1313"/>
                  </a:lnTo>
                  <a:lnTo>
                    <a:pt x="352" y="1315"/>
                  </a:lnTo>
                  <a:lnTo>
                    <a:pt x="354" y="1317"/>
                  </a:lnTo>
                  <a:lnTo>
                    <a:pt x="352" y="1319"/>
                  </a:lnTo>
                  <a:lnTo>
                    <a:pt x="352" y="1320"/>
                  </a:lnTo>
                  <a:lnTo>
                    <a:pt x="350" y="1322"/>
                  </a:lnTo>
                  <a:lnTo>
                    <a:pt x="350" y="1324"/>
                  </a:lnTo>
                  <a:lnTo>
                    <a:pt x="350" y="1326"/>
                  </a:lnTo>
                  <a:lnTo>
                    <a:pt x="352" y="1328"/>
                  </a:lnTo>
                  <a:lnTo>
                    <a:pt x="354" y="1335"/>
                  </a:lnTo>
                  <a:lnTo>
                    <a:pt x="355" y="1337"/>
                  </a:lnTo>
                  <a:lnTo>
                    <a:pt x="355" y="1337"/>
                  </a:lnTo>
                  <a:lnTo>
                    <a:pt x="355" y="1338"/>
                  </a:lnTo>
                  <a:lnTo>
                    <a:pt x="355" y="1338"/>
                  </a:lnTo>
                  <a:lnTo>
                    <a:pt x="355" y="1338"/>
                  </a:lnTo>
                  <a:lnTo>
                    <a:pt x="355" y="1340"/>
                  </a:lnTo>
                  <a:lnTo>
                    <a:pt x="355" y="1342"/>
                  </a:lnTo>
                  <a:lnTo>
                    <a:pt x="354" y="1342"/>
                  </a:lnTo>
                  <a:lnTo>
                    <a:pt x="354" y="1344"/>
                  </a:lnTo>
                  <a:lnTo>
                    <a:pt x="355" y="1344"/>
                  </a:lnTo>
                  <a:lnTo>
                    <a:pt x="357" y="1342"/>
                  </a:lnTo>
                  <a:lnTo>
                    <a:pt x="357" y="1342"/>
                  </a:lnTo>
                  <a:lnTo>
                    <a:pt x="359" y="1340"/>
                  </a:lnTo>
                  <a:lnTo>
                    <a:pt x="359" y="1342"/>
                  </a:lnTo>
                  <a:lnTo>
                    <a:pt x="357" y="1344"/>
                  </a:lnTo>
                  <a:lnTo>
                    <a:pt x="357" y="1346"/>
                  </a:lnTo>
                  <a:lnTo>
                    <a:pt x="357" y="1346"/>
                  </a:lnTo>
                  <a:lnTo>
                    <a:pt x="355" y="1346"/>
                  </a:lnTo>
                  <a:lnTo>
                    <a:pt x="354" y="1348"/>
                  </a:lnTo>
                  <a:lnTo>
                    <a:pt x="355" y="1349"/>
                  </a:lnTo>
                  <a:lnTo>
                    <a:pt x="355" y="1349"/>
                  </a:lnTo>
                  <a:lnTo>
                    <a:pt x="354" y="1351"/>
                  </a:lnTo>
                  <a:lnTo>
                    <a:pt x="352" y="1357"/>
                  </a:lnTo>
                  <a:lnTo>
                    <a:pt x="354" y="1357"/>
                  </a:lnTo>
                  <a:lnTo>
                    <a:pt x="354" y="1357"/>
                  </a:lnTo>
                  <a:lnTo>
                    <a:pt x="359" y="1355"/>
                  </a:lnTo>
                  <a:lnTo>
                    <a:pt x="359" y="1353"/>
                  </a:lnTo>
                  <a:lnTo>
                    <a:pt x="361" y="1351"/>
                  </a:lnTo>
                  <a:lnTo>
                    <a:pt x="361" y="1351"/>
                  </a:lnTo>
                  <a:lnTo>
                    <a:pt x="363" y="1349"/>
                  </a:lnTo>
                  <a:lnTo>
                    <a:pt x="361" y="1349"/>
                  </a:lnTo>
                  <a:lnTo>
                    <a:pt x="361" y="1349"/>
                  </a:lnTo>
                  <a:lnTo>
                    <a:pt x="365" y="1349"/>
                  </a:lnTo>
                  <a:lnTo>
                    <a:pt x="363" y="1348"/>
                  </a:lnTo>
                  <a:lnTo>
                    <a:pt x="361" y="1348"/>
                  </a:lnTo>
                  <a:lnTo>
                    <a:pt x="361" y="1346"/>
                  </a:lnTo>
                  <a:lnTo>
                    <a:pt x="361" y="1342"/>
                  </a:lnTo>
                  <a:lnTo>
                    <a:pt x="363" y="1340"/>
                  </a:lnTo>
                  <a:lnTo>
                    <a:pt x="366" y="1338"/>
                  </a:lnTo>
                  <a:lnTo>
                    <a:pt x="366" y="1337"/>
                  </a:lnTo>
                  <a:lnTo>
                    <a:pt x="365" y="1337"/>
                  </a:lnTo>
                  <a:lnTo>
                    <a:pt x="365" y="1337"/>
                  </a:lnTo>
                  <a:lnTo>
                    <a:pt x="366" y="1335"/>
                  </a:lnTo>
                  <a:lnTo>
                    <a:pt x="372" y="1331"/>
                  </a:lnTo>
                  <a:lnTo>
                    <a:pt x="374" y="1331"/>
                  </a:lnTo>
                  <a:lnTo>
                    <a:pt x="374" y="1331"/>
                  </a:lnTo>
                  <a:lnTo>
                    <a:pt x="372" y="1331"/>
                  </a:lnTo>
                  <a:lnTo>
                    <a:pt x="372" y="1329"/>
                  </a:lnTo>
                  <a:lnTo>
                    <a:pt x="374" y="1329"/>
                  </a:lnTo>
                  <a:lnTo>
                    <a:pt x="379" y="1328"/>
                  </a:lnTo>
                  <a:lnTo>
                    <a:pt x="379" y="1328"/>
                  </a:lnTo>
                  <a:lnTo>
                    <a:pt x="381" y="1326"/>
                  </a:lnTo>
                  <a:lnTo>
                    <a:pt x="381" y="1324"/>
                  </a:lnTo>
                  <a:lnTo>
                    <a:pt x="379" y="1324"/>
                  </a:lnTo>
                  <a:lnTo>
                    <a:pt x="379" y="1324"/>
                  </a:lnTo>
                  <a:lnTo>
                    <a:pt x="377" y="1324"/>
                  </a:lnTo>
                  <a:lnTo>
                    <a:pt x="377" y="1322"/>
                  </a:lnTo>
                  <a:lnTo>
                    <a:pt x="379" y="1320"/>
                  </a:lnTo>
                  <a:lnTo>
                    <a:pt x="381" y="1319"/>
                  </a:lnTo>
                  <a:lnTo>
                    <a:pt x="381" y="1317"/>
                  </a:lnTo>
                  <a:lnTo>
                    <a:pt x="383" y="1315"/>
                  </a:lnTo>
                  <a:lnTo>
                    <a:pt x="384" y="1315"/>
                  </a:lnTo>
                  <a:lnTo>
                    <a:pt x="386" y="1313"/>
                  </a:lnTo>
                  <a:lnTo>
                    <a:pt x="386" y="1313"/>
                  </a:lnTo>
                  <a:lnTo>
                    <a:pt x="386" y="1313"/>
                  </a:lnTo>
                  <a:lnTo>
                    <a:pt x="388" y="1313"/>
                  </a:lnTo>
                  <a:lnTo>
                    <a:pt x="388" y="1313"/>
                  </a:lnTo>
                  <a:lnTo>
                    <a:pt x="388" y="1313"/>
                  </a:lnTo>
                  <a:lnTo>
                    <a:pt x="388" y="1313"/>
                  </a:lnTo>
                  <a:lnTo>
                    <a:pt x="390" y="1313"/>
                  </a:lnTo>
                  <a:lnTo>
                    <a:pt x="390" y="1313"/>
                  </a:lnTo>
                  <a:lnTo>
                    <a:pt x="392" y="1311"/>
                  </a:lnTo>
                  <a:lnTo>
                    <a:pt x="390" y="1310"/>
                  </a:lnTo>
                  <a:lnTo>
                    <a:pt x="390" y="1310"/>
                  </a:lnTo>
                  <a:lnTo>
                    <a:pt x="390" y="1310"/>
                  </a:lnTo>
                  <a:lnTo>
                    <a:pt x="390" y="1308"/>
                  </a:lnTo>
                  <a:lnTo>
                    <a:pt x="390" y="1308"/>
                  </a:lnTo>
                  <a:lnTo>
                    <a:pt x="388" y="1308"/>
                  </a:lnTo>
                  <a:lnTo>
                    <a:pt x="388" y="1308"/>
                  </a:lnTo>
                  <a:lnTo>
                    <a:pt x="388" y="1308"/>
                  </a:lnTo>
                  <a:lnTo>
                    <a:pt x="388" y="1310"/>
                  </a:lnTo>
                  <a:lnTo>
                    <a:pt x="386" y="1308"/>
                  </a:lnTo>
                  <a:lnTo>
                    <a:pt x="384" y="1308"/>
                  </a:lnTo>
                  <a:lnTo>
                    <a:pt x="384" y="1306"/>
                  </a:lnTo>
                  <a:lnTo>
                    <a:pt x="384" y="1306"/>
                  </a:lnTo>
                  <a:lnTo>
                    <a:pt x="384" y="1306"/>
                  </a:lnTo>
                  <a:lnTo>
                    <a:pt x="383" y="1306"/>
                  </a:lnTo>
                  <a:lnTo>
                    <a:pt x="383" y="1304"/>
                  </a:lnTo>
                  <a:lnTo>
                    <a:pt x="383" y="1302"/>
                  </a:lnTo>
                  <a:lnTo>
                    <a:pt x="383" y="1302"/>
                  </a:lnTo>
                  <a:lnTo>
                    <a:pt x="383" y="1301"/>
                  </a:lnTo>
                  <a:lnTo>
                    <a:pt x="383" y="1299"/>
                  </a:lnTo>
                  <a:lnTo>
                    <a:pt x="384" y="1299"/>
                  </a:lnTo>
                  <a:lnTo>
                    <a:pt x="384" y="1297"/>
                  </a:lnTo>
                  <a:lnTo>
                    <a:pt x="384" y="1295"/>
                  </a:lnTo>
                  <a:lnTo>
                    <a:pt x="384" y="1295"/>
                  </a:lnTo>
                  <a:lnTo>
                    <a:pt x="384" y="1293"/>
                  </a:lnTo>
                  <a:lnTo>
                    <a:pt x="383" y="1292"/>
                  </a:lnTo>
                  <a:lnTo>
                    <a:pt x="383" y="1292"/>
                  </a:lnTo>
                  <a:lnTo>
                    <a:pt x="383" y="1292"/>
                  </a:lnTo>
                  <a:lnTo>
                    <a:pt x="383" y="1290"/>
                  </a:lnTo>
                  <a:lnTo>
                    <a:pt x="383" y="1290"/>
                  </a:lnTo>
                  <a:lnTo>
                    <a:pt x="383" y="1288"/>
                  </a:lnTo>
                  <a:lnTo>
                    <a:pt x="384" y="1286"/>
                  </a:lnTo>
                  <a:lnTo>
                    <a:pt x="384" y="1282"/>
                  </a:lnTo>
                  <a:lnTo>
                    <a:pt x="384" y="1282"/>
                  </a:lnTo>
                  <a:lnTo>
                    <a:pt x="384" y="1281"/>
                  </a:lnTo>
                  <a:lnTo>
                    <a:pt x="384" y="1281"/>
                  </a:lnTo>
                  <a:lnTo>
                    <a:pt x="386" y="1281"/>
                  </a:lnTo>
                  <a:lnTo>
                    <a:pt x="386" y="1281"/>
                  </a:lnTo>
                  <a:lnTo>
                    <a:pt x="386" y="1282"/>
                  </a:lnTo>
                  <a:lnTo>
                    <a:pt x="388" y="1282"/>
                  </a:lnTo>
                  <a:lnTo>
                    <a:pt x="390" y="1282"/>
                  </a:lnTo>
                  <a:lnTo>
                    <a:pt x="392" y="1281"/>
                  </a:lnTo>
                  <a:lnTo>
                    <a:pt x="392" y="1281"/>
                  </a:lnTo>
                  <a:lnTo>
                    <a:pt x="392" y="1279"/>
                  </a:lnTo>
                  <a:lnTo>
                    <a:pt x="392" y="1279"/>
                  </a:lnTo>
                  <a:lnTo>
                    <a:pt x="392" y="1277"/>
                  </a:lnTo>
                  <a:lnTo>
                    <a:pt x="392" y="1277"/>
                  </a:lnTo>
                  <a:lnTo>
                    <a:pt x="392" y="1277"/>
                  </a:lnTo>
                  <a:lnTo>
                    <a:pt x="393" y="1277"/>
                  </a:lnTo>
                  <a:lnTo>
                    <a:pt x="393" y="1277"/>
                  </a:lnTo>
                  <a:lnTo>
                    <a:pt x="393" y="1273"/>
                  </a:lnTo>
                  <a:lnTo>
                    <a:pt x="395" y="1273"/>
                  </a:lnTo>
                  <a:lnTo>
                    <a:pt x="399" y="1272"/>
                  </a:lnTo>
                  <a:lnTo>
                    <a:pt x="399" y="1272"/>
                  </a:lnTo>
                  <a:lnTo>
                    <a:pt x="397" y="1270"/>
                  </a:lnTo>
                  <a:close/>
                  <a:moveTo>
                    <a:pt x="410" y="1259"/>
                  </a:moveTo>
                  <a:lnTo>
                    <a:pt x="408" y="1259"/>
                  </a:lnTo>
                  <a:lnTo>
                    <a:pt x="406" y="1259"/>
                  </a:lnTo>
                  <a:lnTo>
                    <a:pt x="406" y="1259"/>
                  </a:lnTo>
                  <a:lnTo>
                    <a:pt x="406" y="1257"/>
                  </a:lnTo>
                  <a:lnTo>
                    <a:pt x="404" y="1257"/>
                  </a:lnTo>
                  <a:lnTo>
                    <a:pt x="404" y="1257"/>
                  </a:lnTo>
                  <a:lnTo>
                    <a:pt x="402" y="1257"/>
                  </a:lnTo>
                  <a:lnTo>
                    <a:pt x="402" y="1257"/>
                  </a:lnTo>
                  <a:lnTo>
                    <a:pt x="402" y="1257"/>
                  </a:lnTo>
                  <a:lnTo>
                    <a:pt x="401" y="1257"/>
                  </a:lnTo>
                  <a:lnTo>
                    <a:pt x="399" y="1259"/>
                  </a:lnTo>
                  <a:lnTo>
                    <a:pt x="399" y="1259"/>
                  </a:lnTo>
                  <a:lnTo>
                    <a:pt x="399" y="1259"/>
                  </a:lnTo>
                  <a:lnTo>
                    <a:pt x="399" y="1261"/>
                  </a:lnTo>
                  <a:lnTo>
                    <a:pt x="397" y="1261"/>
                  </a:lnTo>
                  <a:lnTo>
                    <a:pt x="397" y="1263"/>
                  </a:lnTo>
                  <a:lnTo>
                    <a:pt x="397" y="1264"/>
                  </a:lnTo>
                  <a:lnTo>
                    <a:pt x="397" y="1264"/>
                  </a:lnTo>
                  <a:lnTo>
                    <a:pt x="399" y="1268"/>
                  </a:lnTo>
                  <a:lnTo>
                    <a:pt x="399" y="1270"/>
                  </a:lnTo>
                  <a:lnTo>
                    <a:pt x="399" y="1270"/>
                  </a:lnTo>
                  <a:lnTo>
                    <a:pt x="401" y="1270"/>
                  </a:lnTo>
                  <a:lnTo>
                    <a:pt x="401" y="1270"/>
                  </a:lnTo>
                  <a:lnTo>
                    <a:pt x="401" y="1270"/>
                  </a:lnTo>
                  <a:lnTo>
                    <a:pt x="402" y="1268"/>
                  </a:lnTo>
                  <a:lnTo>
                    <a:pt x="402" y="1266"/>
                  </a:lnTo>
                  <a:lnTo>
                    <a:pt x="402" y="1266"/>
                  </a:lnTo>
                  <a:lnTo>
                    <a:pt x="402" y="1264"/>
                  </a:lnTo>
                  <a:lnTo>
                    <a:pt x="401" y="1264"/>
                  </a:lnTo>
                  <a:lnTo>
                    <a:pt x="402" y="1263"/>
                  </a:lnTo>
                  <a:lnTo>
                    <a:pt x="404" y="1263"/>
                  </a:lnTo>
                  <a:lnTo>
                    <a:pt x="406" y="1261"/>
                  </a:lnTo>
                  <a:lnTo>
                    <a:pt x="406" y="1261"/>
                  </a:lnTo>
                  <a:lnTo>
                    <a:pt x="410" y="1261"/>
                  </a:lnTo>
                  <a:lnTo>
                    <a:pt x="410" y="1261"/>
                  </a:lnTo>
                  <a:lnTo>
                    <a:pt x="410" y="1261"/>
                  </a:lnTo>
                  <a:lnTo>
                    <a:pt x="411" y="1261"/>
                  </a:lnTo>
                  <a:lnTo>
                    <a:pt x="411" y="1259"/>
                  </a:lnTo>
                  <a:lnTo>
                    <a:pt x="411" y="1259"/>
                  </a:lnTo>
                  <a:lnTo>
                    <a:pt x="410" y="1259"/>
                  </a:lnTo>
                  <a:lnTo>
                    <a:pt x="410" y="1259"/>
                  </a:lnTo>
                  <a:close/>
                  <a:moveTo>
                    <a:pt x="27" y="1257"/>
                  </a:moveTo>
                  <a:lnTo>
                    <a:pt x="29" y="1255"/>
                  </a:lnTo>
                  <a:lnTo>
                    <a:pt x="29" y="1255"/>
                  </a:lnTo>
                  <a:lnTo>
                    <a:pt x="30" y="1255"/>
                  </a:lnTo>
                  <a:lnTo>
                    <a:pt x="29" y="1255"/>
                  </a:lnTo>
                  <a:lnTo>
                    <a:pt x="29" y="1257"/>
                  </a:lnTo>
                  <a:lnTo>
                    <a:pt x="30" y="1257"/>
                  </a:lnTo>
                  <a:lnTo>
                    <a:pt x="30" y="1255"/>
                  </a:lnTo>
                  <a:lnTo>
                    <a:pt x="30" y="1255"/>
                  </a:lnTo>
                  <a:lnTo>
                    <a:pt x="30" y="1254"/>
                  </a:lnTo>
                  <a:lnTo>
                    <a:pt x="30" y="1252"/>
                  </a:lnTo>
                  <a:lnTo>
                    <a:pt x="30" y="1252"/>
                  </a:lnTo>
                  <a:lnTo>
                    <a:pt x="30" y="1250"/>
                  </a:lnTo>
                  <a:lnTo>
                    <a:pt x="30" y="1250"/>
                  </a:lnTo>
                  <a:lnTo>
                    <a:pt x="29" y="1250"/>
                  </a:lnTo>
                  <a:lnTo>
                    <a:pt x="29" y="1252"/>
                  </a:lnTo>
                  <a:lnTo>
                    <a:pt x="27" y="1252"/>
                  </a:lnTo>
                  <a:lnTo>
                    <a:pt x="23" y="1252"/>
                  </a:lnTo>
                  <a:lnTo>
                    <a:pt x="20" y="1252"/>
                  </a:lnTo>
                  <a:lnTo>
                    <a:pt x="20" y="1252"/>
                  </a:lnTo>
                  <a:lnTo>
                    <a:pt x="20" y="1254"/>
                  </a:lnTo>
                  <a:lnTo>
                    <a:pt x="20" y="1255"/>
                  </a:lnTo>
                  <a:lnTo>
                    <a:pt x="20" y="1255"/>
                  </a:lnTo>
                  <a:lnTo>
                    <a:pt x="21" y="1255"/>
                  </a:lnTo>
                  <a:lnTo>
                    <a:pt x="23" y="1255"/>
                  </a:lnTo>
                  <a:lnTo>
                    <a:pt x="21" y="1255"/>
                  </a:lnTo>
                  <a:lnTo>
                    <a:pt x="20" y="1255"/>
                  </a:lnTo>
                  <a:lnTo>
                    <a:pt x="20" y="1255"/>
                  </a:lnTo>
                  <a:lnTo>
                    <a:pt x="20" y="1257"/>
                  </a:lnTo>
                  <a:lnTo>
                    <a:pt x="20" y="1257"/>
                  </a:lnTo>
                  <a:lnTo>
                    <a:pt x="20" y="1259"/>
                  </a:lnTo>
                  <a:lnTo>
                    <a:pt x="20" y="1259"/>
                  </a:lnTo>
                  <a:lnTo>
                    <a:pt x="20" y="1261"/>
                  </a:lnTo>
                  <a:lnTo>
                    <a:pt x="21" y="1261"/>
                  </a:lnTo>
                  <a:lnTo>
                    <a:pt x="21" y="1261"/>
                  </a:lnTo>
                  <a:lnTo>
                    <a:pt x="21" y="1261"/>
                  </a:lnTo>
                  <a:lnTo>
                    <a:pt x="23" y="1261"/>
                  </a:lnTo>
                  <a:lnTo>
                    <a:pt x="23" y="1263"/>
                  </a:lnTo>
                  <a:lnTo>
                    <a:pt x="23" y="1263"/>
                  </a:lnTo>
                  <a:lnTo>
                    <a:pt x="25" y="1261"/>
                  </a:lnTo>
                  <a:lnTo>
                    <a:pt x="25" y="1261"/>
                  </a:lnTo>
                  <a:lnTo>
                    <a:pt x="25" y="1261"/>
                  </a:lnTo>
                  <a:lnTo>
                    <a:pt x="27" y="1261"/>
                  </a:lnTo>
                  <a:lnTo>
                    <a:pt x="27" y="1261"/>
                  </a:lnTo>
                  <a:lnTo>
                    <a:pt x="27" y="1259"/>
                  </a:lnTo>
                  <a:lnTo>
                    <a:pt x="27" y="1257"/>
                  </a:lnTo>
                  <a:close/>
                  <a:moveTo>
                    <a:pt x="20" y="1248"/>
                  </a:moveTo>
                  <a:lnTo>
                    <a:pt x="20" y="1248"/>
                  </a:lnTo>
                  <a:lnTo>
                    <a:pt x="20" y="1246"/>
                  </a:lnTo>
                  <a:lnTo>
                    <a:pt x="21" y="1246"/>
                  </a:lnTo>
                  <a:lnTo>
                    <a:pt x="21" y="1245"/>
                  </a:lnTo>
                  <a:lnTo>
                    <a:pt x="23" y="1245"/>
                  </a:lnTo>
                  <a:lnTo>
                    <a:pt x="25" y="1245"/>
                  </a:lnTo>
                  <a:lnTo>
                    <a:pt x="25" y="1246"/>
                  </a:lnTo>
                  <a:lnTo>
                    <a:pt x="27" y="1246"/>
                  </a:lnTo>
                  <a:lnTo>
                    <a:pt x="29" y="1246"/>
                  </a:lnTo>
                  <a:lnTo>
                    <a:pt x="32" y="1245"/>
                  </a:lnTo>
                  <a:lnTo>
                    <a:pt x="32" y="1245"/>
                  </a:lnTo>
                  <a:lnTo>
                    <a:pt x="34" y="1245"/>
                  </a:lnTo>
                  <a:lnTo>
                    <a:pt x="34" y="1243"/>
                  </a:lnTo>
                  <a:lnTo>
                    <a:pt x="34" y="1237"/>
                  </a:lnTo>
                  <a:lnTo>
                    <a:pt x="34" y="1236"/>
                  </a:lnTo>
                  <a:lnTo>
                    <a:pt x="34" y="1234"/>
                  </a:lnTo>
                  <a:lnTo>
                    <a:pt x="34" y="1232"/>
                  </a:lnTo>
                  <a:lnTo>
                    <a:pt x="32" y="1232"/>
                  </a:lnTo>
                  <a:lnTo>
                    <a:pt x="32" y="1232"/>
                  </a:lnTo>
                  <a:lnTo>
                    <a:pt x="30" y="1228"/>
                  </a:lnTo>
                  <a:lnTo>
                    <a:pt x="29" y="1228"/>
                  </a:lnTo>
                  <a:lnTo>
                    <a:pt x="29" y="1228"/>
                  </a:lnTo>
                  <a:lnTo>
                    <a:pt x="27" y="1228"/>
                  </a:lnTo>
                  <a:lnTo>
                    <a:pt x="27" y="1230"/>
                  </a:lnTo>
                  <a:lnTo>
                    <a:pt x="29" y="1230"/>
                  </a:lnTo>
                  <a:lnTo>
                    <a:pt x="27" y="1230"/>
                  </a:lnTo>
                  <a:lnTo>
                    <a:pt x="27" y="1232"/>
                  </a:lnTo>
                  <a:lnTo>
                    <a:pt x="27" y="1232"/>
                  </a:lnTo>
                  <a:lnTo>
                    <a:pt x="27" y="1234"/>
                  </a:lnTo>
                  <a:lnTo>
                    <a:pt x="27" y="1234"/>
                  </a:lnTo>
                  <a:lnTo>
                    <a:pt x="25" y="1234"/>
                  </a:lnTo>
                  <a:lnTo>
                    <a:pt x="23" y="1234"/>
                  </a:lnTo>
                  <a:lnTo>
                    <a:pt x="23" y="1234"/>
                  </a:lnTo>
                  <a:lnTo>
                    <a:pt x="21" y="1236"/>
                  </a:lnTo>
                  <a:lnTo>
                    <a:pt x="20" y="1236"/>
                  </a:lnTo>
                  <a:lnTo>
                    <a:pt x="16" y="1241"/>
                  </a:lnTo>
                  <a:lnTo>
                    <a:pt x="14" y="1243"/>
                  </a:lnTo>
                  <a:lnTo>
                    <a:pt x="14" y="1243"/>
                  </a:lnTo>
                  <a:lnTo>
                    <a:pt x="14" y="1245"/>
                  </a:lnTo>
                  <a:lnTo>
                    <a:pt x="16" y="1246"/>
                  </a:lnTo>
                  <a:lnTo>
                    <a:pt x="16" y="1246"/>
                  </a:lnTo>
                  <a:lnTo>
                    <a:pt x="16" y="1250"/>
                  </a:lnTo>
                  <a:lnTo>
                    <a:pt x="18" y="1250"/>
                  </a:lnTo>
                  <a:lnTo>
                    <a:pt x="18" y="1246"/>
                  </a:lnTo>
                  <a:lnTo>
                    <a:pt x="20" y="1248"/>
                  </a:lnTo>
                  <a:lnTo>
                    <a:pt x="20" y="1248"/>
                  </a:lnTo>
                  <a:lnTo>
                    <a:pt x="20" y="1248"/>
                  </a:lnTo>
                  <a:close/>
                  <a:moveTo>
                    <a:pt x="287" y="1226"/>
                  </a:moveTo>
                  <a:lnTo>
                    <a:pt x="285" y="1226"/>
                  </a:lnTo>
                  <a:lnTo>
                    <a:pt x="287" y="1228"/>
                  </a:lnTo>
                  <a:lnTo>
                    <a:pt x="287" y="1230"/>
                  </a:lnTo>
                  <a:lnTo>
                    <a:pt x="287" y="1230"/>
                  </a:lnTo>
                  <a:lnTo>
                    <a:pt x="287" y="1230"/>
                  </a:lnTo>
                  <a:lnTo>
                    <a:pt x="289" y="1230"/>
                  </a:lnTo>
                  <a:lnTo>
                    <a:pt x="289" y="1228"/>
                  </a:lnTo>
                  <a:lnTo>
                    <a:pt x="289" y="1228"/>
                  </a:lnTo>
                  <a:lnTo>
                    <a:pt x="287" y="1226"/>
                  </a:lnTo>
                  <a:lnTo>
                    <a:pt x="287" y="1226"/>
                  </a:lnTo>
                  <a:close/>
                  <a:moveTo>
                    <a:pt x="406" y="1223"/>
                  </a:moveTo>
                  <a:lnTo>
                    <a:pt x="410" y="1223"/>
                  </a:lnTo>
                  <a:lnTo>
                    <a:pt x="411" y="1221"/>
                  </a:lnTo>
                  <a:lnTo>
                    <a:pt x="410" y="1219"/>
                  </a:lnTo>
                  <a:lnTo>
                    <a:pt x="406" y="1219"/>
                  </a:lnTo>
                  <a:lnTo>
                    <a:pt x="406" y="1219"/>
                  </a:lnTo>
                  <a:lnTo>
                    <a:pt x="404" y="1219"/>
                  </a:lnTo>
                  <a:lnTo>
                    <a:pt x="404" y="1223"/>
                  </a:lnTo>
                  <a:lnTo>
                    <a:pt x="406" y="1223"/>
                  </a:lnTo>
                  <a:close/>
                  <a:moveTo>
                    <a:pt x="285" y="1223"/>
                  </a:moveTo>
                  <a:lnTo>
                    <a:pt x="285" y="1223"/>
                  </a:lnTo>
                  <a:lnTo>
                    <a:pt x="285" y="1225"/>
                  </a:lnTo>
                  <a:lnTo>
                    <a:pt x="285" y="1225"/>
                  </a:lnTo>
                  <a:lnTo>
                    <a:pt x="287" y="1226"/>
                  </a:lnTo>
                  <a:lnTo>
                    <a:pt x="287" y="1226"/>
                  </a:lnTo>
                  <a:lnTo>
                    <a:pt x="289" y="1226"/>
                  </a:lnTo>
                  <a:lnTo>
                    <a:pt x="289" y="1226"/>
                  </a:lnTo>
                  <a:lnTo>
                    <a:pt x="289" y="1225"/>
                  </a:lnTo>
                  <a:lnTo>
                    <a:pt x="290" y="1225"/>
                  </a:lnTo>
                  <a:lnTo>
                    <a:pt x="290" y="1225"/>
                  </a:lnTo>
                  <a:lnTo>
                    <a:pt x="290" y="1225"/>
                  </a:lnTo>
                  <a:lnTo>
                    <a:pt x="290" y="1225"/>
                  </a:lnTo>
                  <a:lnTo>
                    <a:pt x="290" y="1225"/>
                  </a:lnTo>
                  <a:lnTo>
                    <a:pt x="289" y="1225"/>
                  </a:lnTo>
                  <a:lnTo>
                    <a:pt x="289" y="1225"/>
                  </a:lnTo>
                  <a:lnTo>
                    <a:pt x="287" y="1223"/>
                  </a:lnTo>
                  <a:lnTo>
                    <a:pt x="285" y="1223"/>
                  </a:lnTo>
                  <a:lnTo>
                    <a:pt x="285" y="1221"/>
                  </a:lnTo>
                  <a:lnTo>
                    <a:pt x="285" y="1221"/>
                  </a:lnTo>
                  <a:lnTo>
                    <a:pt x="287" y="1221"/>
                  </a:lnTo>
                  <a:lnTo>
                    <a:pt x="287" y="1221"/>
                  </a:lnTo>
                  <a:lnTo>
                    <a:pt x="285" y="1219"/>
                  </a:lnTo>
                  <a:lnTo>
                    <a:pt x="287" y="1219"/>
                  </a:lnTo>
                  <a:lnTo>
                    <a:pt x="287" y="1219"/>
                  </a:lnTo>
                  <a:lnTo>
                    <a:pt x="287" y="1219"/>
                  </a:lnTo>
                  <a:lnTo>
                    <a:pt x="287" y="1217"/>
                  </a:lnTo>
                  <a:lnTo>
                    <a:pt x="287" y="1217"/>
                  </a:lnTo>
                  <a:lnTo>
                    <a:pt x="287" y="1217"/>
                  </a:lnTo>
                  <a:lnTo>
                    <a:pt x="287" y="1217"/>
                  </a:lnTo>
                  <a:lnTo>
                    <a:pt x="287" y="1217"/>
                  </a:lnTo>
                  <a:lnTo>
                    <a:pt x="285" y="1217"/>
                  </a:lnTo>
                  <a:lnTo>
                    <a:pt x="285" y="1219"/>
                  </a:lnTo>
                  <a:lnTo>
                    <a:pt x="285" y="1219"/>
                  </a:lnTo>
                  <a:lnTo>
                    <a:pt x="283" y="1219"/>
                  </a:lnTo>
                  <a:lnTo>
                    <a:pt x="283" y="1219"/>
                  </a:lnTo>
                  <a:lnTo>
                    <a:pt x="283" y="1221"/>
                  </a:lnTo>
                  <a:lnTo>
                    <a:pt x="285" y="1221"/>
                  </a:lnTo>
                  <a:lnTo>
                    <a:pt x="285" y="1223"/>
                  </a:lnTo>
                  <a:lnTo>
                    <a:pt x="285" y="1223"/>
                  </a:lnTo>
                  <a:close/>
                  <a:moveTo>
                    <a:pt x="359" y="1163"/>
                  </a:moveTo>
                  <a:lnTo>
                    <a:pt x="359" y="1163"/>
                  </a:lnTo>
                  <a:lnTo>
                    <a:pt x="359" y="1163"/>
                  </a:lnTo>
                  <a:lnTo>
                    <a:pt x="357" y="1163"/>
                  </a:lnTo>
                  <a:lnTo>
                    <a:pt x="357" y="1165"/>
                  </a:lnTo>
                  <a:lnTo>
                    <a:pt x="355" y="1165"/>
                  </a:lnTo>
                  <a:lnTo>
                    <a:pt x="355" y="1167"/>
                  </a:lnTo>
                  <a:lnTo>
                    <a:pt x="354" y="1169"/>
                  </a:lnTo>
                  <a:lnTo>
                    <a:pt x="354" y="1169"/>
                  </a:lnTo>
                  <a:lnTo>
                    <a:pt x="354" y="1169"/>
                  </a:lnTo>
                  <a:lnTo>
                    <a:pt x="355" y="1169"/>
                  </a:lnTo>
                  <a:lnTo>
                    <a:pt x="355" y="1169"/>
                  </a:lnTo>
                  <a:lnTo>
                    <a:pt x="355" y="1169"/>
                  </a:lnTo>
                  <a:lnTo>
                    <a:pt x="357" y="1169"/>
                  </a:lnTo>
                  <a:lnTo>
                    <a:pt x="359" y="1167"/>
                  </a:lnTo>
                  <a:lnTo>
                    <a:pt x="361" y="1167"/>
                  </a:lnTo>
                  <a:lnTo>
                    <a:pt x="361" y="1167"/>
                  </a:lnTo>
                  <a:lnTo>
                    <a:pt x="359" y="1167"/>
                  </a:lnTo>
                  <a:lnTo>
                    <a:pt x="359" y="1167"/>
                  </a:lnTo>
                  <a:lnTo>
                    <a:pt x="359" y="1165"/>
                  </a:lnTo>
                  <a:lnTo>
                    <a:pt x="359" y="1165"/>
                  </a:lnTo>
                  <a:lnTo>
                    <a:pt x="359" y="1165"/>
                  </a:lnTo>
                  <a:lnTo>
                    <a:pt x="361" y="1165"/>
                  </a:lnTo>
                  <a:lnTo>
                    <a:pt x="361" y="1165"/>
                  </a:lnTo>
                  <a:lnTo>
                    <a:pt x="363" y="1163"/>
                  </a:lnTo>
                  <a:lnTo>
                    <a:pt x="363" y="1163"/>
                  </a:lnTo>
                  <a:lnTo>
                    <a:pt x="363" y="1161"/>
                  </a:lnTo>
                  <a:lnTo>
                    <a:pt x="361" y="1163"/>
                  </a:lnTo>
                  <a:lnTo>
                    <a:pt x="359" y="1163"/>
                  </a:lnTo>
                  <a:close/>
                  <a:moveTo>
                    <a:pt x="350" y="1163"/>
                  </a:moveTo>
                  <a:lnTo>
                    <a:pt x="352" y="1163"/>
                  </a:lnTo>
                  <a:lnTo>
                    <a:pt x="352" y="1163"/>
                  </a:lnTo>
                  <a:lnTo>
                    <a:pt x="352" y="1161"/>
                  </a:lnTo>
                  <a:lnTo>
                    <a:pt x="352" y="1161"/>
                  </a:lnTo>
                  <a:lnTo>
                    <a:pt x="352" y="1160"/>
                  </a:lnTo>
                  <a:lnTo>
                    <a:pt x="352" y="1160"/>
                  </a:lnTo>
                  <a:lnTo>
                    <a:pt x="352" y="1160"/>
                  </a:lnTo>
                  <a:lnTo>
                    <a:pt x="352" y="1161"/>
                  </a:lnTo>
                  <a:lnTo>
                    <a:pt x="354" y="1160"/>
                  </a:lnTo>
                  <a:lnTo>
                    <a:pt x="354" y="1160"/>
                  </a:lnTo>
                  <a:lnTo>
                    <a:pt x="354" y="1161"/>
                  </a:lnTo>
                  <a:lnTo>
                    <a:pt x="354" y="1160"/>
                  </a:lnTo>
                  <a:lnTo>
                    <a:pt x="354" y="1160"/>
                  </a:lnTo>
                  <a:lnTo>
                    <a:pt x="354" y="1160"/>
                  </a:lnTo>
                  <a:lnTo>
                    <a:pt x="354" y="1160"/>
                  </a:lnTo>
                  <a:lnTo>
                    <a:pt x="354" y="1160"/>
                  </a:lnTo>
                  <a:lnTo>
                    <a:pt x="354" y="1160"/>
                  </a:lnTo>
                  <a:lnTo>
                    <a:pt x="355" y="1158"/>
                  </a:lnTo>
                  <a:lnTo>
                    <a:pt x="355" y="1158"/>
                  </a:lnTo>
                  <a:lnTo>
                    <a:pt x="354" y="1158"/>
                  </a:lnTo>
                  <a:lnTo>
                    <a:pt x="352" y="1158"/>
                  </a:lnTo>
                  <a:lnTo>
                    <a:pt x="350" y="1158"/>
                  </a:lnTo>
                  <a:lnTo>
                    <a:pt x="350" y="1158"/>
                  </a:lnTo>
                  <a:lnTo>
                    <a:pt x="348" y="1158"/>
                  </a:lnTo>
                  <a:lnTo>
                    <a:pt x="348" y="1160"/>
                  </a:lnTo>
                  <a:lnTo>
                    <a:pt x="348" y="1160"/>
                  </a:lnTo>
                  <a:lnTo>
                    <a:pt x="348" y="1161"/>
                  </a:lnTo>
                  <a:lnTo>
                    <a:pt x="348" y="1161"/>
                  </a:lnTo>
                  <a:lnTo>
                    <a:pt x="348" y="1161"/>
                  </a:lnTo>
                  <a:lnTo>
                    <a:pt x="346" y="1161"/>
                  </a:lnTo>
                  <a:lnTo>
                    <a:pt x="346" y="1163"/>
                  </a:lnTo>
                  <a:lnTo>
                    <a:pt x="346" y="1163"/>
                  </a:lnTo>
                  <a:lnTo>
                    <a:pt x="346" y="1163"/>
                  </a:lnTo>
                  <a:lnTo>
                    <a:pt x="346" y="1165"/>
                  </a:lnTo>
                  <a:lnTo>
                    <a:pt x="348" y="1163"/>
                  </a:lnTo>
                  <a:lnTo>
                    <a:pt x="348" y="1163"/>
                  </a:lnTo>
                  <a:lnTo>
                    <a:pt x="348" y="1163"/>
                  </a:lnTo>
                  <a:lnTo>
                    <a:pt x="350" y="1163"/>
                  </a:lnTo>
                  <a:lnTo>
                    <a:pt x="350" y="1163"/>
                  </a:lnTo>
                  <a:lnTo>
                    <a:pt x="350" y="1163"/>
                  </a:lnTo>
                  <a:close/>
                  <a:moveTo>
                    <a:pt x="330" y="1161"/>
                  </a:moveTo>
                  <a:lnTo>
                    <a:pt x="330" y="1160"/>
                  </a:lnTo>
                  <a:lnTo>
                    <a:pt x="330" y="1158"/>
                  </a:lnTo>
                  <a:lnTo>
                    <a:pt x="328" y="1156"/>
                  </a:lnTo>
                  <a:lnTo>
                    <a:pt x="328" y="1156"/>
                  </a:lnTo>
                  <a:lnTo>
                    <a:pt x="328" y="1154"/>
                  </a:lnTo>
                  <a:lnTo>
                    <a:pt x="328" y="1154"/>
                  </a:lnTo>
                  <a:lnTo>
                    <a:pt x="328" y="1154"/>
                  </a:lnTo>
                  <a:lnTo>
                    <a:pt x="328" y="1154"/>
                  </a:lnTo>
                  <a:lnTo>
                    <a:pt x="327" y="1154"/>
                  </a:lnTo>
                  <a:lnTo>
                    <a:pt x="327" y="1154"/>
                  </a:lnTo>
                  <a:lnTo>
                    <a:pt x="327" y="1154"/>
                  </a:lnTo>
                  <a:lnTo>
                    <a:pt x="327" y="1158"/>
                  </a:lnTo>
                  <a:lnTo>
                    <a:pt x="327" y="1158"/>
                  </a:lnTo>
                  <a:lnTo>
                    <a:pt x="327" y="1158"/>
                  </a:lnTo>
                  <a:lnTo>
                    <a:pt x="327" y="1160"/>
                  </a:lnTo>
                  <a:lnTo>
                    <a:pt x="327" y="1160"/>
                  </a:lnTo>
                  <a:lnTo>
                    <a:pt x="325" y="1161"/>
                  </a:lnTo>
                  <a:lnTo>
                    <a:pt x="325" y="1163"/>
                  </a:lnTo>
                  <a:lnTo>
                    <a:pt x="325" y="1165"/>
                  </a:lnTo>
                  <a:lnTo>
                    <a:pt x="327" y="1165"/>
                  </a:lnTo>
                  <a:lnTo>
                    <a:pt x="327" y="1165"/>
                  </a:lnTo>
                  <a:lnTo>
                    <a:pt x="327" y="1167"/>
                  </a:lnTo>
                  <a:lnTo>
                    <a:pt x="327" y="1169"/>
                  </a:lnTo>
                  <a:lnTo>
                    <a:pt x="327" y="1169"/>
                  </a:lnTo>
                  <a:lnTo>
                    <a:pt x="327" y="1169"/>
                  </a:lnTo>
                  <a:lnTo>
                    <a:pt x="328" y="1170"/>
                  </a:lnTo>
                  <a:lnTo>
                    <a:pt x="328" y="1170"/>
                  </a:lnTo>
                  <a:lnTo>
                    <a:pt x="328" y="1169"/>
                  </a:lnTo>
                  <a:lnTo>
                    <a:pt x="328" y="1169"/>
                  </a:lnTo>
                  <a:lnTo>
                    <a:pt x="328" y="1167"/>
                  </a:lnTo>
                  <a:lnTo>
                    <a:pt x="328" y="1167"/>
                  </a:lnTo>
                  <a:lnTo>
                    <a:pt x="328" y="1167"/>
                  </a:lnTo>
                  <a:lnTo>
                    <a:pt x="330" y="1165"/>
                  </a:lnTo>
                  <a:lnTo>
                    <a:pt x="330" y="1165"/>
                  </a:lnTo>
                  <a:lnTo>
                    <a:pt x="330" y="1163"/>
                  </a:lnTo>
                  <a:lnTo>
                    <a:pt x="330" y="1163"/>
                  </a:lnTo>
                  <a:lnTo>
                    <a:pt x="330" y="1161"/>
                  </a:lnTo>
                  <a:lnTo>
                    <a:pt x="330" y="1161"/>
                  </a:lnTo>
                  <a:close/>
                  <a:moveTo>
                    <a:pt x="361" y="1156"/>
                  </a:moveTo>
                  <a:lnTo>
                    <a:pt x="361" y="1158"/>
                  </a:lnTo>
                  <a:lnTo>
                    <a:pt x="361" y="1158"/>
                  </a:lnTo>
                  <a:lnTo>
                    <a:pt x="363" y="1160"/>
                  </a:lnTo>
                  <a:lnTo>
                    <a:pt x="363" y="1160"/>
                  </a:lnTo>
                  <a:lnTo>
                    <a:pt x="363" y="1160"/>
                  </a:lnTo>
                  <a:lnTo>
                    <a:pt x="365" y="1160"/>
                  </a:lnTo>
                  <a:lnTo>
                    <a:pt x="365" y="1160"/>
                  </a:lnTo>
                  <a:lnTo>
                    <a:pt x="365" y="1160"/>
                  </a:lnTo>
                  <a:lnTo>
                    <a:pt x="365" y="1160"/>
                  </a:lnTo>
                  <a:lnTo>
                    <a:pt x="365" y="1160"/>
                  </a:lnTo>
                  <a:lnTo>
                    <a:pt x="365" y="1158"/>
                  </a:lnTo>
                  <a:lnTo>
                    <a:pt x="366" y="1158"/>
                  </a:lnTo>
                  <a:lnTo>
                    <a:pt x="366" y="1158"/>
                  </a:lnTo>
                  <a:lnTo>
                    <a:pt x="366" y="1158"/>
                  </a:lnTo>
                  <a:lnTo>
                    <a:pt x="366" y="1156"/>
                  </a:lnTo>
                  <a:lnTo>
                    <a:pt x="366" y="1156"/>
                  </a:lnTo>
                  <a:lnTo>
                    <a:pt x="366" y="1156"/>
                  </a:lnTo>
                  <a:lnTo>
                    <a:pt x="366" y="1154"/>
                  </a:lnTo>
                  <a:lnTo>
                    <a:pt x="368" y="1152"/>
                  </a:lnTo>
                  <a:lnTo>
                    <a:pt x="368" y="1152"/>
                  </a:lnTo>
                  <a:lnTo>
                    <a:pt x="368" y="1152"/>
                  </a:lnTo>
                  <a:lnTo>
                    <a:pt x="368" y="1151"/>
                  </a:lnTo>
                  <a:lnTo>
                    <a:pt x="368" y="1151"/>
                  </a:lnTo>
                  <a:lnTo>
                    <a:pt x="368" y="1151"/>
                  </a:lnTo>
                  <a:lnTo>
                    <a:pt x="368" y="1149"/>
                  </a:lnTo>
                  <a:lnTo>
                    <a:pt x="368" y="1149"/>
                  </a:lnTo>
                  <a:lnTo>
                    <a:pt x="366" y="1149"/>
                  </a:lnTo>
                  <a:lnTo>
                    <a:pt x="366" y="1151"/>
                  </a:lnTo>
                  <a:lnTo>
                    <a:pt x="365" y="1151"/>
                  </a:lnTo>
                  <a:lnTo>
                    <a:pt x="363" y="1152"/>
                  </a:lnTo>
                  <a:lnTo>
                    <a:pt x="363" y="1152"/>
                  </a:lnTo>
                  <a:lnTo>
                    <a:pt x="363" y="1154"/>
                  </a:lnTo>
                  <a:lnTo>
                    <a:pt x="363" y="1154"/>
                  </a:lnTo>
                  <a:lnTo>
                    <a:pt x="363" y="1154"/>
                  </a:lnTo>
                  <a:lnTo>
                    <a:pt x="363" y="1154"/>
                  </a:lnTo>
                  <a:lnTo>
                    <a:pt x="363" y="1154"/>
                  </a:lnTo>
                  <a:lnTo>
                    <a:pt x="363" y="1156"/>
                  </a:lnTo>
                  <a:lnTo>
                    <a:pt x="363" y="1156"/>
                  </a:lnTo>
                  <a:lnTo>
                    <a:pt x="363" y="1156"/>
                  </a:lnTo>
                  <a:lnTo>
                    <a:pt x="363" y="1156"/>
                  </a:lnTo>
                  <a:lnTo>
                    <a:pt x="361" y="1156"/>
                  </a:lnTo>
                  <a:close/>
                  <a:moveTo>
                    <a:pt x="379" y="1140"/>
                  </a:moveTo>
                  <a:lnTo>
                    <a:pt x="379" y="1140"/>
                  </a:lnTo>
                  <a:lnTo>
                    <a:pt x="379" y="1142"/>
                  </a:lnTo>
                  <a:lnTo>
                    <a:pt x="377" y="1142"/>
                  </a:lnTo>
                  <a:lnTo>
                    <a:pt x="377" y="1143"/>
                  </a:lnTo>
                  <a:lnTo>
                    <a:pt x="377" y="1143"/>
                  </a:lnTo>
                  <a:lnTo>
                    <a:pt x="381" y="1142"/>
                  </a:lnTo>
                  <a:lnTo>
                    <a:pt x="383" y="1140"/>
                  </a:lnTo>
                  <a:lnTo>
                    <a:pt x="381" y="1140"/>
                  </a:lnTo>
                  <a:lnTo>
                    <a:pt x="381" y="1140"/>
                  </a:lnTo>
                  <a:lnTo>
                    <a:pt x="379" y="1140"/>
                  </a:lnTo>
                  <a:close/>
                  <a:moveTo>
                    <a:pt x="381" y="1134"/>
                  </a:moveTo>
                  <a:lnTo>
                    <a:pt x="381" y="1134"/>
                  </a:lnTo>
                  <a:lnTo>
                    <a:pt x="381" y="1134"/>
                  </a:lnTo>
                  <a:lnTo>
                    <a:pt x="381" y="1134"/>
                  </a:lnTo>
                  <a:lnTo>
                    <a:pt x="381" y="1134"/>
                  </a:lnTo>
                  <a:lnTo>
                    <a:pt x="383" y="1136"/>
                  </a:lnTo>
                  <a:lnTo>
                    <a:pt x="383" y="1136"/>
                  </a:lnTo>
                  <a:lnTo>
                    <a:pt x="383" y="1136"/>
                  </a:lnTo>
                  <a:lnTo>
                    <a:pt x="383" y="1136"/>
                  </a:lnTo>
                  <a:lnTo>
                    <a:pt x="383" y="1136"/>
                  </a:lnTo>
                  <a:lnTo>
                    <a:pt x="383" y="1136"/>
                  </a:lnTo>
                  <a:lnTo>
                    <a:pt x="383" y="1134"/>
                  </a:lnTo>
                  <a:lnTo>
                    <a:pt x="384" y="1134"/>
                  </a:lnTo>
                  <a:lnTo>
                    <a:pt x="384" y="1133"/>
                  </a:lnTo>
                  <a:lnTo>
                    <a:pt x="384" y="1133"/>
                  </a:lnTo>
                  <a:lnTo>
                    <a:pt x="384" y="1133"/>
                  </a:lnTo>
                  <a:lnTo>
                    <a:pt x="384" y="1133"/>
                  </a:lnTo>
                  <a:lnTo>
                    <a:pt x="384" y="1131"/>
                  </a:lnTo>
                  <a:lnTo>
                    <a:pt x="384" y="1131"/>
                  </a:lnTo>
                  <a:lnTo>
                    <a:pt x="383" y="1131"/>
                  </a:lnTo>
                  <a:lnTo>
                    <a:pt x="383" y="1131"/>
                  </a:lnTo>
                  <a:lnTo>
                    <a:pt x="381" y="1133"/>
                  </a:lnTo>
                  <a:lnTo>
                    <a:pt x="381" y="1134"/>
                  </a:lnTo>
                  <a:close/>
                  <a:moveTo>
                    <a:pt x="372" y="1134"/>
                  </a:moveTo>
                  <a:lnTo>
                    <a:pt x="375" y="1134"/>
                  </a:lnTo>
                  <a:lnTo>
                    <a:pt x="370" y="1133"/>
                  </a:lnTo>
                  <a:lnTo>
                    <a:pt x="368" y="1131"/>
                  </a:lnTo>
                  <a:lnTo>
                    <a:pt x="361" y="1131"/>
                  </a:lnTo>
                  <a:lnTo>
                    <a:pt x="365" y="1133"/>
                  </a:lnTo>
                  <a:lnTo>
                    <a:pt x="365" y="1133"/>
                  </a:lnTo>
                  <a:lnTo>
                    <a:pt x="365" y="1134"/>
                  </a:lnTo>
                  <a:lnTo>
                    <a:pt x="366" y="1134"/>
                  </a:lnTo>
                  <a:lnTo>
                    <a:pt x="366" y="1134"/>
                  </a:lnTo>
                  <a:lnTo>
                    <a:pt x="368" y="1136"/>
                  </a:lnTo>
                  <a:lnTo>
                    <a:pt x="370" y="1138"/>
                  </a:lnTo>
                  <a:lnTo>
                    <a:pt x="372" y="1138"/>
                  </a:lnTo>
                  <a:lnTo>
                    <a:pt x="374" y="1136"/>
                  </a:lnTo>
                  <a:lnTo>
                    <a:pt x="372" y="1136"/>
                  </a:lnTo>
                  <a:lnTo>
                    <a:pt x="370" y="1136"/>
                  </a:lnTo>
                  <a:lnTo>
                    <a:pt x="370" y="1134"/>
                  </a:lnTo>
                  <a:lnTo>
                    <a:pt x="372" y="1134"/>
                  </a:lnTo>
                  <a:lnTo>
                    <a:pt x="372" y="1134"/>
                  </a:lnTo>
                  <a:close/>
                  <a:moveTo>
                    <a:pt x="377" y="1125"/>
                  </a:moveTo>
                  <a:lnTo>
                    <a:pt x="377" y="1127"/>
                  </a:lnTo>
                  <a:lnTo>
                    <a:pt x="379" y="1127"/>
                  </a:lnTo>
                  <a:lnTo>
                    <a:pt x="379" y="1127"/>
                  </a:lnTo>
                  <a:lnTo>
                    <a:pt x="379" y="1129"/>
                  </a:lnTo>
                  <a:lnTo>
                    <a:pt x="379" y="1129"/>
                  </a:lnTo>
                  <a:lnTo>
                    <a:pt x="379" y="1129"/>
                  </a:lnTo>
                  <a:lnTo>
                    <a:pt x="379" y="1131"/>
                  </a:lnTo>
                  <a:lnTo>
                    <a:pt x="377" y="1131"/>
                  </a:lnTo>
                  <a:lnTo>
                    <a:pt x="379" y="1131"/>
                  </a:lnTo>
                  <a:lnTo>
                    <a:pt x="379" y="1131"/>
                  </a:lnTo>
                  <a:lnTo>
                    <a:pt x="381" y="1131"/>
                  </a:lnTo>
                  <a:lnTo>
                    <a:pt x="381" y="1129"/>
                  </a:lnTo>
                  <a:lnTo>
                    <a:pt x="383" y="1127"/>
                  </a:lnTo>
                  <a:lnTo>
                    <a:pt x="381" y="1127"/>
                  </a:lnTo>
                  <a:lnTo>
                    <a:pt x="381" y="1125"/>
                  </a:lnTo>
                  <a:lnTo>
                    <a:pt x="381" y="1125"/>
                  </a:lnTo>
                  <a:lnTo>
                    <a:pt x="381" y="1125"/>
                  </a:lnTo>
                  <a:lnTo>
                    <a:pt x="381" y="1125"/>
                  </a:lnTo>
                  <a:lnTo>
                    <a:pt x="379" y="1124"/>
                  </a:lnTo>
                  <a:lnTo>
                    <a:pt x="379" y="1124"/>
                  </a:lnTo>
                  <a:lnTo>
                    <a:pt x="379" y="1124"/>
                  </a:lnTo>
                  <a:lnTo>
                    <a:pt x="379" y="1124"/>
                  </a:lnTo>
                  <a:lnTo>
                    <a:pt x="377" y="1124"/>
                  </a:lnTo>
                  <a:lnTo>
                    <a:pt x="377" y="1124"/>
                  </a:lnTo>
                  <a:lnTo>
                    <a:pt x="377" y="1125"/>
                  </a:lnTo>
                  <a:lnTo>
                    <a:pt x="377" y="1125"/>
                  </a:lnTo>
                  <a:close/>
                  <a:moveTo>
                    <a:pt x="355" y="1125"/>
                  </a:moveTo>
                  <a:lnTo>
                    <a:pt x="357" y="1125"/>
                  </a:lnTo>
                  <a:lnTo>
                    <a:pt x="355" y="1124"/>
                  </a:lnTo>
                  <a:lnTo>
                    <a:pt x="350" y="1122"/>
                  </a:lnTo>
                  <a:lnTo>
                    <a:pt x="350" y="1124"/>
                  </a:lnTo>
                  <a:lnTo>
                    <a:pt x="350" y="1124"/>
                  </a:lnTo>
                  <a:lnTo>
                    <a:pt x="350" y="1124"/>
                  </a:lnTo>
                  <a:lnTo>
                    <a:pt x="350" y="1125"/>
                  </a:lnTo>
                  <a:lnTo>
                    <a:pt x="350" y="1125"/>
                  </a:lnTo>
                  <a:lnTo>
                    <a:pt x="352" y="1127"/>
                  </a:lnTo>
                  <a:lnTo>
                    <a:pt x="352" y="1127"/>
                  </a:lnTo>
                  <a:lnTo>
                    <a:pt x="354" y="1127"/>
                  </a:lnTo>
                  <a:lnTo>
                    <a:pt x="355" y="1127"/>
                  </a:lnTo>
                  <a:lnTo>
                    <a:pt x="355" y="1125"/>
                  </a:lnTo>
                  <a:lnTo>
                    <a:pt x="355" y="1125"/>
                  </a:lnTo>
                  <a:lnTo>
                    <a:pt x="354" y="1125"/>
                  </a:lnTo>
                  <a:lnTo>
                    <a:pt x="355" y="1125"/>
                  </a:lnTo>
                  <a:lnTo>
                    <a:pt x="355" y="1125"/>
                  </a:lnTo>
                  <a:close/>
                  <a:moveTo>
                    <a:pt x="386" y="1122"/>
                  </a:moveTo>
                  <a:lnTo>
                    <a:pt x="386" y="1122"/>
                  </a:lnTo>
                  <a:lnTo>
                    <a:pt x="388" y="1124"/>
                  </a:lnTo>
                  <a:lnTo>
                    <a:pt x="388" y="1122"/>
                  </a:lnTo>
                  <a:lnTo>
                    <a:pt x="388" y="1122"/>
                  </a:lnTo>
                  <a:lnTo>
                    <a:pt x="388" y="1122"/>
                  </a:lnTo>
                  <a:lnTo>
                    <a:pt x="388" y="1122"/>
                  </a:lnTo>
                  <a:lnTo>
                    <a:pt x="386" y="1122"/>
                  </a:lnTo>
                  <a:close/>
                  <a:moveTo>
                    <a:pt x="390" y="1122"/>
                  </a:moveTo>
                  <a:lnTo>
                    <a:pt x="390" y="1122"/>
                  </a:lnTo>
                  <a:lnTo>
                    <a:pt x="390" y="1124"/>
                  </a:lnTo>
                  <a:lnTo>
                    <a:pt x="392" y="1124"/>
                  </a:lnTo>
                  <a:lnTo>
                    <a:pt x="392" y="1124"/>
                  </a:lnTo>
                  <a:lnTo>
                    <a:pt x="392" y="1122"/>
                  </a:lnTo>
                  <a:lnTo>
                    <a:pt x="392" y="1122"/>
                  </a:lnTo>
                  <a:lnTo>
                    <a:pt x="392" y="1122"/>
                  </a:lnTo>
                  <a:lnTo>
                    <a:pt x="390" y="1120"/>
                  </a:lnTo>
                  <a:lnTo>
                    <a:pt x="390" y="1120"/>
                  </a:lnTo>
                  <a:lnTo>
                    <a:pt x="390" y="1122"/>
                  </a:lnTo>
                  <a:lnTo>
                    <a:pt x="390" y="1122"/>
                  </a:lnTo>
                  <a:lnTo>
                    <a:pt x="390" y="1122"/>
                  </a:lnTo>
                  <a:close/>
                  <a:moveTo>
                    <a:pt x="390" y="1120"/>
                  </a:moveTo>
                  <a:lnTo>
                    <a:pt x="390" y="1120"/>
                  </a:lnTo>
                  <a:lnTo>
                    <a:pt x="390" y="1118"/>
                  </a:lnTo>
                  <a:lnTo>
                    <a:pt x="390" y="1118"/>
                  </a:lnTo>
                  <a:lnTo>
                    <a:pt x="390" y="1116"/>
                  </a:lnTo>
                  <a:lnTo>
                    <a:pt x="390" y="1116"/>
                  </a:lnTo>
                  <a:lnTo>
                    <a:pt x="390" y="1116"/>
                  </a:lnTo>
                  <a:lnTo>
                    <a:pt x="388" y="1118"/>
                  </a:lnTo>
                  <a:lnTo>
                    <a:pt x="388" y="1118"/>
                  </a:lnTo>
                  <a:lnTo>
                    <a:pt x="388" y="1120"/>
                  </a:lnTo>
                  <a:lnTo>
                    <a:pt x="390" y="1120"/>
                  </a:lnTo>
                  <a:close/>
                  <a:moveTo>
                    <a:pt x="375" y="1113"/>
                  </a:moveTo>
                  <a:lnTo>
                    <a:pt x="375" y="1113"/>
                  </a:lnTo>
                  <a:lnTo>
                    <a:pt x="375" y="1111"/>
                  </a:lnTo>
                  <a:lnTo>
                    <a:pt x="377" y="1111"/>
                  </a:lnTo>
                  <a:lnTo>
                    <a:pt x="377" y="1111"/>
                  </a:lnTo>
                  <a:lnTo>
                    <a:pt x="379" y="1109"/>
                  </a:lnTo>
                  <a:lnTo>
                    <a:pt x="381" y="1107"/>
                  </a:lnTo>
                  <a:lnTo>
                    <a:pt x="381" y="1107"/>
                  </a:lnTo>
                  <a:lnTo>
                    <a:pt x="379" y="1107"/>
                  </a:lnTo>
                  <a:lnTo>
                    <a:pt x="379" y="1107"/>
                  </a:lnTo>
                  <a:lnTo>
                    <a:pt x="379" y="1107"/>
                  </a:lnTo>
                  <a:lnTo>
                    <a:pt x="379" y="1107"/>
                  </a:lnTo>
                  <a:lnTo>
                    <a:pt x="379" y="1107"/>
                  </a:lnTo>
                  <a:lnTo>
                    <a:pt x="377" y="1107"/>
                  </a:lnTo>
                  <a:lnTo>
                    <a:pt x="375" y="1107"/>
                  </a:lnTo>
                  <a:lnTo>
                    <a:pt x="375" y="1107"/>
                  </a:lnTo>
                  <a:lnTo>
                    <a:pt x="374" y="1107"/>
                  </a:lnTo>
                  <a:lnTo>
                    <a:pt x="374" y="1109"/>
                  </a:lnTo>
                  <a:lnTo>
                    <a:pt x="372" y="1109"/>
                  </a:lnTo>
                  <a:lnTo>
                    <a:pt x="372" y="1111"/>
                  </a:lnTo>
                  <a:lnTo>
                    <a:pt x="372" y="1111"/>
                  </a:lnTo>
                  <a:lnTo>
                    <a:pt x="372" y="1111"/>
                  </a:lnTo>
                  <a:lnTo>
                    <a:pt x="372" y="1111"/>
                  </a:lnTo>
                  <a:lnTo>
                    <a:pt x="372" y="1111"/>
                  </a:lnTo>
                  <a:lnTo>
                    <a:pt x="372" y="1113"/>
                  </a:lnTo>
                  <a:lnTo>
                    <a:pt x="374" y="1113"/>
                  </a:lnTo>
                  <a:lnTo>
                    <a:pt x="374" y="1113"/>
                  </a:lnTo>
                  <a:lnTo>
                    <a:pt x="374" y="1113"/>
                  </a:lnTo>
                  <a:lnTo>
                    <a:pt x="374" y="1113"/>
                  </a:lnTo>
                  <a:lnTo>
                    <a:pt x="372" y="1113"/>
                  </a:lnTo>
                  <a:lnTo>
                    <a:pt x="372" y="1113"/>
                  </a:lnTo>
                  <a:lnTo>
                    <a:pt x="372" y="1113"/>
                  </a:lnTo>
                  <a:lnTo>
                    <a:pt x="372" y="1113"/>
                  </a:lnTo>
                  <a:lnTo>
                    <a:pt x="372" y="1113"/>
                  </a:lnTo>
                  <a:lnTo>
                    <a:pt x="372" y="1113"/>
                  </a:lnTo>
                  <a:lnTo>
                    <a:pt x="372" y="1113"/>
                  </a:lnTo>
                  <a:lnTo>
                    <a:pt x="370" y="1113"/>
                  </a:lnTo>
                  <a:lnTo>
                    <a:pt x="370" y="1113"/>
                  </a:lnTo>
                  <a:lnTo>
                    <a:pt x="370" y="1113"/>
                  </a:lnTo>
                  <a:lnTo>
                    <a:pt x="370" y="1113"/>
                  </a:lnTo>
                  <a:lnTo>
                    <a:pt x="370" y="1114"/>
                  </a:lnTo>
                  <a:lnTo>
                    <a:pt x="370" y="1114"/>
                  </a:lnTo>
                  <a:lnTo>
                    <a:pt x="370" y="1116"/>
                  </a:lnTo>
                  <a:lnTo>
                    <a:pt x="372" y="1116"/>
                  </a:lnTo>
                  <a:lnTo>
                    <a:pt x="372" y="1118"/>
                  </a:lnTo>
                  <a:lnTo>
                    <a:pt x="372" y="1118"/>
                  </a:lnTo>
                  <a:lnTo>
                    <a:pt x="372" y="1120"/>
                  </a:lnTo>
                  <a:lnTo>
                    <a:pt x="372" y="1120"/>
                  </a:lnTo>
                  <a:lnTo>
                    <a:pt x="372" y="1118"/>
                  </a:lnTo>
                  <a:lnTo>
                    <a:pt x="374" y="1118"/>
                  </a:lnTo>
                  <a:lnTo>
                    <a:pt x="374" y="1118"/>
                  </a:lnTo>
                  <a:lnTo>
                    <a:pt x="374" y="1114"/>
                  </a:lnTo>
                  <a:lnTo>
                    <a:pt x="374" y="1116"/>
                  </a:lnTo>
                  <a:lnTo>
                    <a:pt x="374" y="1116"/>
                  </a:lnTo>
                  <a:lnTo>
                    <a:pt x="375" y="1116"/>
                  </a:lnTo>
                  <a:lnTo>
                    <a:pt x="375" y="1114"/>
                  </a:lnTo>
                  <a:lnTo>
                    <a:pt x="374" y="1113"/>
                  </a:lnTo>
                  <a:lnTo>
                    <a:pt x="374" y="1113"/>
                  </a:lnTo>
                  <a:lnTo>
                    <a:pt x="375" y="1113"/>
                  </a:lnTo>
                  <a:lnTo>
                    <a:pt x="375" y="1113"/>
                  </a:lnTo>
                  <a:lnTo>
                    <a:pt x="375" y="1113"/>
                  </a:lnTo>
                  <a:lnTo>
                    <a:pt x="375" y="1113"/>
                  </a:lnTo>
                  <a:close/>
                  <a:moveTo>
                    <a:pt x="393" y="1100"/>
                  </a:moveTo>
                  <a:lnTo>
                    <a:pt x="393" y="1100"/>
                  </a:lnTo>
                  <a:lnTo>
                    <a:pt x="393" y="1100"/>
                  </a:lnTo>
                  <a:lnTo>
                    <a:pt x="393" y="1100"/>
                  </a:lnTo>
                  <a:lnTo>
                    <a:pt x="393" y="1098"/>
                  </a:lnTo>
                  <a:lnTo>
                    <a:pt x="393" y="1098"/>
                  </a:lnTo>
                  <a:lnTo>
                    <a:pt x="393" y="1098"/>
                  </a:lnTo>
                  <a:lnTo>
                    <a:pt x="393" y="1096"/>
                  </a:lnTo>
                  <a:lnTo>
                    <a:pt x="392" y="1096"/>
                  </a:lnTo>
                  <a:lnTo>
                    <a:pt x="392" y="1096"/>
                  </a:lnTo>
                  <a:lnTo>
                    <a:pt x="388" y="1102"/>
                  </a:lnTo>
                  <a:lnTo>
                    <a:pt x="388" y="1102"/>
                  </a:lnTo>
                  <a:lnTo>
                    <a:pt x="388" y="1104"/>
                  </a:lnTo>
                  <a:lnTo>
                    <a:pt x="388" y="1104"/>
                  </a:lnTo>
                  <a:lnTo>
                    <a:pt x="390" y="1104"/>
                  </a:lnTo>
                  <a:lnTo>
                    <a:pt x="390" y="1104"/>
                  </a:lnTo>
                  <a:lnTo>
                    <a:pt x="390" y="1102"/>
                  </a:lnTo>
                  <a:lnTo>
                    <a:pt x="392" y="1100"/>
                  </a:lnTo>
                  <a:lnTo>
                    <a:pt x="392" y="1100"/>
                  </a:lnTo>
                  <a:lnTo>
                    <a:pt x="392" y="1100"/>
                  </a:lnTo>
                  <a:lnTo>
                    <a:pt x="393" y="1100"/>
                  </a:lnTo>
                  <a:close/>
                  <a:moveTo>
                    <a:pt x="386" y="1100"/>
                  </a:moveTo>
                  <a:lnTo>
                    <a:pt x="384" y="1102"/>
                  </a:lnTo>
                  <a:lnTo>
                    <a:pt x="384" y="1102"/>
                  </a:lnTo>
                  <a:lnTo>
                    <a:pt x="383" y="1104"/>
                  </a:lnTo>
                  <a:lnTo>
                    <a:pt x="383" y="1104"/>
                  </a:lnTo>
                  <a:lnTo>
                    <a:pt x="383" y="1104"/>
                  </a:lnTo>
                  <a:lnTo>
                    <a:pt x="383" y="1104"/>
                  </a:lnTo>
                  <a:lnTo>
                    <a:pt x="384" y="1104"/>
                  </a:lnTo>
                  <a:lnTo>
                    <a:pt x="384" y="1104"/>
                  </a:lnTo>
                  <a:lnTo>
                    <a:pt x="384" y="1104"/>
                  </a:lnTo>
                  <a:lnTo>
                    <a:pt x="386" y="1104"/>
                  </a:lnTo>
                  <a:lnTo>
                    <a:pt x="386" y="1104"/>
                  </a:lnTo>
                  <a:lnTo>
                    <a:pt x="386" y="1102"/>
                  </a:lnTo>
                  <a:lnTo>
                    <a:pt x="386" y="1102"/>
                  </a:lnTo>
                  <a:lnTo>
                    <a:pt x="388" y="1102"/>
                  </a:lnTo>
                  <a:lnTo>
                    <a:pt x="388" y="1102"/>
                  </a:lnTo>
                  <a:lnTo>
                    <a:pt x="390" y="1098"/>
                  </a:lnTo>
                  <a:lnTo>
                    <a:pt x="390" y="1096"/>
                  </a:lnTo>
                  <a:lnTo>
                    <a:pt x="390" y="1096"/>
                  </a:lnTo>
                  <a:lnTo>
                    <a:pt x="388" y="1098"/>
                  </a:lnTo>
                  <a:lnTo>
                    <a:pt x="386" y="1100"/>
                  </a:lnTo>
                  <a:close/>
                  <a:moveTo>
                    <a:pt x="393" y="1078"/>
                  </a:moveTo>
                  <a:lnTo>
                    <a:pt x="393" y="1078"/>
                  </a:lnTo>
                  <a:lnTo>
                    <a:pt x="393" y="1077"/>
                  </a:lnTo>
                  <a:lnTo>
                    <a:pt x="393" y="1077"/>
                  </a:lnTo>
                  <a:lnTo>
                    <a:pt x="393" y="1075"/>
                  </a:lnTo>
                  <a:lnTo>
                    <a:pt x="392" y="1075"/>
                  </a:lnTo>
                  <a:lnTo>
                    <a:pt x="392" y="1077"/>
                  </a:lnTo>
                  <a:lnTo>
                    <a:pt x="392" y="1077"/>
                  </a:lnTo>
                  <a:lnTo>
                    <a:pt x="390" y="1080"/>
                  </a:lnTo>
                  <a:lnTo>
                    <a:pt x="388" y="1082"/>
                  </a:lnTo>
                  <a:lnTo>
                    <a:pt x="390" y="1084"/>
                  </a:lnTo>
                  <a:lnTo>
                    <a:pt x="390" y="1084"/>
                  </a:lnTo>
                  <a:lnTo>
                    <a:pt x="390" y="1084"/>
                  </a:lnTo>
                  <a:lnTo>
                    <a:pt x="392" y="1082"/>
                  </a:lnTo>
                  <a:lnTo>
                    <a:pt x="392" y="1082"/>
                  </a:lnTo>
                  <a:lnTo>
                    <a:pt x="392" y="1082"/>
                  </a:lnTo>
                  <a:lnTo>
                    <a:pt x="392" y="1084"/>
                  </a:lnTo>
                  <a:lnTo>
                    <a:pt x="393" y="1084"/>
                  </a:lnTo>
                  <a:lnTo>
                    <a:pt x="393" y="1082"/>
                  </a:lnTo>
                  <a:lnTo>
                    <a:pt x="393" y="1082"/>
                  </a:lnTo>
                  <a:lnTo>
                    <a:pt x="395" y="1082"/>
                  </a:lnTo>
                  <a:lnTo>
                    <a:pt x="395" y="1082"/>
                  </a:lnTo>
                  <a:lnTo>
                    <a:pt x="395" y="1080"/>
                  </a:lnTo>
                  <a:lnTo>
                    <a:pt x="393" y="1080"/>
                  </a:lnTo>
                  <a:lnTo>
                    <a:pt x="393" y="1080"/>
                  </a:lnTo>
                  <a:lnTo>
                    <a:pt x="393" y="1080"/>
                  </a:lnTo>
                  <a:lnTo>
                    <a:pt x="393" y="1080"/>
                  </a:lnTo>
                  <a:lnTo>
                    <a:pt x="393" y="1078"/>
                  </a:lnTo>
                  <a:close/>
                  <a:moveTo>
                    <a:pt x="381" y="1042"/>
                  </a:moveTo>
                  <a:lnTo>
                    <a:pt x="381" y="1042"/>
                  </a:lnTo>
                  <a:lnTo>
                    <a:pt x="381" y="1042"/>
                  </a:lnTo>
                  <a:lnTo>
                    <a:pt x="381" y="1044"/>
                  </a:lnTo>
                  <a:lnTo>
                    <a:pt x="381" y="1044"/>
                  </a:lnTo>
                  <a:lnTo>
                    <a:pt x="381" y="1046"/>
                  </a:lnTo>
                  <a:lnTo>
                    <a:pt x="381" y="1046"/>
                  </a:lnTo>
                  <a:lnTo>
                    <a:pt x="381" y="1046"/>
                  </a:lnTo>
                  <a:lnTo>
                    <a:pt x="383" y="1048"/>
                  </a:lnTo>
                  <a:lnTo>
                    <a:pt x="383" y="1046"/>
                  </a:lnTo>
                  <a:lnTo>
                    <a:pt x="384" y="1046"/>
                  </a:lnTo>
                  <a:lnTo>
                    <a:pt x="384" y="1046"/>
                  </a:lnTo>
                  <a:lnTo>
                    <a:pt x="384" y="1044"/>
                  </a:lnTo>
                  <a:lnTo>
                    <a:pt x="384" y="1044"/>
                  </a:lnTo>
                  <a:lnTo>
                    <a:pt x="384" y="1044"/>
                  </a:lnTo>
                  <a:lnTo>
                    <a:pt x="384" y="1044"/>
                  </a:lnTo>
                  <a:lnTo>
                    <a:pt x="384" y="1044"/>
                  </a:lnTo>
                  <a:lnTo>
                    <a:pt x="384" y="1044"/>
                  </a:lnTo>
                  <a:lnTo>
                    <a:pt x="384" y="1044"/>
                  </a:lnTo>
                  <a:lnTo>
                    <a:pt x="384" y="1042"/>
                  </a:lnTo>
                  <a:lnTo>
                    <a:pt x="383" y="1042"/>
                  </a:lnTo>
                  <a:lnTo>
                    <a:pt x="383" y="1042"/>
                  </a:lnTo>
                  <a:lnTo>
                    <a:pt x="383" y="1042"/>
                  </a:lnTo>
                  <a:lnTo>
                    <a:pt x="383" y="1040"/>
                  </a:lnTo>
                  <a:lnTo>
                    <a:pt x="381" y="1040"/>
                  </a:lnTo>
                  <a:lnTo>
                    <a:pt x="381" y="1040"/>
                  </a:lnTo>
                  <a:lnTo>
                    <a:pt x="381" y="1040"/>
                  </a:lnTo>
                  <a:lnTo>
                    <a:pt x="381" y="1042"/>
                  </a:lnTo>
                  <a:lnTo>
                    <a:pt x="381" y="1042"/>
                  </a:lnTo>
                  <a:lnTo>
                    <a:pt x="381" y="1042"/>
                  </a:lnTo>
                  <a:close/>
                  <a:moveTo>
                    <a:pt x="365" y="1022"/>
                  </a:moveTo>
                  <a:lnTo>
                    <a:pt x="365" y="1024"/>
                  </a:lnTo>
                  <a:lnTo>
                    <a:pt x="368" y="1026"/>
                  </a:lnTo>
                  <a:lnTo>
                    <a:pt x="370" y="1030"/>
                  </a:lnTo>
                  <a:lnTo>
                    <a:pt x="372" y="1031"/>
                  </a:lnTo>
                  <a:lnTo>
                    <a:pt x="374" y="1031"/>
                  </a:lnTo>
                  <a:lnTo>
                    <a:pt x="374" y="1030"/>
                  </a:lnTo>
                  <a:lnTo>
                    <a:pt x="374" y="1030"/>
                  </a:lnTo>
                  <a:lnTo>
                    <a:pt x="372" y="1030"/>
                  </a:lnTo>
                  <a:lnTo>
                    <a:pt x="372" y="1030"/>
                  </a:lnTo>
                  <a:lnTo>
                    <a:pt x="372" y="1030"/>
                  </a:lnTo>
                  <a:lnTo>
                    <a:pt x="372" y="1028"/>
                  </a:lnTo>
                  <a:lnTo>
                    <a:pt x="372" y="1026"/>
                  </a:lnTo>
                  <a:lnTo>
                    <a:pt x="372" y="1024"/>
                  </a:lnTo>
                  <a:lnTo>
                    <a:pt x="370" y="1026"/>
                  </a:lnTo>
                  <a:lnTo>
                    <a:pt x="370" y="1026"/>
                  </a:lnTo>
                  <a:lnTo>
                    <a:pt x="368" y="1024"/>
                  </a:lnTo>
                  <a:lnTo>
                    <a:pt x="368" y="1024"/>
                  </a:lnTo>
                  <a:lnTo>
                    <a:pt x="366" y="1019"/>
                  </a:lnTo>
                  <a:lnTo>
                    <a:pt x="365" y="1017"/>
                  </a:lnTo>
                  <a:lnTo>
                    <a:pt x="366" y="1017"/>
                  </a:lnTo>
                  <a:lnTo>
                    <a:pt x="368" y="1019"/>
                  </a:lnTo>
                  <a:lnTo>
                    <a:pt x="368" y="1019"/>
                  </a:lnTo>
                  <a:lnTo>
                    <a:pt x="368" y="1017"/>
                  </a:lnTo>
                  <a:lnTo>
                    <a:pt x="366" y="1015"/>
                  </a:lnTo>
                  <a:lnTo>
                    <a:pt x="366" y="1015"/>
                  </a:lnTo>
                  <a:lnTo>
                    <a:pt x="366" y="1015"/>
                  </a:lnTo>
                  <a:lnTo>
                    <a:pt x="366" y="1013"/>
                  </a:lnTo>
                  <a:lnTo>
                    <a:pt x="366" y="1013"/>
                  </a:lnTo>
                  <a:lnTo>
                    <a:pt x="366" y="1013"/>
                  </a:lnTo>
                  <a:lnTo>
                    <a:pt x="366" y="1012"/>
                  </a:lnTo>
                  <a:lnTo>
                    <a:pt x="365" y="1012"/>
                  </a:lnTo>
                  <a:lnTo>
                    <a:pt x="365" y="1012"/>
                  </a:lnTo>
                  <a:lnTo>
                    <a:pt x="365" y="1010"/>
                  </a:lnTo>
                  <a:lnTo>
                    <a:pt x="363" y="1012"/>
                  </a:lnTo>
                  <a:lnTo>
                    <a:pt x="363" y="1012"/>
                  </a:lnTo>
                  <a:lnTo>
                    <a:pt x="365" y="1013"/>
                  </a:lnTo>
                  <a:lnTo>
                    <a:pt x="365" y="1015"/>
                  </a:lnTo>
                  <a:lnTo>
                    <a:pt x="363" y="1021"/>
                  </a:lnTo>
                  <a:lnTo>
                    <a:pt x="365" y="1022"/>
                  </a:lnTo>
                  <a:close/>
                  <a:moveTo>
                    <a:pt x="350" y="779"/>
                  </a:moveTo>
                  <a:lnTo>
                    <a:pt x="352" y="780"/>
                  </a:lnTo>
                  <a:lnTo>
                    <a:pt x="352" y="779"/>
                  </a:lnTo>
                  <a:lnTo>
                    <a:pt x="352" y="779"/>
                  </a:lnTo>
                  <a:lnTo>
                    <a:pt x="352" y="777"/>
                  </a:lnTo>
                  <a:lnTo>
                    <a:pt x="352" y="777"/>
                  </a:lnTo>
                  <a:lnTo>
                    <a:pt x="352" y="775"/>
                  </a:lnTo>
                  <a:lnTo>
                    <a:pt x="352" y="775"/>
                  </a:lnTo>
                  <a:lnTo>
                    <a:pt x="350" y="775"/>
                  </a:lnTo>
                  <a:lnTo>
                    <a:pt x="350" y="775"/>
                  </a:lnTo>
                  <a:lnTo>
                    <a:pt x="348" y="775"/>
                  </a:lnTo>
                  <a:lnTo>
                    <a:pt x="348" y="775"/>
                  </a:lnTo>
                  <a:lnTo>
                    <a:pt x="348" y="773"/>
                  </a:lnTo>
                  <a:lnTo>
                    <a:pt x="346" y="775"/>
                  </a:lnTo>
                  <a:lnTo>
                    <a:pt x="346" y="775"/>
                  </a:lnTo>
                  <a:lnTo>
                    <a:pt x="346" y="777"/>
                  </a:lnTo>
                  <a:lnTo>
                    <a:pt x="345" y="779"/>
                  </a:lnTo>
                  <a:lnTo>
                    <a:pt x="345" y="780"/>
                  </a:lnTo>
                  <a:lnTo>
                    <a:pt x="346" y="782"/>
                  </a:lnTo>
                  <a:lnTo>
                    <a:pt x="348" y="782"/>
                  </a:lnTo>
                  <a:lnTo>
                    <a:pt x="350" y="782"/>
                  </a:lnTo>
                  <a:lnTo>
                    <a:pt x="350" y="780"/>
                  </a:lnTo>
                  <a:lnTo>
                    <a:pt x="350" y="780"/>
                  </a:lnTo>
                  <a:lnTo>
                    <a:pt x="350" y="780"/>
                  </a:lnTo>
                  <a:lnTo>
                    <a:pt x="350" y="779"/>
                  </a:lnTo>
                  <a:lnTo>
                    <a:pt x="350" y="779"/>
                  </a:lnTo>
                  <a:close/>
                  <a:moveTo>
                    <a:pt x="487" y="672"/>
                  </a:moveTo>
                  <a:lnTo>
                    <a:pt x="486" y="674"/>
                  </a:lnTo>
                  <a:lnTo>
                    <a:pt x="486" y="676"/>
                  </a:lnTo>
                  <a:lnTo>
                    <a:pt x="487" y="676"/>
                  </a:lnTo>
                  <a:lnTo>
                    <a:pt x="487" y="676"/>
                  </a:lnTo>
                  <a:lnTo>
                    <a:pt x="487" y="674"/>
                  </a:lnTo>
                  <a:lnTo>
                    <a:pt x="487" y="672"/>
                  </a:lnTo>
                  <a:lnTo>
                    <a:pt x="487" y="672"/>
                  </a:lnTo>
                  <a:lnTo>
                    <a:pt x="487" y="672"/>
                  </a:lnTo>
                  <a:close/>
                  <a:moveTo>
                    <a:pt x="491" y="661"/>
                  </a:moveTo>
                  <a:lnTo>
                    <a:pt x="489" y="663"/>
                  </a:lnTo>
                  <a:lnTo>
                    <a:pt x="489" y="663"/>
                  </a:lnTo>
                  <a:lnTo>
                    <a:pt x="489" y="663"/>
                  </a:lnTo>
                  <a:lnTo>
                    <a:pt x="489" y="665"/>
                  </a:lnTo>
                  <a:lnTo>
                    <a:pt x="487" y="670"/>
                  </a:lnTo>
                  <a:lnTo>
                    <a:pt x="487" y="672"/>
                  </a:lnTo>
                  <a:lnTo>
                    <a:pt x="489" y="670"/>
                  </a:lnTo>
                  <a:lnTo>
                    <a:pt x="489" y="670"/>
                  </a:lnTo>
                  <a:lnTo>
                    <a:pt x="489" y="670"/>
                  </a:lnTo>
                  <a:lnTo>
                    <a:pt x="489" y="670"/>
                  </a:lnTo>
                  <a:lnTo>
                    <a:pt x="491" y="668"/>
                  </a:lnTo>
                  <a:lnTo>
                    <a:pt x="491" y="668"/>
                  </a:lnTo>
                  <a:lnTo>
                    <a:pt x="491" y="667"/>
                  </a:lnTo>
                  <a:lnTo>
                    <a:pt x="491" y="665"/>
                  </a:lnTo>
                  <a:lnTo>
                    <a:pt x="491" y="665"/>
                  </a:lnTo>
                  <a:lnTo>
                    <a:pt x="491" y="663"/>
                  </a:lnTo>
                  <a:lnTo>
                    <a:pt x="491" y="663"/>
                  </a:lnTo>
                  <a:lnTo>
                    <a:pt x="491" y="663"/>
                  </a:lnTo>
                  <a:lnTo>
                    <a:pt x="491" y="661"/>
                  </a:lnTo>
                  <a:lnTo>
                    <a:pt x="491" y="661"/>
                  </a:lnTo>
                  <a:lnTo>
                    <a:pt x="493" y="661"/>
                  </a:lnTo>
                  <a:lnTo>
                    <a:pt x="493" y="661"/>
                  </a:lnTo>
                  <a:lnTo>
                    <a:pt x="491" y="661"/>
                  </a:lnTo>
                  <a:lnTo>
                    <a:pt x="491" y="661"/>
                  </a:lnTo>
                  <a:close/>
                  <a:moveTo>
                    <a:pt x="491" y="661"/>
                  </a:moveTo>
                  <a:lnTo>
                    <a:pt x="489" y="659"/>
                  </a:lnTo>
                  <a:lnTo>
                    <a:pt x="487" y="657"/>
                  </a:lnTo>
                  <a:lnTo>
                    <a:pt x="487" y="661"/>
                  </a:lnTo>
                  <a:lnTo>
                    <a:pt x="487" y="661"/>
                  </a:lnTo>
                  <a:lnTo>
                    <a:pt x="487" y="661"/>
                  </a:lnTo>
                  <a:lnTo>
                    <a:pt x="487" y="661"/>
                  </a:lnTo>
                  <a:lnTo>
                    <a:pt x="489" y="663"/>
                  </a:lnTo>
                  <a:lnTo>
                    <a:pt x="487" y="663"/>
                  </a:lnTo>
                  <a:lnTo>
                    <a:pt x="491" y="661"/>
                  </a:lnTo>
                  <a:close/>
                  <a:moveTo>
                    <a:pt x="565" y="464"/>
                  </a:moveTo>
                  <a:lnTo>
                    <a:pt x="563" y="464"/>
                  </a:lnTo>
                  <a:lnTo>
                    <a:pt x="561" y="466"/>
                  </a:lnTo>
                  <a:lnTo>
                    <a:pt x="561" y="466"/>
                  </a:lnTo>
                  <a:lnTo>
                    <a:pt x="561" y="466"/>
                  </a:lnTo>
                  <a:lnTo>
                    <a:pt x="560" y="464"/>
                  </a:lnTo>
                  <a:lnTo>
                    <a:pt x="560" y="464"/>
                  </a:lnTo>
                  <a:lnTo>
                    <a:pt x="560" y="464"/>
                  </a:lnTo>
                  <a:lnTo>
                    <a:pt x="560" y="466"/>
                  </a:lnTo>
                  <a:lnTo>
                    <a:pt x="560" y="468"/>
                  </a:lnTo>
                  <a:lnTo>
                    <a:pt x="560" y="468"/>
                  </a:lnTo>
                  <a:lnTo>
                    <a:pt x="563" y="468"/>
                  </a:lnTo>
                  <a:lnTo>
                    <a:pt x="563" y="468"/>
                  </a:lnTo>
                  <a:lnTo>
                    <a:pt x="565" y="466"/>
                  </a:lnTo>
                  <a:lnTo>
                    <a:pt x="565" y="466"/>
                  </a:lnTo>
                  <a:lnTo>
                    <a:pt x="565" y="464"/>
                  </a:lnTo>
                  <a:lnTo>
                    <a:pt x="565" y="464"/>
                  </a:lnTo>
                  <a:close/>
                  <a:moveTo>
                    <a:pt x="556" y="466"/>
                  </a:moveTo>
                  <a:lnTo>
                    <a:pt x="556" y="466"/>
                  </a:lnTo>
                  <a:lnTo>
                    <a:pt x="554" y="466"/>
                  </a:lnTo>
                  <a:lnTo>
                    <a:pt x="554" y="464"/>
                  </a:lnTo>
                  <a:lnTo>
                    <a:pt x="556" y="464"/>
                  </a:lnTo>
                  <a:lnTo>
                    <a:pt x="556" y="464"/>
                  </a:lnTo>
                  <a:lnTo>
                    <a:pt x="554" y="462"/>
                  </a:lnTo>
                  <a:lnTo>
                    <a:pt x="552" y="462"/>
                  </a:lnTo>
                  <a:lnTo>
                    <a:pt x="552" y="462"/>
                  </a:lnTo>
                  <a:lnTo>
                    <a:pt x="552" y="464"/>
                  </a:lnTo>
                  <a:lnTo>
                    <a:pt x="552" y="464"/>
                  </a:lnTo>
                  <a:lnTo>
                    <a:pt x="552" y="466"/>
                  </a:lnTo>
                  <a:lnTo>
                    <a:pt x="552" y="468"/>
                  </a:lnTo>
                  <a:lnTo>
                    <a:pt x="552" y="468"/>
                  </a:lnTo>
                  <a:lnTo>
                    <a:pt x="554" y="468"/>
                  </a:lnTo>
                  <a:lnTo>
                    <a:pt x="556" y="468"/>
                  </a:lnTo>
                  <a:lnTo>
                    <a:pt x="556" y="470"/>
                  </a:lnTo>
                  <a:lnTo>
                    <a:pt x="556" y="470"/>
                  </a:lnTo>
                  <a:lnTo>
                    <a:pt x="556" y="468"/>
                  </a:lnTo>
                  <a:lnTo>
                    <a:pt x="556" y="468"/>
                  </a:lnTo>
                  <a:lnTo>
                    <a:pt x="556" y="466"/>
                  </a:lnTo>
                  <a:close/>
                  <a:moveTo>
                    <a:pt x="574" y="455"/>
                  </a:moveTo>
                  <a:lnTo>
                    <a:pt x="574" y="455"/>
                  </a:lnTo>
                  <a:lnTo>
                    <a:pt x="574" y="455"/>
                  </a:lnTo>
                  <a:lnTo>
                    <a:pt x="572" y="455"/>
                  </a:lnTo>
                  <a:lnTo>
                    <a:pt x="572" y="455"/>
                  </a:lnTo>
                  <a:lnTo>
                    <a:pt x="572" y="457"/>
                  </a:lnTo>
                  <a:lnTo>
                    <a:pt x="574" y="457"/>
                  </a:lnTo>
                  <a:lnTo>
                    <a:pt x="574" y="459"/>
                  </a:lnTo>
                  <a:lnTo>
                    <a:pt x="576" y="457"/>
                  </a:lnTo>
                  <a:lnTo>
                    <a:pt x="576" y="457"/>
                  </a:lnTo>
                  <a:lnTo>
                    <a:pt x="576" y="457"/>
                  </a:lnTo>
                  <a:lnTo>
                    <a:pt x="574" y="455"/>
                  </a:lnTo>
                  <a:close/>
                  <a:moveTo>
                    <a:pt x="560" y="461"/>
                  </a:moveTo>
                  <a:lnTo>
                    <a:pt x="558" y="461"/>
                  </a:lnTo>
                  <a:lnTo>
                    <a:pt x="558" y="459"/>
                  </a:lnTo>
                  <a:lnTo>
                    <a:pt x="558" y="459"/>
                  </a:lnTo>
                  <a:lnTo>
                    <a:pt x="558" y="459"/>
                  </a:lnTo>
                  <a:lnTo>
                    <a:pt x="558" y="459"/>
                  </a:lnTo>
                  <a:lnTo>
                    <a:pt x="558" y="457"/>
                  </a:lnTo>
                  <a:lnTo>
                    <a:pt x="560" y="459"/>
                  </a:lnTo>
                  <a:lnTo>
                    <a:pt x="560" y="459"/>
                  </a:lnTo>
                  <a:lnTo>
                    <a:pt x="561" y="459"/>
                  </a:lnTo>
                  <a:lnTo>
                    <a:pt x="561" y="461"/>
                  </a:lnTo>
                  <a:lnTo>
                    <a:pt x="561" y="461"/>
                  </a:lnTo>
                  <a:lnTo>
                    <a:pt x="563" y="461"/>
                  </a:lnTo>
                  <a:lnTo>
                    <a:pt x="563" y="459"/>
                  </a:lnTo>
                  <a:lnTo>
                    <a:pt x="561" y="457"/>
                  </a:lnTo>
                  <a:lnTo>
                    <a:pt x="561" y="457"/>
                  </a:lnTo>
                  <a:lnTo>
                    <a:pt x="561" y="457"/>
                  </a:lnTo>
                  <a:lnTo>
                    <a:pt x="560" y="457"/>
                  </a:lnTo>
                  <a:lnTo>
                    <a:pt x="560" y="457"/>
                  </a:lnTo>
                  <a:lnTo>
                    <a:pt x="556" y="453"/>
                  </a:lnTo>
                  <a:lnTo>
                    <a:pt x="556" y="453"/>
                  </a:lnTo>
                  <a:lnTo>
                    <a:pt x="554" y="453"/>
                  </a:lnTo>
                  <a:lnTo>
                    <a:pt x="554" y="455"/>
                  </a:lnTo>
                  <a:lnTo>
                    <a:pt x="554" y="457"/>
                  </a:lnTo>
                  <a:lnTo>
                    <a:pt x="556" y="459"/>
                  </a:lnTo>
                  <a:lnTo>
                    <a:pt x="558" y="461"/>
                  </a:lnTo>
                  <a:lnTo>
                    <a:pt x="558" y="462"/>
                  </a:lnTo>
                  <a:lnTo>
                    <a:pt x="560" y="462"/>
                  </a:lnTo>
                  <a:lnTo>
                    <a:pt x="560" y="461"/>
                  </a:lnTo>
                  <a:close/>
                  <a:moveTo>
                    <a:pt x="574" y="450"/>
                  </a:moveTo>
                  <a:lnTo>
                    <a:pt x="572" y="450"/>
                  </a:lnTo>
                  <a:lnTo>
                    <a:pt x="572" y="450"/>
                  </a:lnTo>
                  <a:lnTo>
                    <a:pt x="572" y="450"/>
                  </a:lnTo>
                  <a:lnTo>
                    <a:pt x="570" y="450"/>
                  </a:lnTo>
                  <a:lnTo>
                    <a:pt x="570" y="452"/>
                  </a:lnTo>
                  <a:lnTo>
                    <a:pt x="572" y="452"/>
                  </a:lnTo>
                  <a:lnTo>
                    <a:pt x="572" y="453"/>
                  </a:lnTo>
                  <a:lnTo>
                    <a:pt x="574" y="453"/>
                  </a:lnTo>
                  <a:lnTo>
                    <a:pt x="574" y="452"/>
                  </a:lnTo>
                  <a:lnTo>
                    <a:pt x="574" y="452"/>
                  </a:lnTo>
                  <a:lnTo>
                    <a:pt x="574" y="453"/>
                  </a:lnTo>
                  <a:lnTo>
                    <a:pt x="574" y="453"/>
                  </a:lnTo>
                  <a:lnTo>
                    <a:pt x="576" y="452"/>
                  </a:lnTo>
                  <a:lnTo>
                    <a:pt x="576" y="452"/>
                  </a:lnTo>
                  <a:lnTo>
                    <a:pt x="576" y="450"/>
                  </a:lnTo>
                  <a:lnTo>
                    <a:pt x="576" y="450"/>
                  </a:lnTo>
                  <a:lnTo>
                    <a:pt x="576" y="450"/>
                  </a:lnTo>
                  <a:lnTo>
                    <a:pt x="576" y="448"/>
                  </a:lnTo>
                  <a:lnTo>
                    <a:pt x="576" y="448"/>
                  </a:lnTo>
                  <a:lnTo>
                    <a:pt x="574" y="450"/>
                  </a:lnTo>
                  <a:close/>
                  <a:moveTo>
                    <a:pt x="574" y="448"/>
                  </a:moveTo>
                  <a:lnTo>
                    <a:pt x="574" y="448"/>
                  </a:lnTo>
                  <a:lnTo>
                    <a:pt x="574" y="446"/>
                  </a:lnTo>
                  <a:lnTo>
                    <a:pt x="572" y="446"/>
                  </a:lnTo>
                  <a:lnTo>
                    <a:pt x="572" y="446"/>
                  </a:lnTo>
                  <a:lnTo>
                    <a:pt x="572" y="448"/>
                  </a:lnTo>
                  <a:lnTo>
                    <a:pt x="574" y="448"/>
                  </a:lnTo>
                  <a:lnTo>
                    <a:pt x="574" y="448"/>
                  </a:lnTo>
                  <a:close/>
                  <a:moveTo>
                    <a:pt x="592" y="434"/>
                  </a:moveTo>
                  <a:lnTo>
                    <a:pt x="592" y="432"/>
                  </a:lnTo>
                  <a:lnTo>
                    <a:pt x="592" y="432"/>
                  </a:lnTo>
                  <a:lnTo>
                    <a:pt x="592" y="432"/>
                  </a:lnTo>
                  <a:lnTo>
                    <a:pt x="592" y="432"/>
                  </a:lnTo>
                  <a:lnTo>
                    <a:pt x="590" y="430"/>
                  </a:lnTo>
                  <a:lnTo>
                    <a:pt x="590" y="430"/>
                  </a:lnTo>
                  <a:lnTo>
                    <a:pt x="588" y="430"/>
                  </a:lnTo>
                  <a:lnTo>
                    <a:pt x="588" y="432"/>
                  </a:lnTo>
                  <a:lnTo>
                    <a:pt x="590" y="435"/>
                  </a:lnTo>
                  <a:lnTo>
                    <a:pt x="590" y="437"/>
                  </a:lnTo>
                  <a:lnTo>
                    <a:pt x="592" y="439"/>
                  </a:lnTo>
                  <a:lnTo>
                    <a:pt x="594" y="439"/>
                  </a:lnTo>
                  <a:lnTo>
                    <a:pt x="592" y="437"/>
                  </a:lnTo>
                  <a:lnTo>
                    <a:pt x="592" y="437"/>
                  </a:lnTo>
                  <a:lnTo>
                    <a:pt x="592" y="435"/>
                  </a:lnTo>
                  <a:lnTo>
                    <a:pt x="594" y="435"/>
                  </a:lnTo>
                  <a:lnTo>
                    <a:pt x="594" y="435"/>
                  </a:lnTo>
                  <a:lnTo>
                    <a:pt x="594" y="435"/>
                  </a:lnTo>
                  <a:lnTo>
                    <a:pt x="594" y="434"/>
                  </a:lnTo>
                  <a:lnTo>
                    <a:pt x="592" y="434"/>
                  </a:lnTo>
                  <a:close/>
                  <a:moveTo>
                    <a:pt x="635" y="428"/>
                  </a:moveTo>
                  <a:lnTo>
                    <a:pt x="634" y="428"/>
                  </a:lnTo>
                  <a:lnTo>
                    <a:pt x="634" y="430"/>
                  </a:lnTo>
                  <a:lnTo>
                    <a:pt x="634" y="430"/>
                  </a:lnTo>
                  <a:lnTo>
                    <a:pt x="634" y="430"/>
                  </a:lnTo>
                  <a:lnTo>
                    <a:pt x="634" y="430"/>
                  </a:lnTo>
                  <a:lnTo>
                    <a:pt x="634" y="430"/>
                  </a:lnTo>
                  <a:lnTo>
                    <a:pt x="632" y="430"/>
                  </a:lnTo>
                  <a:lnTo>
                    <a:pt x="632" y="430"/>
                  </a:lnTo>
                  <a:lnTo>
                    <a:pt x="632" y="430"/>
                  </a:lnTo>
                  <a:lnTo>
                    <a:pt x="630" y="428"/>
                  </a:lnTo>
                  <a:lnTo>
                    <a:pt x="630" y="428"/>
                  </a:lnTo>
                  <a:lnTo>
                    <a:pt x="630" y="430"/>
                  </a:lnTo>
                  <a:lnTo>
                    <a:pt x="630" y="430"/>
                  </a:lnTo>
                  <a:lnTo>
                    <a:pt x="630" y="430"/>
                  </a:lnTo>
                  <a:lnTo>
                    <a:pt x="630" y="430"/>
                  </a:lnTo>
                  <a:lnTo>
                    <a:pt x="628" y="430"/>
                  </a:lnTo>
                  <a:lnTo>
                    <a:pt x="628" y="432"/>
                  </a:lnTo>
                  <a:lnTo>
                    <a:pt x="630" y="434"/>
                  </a:lnTo>
                  <a:lnTo>
                    <a:pt x="632" y="435"/>
                  </a:lnTo>
                  <a:lnTo>
                    <a:pt x="634" y="434"/>
                  </a:lnTo>
                  <a:lnTo>
                    <a:pt x="634" y="434"/>
                  </a:lnTo>
                  <a:lnTo>
                    <a:pt x="634" y="432"/>
                  </a:lnTo>
                  <a:lnTo>
                    <a:pt x="634" y="432"/>
                  </a:lnTo>
                  <a:lnTo>
                    <a:pt x="634" y="432"/>
                  </a:lnTo>
                  <a:lnTo>
                    <a:pt x="635" y="432"/>
                  </a:lnTo>
                  <a:lnTo>
                    <a:pt x="635" y="430"/>
                  </a:lnTo>
                  <a:lnTo>
                    <a:pt x="635" y="430"/>
                  </a:lnTo>
                  <a:lnTo>
                    <a:pt x="635" y="428"/>
                  </a:lnTo>
                  <a:close/>
                  <a:moveTo>
                    <a:pt x="585" y="428"/>
                  </a:moveTo>
                  <a:lnTo>
                    <a:pt x="581" y="426"/>
                  </a:lnTo>
                  <a:lnTo>
                    <a:pt x="581" y="426"/>
                  </a:lnTo>
                  <a:lnTo>
                    <a:pt x="581" y="428"/>
                  </a:lnTo>
                  <a:lnTo>
                    <a:pt x="581" y="430"/>
                  </a:lnTo>
                  <a:lnTo>
                    <a:pt x="581" y="432"/>
                  </a:lnTo>
                  <a:lnTo>
                    <a:pt x="581" y="432"/>
                  </a:lnTo>
                  <a:lnTo>
                    <a:pt x="581" y="434"/>
                  </a:lnTo>
                  <a:lnTo>
                    <a:pt x="581" y="434"/>
                  </a:lnTo>
                  <a:lnTo>
                    <a:pt x="583" y="434"/>
                  </a:lnTo>
                  <a:lnTo>
                    <a:pt x="585" y="435"/>
                  </a:lnTo>
                  <a:lnTo>
                    <a:pt x="585" y="434"/>
                  </a:lnTo>
                  <a:lnTo>
                    <a:pt x="585" y="432"/>
                  </a:lnTo>
                  <a:lnTo>
                    <a:pt x="585" y="428"/>
                  </a:lnTo>
                  <a:close/>
                  <a:moveTo>
                    <a:pt x="652" y="414"/>
                  </a:moveTo>
                  <a:lnTo>
                    <a:pt x="650" y="410"/>
                  </a:lnTo>
                  <a:lnTo>
                    <a:pt x="648" y="406"/>
                  </a:lnTo>
                  <a:lnTo>
                    <a:pt x="648" y="405"/>
                  </a:lnTo>
                  <a:lnTo>
                    <a:pt x="648" y="403"/>
                  </a:lnTo>
                  <a:lnTo>
                    <a:pt x="648" y="401"/>
                  </a:lnTo>
                  <a:lnTo>
                    <a:pt x="646" y="394"/>
                  </a:lnTo>
                  <a:lnTo>
                    <a:pt x="646" y="392"/>
                  </a:lnTo>
                  <a:lnTo>
                    <a:pt x="644" y="392"/>
                  </a:lnTo>
                  <a:lnTo>
                    <a:pt x="644" y="390"/>
                  </a:lnTo>
                  <a:lnTo>
                    <a:pt x="643" y="390"/>
                  </a:lnTo>
                  <a:lnTo>
                    <a:pt x="643" y="388"/>
                  </a:lnTo>
                  <a:lnTo>
                    <a:pt x="641" y="379"/>
                  </a:lnTo>
                  <a:lnTo>
                    <a:pt x="639" y="379"/>
                  </a:lnTo>
                  <a:lnTo>
                    <a:pt x="634" y="376"/>
                  </a:lnTo>
                  <a:lnTo>
                    <a:pt x="632" y="376"/>
                  </a:lnTo>
                  <a:lnTo>
                    <a:pt x="630" y="372"/>
                  </a:lnTo>
                  <a:lnTo>
                    <a:pt x="630" y="367"/>
                  </a:lnTo>
                  <a:lnTo>
                    <a:pt x="628" y="363"/>
                  </a:lnTo>
                  <a:lnTo>
                    <a:pt x="628" y="361"/>
                  </a:lnTo>
                  <a:lnTo>
                    <a:pt x="628" y="359"/>
                  </a:lnTo>
                  <a:lnTo>
                    <a:pt x="628" y="358"/>
                  </a:lnTo>
                  <a:lnTo>
                    <a:pt x="628" y="356"/>
                  </a:lnTo>
                  <a:lnTo>
                    <a:pt x="628" y="356"/>
                  </a:lnTo>
                  <a:lnTo>
                    <a:pt x="628" y="354"/>
                  </a:lnTo>
                  <a:lnTo>
                    <a:pt x="628" y="350"/>
                  </a:lnTo>
                  <a:lnTo>
                    <a:pt x="628" y="349"/>
                  </a:lnTo>
                  <a:lnTo>
                    <a:pt x="628" y="349"/>
                  </a:lnTo>
                  <a:lnTo>
                    <a:pt x="626" y="345"/>
                  </a:lnTo>
                  <a:lnTo>
                    <a:pt x="626" y="345"/>
                  </a:lnTo>
                  <a:lnTo>
                    <a:pt x="628" y="341"/>
                  </a:lnTo>
                  <a:lnTo>
                    <a:pt x="628" y="340"/>
                  </a:lnTo>
                  <a:lnTo>
                    <a:pt x="630" y="338"/>
                  </a:lnTo>
                  <a:lnTo>
                    <a:pt x="632" y="338"/>
                  </a:lnTo>
                  <a:lnTo>
                    <a:pt x="632" y="336"/>
                  </a:lnTo>
                  <a:lnTo>
                    <a:pt x="632" y="334"/>
                  </a:lnTo>
                  <a:lnTo>
                    <a:pt x="634" y="334"/>
                  </a:lnTo>
                  <a:lnTo>
                    <a:pt x="635" y="332"/>
                  </a:lnTo>
                  <a:lnTo>
                    <a:pt x="635" y="331"/>
                  </a:lnTo>
                  <a:lnTo>
                    <a:pt x="637" y="329"/>
                  </a:lnTo>
                  <a:lnTo>
                    <a:pt x="639" y="329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22"/>
                  </a:lnTo>
                  <a:lnTo>
                    <a:pt x="639" y="320"/>
                  </a:lnTo>
                  <a:lnTo>
                    <a:pt x="639" y="318"/>
                  </a:lnTo>
                  <a:lnTo>
                    <a:pt x="639" y="316"/>
                  </a:lnTo>
                  <a:lnTo>
                    <a:pt x="639" y="312"/>
                  </a:lnTo>
                  <a:lnTo>
                    <a:pt x="639" y="311"/>
                  </a:lnTo>
                  <a:lnTo>
                    <a:pt x="639" y="305"/>
                  </a:lnTo>
                  <a:lnTo>
                    <a:pt x="639" y="305"/>
                  </a:lnTo>
                  <a:lnTo>
                    <a:pt x="641" y="302"/>
                  </a:lnTo>
                  <a:lnTo>
                    <a:pt x="641" y="300"/>
                  </a:lnTo>
                  <a:lnTo>
                    <a:pt x="643" y="300"/>
                  </a:lnTo>
                  <a:lnTo>
                    <a:pt x="644" y="300"/>
                  </a:lnTo>
                  <a:lnTo>
                    <a:pt x="644" y="298"/>
                  </a:lnTo>
                  <a:lnTo>
                    <a:pt x="644" y="298"/>
                  </a:lnTo>
                  <a:lnTo>
                    <a:pt x="644" y="296"/>
                  </a:lnTo>
                  <a:lnTo>
                    <a:pt x="643" y="291"/>
                  </a:lnTo>
                  <a:lnTo>
                    <a:pt x="641" y="287"/>
                  </a:lnTo>
                  <a:lnTo>
                    <a:pt x="641" y="285"/>
                  </a:lnTo>
                  <a:lnTo>
                    <a:pt x="639" y="282"/>
                  </a:lnTo>
                  <a:lnTo>
                    <a:pt x="635" y="276"/>
                  </a:lnTo>
                  <a:lnTo>
                    <a:pt x="634" y="275"/>
                  </a:lnTo>
                  <a:lnTo>
                    <a:pt x="634" y="275"/>
                  </a:lnTo>
                  <a:lnTo>
                    <a:pt x="632" y="273"/>
                  </a:lnTo>
                  <a:lnTo>
                    <a:pt x="630" y="271"/>
                  </a:lnTo>
                  <a:lnTo>
                    <a:pt x="628" y="267"/>
                  </a:lnTo>
                  <a:lnTo>
                    <a:pt x="628" y="266"/>
                  </a:lnTo>
                  <a:lnTo>
                    <a:pt x="628" y="264"/>
                  </a:lnTo>
                  <a:lnTo>
                    <a:pt x="628" y="264"/>
                  </a:lnTo>
                  <a:lnTo>
                    <a:pt x="628" y="262"/>
                  </a:lnTo>
                  <a:lnTo>
                    <a:pt x="628" y="260"/>
                  </a:lnTo>
                  <a:lnTo>
                    <a:pt x="628" y="260"/>
                  </a:lnTo>
                  <a:lnTo>
                    <a:pt x="626" y="258"/>
                  </a:lnTo>
                  <a:lnTo>
                    <a:pt x="626" y="256"/>
                  </a:lnTo>
                  <a:lnTo>
                    <a:pt x="625" y="255"/>
                  </a:lnTo>
                  <a:lnTo>
                    <a:pt x="625" y="253"/>
                  </a:lnTo>
                  <a:lnTo>
                    <a:pt x="623" y="251"/>
                  </a:lnTo>
                  <a:lnTo>
                    <a:pt x="625" y="249"/>
                  </a:lnTo>
                  <a:lnTo>
                    <a:pt x="625" y="249"/>
                  </a:lnTo>
                  <a:lnTo>
                    <a:pt x="625" y="247"/>
                  </a:lnTo>
                  <a:lnTo>
                    <a:pt x="625" y="246"/>
                  </a:lnTo>
                  <a:lnTo>
                    <a:pt x="625" y="246"/>
                  </a:lnTo>
                  <a:lnTo>
                    <a:pt x="625" y="244"/>
                  </a:lnTo>
                  <a:lnTo>
                    <a:pt x="625" y="242"/>
                  </a:lnTo>
                  <a:lnTo>
                    <a:pt x="625" y="240"/>
                  </a:lnTo>
                  <a:lnTo>
                    <a:pt x="626" y="238"/>
                  </a:lnTo>
                  <a:lnTo>
                    <a:pt x="632" y="235"/>
                  </a:lnTo>
                  <a:lnTo>
                    <a:pt x="634" y="233"/>
                  </a:lnTo>
                  <a:lnTo>
                    <a:pt x="634" y="229"/>
                  </a:lnTo>
                  <a:lnTo>
                    <a:pt x="632" y="228"/>
                  </a:lnTo>
                  <a:lnTo>
                    <a:pt x="632" y="226"/>
                  </a:lnTo>
                  <a:lnTo>
                    <a:pt x="634" y="222"/>
                  </a:lnTo>
                  <a:lnTo>
                    <a:pt x="634" y="219"/>
                  </a:lnTo>
                  <a:lnTo>
                    <a:pt x="632" y="219"/>
                  </a:lnTo>
                  <a:lnTo>
                    <a:pt x="632" y="217"/>
                  </a:lnTo>
                  <a:lnTo>
                    <a:pt x="628" y="217"/>
                  </a:lnTo>
                  <a:lnTo>
                    <a:pt x="625" y="215"/>
                  </a:lnTo>
                  <a:lnTo>
                    <a:pt x="623" y="215"/>
                  </a:lnTo>
                  <a:lnTo>
                    <a:pt x="621" y="215"/>
                  </a:lnTo>
                  <a:lnTo>
                    <a:pt x="619" y="215"/>
                  </a:lnTo>
                  <a:lnTo>
                    <a:pt x="617" y="213"/>
                  </a:lnTo>
                  <a:lnTo>
                    <a:pt x="616" y="210"/>
                  </a:lnTo>
                  <a:lnTo>
                    <a:pt x="617" y="208"/>
                  </a:lnTo>
                  <a:lnTo>
                    <a:pt x="617" y="206"/>
                  </a:lnTo>
                  <a:lnTo>
                    <a:pt x="619" y="202"/>
                  </a:lnTo>
                  <a:lnTo>
                    <a:pt x="619" y="200"/>
                  </a:lnTo>
                  <a:lnTo>
                    <a:pt x="619" y="199"/>
                  </a:lnTo>
                  <a:lnTo>
                    <a:pt x="621" y="199"/>
                  </a:lnTo>
                  <a:lnTo>
                    <a:pt x="623" y="197"/>
                  </a:lnTo>
                  <a:lnTo>
                    <a:pt x="623" y="193"/>
                  </a:lnTo>
                  <a:lnTo>
                    <a:pt x="621" y="191"/>
                  </a:lnTo>
                  <a:lnTo>
                    <a:pt x="621" y="188"/>
                  </a:lnTo>
                  <a:lnTo>
                    <a:pt x="621" y="186"/>
                  </a:lnTo>
                  <a:lnTo>
                    <a:pt x="619" y="181"/>
                  </a:lnTo>
                  <a:lnTo>
                    <a:pt x="619" y="179"/>
                  </a:lnTo>
                  <a:lnTo>
                    <a:pt x="619" y="177"/>
                  </a:lnTo>
                  <a:lnTo>
                    <a:pt x="619" y="170"/>
                  </a:lnTo>
                  <a:lnTo>
                    <a:pt x="619" y="166"/>
                  </a:lnTo>
                  <a:lnTo>
                    <a:pt x="619" y="163"/>
                  </a:lnTo>
                  <a:lnTo>
                    <a:pt x="619" y="161"/>
                  </a:lnTo>
                  <a:lnTo>
                    <a:pt x="619" y="157"/>
                  </a:lnTo>
                  <a:lnTo>
                    <a:pt x="621" y="157"/>
                  </a:lnTo>
                  <a:lnTo>
                    <a:pt x="625" y="155"/>
                  </a:lnTo>
                  <a:lnTo>
                    <a:pt x="626" y="154"/>
                  </a:lnTo>
                  <a:lnTo>
                    <a:pt x="628" y="152"/>
                  </a:lnTo>
                  <a:lnTo>
                    <a:pt x="628" y="148"/>
                  </a:lnTo>
                  <a:lnTo>
                    <a:pt x="626" y="146"/>
                  </a:lnTo>
                  <a:lnTo>
                    <a:pt x="623" y="146"/>
                  </a:lnTo>
                  <a:lnTo>
                    <a:pt x="619" y="141"/>
                  </a:lnTo>
                  <a:lnTo>
                    <a:pt x="617" y="139"/>
                  </a:lnTo>
                  <a:lnTo>
                    <a:pt x="614" y="135"/>
                  </a:lnTo>
                  <a:lnTo>
                    <a:pt x="614" y="134"/>
                  </a:lnTo>
                  <a:lnTo>
                    <a:pt x="614" y="134"/>
                  </a:lnTo>
                  <a:lnTo>
                    <a:pt x="612" y="125"/>
                  </a:lnTo>
                  <a:lnTo>
                    <a:pt x="610" y="123"/>
                  </a:lnTo>
                  <a:lnTo>
                    <a:pt x="610" y="123"/>
                  </a:lnTo>
                  <a:lnTo>
                    <a:pt x="608" y="123"/>
                  </a:lnTo>
                  <a:lnTo>
                    <a:pt x="605" y="126"/>
                  </a:lnTo>
                  <a:lnTo>
                    <a:pt x="603" y="126"/>
                  </a:lnTo>
                  <a:lnTo>
                    <a:pt x="603" y="125"/>
                  </a:lnTo>
                  <a:lnTo>
                    <a:pt x="603" y="125"/>
                  </a:lnTo>
                  <a:lnTo>
                    <a:pt x="603" y="125"/>
                  </a:lnTo>
                  <a:lnTo>
                    <a:pt x="603" y="123"/>
                  </a:lnTo>
                  <a:lnTo>
                    <a:pt x="603" y="123"/>
                  </a:lnTo>
                  <a:lnTo>
                    <a:pt x="603" y="121"/>
                  </a:lnTo>
                  <a:lnTo>
                    <a:pt x="603" y="117"/>
                  </a:lnTo>
                  <a:lnTo>
                    <a:pt x="603" y="117"/>
                  </a:lnTo>
                  <a:lnTo>
                    <a:pt x="603" y="116"/>
                  </a:lnTo>
                  <a:lnTo>
                    <a:pt x="603" y="114"/>
                  </a:lnTo>
                  <a:lnTo>
                    <a:pt x="601" y="110"/>
                  </a:lnTo>
                  <a:lnTo>
                    <a:pt x="599" y="108"/>
                  </a:lnTo>
                  <a:lnTo>
                    <a:pt x="599" y="107"/>
                  </a:lnTo>
                  <a:lnTo>
                    <a:pt x="599" y="105"/>
                  </a:lnTo>
                  <a:lnTo>
                    <a:pt x="597" y="105"/>
                  </a:lnTo>
                  <a:lnTo>
                    <a:pt x="597" y="103"/>
                  </a:lnTo>
                  <a:lnTo>
                    <a:pt x="597" y="103"/>
                  </a:lnTo>
                  <a:lnTo>
                    <a:pt x="590" y="98"/>
                  </a:lnTo>
                  <a:lnTo>
                    <a:pt x="588" y="96"/>
                  </a:lnTo>
                  <a:lnTo>
                    <a:pt x="587" y="90"/>
                  </a:lnTo>
                  <a:lnTo>
                    <a:pt x="585" y="89"/>
                  </a:lnTo>
                  <a:lnTo>
                    <a:pt x="581" y="90"/>
                  </a:lnTo>
                  <a:lnTo>
                    <a:pt x="581" y="89"/>
                  </a:lnTo>
                  <a:lnTo>
                    <a:pt x="579" y="87"/>
                  </a:lnTo>
                  <a:lnTo>
                    <a:pt x="578" y="85"/>
                  </a:lnTo>
                  <a:lnTo>
                    <a:pt x="578" y="85"/>
                  </a:lnTo>
                  <a:lnTo>
                    <a:pt x="576" y="85"/>
                  </a:lnTo>
                  <a:lnTo>
                    <a:pt x="576" y="85"/>
                  </a:lnTo>
                  <a:lnTo>
                    <a:pt x="572" y="83"/>
                  </a:lnTo>
                  <a:lnTo>
                    <a:pt x="570" y="83"/>
                  </a:lnTo>
                  <a:lnTo>
                    <a:pt x="567" y="81"/>
                  </a:lnTo>
                  <a:lnTo>
                    <a:pt x="563" y="81"/>
                  </a:lnTo>
                  <a:lnTo>
                    <a:pt x="563" y="81"/>
                  </a:lnTo>
                  <a:lnTo>
                    <a:pt x="563" y="79"/>
                  </a:lnTo>
                  <a:lnTo>
                    <a:pt x="563" y="79"/>
                  </a:lnTo>
                  <a:lnTo>
                    <a:pt x="560" y="78"/>
                  </a:lnTo>
                  <a:lnTo>
                    <a:pt x="549" y="78"/>
                  </a:lnTo>
                  <a:lnTo>
                    <a:pt x="547" y="76"/>
                  </a:lnTo>
                  <a:lnTo>
                    <a:pt x="547" y="76"/>
                  </a:lnTo>
                  <a:lnTo>
                    <a:pt x="547" y="74"/>
                  </a:lnTo>
                  <a:lnTo>
                    <a:pt x="547" y="74"/>
                  </a:lnTo>
                  <a:lnTo>
                    <a:pt x="545" y="74"/>
                  </a:lnTo>
                  <a:lnTo>
                    <a:pt x="545" y="74"/>
                  </a:lnTo>
                  <a:lnTo>
                    <a:pt x="545" y="72"/>
                  </a:lnTo>
                  <a:lnTo>
                    <a:pt x="545" y="70"/>
                  </a:lnTo>
                  <a:lnTo>
                    <a:pt x="543" y="69"/>
                  </a:lnTo>
                  <a:lnTo>
                    <a:pt x="543" y="69"/>
                  </a:lnTo>
                  <a:lnTo>
                    <a:pt x="540" y="65"/>
                  </a:lnTo>
                  <a:lnTo>
                    <a:pt x="531" y="63"/>
                  </a:lnTo>
                  <a:lnTo>
                    <a:pt x="531" y="58"/>
                  </a:lnTo>
                  <a:lnTo>
                    <a:pt x="527" y="56"/>
                  </a:lnTo>
                  <a:lnTo>
                    <a:pt x="523" y="52"/>
                  </a:lnTo>
                  <a:lnTo>
                    <a:pt x="520" y="51"/>
                  </a:lnTo>
                  <a:lnTo>
                    <a:pt x="518" y="49"/>
                  </a:lnTo>
                  <a:lnTo>
                    <a:pt x="516" y="47"/>
                  </a:lnTo>
                  <a:lnTo>
                    <a:pt x="516" y="43"/>
                  </a:lnTo>
                  <a:lnTo>
                    <a:pt x="514" y="42"/>
                  </a:lnTo>
                  <a:lnTo>
                    <a:pt x="514" y="40"/>
                  </a:lnTo>
                  <a:lnTo>
                    <a:pt x="514" y="40"/>
                  </a:lnTo>
                  <a:lnTo>
                    <a:pt x="511" y="40"/>
                  </a:lnTo>
                  <a:lnTo>
                    <a:pt x="509" y="40"/>
                  </a:lnTo>
                  <a:lnTo>
                    <a:pt x="509" y="40"/>
                  </a:lnTo>
                  <a:lnTo>
                    <a:pt x="509" y="38"/>
                  </a:lnTo>
                  <a:lnTo>
                    <a:pt x="509" y="38"/>
                  </a:lnTo>
                  <a:lnTo>
                    <a:pt x="509" y="36"/>
                  </a:lnTo>
                  <a:lnTo>
                    <a:pt x="505" y="31"/>
                  </a:lnTo>
                  <a:lnTo>
                    <a:pt x="502" y="27"/>
                  </a:lnTo>
                  <a:lnTo>
                    <a:pt x="498" y="23"/>
                  </a:lnTo>
                  <a:lnTo>
                    <a:pt x="489" y="20"/>
                  </a:lnTo>
                  <a:lnTo>
                    <a:pt x="489" y="18"/>
                  </a:lnTo>
                  <a:lnTo>
                    <a:pt x="489" y="16"/>
                  </a:lnTo>
                  <a:lnTo>
                    <a:pt x="491" y="14"/>
                  </a:lnTo>
                  <a:lnTo>
                    <a:pt x="491" y="13"/>
                  </a:lnTo>
                  <a:lnTo>
                    <a:pt x="491" y="11"/>
                  </a:lnTo>
                  <a:lnTo>
                    <a:pt x="491" y="9"/>
                  </a:lnTo>
                  <a:lnTo>
                    <a:pt x="487" y="7"/>
                  </a:lnTo>
                  <a:lnTo>
                    <a:pt x="484" y="4"/>
                  </a:lnTo>
                  <a:lnTo>
                    <a:pt x="478" y="4"/>
                  </a:lnTo>
                  <a:lnTo>
                    <a:pt x="476" y="0"/>
                  </a:lnTo>
                  <a:lnTo>
                    <a:pt x="462" y="2"/>
                  </a:lnTo>
                  <a:lnTo>
                    <a:pt x="449" y="2"/>
                  </a:lnTo>
                  <a:lnTo>
                    <a:pt x="462" y="18"/>
                  </a:lnTo>
                  <a:lnTo>
                    <a:pt x="462" y="20"/>
                  </a:lnTo>
                  <a:lnTo>
                    <a:pt x="462" y="33"/>
                  </a:lnTo>
                  <a:lnTo>
                    <a:pt x="462" y="36"/>
                  </a:lnTo>
                  <a:lnTo>
                    <a:pt x="462" y="38"/>
                  </a:lnTo>
                  <a:lnTo>
                    <a:pt x="457" y="52"/>
                  </a:lnTo>
                  <a:lnTo>
                    <a:pt x="451" y="60"/>
                  </a:lnTo>
                  <a:lnTo>
                    <a:pt x="442" y="69"/>
                  </a:lnTo>
                  <a:lnTo>
                    <a:pt x="457" y="78"/>
                  </a:lnTo>
                  <a:lnTo>
                    <a:pt x="446" y="94"/>
                  </a:lnTo>
                  <a:lnTo>
                    <a:pt x="442" y="96"/>
                  </a:lnTo>
                  <a:lnTo>
                    <a:pt x="440" y="96"/>
                  </a:lnTo>
                  <a:lnTo>
                    <a:pt x="419" y="85"/>
                  </a:lnTo>
                  <a:lnTo>
                    <a:pt x="397" y="74"/>
                  </a:lnTo>
                  <a:lnTo>
                    <a:pt x="379" y="76"/>
                  </a:lnTo>
                  <a:lnTo>
                    <a:pt x="377" y="74"/>
                  </a:lnTo>
                  <a:lnTo>
                    <a:pt x="368" y="67"/>
                  </a:lnTo>
                  <a:lnTo>
                    <a:pt x="366" y="65"/>
                  </a:lnTo>
                  <a:lnTo>
                    <a:pt x="354" y="69"/>
                  </a:lnTo>
                  <a:lnTo>
                    <a:pt x="354" y="70"/>
                  </a:lnTo>
                  <a:lnTo>
                    <a:pt x="352" y="70"/>
                  </a:lnTo>
                  <a:lnTo>
                    <a:pt x="352" y="72"/>
                  </a:lnTo>
                  <a:lnTo>
                    <a:pt x="352" y="85"/>
                  </a:lnTo>
                  <a:lnTo>
                    <a:pt x="352" y="89"/>
                  </a:lnTo>
                  <a:lnTo>
                    <a:pt x="354" y="116"/>
                  </a:lnTo>
                  <a:lnTo>
                    <a:pt x="352" y="121"/>
                  </a:lnTo>
                  <a:lnTo>
                    <a:pt x="343" y="141"/>
                  </a:lnTo>
                  <a:lnTo>
                    <a:pt x="341" y="143"/>
                  </a:lnTo>
                  <a:lnTo>
                    <a:pt x="341" y="146"/>
                  </a:lnTo>
                  <a:lnTo>
                    <a:pt x="339" y="146"/>
                  </a:lnTo>
                  <a:lnTo>
                    <a:pt x="325" y="137"/>
                  </a:lnTo>
                  <a:lnTo>
                    <a:pt x="310" y="128"/>
                  </a:lnTo>
                  <a:lnTo>
                    <a:pt x="309" y="128"/>
                  </a:lnTo>
                  <a:lnTo>
                    <a:pt x="305" y="137"/>
                  </a:lnTo>
                  <a:lnTo>
                    <a:pt x="285" y="154"/>
                  </a:lnTo>
                  <a:lnTo>
                    <a:pt x="283" y="155"/>
                  </a:lnTo>
                  <a:lnTo>
                    <a:pt x="283" y="159"/>
                  </a:lnTo>
                  <a:lnTo>
                    <a:pt x="274" y="190"/>
                  </a:lnTo>
                  <a:lnTo>
                    <a:pt x="274" y="191"/>
                  </a:lnTo>
                  <a:lnTo>
                    <a:pt x="269" y="200"/>
                  </a:lnTo>
                  <a:lnTo>
                    <a:pt x="265" y="204"/>
                  </a:lnTo>
                  <a:lnTo>
                    <a:pt x="263" y="206"/>
                  </a:lnTo>
                  <a:lnTo>
                    <a:pt x="254" y="208"/>
                  </a:lnTo>
                  <a:lnTo>
                    <a:pt x="253" y="210"/>
                  </a:lnTo>
                  <a:lnTo>
                    <a:pt x="251" y="219"/>
                  </a:lnTo>
                  <a:lnTo>
                    <a:pt x="267" y="247"/>
                  </a:lnTo>
                  <a:lnTo>
                    <a:pt x="267" y="249"/>
                  </a:lnTo>
                  <a:lnTo>
                    <a:pt x="265" y="266"/>
                  </a:lnTo>
                  <a:lnTo>
                    <a:pt x="263" y="269"/>
                  </a:lnTo>
                  <a:lnTo>
                    <a:pt x="263" y="269"/>
                  </a:lnTo>
                  <a:lnTo>
                    <a:pt x="260" y="271"/>
                  </a:lnTo>
                  <a:lnTo>
                    <a:pt x="251" y="282"/>
                  </a:lnTo>
                  <a:lnTo>
                    <a:pt x="245" y="287"/>
                  </a:lnTo>
                  <a:lnTo>
                    <a:pt x="227" y="323"/>
                  </a:lnTo>
                  <a:lnTo>
                    <a:pt x="215" y="338"/>
                  </a:lnTo>
                  <a:lnTo>
                    <a:pt x="216" y="341"/>
                  </a:lnTo>
                  <a:lnTo>
                    <a:pt x="218" y="354"/>
                  </a:lnTo>
                  <a:lnTo>
                    <a:pt x="218" y="356"/>
                  </a:lnTo>
                  <a:lnTo>
                    <a:pt x="218" y="359"/>
                  </a:lnTo>
                  <a:lnTo>
                    <a:pt x="218" y="363"/>
                  </a:lnTo>
                  <a:lnTo>
                    <a:pt x="218" y="365"/>
                  </a:lnTo>
                  <a:lnTo>
                    <a:pt x="197" y="379"/>
                  </a:lnTo>
                  <a:lnTo>
                    <a:pt x="184" y="381"/>
                  </a:lnTo>
                  <a:lnTo>
                    <a:pt x="171" y="383"/>
                  </a:lnTo>
                  <a:lnTo>
                    <a:pt x="177" y="417"/>
                  </a:lnTo>
                  <a:lnTo>
                    <a:pt x="177" y="423"/>
                  </a:lnTo>
                  <a:lnTo>
                    <a:pt x="177" y="424"/>
                  </a:lnTo>
                  <a:lnTo>
                    <a:pt x="173" y="434"/>
                  </a:lnTo>
                  <a:lnTo>
                    <a:pt x="171" y="435"/>
                  </a:lnTo>
                  <a:lnTo>
                    <a:pt x="169" y="464"/>
                  </a:lnTo>
                  <a:lnTo>
                    <a:pt x="169" y="470"/>
                  </a:lnTo>
                  <a:lnTo>
                    <a:pt x="169" y="475"/>
                  </a:lnTo>
                  <a:lnTo>
                    <a:pt x="169" y="480"/>
                  </a:lnTo>
                  <a:lnTo>
                    <a:pt x="168" y="484"/>
                  </a:lnTo>
                  <a:lnTo>
                    <a:pt x="164" y="490"/>
                  </a:lnTo>
                  <a:lnTo>
                    <a:pt x="162" y="491"/>
                  </a:lnTo>
                  <a:lnTo>
                    <a:pt x="162" y="493"/>
                  </a:lnTo>
                  <a:lnTo>
                    <a:pt x="160" y="504"/>
                  </a:lnTo>
                  <a:lnTo>
                    <a:pt x="160" y="506"/>
                  </a:lnTo>
                  <a:lnTo>
                    <a:pt x="160" y="506"/>
                  </a:lnTo>
                  <a:lnTo>
                    <a:pt x="160" y="509"/>
                  </a:lnTo>
                  <a:lnTo>
                    <a:pt x="153" y="520"/>
                  </a:lnTo>
                  <a:lnTo>
                    <a:pt x="153" y="520"/>
                  </a:lnTo>
                  <a:lnTo>
                    <a:pt x="139" y="544"/>
                  </a:lnTo>
                  <a:lnTo>
                    <a:pt x="126" y="567"/>
                  </a:lnTo>
                  <a:lnTo>
                    <a:pt x="141" y="578"/>
                  </a:lnTo>
                  <a:lnTo>
                    <a:pt x="142" y="580"/>
                  </a:lnTo>
                  <a:lnTo>
                    <a:pt x="148" y="580"/>
                  </a:lnTo>
                  <a:lnTo>
                    <a:pt x="150" y="582"/>
                  </a:lnTo>
                  <a:lnTo>
                    <a:pt x="150" y="585"/>
                  </a:lnTo>
                  <a:lnTo>
                    <a:pt x="151" y="612"/>
                  </a:lnTo>
                  <a:lnTo>
                    <a:pt x="151" y="614"/>
                  </a:lnTo>
                  <a:lnTo>
                    <a:pt x="151" y="616"/>
                  </a:lnTo>
                  <a:lnTo>
                    <a:pt x="142" y="632"/>
                  </a:lnTo>
                  <a:lnTo>
                    <a:pt x="142" y="634"/>
                  </a:lnTo>
                  <a:lnTo>
                    <a:pt x="141" y="634"/>
                  </a:lnTo>
                  <a:lnTo>
                    <a:pt x="123" y="629"/>
                  </a:lnTo>
                  <a:lnTo>
                    <a:pt x="106" y="625"/>
                  </a:lnTo>
                  <a:lnTo>
                    <a:pt x="94" y="629"/>
                  </a:lnTo>
                  <a:lnTo>
                    <a:pt x="81" y="636"/>
                  </a:lnTo>
                  <a:lnTo>
                    <a:pt x="77" y="639"/>
                  </a:lnTo>
                  <a:lnTo>
                    <a:pt x="68" y="657"/>
                  </a:lnTo>
                  <a:lnTo>
                    <a:pt x="59" y="674"/>
                  </a:lnTo>
                  <a:lnTo>
                    <a:pt x="52" y="681"/>
                  </a:lnTo>
                  <a:lnTo>
                    <a:pt x="56" y="692"/>
                  </a:lnTo>
                  <a:lnTo>
                    <a:pt x="56" y="695"/>
                  </a:lnTo>
                  <a:lnTo>
                    <a:pt x="54" y="697"/>
                  </a:lnTo>
                  <a:lnTo>
                    <a:pt x="43" y="715"/>
                  </a:lnTo>
                  <a:lnTo>
                    <a:pt x="47" y="724"/>
                  </a:lnTo>
                  <a:lnTo>
                    <a:pt x="56" y="748"/>
                  </a:lnTo>
                  <a:lnTo>
                    <a:pt x="48" y="755"/>
                  </a:lnTo>
                  <a:lnTo>
                    <a:pt x="48" y="757"/>
                  </a:lnTo>
                  <a:lnTo>
                    <a:pt x="48" y="760"/>
                  </a:lnTo>
                  <a:lnTo>
                    <a:pt x="52" y="777"/>
                  </a:lnTo>
                  <a:lnTo>
                    <a:pt x="52" y="779"/>
                  </a:lnTo>
                  <a:lnTo>
                    <a:pt x="50" y="782"/>
                  </a:lnTo>
                  <a:lnTo>
                    <a:pt x="48" y="788"/>
                  </a:lnTo>
                  <a:lnTo>
                    <a:pt x="48" y="791"/>
                  </a:lnTo>
                  <a:lnTo>
                    <a:pt x="48" y="793"/>
                  </a:lnTo>
                  <a:lnTo>
                    <a:pt x="58" y="818"/>
                  </a:lnTo>
                  <a:lnTo>
                    <a:pt x="58" y="820"/>
                  </a:lnTo>
                  <a:lnTo>
                    <a:pt x="59" y="825"/>
                  </a:lnTo>
                  <a:lnTo>
                    <a:pt x="59" y="827"/>
                  </a:lnTo>
                  <a:lnTo>
                    <a:pt x="59" y="831"/>
                  </a:lnTo>
                  <a:lnTo>
                    <a:pt x="56" y="858"/>
                  </a:lnTo>
                  <a:lnTo>
                    <a:pt x="52" y="885"/>
                  </a:lnTo>
                  <a:lnTo>
                    <a:pt x="52" y="887"/>
                  </a:lnTo>
                  <a:lnTo>
                    <a:pt x="59" y="892"/>
                  </a:lnTo>
                  <a:lnTo>
                    <a:pt x="61" y="894"/>
                  </a:lnTo>
                  <a:lnTo>
                    <a:pt x="65" y="900"/>
                  </a:lnTo>
                  <a:lnTo>
                    <a:pt x="67" y="901"/>
                  </a:lnTo>
                  <a:lnTo>
                    <a:pt x="68" y="901"/>
                  </a:lnTo>
                  <a:lnTo>
                    <a:pt x="72" y="901"/>
                  </a:lnTo>
                  <a:lnTo>
                    <a:pt x="74" y="901"/>
                  </a:lnTo>
                  <a:lnTo>
                    <a:pt x="76" y="903"/>
                  </a:lnTo>
                  <a:lnTo>
                    <a:pt x="88" y="921"/>
                  </a:lnTo>
                  <a:lnTo>
                    <a:pt x="88" y="923"/>
                  </a:lnTo>
                  <a:lnTo>
                    <a:pt x="88" y="925"/>
                  </a:lnTo>
                  <a:lnTo>
                    <a:pt x="86" y="934"/>
                  </a:lnTo>
                  <a:lnTo>
                    <a:pt x="86" y="937"/>
                  </a:lnTo>
                  <a:lnTo>
                    <a:pt x="85" y="939"/>
                  </a:lnTo>
                  <a:lnTo>
                    <a:pt x="81" y="945"/>
                  </a:lnTo>
                  <a:lnTo>
                    <a:pt x="81" y="945"/>
                  </a:lnTo>
                  <a:lnTo>
                    <a:pt x="81" y="947"/>
                  </a:lnTo>
                  <a:lnTo>
                    <a:pt x="79" y="954"/>
                  </a:lnTo>
                  <a:lnTo>
                    <a:pt x="79" y="954"/>
                  </a:lnTo>
                  <a:lnTo>
                    <a:pt x="79" y="956"/>
                  </a:lnTo>
                  <a:lnTo>
                    <a:pt x="77" y="956"/>
                  </a:lnTo>
                  <a:lnTo>
                    <a:pt x="72" y="956"/>
                  </a:lnTo>
                  <a:lnTo>
                    <a:pt x="70" y="956"/>
                  </a:lnTo>
                  <a:lnTo>
                    <a:pt x="58" y="959"/>
                  </a:lnTo>
                  <a:lnTo>
                    <a:pt x="58" y="961"/>
                  </a:lnTo>
                  <a:lnTo>
                    <a:pt x="58" y="963"/>
                  </a:lnTo>
                  <a:lnTo>
                    <a:pt x="59" y="966"/>
                  </a:lnTo>
                  <a:lnTo>
                    <a:pt x="59" y="970"/>
                  </a:lnTo>
                  <a:lnTo>
                    <a:pt x="61" y="977"/>
                  </a:lnTo>
                  <a:lnTo>
                    <a:pt x="61" y="981"/>
                  </a:lnTo>
                  <a:lnTo>
                    <a:pt x="63" y="986"/>
                  </a:lnTo>
                  <a:lnTo>
                    <a:pt x="68" y="995"/>
                  </a:lnTo>
                  <a:lnTo>
                    <a:pt x="74" y="1010"/>
                  </a:lnTo>
                  <a:lnTo>
                    <a:pt x="74" y="1013"/>
                  </a:lnTo>
                  <a:lnTo>
                    <a:pt x="74" y="1015"/>
                  </a:lnTo>
                  <a:lnTo>
                    <a:pt x="74" y="1021"/>
                  </a:lnTo>
                  <a:lnTo>
                    <a:pt x="74" y="1022"/>
                  </a:lnTo>
                  <a:lnTo>
                    <a:pt x="74" y="1024"/>
                  </a:lnTo>
                  <a:lnTo>
                    <a:pt x="72" y="1026"/>
                  </a:lnTo>
                  <a:lnTo>
                    <a:pt x="70" y="1030"/>
                  </a:lnTo>
                  <a:lnTo>
                    <a:pt x="68" y="1030"/>
                  </a:lnTo>
                  <a:lnTo>
                    <a:pt x="68" y="1031"/>
                  </a:lnTo>
                  <a:lnTo>
                    <a:pt x="68" y="1035"/>
                  </a:lnTo>
                  <a:lnTo>
                    <a:pt x="70" y="1042"/>
                  </a:lnTo>
                  <a:lnTo>
                    <a:pt x="70" y="1046"/>
                  </a:lnTo>
                  <a:lnTo>
                    <a:pt x="70" y="1049"/>
                  </a:lnTo>
                  <a:lnTo>
                    <a:pt x="68" y="1053"/>
                  </a:lnTo>
                  <a:lnTo>
                    <a:pt x="67" y="1057"/>
                  </a:lnTo>
                  <a:lnTo>
                    <a:pt x="59" y="1066"/>
                  </a:lnTo>
                  <a:lnTo>
                    <a:pt x="50" y="1071"/>
                  </a:lnTo>
                  <a:lnTo>
                    <a:pt x="48" y="1073"/>
                  </a:lnTo>
                  <a:lnTo>
                    <a:pt x="41" y="1071"/>
                  </a:lnTo>
                  <a:lnTo>
                    <a:pt x="38" y="1073"/>
                  </a:lnTo>
                  <a:lnTo>
                    <a:pt x="38" y="1073"/>
                  </a:lnTo>
                  <a:lnTo>
                    <a:pt x="36" y="1075"/>
                  </a:lnTo>
                  <a:lnTo>
                    <a:pt x="36" y="1078"/>
                  </a:lnTo>
                  <a:lnTo>
                    <a:pt x="36" y="1080"/>
                  </a:lnTo>
                  <a:lnTo>
                    <a:pt x="38" y="1082"/>
                  </a:lnTo>
                  <a:lnTo>
                    <a:pt x="38" y="1082"/>
                  </a:lnTo>
                  <a:lnTo>
                    <a:pt x="39" y="1084"/>
                  </a:lnTo>
                  <a:lnTo>
                    <a:pt x="39" y="1086"/>
                  </a:lnTo>
                  <a:lnTo>
                    <a:pt x="39" y="1089"/>
                  </a:lnTo>
                  <a:lnTo>
                    <a:pt x="39" y="1091"/>
                  </a:lnTo>
                  <a:lnTo>
                    <a:pt x="39" y="1091"/>
                  </a:lnTo>
                  <a:lnTo>
                    <a:pt x="36" y="1095"/>
                  </a:lnTo>
                  <a:lnTo>
                    <a:pt x="36" y="1096"/>
                  </a:lnTo>
                  <a:lnTo>
                    <a:pt x="29" y="1100"/>
                  </a:lnTo>
                  <a:lnTo>
                    <a:pt x="29" y="1100"/>
                  </a:lnTo>
                  <a:lnTo>
                    <a:pt x="27" y="1104"/>
                  </a:lnTo>
                  <a:lnTo>
                    <a:pt x="29" y="1105"/>
                  </a:lnTo>
                  <a:lnTo>
                    <a:pt x="34" y="1125"/>
                  </a:lnTo>
                  <a:lnTo>
                    <a:pt x="34" y="1133"/>
                  </a:lnTo>
                  <a:lnTo>
                    <a:pt x="34" y="1134"/>
                  </a:lnTo>
                  <a:lnTo>
                    <a:pt x="34" y="1136"/>
                  </a:lnTo>
                  <a:lnTo>
                    <a:pt x="34" y="1136"/>
                  </a:lnTo>
                  <a:lnTo>
                    <a:pt x="34" y="1138"/>
                  </a:lnTo>
                  <a:lnTo>
                    <a:pt x="34" y="1140"/>
                  </a:lnTo>
                  <a:lnTo>
                    <a:pt x="32" y="1140"/>
                  </a:lnTo>
                  <a:lnTo>
                    <a:pt x="32" y="1147"/>
                  </a:lnTo>
                  <a:lnTo>
                    <a:pt x="30" y="1151"/>
                  </a:lnTo>
                  <a:lnTo>
                    <a:pt x="30" y="1154"/>
                  </a:lnTo>
                  <a:lnTo>
                    <a:pt x="29" y="1158"/>
                  </a:lnTo>
                  <a:lnTo>
                    <a:pt x="29" y="1160"/>
                  </a:lnTo>
                  <a:lnTo>
                    <a:pt x="29" y="1163"/>
                  </a:lnTo>
                  <a:lnTo>
                    <a:pt x="27" y="1169"/>
                  </a:lnTo>
                  <a:lnTo>
                    <a:pt x="25" y="1170"/>
                  </a:lnTo>
                  <a:lnTo>
                    <a:pt x="21" y="1172"/>
                  </a:lnTo>
                  <a:lnTo>
                    <a:pt x="18" y="1170"/>
                  </a:lnTo>
                  <a:lnTo>
                    <a:pt x="16" y="1170"/>
                  </a:lnTo>
                  <a:lnTo>
                    <a:pt x="16" y="1163"/>
                  </a:lnTo>
                  <a:lnTo>
                    <a:pt x="16" y="1161"/>
                  </a:lnTo>
                  <a:lnTo>
                    <a:pt x="16" y="1161"/>
                  </a:lnTo>
                  <a:lnTo>
                    <a:pt x="16" y="1161"/>
                  </a:lnTo>
                  <a:lnTo>
                    <a:pt x="16" y="1161"/>
                  </a:lnTo>
                  <a:lnTo>
                    <a:pt x="16" y="1161"/>
                  </a:lnTo>
                  <a:lnTo>
                    <a:pt x="14" y="1160"/>
                  </a:lnTo>
                  <a:lnTo>
                    <a:pt x="14" y="1158"/>
                  </a:lnTo>
                  <a:lnTo>
                    <a:pt x="12" y="1156"/>
                  </a:lnTo>
                  <a:lnTo>
                    <a:pt x="12" y="1154"/>
                  </a:lnTo>
                  <a:lnTo>
                    <a:pt x="12" y="1151"/>
                  </a:lnTo>
                  <a:lnTo>
                    <a:pt x="11" y="1151"/>
                  </a:lnTo>
                  <a:lnTo>
                    <a:pt x="5" y="1152"/>
                  </a:lnTo>
                  <a:lnTo>
                    <a:pt x="3" y="1152"/>
                  </a:lnTo>
                  <a:lnTo>
                    <a:pt x="0" y="1158"/>
                  </a:lnTo>
                  <a:lnTo>
                    <a:pt x="0" y="1158"/>
                  </a:lnTo>
                  <a:lnTo>
                    <a:pt x="0" y="1160"/>
                  </a:lnTo>
                  <a:lnTo>
                    <a:pt x="0" y="1161"/>
                  </a:lnTo>
                  <a:lnTo>
                    <a:pt x="2" y="1161"/>
                  </a:lnTo>
                  <a:lnTo>
                    <a:pt x="3" y="1161"/>
                  </a:lnTo>
                  <a:lnTo>
                    <a:pt x="2" y="1163"/>
                  </a:lnTo>
                  <a:lnTo>
                    <a:pt x="0" y="1163"/>
                  </a:lnTo>
                  <a:lnTo>
                    <a:pt x="0" y="1165"/>
                  </a:lnTo>
                  <a:lnTo>
                    <a:pt x="0" y="1167"/>
                  </a:lnTo>
                  <a:lnTo>
                    <a:pt x="2" y="1167"/>
                  </a:lnTo>
                  <a:lnTo>
                    <a:pt x="3" y="1169"/>
                  </a:lnTo>
                  <a:lnTo>
                    <a:pt x="3" y="1169"/>
                  </a:lnTo>
                  <a:lnTo>
                    <a:pt x="3" y="1169"/>
                  </a:lnTo>
                  <a:lnTo>
                    <a:pt x="3" y="1169"/>
                  </a:lnTo>
                  <a:lnTo>
                    <a:pt x="3" y="1170"/>
                  </a:lnTo>
                  <a:lnTo>
                    <a:pt x="3" y="1170"/>
                  </a:lnTo>
                  <a:lnTo>
                    <a:pt x="3" y="1174"/>
                  </a:lnTo>
                  <a:lnTo>
                    <a:pt x="3" y="1174"/>
                  </a:lnTo>
                  <a:lnTo>
                    <a:pt x="5" y="1174"/>
                  </a:lnTo>
                  <a:lnTo>
                    <a:pt x="5" y="1174"/>
                  </a:lnTo>
                  <a:lnTo>
                    <a:pt x="5" y="1176"/>
                  </a:lnTo>
                  <a:lnTo>
                    <a:pt x="5" y="1180"/>
                  </a:lnTo>
                  <a:lnTo>
                    <a:pt x="5" y="1180"/>
                  </a:lnTo>
                  <a:lnTo>
                    <a:pt x="5" y="1181"/>
                  </a:lnTo>
                  <a:lnTo>
                    <a:pt x="5" y="1181"/>
                  </a:lnTo>
                  <a:lnTo>
                    <a:pt x="5" y="1183"/>
                  </a:lnTo>
                  <a:lnTo>
                    <a:pt x="5" y="1183"/>
                  </a:lnTo>
                  <a:lnTo>
                    <a:pt x="3" y="1185"/>
                  </a:lnTo>
                  <a:lnTo>
                    <a:pt x="3" y="1185"/>
                  </a:lnTo>
                  <a:lnTo>
                    <a:pt x="3" y="1187"/>
                  </a:lnTo>
                  <a:lnTo>
                    <a:pt x="3" y="1189"/>
                  </a:lnTo>
                  <a:lnTo>
                    <a:pt x="5" y="1189"/>
                  </a:lnTo>
                  <a:lnTo>
                    <a:pt x="5" y="1189"/>
                  </a:lnTo>
                  <a:lnTo>
                    <a:pt x="5" y="1189"/>
                  </a:lnTo>
                  <a:lnTo>
                    <a:pt x="5" y="1192"/>
                  </a:lnTo>
                  <a:lnTo>
                    <a:pt x="7" y="1194"/>
                  </a:lnTo>
                  <a:lnTo>
                    <a:pt x="7" y="1196"/>
                  </a:lnTo>
                  <a:lnTo>
                    <a:pt x="7" y="1196"/>
                  </a:lnTo>
                  <a:lnTo>
                    <a:pt x="7" y="1198"/>
                  </a:lnTo>
                  <a:lnTo>
                    <a:pt x="7" y="1198"/>
                  </a:lnTo>
                  <a:lnTo>
                    <a:pt x="7" y="1199"/>
                  </a:lnTo>
                  <a:lnTo>
                    <a:pt x="7" y="1199"/>
                  </a:lnTo>
                  <a:lnTo>
                    <a:pt x="7" y="1199"/>
                  </a:lnTo>
                  <a:lnTo>
                    <a:pt x="7" y="1201"/>
                  </a:lnTo>
                  <a:lnTo>
                    <a:pt x="9" y="1201"/>
                  </a:lnTo>
                  <a:lnTo>
                    <a:pt x="9" y="1201"/>
                  </a:lnTo>
                  <a:lnTo>
                    <a:pt x="7" y="1203"/>
                  </a:lnTo>
                  <a:lnTo>
                    <a:pt x="7" y="1203"/>
                  </a:lnTo>
                  <a:lnTo>
                    <a:pt x="7" y="1203"/>
                  </a:lnTo>
                  <a:lnTo>
                    <a:pt x="7" y="1203"/>
                  </a:lnTo>
                  <a:lnTo>
                    <a:pt x="7" y="1207"/>
                  </a:lnTo>
                  <a:lnTo>
                    <a:pt x="7" y="1207"/>
                  </a:lnTo>
                  <a:lnTo>
                    <a:pt x="7" y="1207"/>
                  </a:lnTo>
                  <a:lnTo>
                    <a:pt x="5" y="1207"/>
                  </a:lnTo>
                  <a:lnTo>
                    <a:pt x="5" y="1208"/>
                  </a:lnTo>
                  <a:lnTo>
                    <a:pt x="5" y="1208"/>
                  </a:lnTo>
                  <a:lnTo>
                    <a:pt x="7" y="1208"/>
                  </a:lnTo>
                  <a:lnTo>
                    <a:pt x="7" y="1210"/>
                  </a:lnTo>
                  <a:lnTo>
                    <a:pt x="7" y="1210"/>
                  </a:lnTo>
                  <a:lnTo>
                    <a:pt x="9" y="1212"/>
                  </a:lnTo>
                  <a:lnTo>
                    <a:pt x="9" y="1212"/>
                  </a:lnTo>
                  <a:lnTo>
                    <a:pt x="7" y="1214"/>
                  </a:lnTo>
                  <a:lnTo>
                    <a:pt x="7" y="1214"/>
                  </a:lnTo>
                  <a:lnTo>
                    <a:pt x="7" y="1216"/>
                  </a:lnTo>
                  <a:lnTo>
                    <a:pt x="5" y="1216"/>
                  </a:lnTo>
                  <a:lnTo>
                    <a:pt x="5" y="1216"/>
                  </a:lnTo>
                  <a:lnTo>
                    <a:pt x="3" y="1217"/>
                  </a:lnTo>
                  <a:lnTo>
                    <a:pt x="5" y="1219"/>
                  </a:lnTo>
                  <a:lnTo>
                    <a:pt x="5" y="1221"/>
                  </a:lnTo>
                  <a:lnTo>
                    <a:pt x="5" y="1221"/>
                  </a:lnTo>
                  <a:lnTo>
                    <a:pt x="5" y="1223"/>
                  </a:lnTo>
                  <a:lnTo>
                    <a:pt x="5" y="1223"/>
                  </a:lnTo>
                  <a:lnTo>
                    <a:pt x="5" y="1225"/>
                  </a:lnTo>
                  <a:lnTo>
                    <a:pt x="7" y="1221"/>
                  </a:lnTo>
                  <a:lnTo>
                    <a:pt x="9" y="1221"/>
                  </a:lnTo>
                  <a:lnTo>
                    <a:pt x="9" y="1221"/>
                  </a:lnTo>
                  <a:lnTo>
                    <a:pt x="11" y="1221"/>
                  </a:lnTo>
                  <a:lnTo>
                    <a:pt x="11" y="1221"/>
                  </a:lnTo>
                  <a:lnTo>
                    <a:pt x="11" y="1219"/>
                  </a:lnTo>
                  <a:lnTo>
                    <a:pt x="11" y="1219"/>
                  </a:lnTo>
                  <a:lnTo>
                    <a:pt x="12" y="1219"/>
                  </a:lnTo>
                  <a:lnTo>
                    <a:pt x="12" y="1217"/>
                  </a:lnTo>
                  <a:lnTo>
                    <a:pt x="14" y="1216"/>
                  </a:lnTo>
                  <a:lnTo>
                    <a:pt x="16" y="1214"/>
                  </a:lnTo>
                  <a:lnTo>
                    <a:pt x="14" y="1216"/>
                  </a:lnTo>
                  <a:lnTo>
                    <a:pt x="14" y="1216"/>
                  </a:lnTo>
                  <a:lnTo>
                    <a:pt x="12" y="1217"/>
                  </a:lnTo>
                  <a:lnTo>
                    <a:pt x="12" y="1223"/>
                  </a:lnTo>
                  <a:lnTo>
                    <a:pt x="11" y="1223"/>
                  </a:lnTo>
                  <a:lnTo>
                    <a:pt x="12" y="1223"/>
                  </a:lnTo>
                  <a:lnTo>
                    <a:pt x="12" y="1223"/>
                  </a:lnTo>
                  <a:lnTo>
                    <a:pt x="12" y="1223"/>
                  </a:lnTo>
                  <a:lnTo>
                    <a:pt x="14" y="1221"/>
                  </a:lnTo>
                  <a:lnTo>
                    <a:pt x="14" y="1219"/>
                  </a:lnTo>
                  <a:lnTo>
                    <a:pt x="14" y="1219"/>
                  </a:lnTo>
                  <a:lnTo>
                    <a:pt x="16" y="1219"/>
                  </a:lnTo>
                  <a:lnTo>
                    <a:pt x="16" y="1221"/>
                  </a:lnTo>
                  <a:lnTo>
                    <a:pt x="16" y="1223"/>
                  </a:lnTo>
                  <a:lnTo>
                    <a:pt x="16" y="1223"/>
                  </a:lnTo>
                  <a:lnTo>
                    <a:pt x="14" y="1225"/>
                  </a:lnTo>
                  <a:lnTo>
                    <a:pt x="14" y="1225"/>
                  </a:lnTo>
                  <a:lnTo>
                    <a:pt x="14" y="1225"/>
                  </a:lnTo>
                  <a:lnTo>
                    <a:pt x="12" y="1226"/>
                  </a:lnTo>
                  <a:lnTo>
                    <a:pt x="14" y="1226"/>
                  </a:lnTo>
                  <a:lnTo>
                    <a:pt x="14" y="1226"/>
                  </a:lnTo>
                  <a:lnTo>
                    <a:pt x="16" y="1226"/>
                  </a:lnTo>
                  <a:lnTo>
                    <a:pt x="16" y="1226"/>
                  </a:lnTo>
                  <a:lnTo>
                    <a:pt x="16" y="1226"/>
                  </a:lnTo>
                  <a:lnTo>
                    <a:pt x="16" y="1228"/>
                  </a:lnTo>
                  <a:lnTo>
                    <a:pt x="14" y="1228"/>
                  </a:lnTo>
                  <a:lnTo>
                    <a:pt x="14" y="1230"/>
                  </a:lnTo>
                  <a:lnTo>
                    <a:pt x="14" y="1230"/>
                  </a:lnTo>
                  <a:lnTo>
                    <a:pt x="18" y="1228"/>
                  </a:lnTo>
                  <a:lnTo>
                    <a:pt x="20" y="1226"/>
                  </a:lnTo>
                  <a:lnTo>
                    <a:pt x="20" y="1225"/>
                  </a:lnTo>
                  <a:lnTo>
                    <a:pt x="21" y="1221"/>
                  </a:lnTo>
                  <a:lnTo>
                    <a:pt x="21" y="1217"/>
                  </a:lnTo>
                  <a:lnTo>
                    <a:pt x="21" y="1216"/>
                  </a:lnTo>
                  <a:lnTo>
                    <a:pt x="21" y="1212"/>
                  </a:lnTo>
                  <a:lnTo>
                    <a:pt x="21" y="1212"/>
                  </a:lnTo>
                  <a:lnTo>
                    <a:pt x="21" y="1214"/>
                  </a:lnTo>
                  <a:lnTo>
                    <a:pt x="23" y="1217"/>
                  </a:lnTo>
                  <a:lnTo>
                    <a:pt x="23" y="1217"/>
                  </a:lnTo>
                  <a:lnTo>
                    <a:pt x="25" y="1217"/>
                  </a:lnTo>
                  <a:lnTo>
                    <a:pt x="25" y="1216"/>
                  </a:lnTo>
                  <a:lnTo>
                    <a:pt x="27" y="1214"/>
                  </a:lnTo>
                  <a:lnTo>
                    <a:pt x="27" y="1216"/>
                  </a:lnTo>
                  <a:lnTo>
                    <a:pt x="25" y="1217"/>
                  </a:lnTo>
                  <a:lnTo>
                    <a:pt x="25" y="1217"/>
                  </a:lnTo>
                  <a:lnTo>
                    <a:pt x="25" y="1219"/>
                  </a:lnTo>
                  <a:lnTo>
                    <a:pt x="25" y="1219"/>
                  </a:lnTo>
                  <a:lnTo>
                    <a:pt x="23" y="1223"/>
                  </a:lnTo>
                  <a:lnTo>
                    <a:pt x="21" y="1225"/>
                  </a:lnTo>
                  <a:lnTo>
                    <a:pt x="20" y="1226"/>
                  </a:lnTo>
                  <a:lnTo>
                    <a:pt x="20" y="1230"/>
                  </a:lnTo>
                  <a:lnTo>
                    <a:pt x="20" y="1232"/>
                  </a:lnTo>
                  <a:lnTo>
                    <a:pt x="20" y="1234"/>
                  </a:lnTo>
                  <a:lnTo>
                    <a:pt x="21" y="1234"/>
                  </a:lnTo>
                  <a:lnTo>
                    <a:pt x="20" y="1232"/>
                  </a:lnTo>
                  <a:lnTo>
                    <a:pt x="20" y="1232"/>
                  </a:lnTo>
                  <a:lnTo>
                    <a:pt x="21" y="1232"/>
                  </a:lnTo>
                  <a:lnTo>
                    <a:pt x="21" y="1232"/>
                  </a:lnTo>
                  <a:lnTo>
                    <a:pt x="23" y="1232"/>
                  </a:lnTo>
                  <a:lnTo>
                    <a:pt x="23" y="1232"/>
                  </a:lnTo>
                  <a:lnTo>
                    <a:pt x="23" y="1232"/>
                  </a:lnTo>
                  <a:lnTo>
                    <a:pt x="25" y="1230"/>
                  </a:lnTo>
                  <a:lnTo>
                    <a:pt x="25" y="1230"/>
                  </a:lnTo>
                  <a:lnTo>
                    <a:pt x="25" y="1230"/>
                  </a:lnTo>
                  <a:lnTo>
                    <a:pt x="29" y="1226"/>
                  </a:lnTo>
                  <a:lnTo>
                    <a:pt x="30" y="1226"/>
                  </a:lnTo>
                  <a:lnTo>
                    <a:pt x="30" y="1226"/>
                  </a:lnTo>
                  <a:lnTo>
                    <a:pt x="30" y="1225"/>
                  </a:lnTo>
                  <a:lnTo>
                    <a:pt x="32" y="1225"/>
                  </a:lnTo>
                  <a:lnTo>
                    <a:pt x="34" y="1225"/>
                  </a:lnTo>
                  <a:lnTo>
                    <a:pt x="36" y="1223"/>
                  </a:lnTo>
                  <a:lnTo>
                    <a:pt x="38" y="1223"/>
                  </a:lnTo>
                  <a:lnTo>
                    <a:pt x="38" y="1225"/>
                  </a:lnTo>
                  <a:lnTo>
                    <a:pt x="36" y="1226"/>
                  </a:lnTo>
                  <a:lnTo>
                    <a:pt x="34" y="1226"/>
                  </a:lnTo>
                  <a:lnTo>
                    <a:pt x="34" y="1230"/>
                  </a:lnTo>
                  <a:lnTo>
                    <a:pt x="36" y="1230"/>
                  </a:lnTo>
                  <a:lnTo>
                    <a:pt x="36" y="1232"/>
                  </a:lnTo>
                  <a:lnTo>
                    <a:pt x="36" y="1232"/>
                  </a:lnTo>
                  <a:lnTo>
                    <a:pt x="36" y="1234"/>
                  </a:lnTo>
                  <a:lnTo>
                    <a:pt x="38" y="1236"/>
                  </a:lnTo>
                  <a:lnTo>
                    <a:pt x="38" y="1236"/>
                  </a:lnTo>
                  <a:lnTo>
                    <a:pt x="38" y="1236"/>
                  </a:lnTo>
                  <a:lnTo>
                    <a:pt x="38" y="1237"/>
                  </a:lnTo>
                  <a:lnTo>
                    <a:pt x="38" y="1237"/>
                  </a:lnTo>
                  <a:lnTo>
                    <a:pt x="38" y="1237"/>
                  </a:lnTo>
                  <a:lnTo>
                    <a:pt x="36" y="1237"/>
                  </a:lnTo>
                  <a:lnTo>
                    <a:pt x="36" y="1237"/>
                  </a:lnTo>
                  <a:lnTo>
                    <a:pt x="36" y="1239"/>
                  </a:lnTo>
                  <a:lnTo>
                    <a:pt x="36" y="1245"/>
                  </a:lnTo>
                  <a:lnTo>
                    <a:pt x="34" y="1246"/>
                  </a:lnTo>
                  <a:lnTo>
                    <a:pt x="34" y="1246"/>
                  </a:lnTo>
                  <a:lnTo>
                    <a:pt x="34" y="1246"/>
                  </a:lnTo>
                  <a:lnTo>
                    <a:pt x="34" y="1248"/>
                  </a:lnTo>
                  <a:lnTo>
                    <a:pt x="34" y="1248"/>
                  </a:lnTo>
                  <a:lnTo>
                    <a:pt x="34" y="1248"/>
                  </a:lnTo>
                  <a:lnTo>
                    <a:pt x="32" y="1250"/>
                  </a:lnTo>
                  <a:lnTo>
                    <a:pt x="34" y="1250"/>
                  </a:lnTo>
                  <a:lnTo>
                    <a:pt x="34" y="1252"/>
                  </a:lnTo>
                  <a:lnTo>
                    <a:pt x="34" y="1252"/>
                  </a:lnTo>
                  <a:lnTo>
                    <a:pt x="34" y="1254"/>
                  </a:lnTo>
                  <a:lnTo>
                    <a:pt x="34" y="1255"/>
                  </a:lnTo>
                  <a:lnTo>
                    <a:pt x="30" y="1261"/>
                  </a:lnTo>
                  <a:lnTo>
                    <a:pt x="30" y="1263"/>
                  </a:lnTo>
                  <a:lnTo>
                    <a:pt x="32" y="1263"/>
                  </a:lnTo>
                  <a:lnTo>
                    <a:pt x="32" y="1264"/>
                  </a:lnTo>
                  <a:lnTo>
                    <a:pt x="32" y="1264"/>
                  </a:lnTo>
                  <a:lnTo>
                    <a:pt x="30" y="1264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2" y="1264"/>
                  </a:lnTo>
                  <a:lnTo>
                    <a:pt x="29" y="1266"/>
                  </a:lnTo>
                  <a:lnTo>
                    <a:pt x="29" y="1268"/>
                  </a:lnTo>
                  <a:lnTo>
                    <a:pt x="29" y="1270"/>
                  </a:lnTo>
                  <a:lnTo>
                    <a:pt x="29" y="1270"/>
                  </a:lnTo>
                  <a:lnTo>
                    <a:pt x="29" y="1270"/>
                  </a:lnTo>
                  <a:lnTo>
                    <a:pt x="27" y="1272"/>
                  </a:lnTo>
                  <a:lnTo>
                    <a:pt x="29" y="1272"/>
                  </a:lnTo>
                  <a:lnTo>
                    <a:pt x="29" y="1273"/>
                  </a:lnTo>
                  <a:lnTo>
                    <a:pt x="30" y="1275"/>
                  </a:lnTo>
                  <a:lnTo>
                    <a:pt x="32" y="1277"/>
                  </a:lnTo>
                  <a:lnTo>
                    <a:pt x="32" y="1275"/>
                  </a:lnTo>
                  <a:lnTo>
                    <a:pt x="34" y="1275"/>
                  </a:lnTo>
                  <a:lnTo>
                    <a:pt x="34" y="1275"/>
                  </a:lnTo>
                  <a:lnTo>
                    <a:pt x="34" y="1277"/>
                  </a:lnTo>
                  <a:lnTo>
                    <a:pt x="34" y="1277"/>
                  </a:lnTo>
                  <a:lnTo>
                    <a:pt x="29" y="1282"/>
                  </a:lnTo>
                  <a:lnTo>
                    <a:pt x="29" y="1282"/>
                  </a:lnTo>
                  <a:lnTo>
                    <a:pt x="29" y="1284"/>
                  </a:lnTo>
                  <a:lnTo>
                    <a:pt x="30" y="1284"/>
                  </a:lnTo>
                  <a:lnTo>
                    <a:pt x="30" y="1284"/>
                  </a:lnTo>
                  <a:lnTo>
                    <a:pt x="32" y="1284"/>
                  </a:lnTo>
                  <a:lnTo>
                    <a:pt x="32" y="1282"/>
                  </a:lnTo>
                  <a:lnTo>
                    <a:pt x="32" y="1282"/>
                  </a:lnTo>
                  <a:lnTo>
                    <a:pt x="36" y="1284"/>
                  </a:lnTo>
                  <a:lnTo>
                    <a:pt x="36" y="1284"/>
                  </a:lnTo>
                  <a:lnTo>
                    <a:pt x="38" y="1284"/>
                  </a:lnTo>
                  <a:lnTo>
                    <a:pt x="39" y="1284"/>
                  </a:lnTo>
                  <a:lnTo>
                    <a:pt x="39" y="1284"/>
                  </a:lnTo>
                  <a:lnTo>
                    <a:pt x="39" y="1286"/>
                  </a:lnTo>
                  <a:lnTo>
                    <a:pt x="36" y="1286"/>
                  </a:lnTo>
                  <a:lnTo>
                    <a:pt x="36" y="1288"/>
                  </a:lnTo>
                  <a:lnTo>
                    <a:pt x="36" y="1288"/>
                  </a:lnTo>
                  <a:lnTo>
                    <a:pt x="36" y="1290"/>
                  </a:lnTo>
                  <a:lnTo>
                    <a:pt x="38" y="1290"/>
                  </a:lnTo>
                  <a:lnTo>
                    <a:pt x="38" y="1292"/>
                  </a:lnTo>
                  <a:lnTo>
                    <a:pt x="38" y="1293"/>
                  </a:lnTo>
                  <a:lnTo>
                    <a:pt x="38" y="1293"/>
                  </a:lnTo>
                  <a:lnTo>
                    <a:pt x="39" y="1292"/>
                  </a:lnTo>
                  <a:lnTo>
                    <a:pt x="39" y="1292"/>
                  </a:lnTo>
                  <a:lnTo>
                    <a:pt x="39" y="1292"/>
                  </a:lnTo>
                  <a:lnTo>
                    <a:pt x="39" y="1292"/>
                  </a:lnTo>
                  <a:lnTo>
                    <a:pt x="39" y="1292"/>
                  </a:lnTo>
                  <a:lnTo>
                    <a:pt x="39" y="1293"/>
                  </a:lnTo>
                  <a:lnTo>
                    <a:pt x="39" y="1299"/>
                  </a:lnTo>
                  <a:lnTo>
                    <a:pt x="39" y="1301"/>
                  </a:lnTo>
                  <a:lnTo>
                    <a:pt x="39" y="1301"/>
                  </a:lnTo>
                  <a:lnTo>
                    <a:pt x="41" y="1302"/>
                  </a:lnTo>
                  <a:lnTo>
                    <a:pt x="39" y="1302"/>
                  </a:lnTo>
                  <a:lnTo>
                    <a:pt x="39" y="1302"/>
                  </a:lnTo>
                  <a:lnTo>
                    <a:pt x="41" y="1302"/>
                  </a:lnTo>
                  <a:lnTo>
                    <a:pt x="41" y="1304"/>
                  </a:lnTo>
                  <a:lnTo>
                    <a:pt x="41" y="1304"/>
                  </a:lnTo>
                  <a:lnTo>
                    <a:pt x="39" y="1304"/>
                  </a:lnTo>
                  <a:lnTo>
                    <a:pt x="39" y="1306"/>
                  </a:lnTo>
                  <a:lnTo>
                    <a:pt x="39" y="1308"/>
                  </a:lnTo>
                  <a:lnTo>
                    <a:pt x="39" y="1310"/>
                  </a:lnTo>
                  <a:lnTo>
                    <a:pt x="39" y="1311"/>
                  </a:lnTo>
                  <a:lnTo>
                    <a:pt x="39" y="1311"/>
                  </a:lnTo>
                  <a:lnTo>
                    <a:pt x="39" y="1313"/>
                  </a:lnTo>
                  <a:lnTo>
                    <a:pt x="39" y="1313"/>
                  </a:lnTo>
                  <a:lnTo>
                    <a:pt x="39" y="1313"/>
                  </a:lnTo>
                  <a:lnTo>
                    <a:pt x="41" y="1313"/>
                  </a:lnTo>
                  <a:lnTo>
                    <a:pt x="41" y="1313"/>
                  </a:lnTo>
                  <a:lnTo>
                    <a:pt x="41" y="1315"/>
                  </a:lnTo>
                  <a:lnTo>
                    <a:pt x="41" y="1315"/>
                  </a:lnTo>
                  <a:lnTo>
                    <a:pt x="43" y="1315"/>
                  </a:lnTo>
                  <a:lnTo>
                    <a:pt x="43" y="1317"/>
                  </a:lnTo>
                  <a:lnTo>
                    <a:pt x="43" y="1315"/>
                  </a:lnTo>
                  <a:lnTo>
                    <a:pt x="45" y="1310"/>
                  </a:lnTo>
                  <a:lnTo>
                    <a:pt x="45" y="1308"/>
                  </a:lnTo>
                  <a:lnTo>
                    <a:pt x="45" y="1308"/>
                  </a:lnTo>
                  <a:lnTo>
                    <a:pt x="47" y="1306"/>
                  </a:lnTo>
                  <a:lnTo>
                    <a:pt x="47" y="1306"/>
                  </a:lnTo>
                  <a:lnTo>
                    <a:pt x="47" y="1306"/>
                  </a:lnTo>
                  <a:lnTo>
                    <a:pt x="47" y="1306"/>
                  </a:lnTo>
                  <a:lnTo>
                    <a:pt x="48" y="1310"/>
                  </a:lnTo>
                  <a:lnTo>
                    <a:pt x="48" y="1311"/>
                  </a:lnTo>
                  <a:lnTo>
                    <a:pt x="48" y="1311"/>
                  </a:lnTo>
                  <a:lnTo>
                    <a:pt x="47" y="1313"/>
                  </a:lnTo>
                  <a:lnTo>
                    <a:pt x="50" y="1313"/>
                  </a:lnTo>
                  <a:lnTo>
                    <a:pt x="48" y="1315"/>
                  </a:lnTo>
                  <a:lnTo>
                    <a:pt x="47" y="1315"/>
                  </a:lnTo>
                  <a:lnTo>
                    <a:pt x="47" y="1317"/>
                  </a:lnTo>
                  <a:lnTo>
                    <a:pt x="47" y="1317"/>
                  </a:lnTo>
                  <a:lnTo>
                    <a:pt x="48" y="1317"/>
                  </a:lnTo>
                  <a:lnTo>
                    <a:pt x="48" y="1317"/>
                  </a:lnTo>
                  <a:lnTo>
                    <a:pt x="48" y="1317"/>
                  </a:lnTo>
                  <a:lnTo>
                    <a:pt x="48" y="1317"/>
                  </a:lnTo>
                  <a:lnTo>
                    <a:pt x="50" y="1317"/>
                  </a:lnTo>
                  <a:lnTo>
                    <a:pt x="50" y="1319"/>
                  </a:lnTo>
                  <a:lnTo>
                    <a:pt x="50" y="1319"/>
                  </a:lnTo>
                  <a:lnTo>
                    <a:pt x="50" y="1319"/>
                  </a:lnTo>
                  <a:lnTo>
                    <a:pt x="50" y="1320"/>
                  </a:lnTo>
                  <a:lnTo>
                    <a:pt x="52" y="1320"/>
                  </a:lnTo>
                  <a:lnTo>
                    <a:pt x="50" y="1322"/>
                  </a:lnTo>
                  <a:lnTo>
                    <a:pt x="52" y="1322"/>
                  </a:lnTo>
                  <a:lnTo>
                    <a:pt x="52" y="1322"/>
                  </a:lnTo>
                  <a:lnTo>
                    <a:pt x="50" y="1324"/>
                  </a:lnTo>
                  <a:lnTo>
                    <a:pt x="50" y="1324"/>
                  </a:lnTo>
                  <a:lnTo>
                    <a:pt x="50" y="1324"/>
                  </a:lnTo>
                  <a:lnTo>
                    <a:pt x="48" y="1324"/>
                  </a:lnTo>
                  <a:lnTo>
                    <a:pt x="48" y="1326"/>
                  </a:lnTo>
                  <a:lnTo>
                    <a:pt x="48" y="1326"/>
                  </a:lnTo>
                  <a:lnTo>
                    <a:pt x="50" y="1326"/>
                  </a:lnTo>
                  <a:lnTo>
                    <a:pt x="50" y="1326"/>
                  </a:lnTo>
                  <a:lnTo>
                    <a:pt x="52" y="1326"/>
                  </a:lnTo>
                  <a:lnTo>
                    <a:pt x="50" y="1328"/>
                  </a:lnTo>
                  <a:lnTo>
                    <a:pt x="50" y="1328"/>
                  </a:lnTo>
                  <a:lnTo>
                    <a:pt x="48" y="1328"/>
                  </a:lnTo>
                  <a:lnTo>
                    <a:pt x="50" y="1328"/>
                  </a:lnTo>
                  <a:lnTo>
                    <a:pt x="50" y="1329"/>
                  </a:lnTo>
                  <a:lnTo>
                    <a:pt x="52" y="1329"/>
                  </a:lnTo>
                  <a:lnTo>
                    <a:pt x="54" y="1329"/>
                  </a:lnTo>
                  <a:lnTo>
                    <a:pt x="54" y="1329"/>
                  </a:lnTo>
                  <a:lnTo>
                    <a:pt x="54" y="1329"/>
                  </a:lnTo>
                  <a:lnTo>
                    <a:pt x="52" y="1331"/>
                  </a:lnTo>
                  <a:lnTo>
                    <a:pt x="52" y="1331"/>
                  </a:lnTo>
                  <a:lnTo>
                    <a:pt x="54" y="1331"/>
                  </a:lnTo>
                  <a:lnTo>
                    <a:pt x="54" y="1331"/>
                  </a:lnTo>
                  <a:lnTo>
                    <a:pt x="54" y="1333"/>
                  </a:lnTo>
                  <a:lnTo>
                    <a:pt x="54" y="1335"/>
                  </a:lnTo>
                  <a:lnTo>
                    <a:pt x="54" y="1335"/>
                  </a:lnTo>
                  <a:lnTo>
                    <a:pt x="56" y="1338"/>
                  </a:lnTo>
                  <a:lnTo>
                    <a:pt x="56" y="1338"/>
                  </a:lnTo>
                  <a:lnTo>
                    <a:pt x="56" y="1340"/>
                  </a:lnTo>
                  <a:lnTo>
                    <a:pt x="56" y="1342"/>
                  </a:lnTo>
                  <a:lnTo>
                    <a:pt x="56" y="1342"/>
                  </a:lnTo>
                  <a:lnTo>
                    <a:pt x="56" y="1344"/>
                  </a:lnTo>
                  <a:lnTo>
                    <a:pt x="58" y="1346"/>
                  </a:lnTo>
                  <a:lnTo>
                    <a:pt x="59" y="1346"/>
                  </a:lnTo>
                  <a:lnTo>
                    <a:pt x="61" y="1348"/>
                  </a:lnTo>
                  <a:lnTo>
                    <a:pt x="61" y="1348"/>
                  </a:lnTo>
                  <a:lnTo>
                    <a:pt x="61" y="1349"/>
                  </a:lnTo>
                  <a:lnTo>
                    <a:pt x="61" y="1349"/>
                  </a:lnTo>
                  <a:lnTo>
                    <a:pt x="61" y="1349"/>
                  </a:lnTo>
                  <a:lnTo>
                    <a:pt x="61" y="1351"/>
                  </a:lnTo>
                  <a:lnTo>
                    <a:pt x="61" y="1351"/>
                  </a:lnTo>
                  <a:lnTo>
                    <a:pt x="61" y="1351"/>
                  </a:lnTo>
                  <a:lnTo>
                    <a:pt x="61" y="1351"/>
                  </a:lnTo>
                  <a:lnTo>
                    <a:pt x="61" y="1353"/>
                  </a:lnTo>
                  <a:lnTo>
                    <a:pt x="61" y="1355"/>
                  </a:lnTo>
                  <a:lnTo>
                    <a:pt x="61" y="1357"/>
                  </a:lnTo>
                  <a:lnTo>
                    <a:pt x="63" y="1357"/>
                  </a:lnTo>
                  <a:lnTo>
                    <a:pt x="65" y="1358"/>
                  </a:lnTo>
                  <a:lnTo>
                    <a:pt x="67" y="1358"/>
                  </a:lnTo>
                  <a:lnTo>
                    <a:pt x="68" y="1358"/>
                  </a:lnTo>
                  <a:lnTo>
                    <a:pt x="68" y="1360"/>
                  </a:lnTo>
                  <a:lnTo>
                    <a:pt x="68" y="1362"/>
                  </a:lnTo>
                  <a:lnTo>
                    <a:pt x="68" y="1362"/>
                  </a:lnTo>
                  <a:lnTo>
                    <a:pt x="70" y="1362"/>
                  </a:lnTo>
                  <a:lnTo>
                    <a:pt x="70" y="1362"/>
                  </a:lnTo>
                  <a:lnTo>
                    <a:pt x="70" y="1362"/>
                  </a:lnTo>
                  <a:lnTo>
                    <a:pt x="70" y="1362"/>
                  </a:lnTo>
                  <a:lnTo>
                    <a:pt x="70" y="1362"/>
                  </a:lnTo>
                  <a:lnTo>
                    <a:pt x="70" y="1364"/>
                  </a:lnTo>
                  <a:lnTo>
                    <a:pt x="74" y="1366"/>
                  </a:lnTo>
                  <a:lnTo>
                    <a:pt x="74" y="1366"/>
                  </a:lnTo>
                  <a:lnTo>
                    <a:pt x="74" y="1369"/>
                  </a:lnTo>
                  <a:lnTo>
                    <a:pt x="76" y="1371"/>
                  </a:lnTo>
                  <a:lnTo>
                    <a:pt x="76" y="1373"/>
                  </a:lnTo>
                  <a:lnTo>
                    <a:pt x="77" y="1375"/>
                  </a:lnTo>
                  <a:lnTo>
                    <a:pt x="77" y="1375"/>
                  </a:lnTo>
                  <a:lnTo>
                    <a:pt x="77" y="1376"/>
                  </a:lnTo>
                  <a:lnTo>
                    <a:pt x="77" y="1378"/>
                  </a:lnTo>
                  <a:lnTo>
                    <a:pt x="81" y="1382"/>
                  </a:lnTo>
                  <a:lnTo>
                    <a:pt x="81" y="1382"/>
                  </a:lnTo>
                  <a:lnTo>
                    <a:pt x="83" y="1382"/>
                  </a:lnTo>
                  <a:lnTo>
                    <a:pt x="83" y="1382"/>
                  </a:lnTo>
                  <a:lnTo>
                    <a:pt x="85" y="1380"/>
                  </a:lnTo>
                  <a:lnTo>
                    <a:pt x="86" y="1380"/>
                  </a:lnTo>
                  <a:lnTo>
                    <a:pt x="88" y="1382"/>
                  </a:lnTo>
                  <a:lnTo>
                    <a:pt x="88" y="1382"/>
                  </a:lnTo>
                  <a:lnTo>
                    <a:pt x="90" y="1385"/>
                  </a:lnTo>
                  <a:lnTo>
                    <a:pt x="90" y="1391"/>
                  </a:lnTo>
                  <a:lnTo>
                    <a:pt x="92" y="1393"/>
                  </a:lnTo>
                  <a:lnTo>
                    <a:pt x="90" y="1394"/>
                  </a:lnTo>
                  <a:lnTo>
                    <a:pt x="90" y="1396"/>
                  </a:lnTo>
                  <a:lnTo>
                    <a:pt x="90" y="1398"/>
                  </a:lnTo>
                  <a:lnTo>
                    <a:pt x="88" y="1398"/>
                  </a:lnTo>
                  <a:lnTo>
                    <a:pt x="86" y="1400"/>
                  </a:lnTo>
                  <a:lnTo>
                    <a:pt x="79" y="1398"/>
                  </a:lnTo>
                  <a:lnTo>
                    <a:pt x="77" y="1398"/>
                  </a:lnTo>
                  <a:lnTo>
                    <a:pt x="76" y="1402"/>
                  </a:lnTo>
                  <a:lnTo>
                    <a:pt x="76" y="1404"/>
                  </a:lnTo>
                  <a:lnTo>
                    <a:pt x="81" y="1407"/>
                  </a:lnTo>
                  <a:lnTo>
                    <a:pt x="83" y="1411"/>
                  </a:lnTo>
                  <a:lnTo>
                    <a:pt x="83" y="1413"/>
                  </a:lnTo>
                  <a:lnTo>
                    <a:pt x="86" y="1414"/>
                  </a:lnTo>
                  <a:lnTo>
                    <a:pt x="86" y="1416"/>
                  </a:lnTo>
                  <a:lnTo>
                    <a:pt x="85" y="1418"/>
                  </a:lnTo>
                  <a:lnTo>
                    <a:pt x="85" y="1418"/>
                  </a:lnTo>
                  <a:lnTo>
                    <a:pt x="85" y="1420"/>
                  </a:lnTo>
                  <a:lnTo>
                    <a:pt x="83" y="1420"/>
                  </a:lnTo>
                  <a:lnTo>
                    <a:pt x="81" y="1420"/>
                  </a:lnTo>
                  <a:lnTo>
                    <a:pt x="81" y="1420"/>
                  </a:lnTo>
                  <a:lnTo>
                    <a:pt x="79" y="1420"/>
                  </a:lnTo>
                  <a:lnTo>
                    <a:pt x="79" y="1420"/>
                  </a:lnTo>
                  <a:lnTo>
                    <a:pt x="79" y="1420"/>
                  </a:lnTo>
                  <a:lnTo>
                    <a:pt x="77" y="1418"/>
                  </a:lnTo>
                  <a:lnTo>
                    <a:pt x="77" y="1418"/>
                  </a:lnTo>
                  <a:lnTo>
                    <a:pt x="77" y="1418"/>
                  </a:lnTo>
                  <a:lnTo>
                    <a:pt x="77" y="1416"/>
                  </a:lnTo>
                  <a:lnTo>
                    <a:pt x="76" y="1416"/>
                  </a:lnTo>
                  <a:lnTo>
                    <a:pt x="67" y="1413"/>
                  </a:lnTo>
                  <a:lnTo>
                    <a:pt x="67" y="1413"/>
                  </a:lnTo>
                  <a:lnTo>
                    <a:pt x="68" y="1414"/>
                  </a:lnTo>
                  <a:lnTo>
                    <a:pt x="70" y="1416"/>
                  </a:lnTo>
                  <a:lnTo>
                    <a:pt x="72" y="1420"/>
                  </a:lnTo>
                  <a:lnTo>
                    <a:pt x="72" y="1420"/>
                  </a:lnTo>
                  <a:lnTo>
                    <a:pt x="72" y="1423"/>
                  </a:lnTo>
                  <a:lnTo>
                    <a:pt x="72" y="1423"/>
                  </a:lnTo>
                  <a:lnTo>
                    <a:pt x="74" y="1429"/>
                  </a:lnTo>
                  <a:lnTo>
                    <a:pt x="74" y="1429"/>
                  </a:lnTo>
                  <a:lnTo>
                    <a:pt x="79" y="1434"/>
                  </a:lnTo>
                  <a:lnTo>
                    <a:pt x="79" y="1436"/>
                  </a:lnTo>
                  <a:lnTo>
                    <a:pt x="79" y="1438"/>
                  </a:lnTo>
                  <a:lnTo>
                    <a:pt x="79" y="1438"/>
                  </a:lnTo>
                  <a:lnTo>
                    <a:pt x="81" y="1440"/>
                  </a:lnTo>
                  <a:lnTo>
                    <a:pt x="81" y="1440"/>
                  </a:lnTo>
                  <a:lnTo>
                    <a:pt x="83" y="1441"/>
                  </a:lnTo>
                  <a:lnTo>
                    <a:pt x="83" y="1443"/>
                  </a:lnTo>
                  <a:lnTo>
                    <a:pt x="83" y="1443"/>
                  </a:lnTo>
                  <a:lnTo>
                    <a:pt x="83" y="1445"/>
                  </a:lnTo>
                  <a:lnTo>
                    <a:pt x="83" y="1445"/>
                  </a:lnTo>
                  <a:lnTo>
                    <a:pt x="85" y="1445"/>
                  </a:lnTo>
                  <a:lnTo>
                    <a:pt x="85" y="1445"/>
                  </a:lnTo>
                  <a:lnTo>
                    <a:pt x="85" y="1447"/>
                  </a:lnTo>
                  <a:lnTo>
                    <a:pt x="85" y="1447"/>
                  </a:lnTo>
                  <a:lnTo>
                    <a:pt x="85" y="1449"/>
                  </a:lnTo>
                  <a:lnTo>
                    <a:pt x="85" y="1450"/>
                  </a:lnTo>
                  <a:lnTo>
                    <a:pt x="86" y="1452"/>
                  </a:lnTo>
                  <a:lnTo>
                    <a:pt x="88" y="1452"/>
                  </a:lnTo>
                  <a:lnTo>
                    <a:pt x="90" y="1454"/>
                  </a:lnTo>
                  <a:lnTo>
                    <a:pt x="92" y="1458"/>
                  </a:lnTo>
                  <a:lnTo>
                    <a:pt x="90" y="1459"/>
                  </a:lnTo>
                  <a:lnTo>
                    <a:pt x="90" y="1459"/>
                  </a:lnTo>
                  <a:lnTo>
                    <a:pt x="90" y="1461"/>
                  </a:lnTo>
                  <a:lnTo>
                    <a:pt x="90" y="1461"/>
                  </a:lnTo>
                  <a:lnTo>
                    <a:pt x="90" y="1461"/>
                  </a:lnTo>
                  <a:lnTo>
                    <a:pt x="92" y="1461"/>
                  </a:lnTo>
                  <a:lnTo>
                    <a:pt x="92" y="1461"/>
                  </a:lnTo>
                  <a:lnTo>
                    <a:pt x="94" y="1463"/>
                  </a:lnTo>
                  <a:lnTo>
                    <a:pt x="94" y="1463"/>
                  </a:lnTo>
                  <a:lnTo>
                    <a:pt x="95" y="1463"/>
                  </a:lnTo>
                  <a:lnTo>
                    <a:pt x="95" y="1465"/>
                  </a:lnTo>
                  <a:lnTo>
                    <a:pt x="95" y="1465"/>
                  </a:lnTo>
                  <a:lnTo>
                    <a:pt x="97" y="1467"/>
                  </a:lnTo>
                  <a:lnTo>
                    <a:pt x="97" y="1469"/>
                  </a:lnTo>
                  <a:lnTo>
                    <a:pt x="97" y="1470"/>
                  </a:lnTo>
                  <a:lnTo>
                    <a:pt x="97" y="1470"/>
                  </a:lnTo>
                  <a:lnTo>
                    <a:pt x="95" y="1472"/>
                  </a:lnTo>
                  <a:lnTo>
                    <a:pt x="95" y="1472"/>
                  </a:lnTo>
                  <a:lnTo>
                    <a:pt x="92" y="1476"/>
                  </a:lnTo>
                  <a:lnTo>
                    <a:pt x="90" y="1478"/>
                  </a:lnTo>
                  <a:lnTo>
                    <a:pt x="90" y="1479"/>
                  </a:lnTo>
                  <a:lnTo>
                    <a:pt x="90" y="1483"/>
                  </a:lnTo>
                  <a:lnTo>
                    <a:pt x="94" y="1487"/>
                  </a:lnTo>
                  <a:lnTo>
                    <a:pt x="94" y="1488"/>
                  </a:lnTo>
                  <a:lnTo>
                    <a:pt x="92" y="1488"/>
                  </a:lnTo>
                  <a:lnTo>
                    <a:pt x="92" y="1488"/>
                  </a:lnTo>
                  <a:lnTo>
                    <a:pt x="92" y="1488"/>
                  </a:lnTo>
                  <a:lnTo>
                    <a:pt x="92" y="1490"/>
                  </a:lnTo>
                  <a:lnTo>
                    <a:pt x="92" y="1490"/>
                  </a:lnTo>
                  <a:lnTo>
                    <a:pt x="90" y="1490"/>
                  </a:lnTo>
                  <a:lnTo>
                    <a:pt x="90" y="1492"/>
                  </a:lnTo>
                  <a:lnTo>
                    <a:pt x="88" y="1490"/>
                  </a:lnTo>
                  <a:lnTo>
                    <a:pt x="88" y="1490"/>
                  </a:lnTo>
                  <a:lnTo>
                    <a:pt x="88" y="1490"/>
                  </a:lnTo>
                  <a:lnTo>
                    <a:pt x="88" y="1490"/>
                  </a:lnTo>
                  <a:lnTo>
                    <a:pt x="86" y="1490"/>
                  </a:lnTo>
                  <a:lnTo>
                    <a:pt x="85" y="1492"/>
                  </a:lnTo>
                  <a:lnTo>
                    <a:pt x="86" y="1494"/>
                  </a:lnTo>
                  <a:lnTo>
                    <a:pt x="86" y="1494"/>
                  </a:lnTo>
                  <a:lnTo>
                    <a:pt x="88" y="1494"/>
                  </a:lnTo>
                  <a:lnTo>
                    <a:pt x="88" y="1494"/>
                  </a:lnTo>
                  <a:lnTo>
                    <a:pt x="88" y="1494"/>
                  </a:lnTo>
                  <a:lnTo>
                    <a:pt x="90" y="1494"/>
                  </a:lnTo>
                  <a:lnTo>
                    <a:pt x="90" y="1494"/>
                  </a:lnTo>
                  <a:lnTo>
                    <a:pt x="90" y="1494"/>
                  </a:lnTo>
                  <a:lnTo>
                    <a:pt x="92" y="1494"/>
                  </a:lnTo>
                  <a:lnTo>
                    <a:pt x="92" y="1492"/>
                  </a:lnTo>
                  <a:lnTo>
                    <a:pt x="94" y="1492"/>
                  </a:lnTo>
                  <a:lnTo>
                    <a:pt x="94" y="1492"/>
                  </a:lnTo>
                  <a:lnTo>
                    <a:pt x="94" y="1494"/>
                  </a:lnTo>
                  <a:lnTo>
                    <a:pt x="95" y="1494"/>
                  </a:lnTo>
                  <a:lnTo>
                    <a:pt x="95" y="1494"/>
                  </a:lnTo>
                  <a:lnTo>
                    <a:pt x="95" y="1494"/>
                  </a:lnTo>
                  <a:lnTo>
                    <a:pt x="97" y="1494"/>
                  </a:lnTo>
                  <a:lnTo>
                    <a:pt x="99" y="1494"/>
                  </a:lnTo>
                  <a:lnTo>
                    <a:pt x="108" y="1497"/>
                  </a:lnTo>
                  <a:lnTo>
                    <a:pt x="110" y="1497"/>
                  </a:lnTo>
                  <a:lnTo>
                    <a:pt x="114" y="1497"/>
                  </a:lnTo>
                  <a:lnTo>
                    <a:pt x="115" y="1497"/>
                  </a:lnTo>
                  <a:lnTo>
                    <a:pt x="119" y="1494"/>
                  </a:lnTo>
                  <a:lnTo>
                    <a:pt x="121" y="1494"/>
                  </a:lnTo>
                  <a:lnTo>
                    <a:pt x="123" y="1494"/>
                  </a:lnTo>
                  <a:lnTo>
                    <a:pt x="124" y="1494"/>
                  </a:lnTo>
                  <a:lnTo>
                    <a:pt x="124" y="1492"/>
                  </a:lnTo>
                  <a:lnTo>
                    <a:pt x="124" y="1492"/>
                  </a:lnTo>
                  <a:lnTo>
                    <a:pt x="126" y="1492"/>
                  </a:lnTo>
                  <a:lnTo>
                    <a:pt x="126" y="1490"/>
                  </a:lnTo>
                  <a:lnTo>
                    <a:pt x="133" y="1490"/>
                  </a:lnTo>
                  <a:lnTo>
                    <a:pt x="135" y="1490"/>
                  </a:lnTo>
                  <a:lnTo>
                    <a:pt x="137" y="1490"/>
                  </a:lnTo>
                  <a:lnTo>
                    <a:pt x="137" y="1490"/>
                  </a:lnTo>
                  <a:lnTo>
                    <a:pt x="139" y="1490"/>
                  </a:lnTo>
                  <a:lnTo>
                    <a:pt x="139" y="1490"/>
                  </a:lnTo>
                  <a:lnTo>
                    <a:pt x="141" y="1490"/>
                  </a:lnTo>
                  <a:lnTo>
                    <a:pt x="142" y="1490"/>
                  </a:lnTo>
                  <a:lnTo>
                    <a:pt x="146" y="1494"/>
                  </a:lnTo>
                  <a:lnTo>
                    <a:pt x="148" y="1494"/>
                  </a:lnTo>
                  <a:lnTo>
                    <a:pt x="150" y="1494"/>
                  </a:lnTo>
                  <a:lnTo>
                    <a:pt x="151" y="1494"/>
                  </a:lnTo>
                  <a:lnTo>
                    <a:pt x="153" y="1494"/>
                  </a:lnTo>
                  <a:lnTo>
                    <a:pt x="153" y="1492"/>
                  </a:lnTo>
                  <a:lnTo>
                    <a:pt x="155" y="1492"/>
                  </a:lnTo>
                  <a:lnTo>
                    <a:pt x="157" y="1487"/>
                  </a:lnTo>
                  <a:lnTo>
                    <a:pt x="159" y="1487"/>
                  </a:lnTo>
                  <a:lnTo>
                    <a:pt x="159" y="1487"/>
                  </a:lnTo>
                  <a:lnTo>
                    <a:pt x="162" y="1483"/>
                  </a:lnTo>
                  <a:lnTo>
                    <a:pt x="162" y="1481"/>
                  </a:lnTo>
                  <a:lnTo>
                    <a:pt x="162" y="1479"/>
                  </a:lnTo>
                  <a:lnTo>
                    <a:pt x="162" y="1478"/>
                  </a:lnTo>
                  <a:lnTo>
                    <a:pt x="160" y="1476"/>
                  </a:lnTo>
                  <a:lnTo>
                    <a:pt x="159" y="1474"/>
                  </a:lnTo>
                  <a:lnTo>
                    <a:pt x="159" y="1474"/>
                  </a:lnTo>
                  <a:lnTo>
                    <a:pt x="159" y="1472"/>
                  </a:lnTo>
                  <a:lnTo>
                    <a:pt x="159" y="1470"/>
                  </a:lnTo>
                  <a:lnTo>
                    <a:pt x="159" y="1470"/>
                  </a:lnTo>
                  <a:lnTo>
                    <a:pt x="159" y="1469"/>
                  </a:lnTo>
                  <a:lnTo>
                    <a:pt x="157" y="1469"/>
                  </a:lnTo>
                  <a:lnTo>
                    <a:pt x="155" y="1467"/>
                  </a:lnTo>
                  <a:lnTo>
                    <a:pt x="155" y="1465"/>
                  </a:lnTo>
                  <a:lnTo>
                    <a:pt x="153" y="1463"/>
                  </a:lnTo>
                  <a:lnTo>
                    <a:pt x="153" y="1463"/>
                  </a:lnTo>
                  <a:lnTo>
                    <a:pt x="153" y="1459"/>
                  </a:lnTo>
                  <a:lnTo>
                    <a:pt x="155" y="1456"/>
                  </a:lnTo>
                  <a:lnTo>
                    <a:pt x="155" y="1452"/>
                  </a:lnTo>
                  <a:lnTo>
                    <a:pt x="157" y="1449"/>
                  </a:lnTo>
                  <a:lnTo>
                    <a:pt x="160" y="1449"/>
                  </a:lnTo>
                  <a:lnTo>
                    <a:pt x="160" y="1447"/>
                  </a:lnTo>
                  <a:lnTo>
                    <a:pt x="160" y="1445"/>
                  </a:lnTo>
                  <a:lnTo>
                    <a:pt x="162" y="1443"/>
                  </a:lnTo>
                  <a:lnTo>
                    <a:pt x="162" y="1443"/>
                  </a:lnTo>
                  <a:lnTo>
                    <a:pt x="164" y="1443"/>
                  </a:lnTo>
                  <a:lnTo>
                    <a:pt x="164" y="1441"/>
                  </a:lnTo>
                  <a:lnTo>
                    <a:pt x="166" y="1440"/>
                  </a:lnTo>
                  <a:lnTo>
                    <a:pt x="168" y="1436"/>
                  </a:lnTo>
                  <a:lnTo>
                    <a:pt x="169" y="1436"/>
                  </a:lnTo>
                  <a:lnTo>
                    <a:pt x="169" y="1436"/>
                  </a:lnTo>
                  <a:lnTo>
                    <a:pt x="171" y="1436"/>
                  </a:lnTo>
                  <a:lnTo>
                    <a:pt x="171" y="1434"/>
                  </a:lnTo>
                  <a:lnTo>
                    <a:pt x="173" y="1434"/>
                  </a:lnTo>
                  <a:lnTo>
                    <a:pt x="173" y="1434"/>
                  </a:lnTo>
                  <a:lnTo>
                    <a:pt x="173" y="1434"/>
                  </a:lnTo>
                  <a:lnTo>
                    <a:pt x="173" y="1436"/>
                  </a:lnTo>
                  <a:lnTo>
                    <a:pt x="175" y="1434"/>
                  </a:lnTo>
                  <a:lnTo>
                    <a:pt x="175" y="1436"/>
                  </a:lnTo>
                  <a:lnTo>
                    <a:pt x="175" y="1436"/>
                  </a:lnTo>
                  <a:lnTo>
                    <a:pt x="175" y="1436"/>
                  </a:lnTo>
                  <a:lnTo>
                    <a:pt x="175" y="1438"/>
                  </a:lnTo>
                  <a:lnTo>
                    <a:pt x="175" y="1438"/>
                  </a:lnTo>
                  <a:lnTo>
                    <a:pt x="175" y="1438"/>
                  </a:lnTo>
                  <a:lnTo>
                    <a:pt x="175" y="1438"/>
                  </a:lnTo>
                  <a:lnTo>
                    <a:pt x="177" y="1438"/>
                  </a:lnTo>
                  <a:lnTo>
                    <a:pt x="177" y="1438"/>
                  </a:lnTo>
                  <a:lnTo>
                    <a:pt x="177" y="1440"/>
                  </a:lnTo>
                  <a:lnTo>
                    <a:pt x="179" y="1440"/>
                  </a:lnTo>
                  <a:lnTo>
                    <a:pt x="179" y="1438"/>
                  </a:lnTo>
                  <a:lnTo>
                    <a:pt x="179" y="1438"/>
                  </a:lnTo>
                  <a:lnTo>
                    <a:pt x="180" y="1438"/>
                  </a:lnTo>
                  <a:lnTo>
                    <a:pt x="180" y="1440"/>
                  </a:lnTo>
                  <a:lnTo>
                    <a:pt x="180" y="1440"/>
                  </a:lnTo>
                  <a:lnTo>
                    <a:pt x="180" y="1440"/>
                  </a:lnTo>
                  <a:lnTo>
                    <a:pt x="180" y="1438"/>
                  </a:lnTo>
                  <a:lnTo>
                    <a:pt x="182" y="1438"/>
                  </a:lnTo>
                  <a:lnTo>
                    <a:pt x="182" y="1438"/>
                  </a:lnTo>
                  <a:lnTo>
                    <a:pt x="182" y="1436"/>
                  </a:lnTo>
                  <a:lnTo>
                    <a:pt x="182" y="1436"/>
                  </a:lnTo>
                  <a:lnTo>
                    <a:pt x="182" y="1434"/>
                  </a:lnTo>
                  <a:lnTo>
                    <a:pt x="180" y="1432"/>
                  </a:lnTo>
                  <a:lnTo>
                    <a:pt x="180" y="1431"/>
                  </a:lnTo>
                  <a:lnTo>
                    <a:pt x="180" y="1431"/>
                  </a:lnTo>
                  <a:lnTo>
                    <a:pt x="179" y="1431"/>
                  </a:lnTo>
                  <a:lnTo>
                    <a:pt x="179" y="1429"/>
                  </a:lnTo>
                  <a:lnTo>
                    <a:pt x="179" y="1429"/>
                  </a:lnTo>
                  <a:lnTo>
                    <a:pt x="179" y="1429"/>
                  </a:lnTo>
                  <a:lnTo>
                    <a:pt x="179" y="1427"/>
                  </a:lnTo>
                  <a:lnTo>
                    <a:pt x="179" y="1427"/>
                  </a:lnTo>
                  <a:lnTo>
                    <a:pt x="179" y="1425"/>
                  </a:lnTo>
                  <a:lnTo>
                    <a:pt x="180" y="1425"/>
                  </a:lnTo>
                  <a:lnTo>
                    <a:pt x="182" y="1425"/>
                  </a:lnTo>
                  <a:lnTo>
                    <a:pt x="184" y="1425"/>
                  </a:lnTo>
                  <a:lnTo>
                    <a:pt x="184" y="1427"/>
                  </a:lnTo>
                  <a:lnTo>
                    <a:pt x="186" y="1427"/>
                  </a:lnTo>
                  <a:lnTo>
                    <a:pt x="186" y="1427"/>
                  </a:lnTo>
                  <a:lnTo>
                    <a:pt x="186" y="1425"/>
                  </a:lnTo>
                  <a:lnTo>
                    <a:pt x="188" y="1425"/>
                  </a:lnTo>
                  <a:lnTo>
                    <a:pt x="189" y="1425"/>
                  </a:lnTo>
                  <a:lnTo>
                    <a:pt x="191" y="1425"/>
                  </a:lnTo>
                  <a:lnTo>
                    <a:pt x="191" y="1423"/>
                  </a:lnTo>
                  <a:lnTo>
                    <a:pt x="193" y="1425"/>
                  </a:lnTo>
                  <a:lnTo>
                    <a:pt x="197" y="1425"/>
                  </a:lnTo>
                  <a:lnTo>
                    <a:pt x="197" y="1425"/>
                  </a:lnTo>
                  <a:lnTo>
                    <a:pt x="197" y="1423"/>
                  </a:lnTo>
                  <a:lnTo>
                    <a:pt x="197" y="1423"/>
                  </a:lnTo>
                  <a:lnTo>
                    <a:pt x="197" y="1423"/>
                  </a:lnTo>
                  <a:lnTo>
                    <a:pt x="198" y="1423"/>
                  </a:lnTo>
                  <a:lnTo>
                    <a:pt x="198" y="1423"/>
                  </a:lnTo>
                  <a:lnTo>
                    <a:pt x="198" y="1423"/>
                  </a:lnTo>
                  <a:lnTo>
                    <a:pt x="198" y="1425"/>
                  </a:lnTo>
                  <a:lnTo>
                    <a:pt x="198" y="1425"/>
                  </a:lnTo>
                  <a:lnTo>
                    <a:pt x="200" y="1425"/>
                  </a:lnTo>
                  <a:lnTo>
                    <a:pt x="202" y="1425"/>
                  </a:lnTo>
                  <a:lnTo>
                    <a:pt x="202" y="1425"/>
                  </a:lnTo>
                  <a:lnTo>
                    <a:pt x="202" y="1425"/>
                  </a:lnTo>
                  <a:lnTo>
                    <a:pt x="202" y="1425"/>
                  </a:lnTo>
                  <a:lnTo>
                    <a:pt x="204" y="1425"/>
                  </a:lnTo>
                  <a:lnTo>
                    <a:pt x="206" y="1425"/>
                  </a:lnTo>
                  <a:lnTo>
                    <a:pt x="207" y="1423"/>
                  </a:lnTo>
                  <a:lnTo>
                    <a:pt x="209" y="1423"/>
                  </a:lnTo>
                  <a:lnTo>
                    <a:pt x="209" y="1425"/>
                  </a:lnTo>
                  <a:lnTo>
                    <a:pt x="211" y="1425"/>
                  </a:lnTo>
                  <a:lnTo>
                    <a:pt x="209" y="1425"/>
                  </a:lnTo>
                  <a:lnTo>
                    <a:pt x="209" y="1427"/>
                  </a:lnTo>
                  <a:lnTo>
                    <a:pt x="209" y="1427"/>
                  </a:lnTo>
                  <a:lnTo>
                    <a:pt x="211" y="1427"/>
                  </a:lnTo>
                  <a:lnTo>
                    <a:pt x="213" y="1427"/>
                  </a:lnTo>
                  <a:lnTo>
                    <a:pt x="213" y="1427"/>
                  </a:lnTo>
                  <a:lnTo>
                    <a:pt x="213" y="1425"/>
                  </a:lnTo>
                  <a:lnTo>
                    <a:pt x="213" y="1425"/>
                  </a:lnTo>
                  <a:lnTo>
                    <a:pt x="215" y="1423"/>
                  </a:lnTo>
                  <a:lnTo>
                    <a:pt x="215" y="1423"/>
                  </a:lnTo>
                  <a:lnTo>
                    <a:pt x="215" y="1423"/>
                  </a:lnTo>
                  <a:lnTo>
                    <a:pt x="216" y="1423"/>
                  </a:lnTo>
                  <a:lnTo>
                    <a:pt x="216" y="1423"/>
                  </a:lnTo>
                  <a:lnTo>
                    <a:pt x="216" y="1425"/>
                  </a:lnTo>
                  <a:lnTo>
                    <a:pt x="216" y="1425"/>
                  </a:lnTo>
                  <a:lnTo>
                    <a:pt x="218" y="1425"/>
                  </a:lnTo>
                  <a:lnTo>
                    <a:pt x="218" y="1425"/>
                  </a:lnTo>
                  <a:lnTo>
                    <a:pt x="218" y="1423"/>
                  </a:lnTo>
                  <a:lnTo>
                    <a:pt x="218" y="1423"/>
                  </a:lnTo>
                  <a:lnTo>
                    <a:pt x="220" y="1423"/>
                  </a:lnTo>
                  <a:lnTo>
                    <a:pt x="224" y="1422"/>
                  </a:lnTo>
                  <a:lnTo>
                    <a:pt x="224" y="1422"/>
                  </a:lnTo>
                  <a:lnTo>
                    <a:pt x="224" y="1422"/>
                  </a:lnTo>
                  <a:lnTo>
                    <a:pt x="224" y="1422"/>
                  </a:lnTo>
                  <a:lnTo>
                    <a:pt x="224" y="1423"/>
                  </a:lnTo>
                  <a:lnTo>
                    <a:pt x="224" y="1423"/>
                  </a:lnTo>
                  <a:lnTo>
                    <a:pt x="224" y="1425"/>
                  </a:lnTo>
                  <a:lnTo>
                    <a:pt x="225" y="1425"/>
                  </a:lnTo>
                  <a:lnTo>
                    <a:pt x="225" y="1423"/>
                  </a:lnTo>
                  <a:lnTo>
                    <a:pt x="227" y="1422"/>
                  </a:lnTo>
                  <a:lnTo>
                    <a:pt x="227" y="1422"/>
                  </a:lnTo>
                  <a:lnTo>
                    <a:pt x="227" y="1423"/>
                  </a:lnTo>
                  <a:lnTo>
                    <a:pt x="229" y="1423"/>
                  </a:lnTo>
                  <a:lnTo>
                    <a:pt x="229" y="1423"/>
                  </a:lnTo>
                  <a:lnTo>
                    <a:pt x="229" y="1423"/>
                  </a:lnTo>
                  <a:lnTo>
                    <a:pt x="229" y="1425"/>
                  </a:lnTo>
                  <a:lnTo>
                    <a:pt x="229" y="1423"/>
                  </a:lnTo>
                  <a:lnTo>
                    <a:pt x="231" y="1425"/>
                  </a:lnTo>
                  <a:lnTo>
                    <a:pt x="233" y="1425"/>
                  </a:lnTo>
                  <a:lnTo>
                    <a:pt x="234" y="1425"/>
                  </a:lnTo>
                  <a:lnTo>
                    <a:pt x="236" y="1425"/>
                  </a:lnTo>
                  <a:lnTo>
                    <a:pt x="234" y="1427"/>
                  </a:lnTo>
                  <a:lnTo>
                    <a:pt x="234" y="1431"/>
                  </a:lnTo>
                  <a:lnTo>
                    <a:pt x="234" y="1431"/>
                  </a:lnTo>
                  <a:lnTo>
                    <a:pt x="236" y="1432"/>
                  </a:lnTo>
                  <a:lnTo>
                    <a:pt x="236" y="1432"/>
                  </a:lnTo>
                  <a:lnTo>
                    <a:pt x="238" y="1431"/>
                  </a:lnTo>
                  <a:lnTo>
                    <a:pt x="242" y="1423"/>
                  </a:lnTo>
                  <a:lnTo>
                    <a:pt x="242" y="1423"/>
                  </a:lnTo>
                  <a:lnTo>
                    <a:pt x="244" y="1422"/>
                  </a:lnTo>
                  <a:lnTo>
                    <a:pt x="245" y="1420"/>
                  </a:lnTo>
                  <a:lnTo>
                    <a:pt x="245" y="1420"/>
                  </a:lnTo>
                  <a:lnTo>
                    <a:pt x="245" y="1418"/>
                  </a:lnTo>
                  <a:lnTo>
                    <a:pt x="245" y="1418"/>
                  </a:lnTo>
                  <a:lnTo>
                    <a:pt x="245" y="1418"/>
                  </a:lnTo>
                  <a:lnTo>
                    <a:pt x="245" y="1416"/>
                  </a:lnTo>
                  <a:lnTo>
                    <a:pt x="247" y="1409"/>
                  </a:lnTo>
                  <a:lnTo>
                    <a:pt x="249" y="1402"/>
                  </a:lnTo>
                  <a:lnTo>
                    <a:pt x="251" y="1398"/>
                  </a:lnTo>
                  <a:lnTo>
                    <a:pt x="253" y="1394"/>
                  </a:lnTo>
                  <a:lnTo>
                    <a:pt x="253" y="1393"/>
                  </a:lnTo>
                  <a:lnTo>
                    <a:pt x="253" y="1391"/>
                  </a:lnTo>
                  <a:lnTo>
                    <a:pt x="254" y="1391"/>
                  </a:lnTo>
                  <a:lnTo>
                    <a:pt x="254" y="1391"/>
                  </a:lnTo>
                  <a:lnTo>
                    <a:pt x="254" y="1387"/>
                  </a:lnTo>
                  <a:lnTo>
                    <a:pt x="254" y="1385"/>
                  </a:lnTo>
                  <a:lnTo>
                    <a:pt x="256" y="1385"/>
                  </a:lnTo>
                  <a:lnTo>
                    <a:pt x="256" y="1385"/>
                  </a:lnTo>
                  <a:lnTo>
                    <a:pt x="256" y="1384"/>
                  </a:lnTo>
                  <a:lnTo>
                    <a:pt x="256" y="1382"/>
                  </a:lnTo>
                  <a:lnTo>
                    <a:pt x="256" y="1380"/>
                  </a:lnTo>
                  <a:lnTo>
                    <a:pt x="258" y="1380"/>
                  </a:lnTo>
                  <a:lnTo>
                    <a:pt x="258" y="1380"/>
                  </a:lnTo>
                  <a:lnTo>
                    <a:pt x="258" y="1380"/>
                  </a:lnTo>
                  <a:lnTo>
                    <a:pt x="260" y="1380"/>
                  </a:lnTo>
                  <a:lnTo>
                    <a:pt x="260" y="1380"/>
                  </a:lnTo>
                  <a:lnTo>
                    <a:pt x="262" y="1380"/>
                  </a:lnTo>
                  <a:lnTo>
                    <a:pt x="262" y="1380"/>
                  </a:lnTo>
                  <a:lnTo>
                    <a:pt x="263" y="1380"/>
                  </a:lnTo>
                  <a:lnTo>
                    <a:pt x="263" y="1378"/>
                  </a:lnTo>
                  <a:lnTo>
                    <a:pt x="263" y="1376"/>
                  </a:lnTo>
                  <a:lnTo>
                    <a:pt x="263" y="1375"/>
                  </a:lnTo>
                  <a:lnTo>
                    <a:pt x="262" y="1373"/>
                  </a:lnTo>
                  <a:lnTo>
                    <a:pt x="262" y="1371"/>
                  </a:lnTo>
                  <a:lnTo>
                    <a:pt x="262" y="1371"/>
                  </a:lnTo>
                  <a:lnTo>
                    <a:pt x="263" y="1371"/>
                  </a:lnTo>
                  <a:lnTo>
                    <a:pt x="263" y="1369"/>
                  </a:lnTo>
                  <a:lnTo>
                    <a:pt x="265" y="1369"/>
                  </a:lnTo>
                  <a:lnTo>
                    <a:pt x="265" y="1369"/>
                  </a:lnTo>
                  <a:lnTo>
                    <a:pt x="267" y="1371"/>
                  </a:lnTo>
                  <a:lnTo>
                    <a:pt x="267" y="1369"/>
                  </a:lnTo>
                  <a:lnTo>
                    <a:pt x="267" y="1369"/>
                  </a:lnTo>
                  <a:lnTo>
                    <a:pt x="269" y="1369"/>
                  </a:lnTo>
                  <a:lnTo>
                    <a:pt x="267" y="1367"/>
                  </a:lnTo>
                  <a:lnTo>
                    <a:pt x="267" y="1367"/>
                  </a:lnTo>
                  <a:lnTo>
                    <a:pt x="267" y="1367"/>
                  </a:lnTo>
                  <a:lnTo>
                    <a:pt x="267" y="1369"/>
                  </a:lnTo>
                  <a:lnTo>
                    <a:pt x="265" y="1369"/>
                  </a:lnTo>
                  <a:lnTo>
                    <a:pt x="265" y="1369"/>
                  </a:lnTo>
                  <a:lnTo>
                    <a:pt x="265" y="1367"/>
                  </a:lnTo>
                  <a:lnTo>
                    <a:pt x="265" y="1367"/>
                  </a:lnTo>
                  <a:lnTo>
                    <a:pt x="265" y="1362"/>
                  </a:lnTo>
                  <a:lnTo>
                    <a:pt x="267" y="1362"/>
                  </a:lnTo>
                  <a:lnTo>
                    <a:pt x="267" y="1360"/>
                  </a:lnTo>
                  <a:lnTo>
                    <a:pt x="265" y="1358"/>
                  </a:lnTo>
                  <a:lnTo>
                    <a:pt x="265" y="1357"/>
                  </a:lnTo>
                  <a:lnTo>
                    <a:pt x="267" y="1355"/>
                  </a:lnTo>
                  <a:lnTo>
                    <a:pt x="267" y="1353"/>
                  </a:lnTo>
                  <a:lnTo>
                    <a:pt x="267" y="1353"/>
                  </a:lnTo>
                  <a:lnTo>
                    <a:pt x="267" y="1353"/>
                  </a:lnTo>
                  <a:lnTo>
                    <a:pt x="267" y="1351"/>
                  </a:lnTo>
                  <a:lnTo>
                    <a:pt x="265" y="1349"/>
                  </a:lnTo>
                  <a:lnTo>
                    <a:pt x="267" y="1348"/>
                  </a:lnTo>
                  <a:lnTo>
                    <a:pt x="267" y="1348"/>
                  </a:lnTo>
                  <a:lnTo>
                    <a:pt x="269" y="1348"/>
                  </a:lnTo>
                  <a:lnTo>
                    <a:pt x="269" y="1346"/>
                  </a:lnTo>
                  <a:lnTo>
                    <a:pt x="267" y="1346"/>
                  </a:lnTo>
                  <a:lnTo>
                    <a:pt x="267" y="1346"/>
                  </a:lnTo>
                  <a:lnTo>
                    <a:pt x="267" y="1346"/>
                  </a:lnTo>
                  <a:lnTo>
                    <a:pt x="267" y="1344"/>
                  </a:lnTo>
                  <a:lnTo>
                    <a:pt x="267" y="1344"/>
                  </a:lnTo>
                  <a:lnTo>
                    <a:pt x="269" y="1344"/>
                  </a:lnTo>
                  <a:lnTo>
                    <a:pt x="269" y="1346"/>
                  </a:lnTo>
                  <a:lnTo>
                    <a:pt x="269" y="1346"/>
                  </a:lnTo>
                  <a:lnTo>
                    <a:pt x="269" y="1346"/>
                  </a:lnTo>
                  <a:lnTo>
                    <a:pt x="269" y="1346"/>
                  </a:lnTo>
                  <a:lnTo>
                    <a:pt x="269" y="1346"/>
                  </a:lnTo>
                  <a:lnTo>
                    <a:pt x="269" y="1344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46"/>
                  </a:lnTo>
                  <a:lnTo>
                    <a:pt x="274" y="1346"/>
                  </a:lnTo>
                  <a:lnTo>
                    <a:pt x="272" y="1344"/>
                  </a:lnTo>
                  <a:lnTo>
                    <a:pt x="272" y="1342"/>
                  </a:lnTo>
                  <a:lnTo>
                    <a:pt x="272" y="1342"/>
                  </a:lnTo>
                  <a:lnTo>
                    <a:pt x="272" y="1340"/>
                  </a:lnTo>
                  <a:lnTo>
                    <a:pt x="272" y="1338"/>
                  </a:lnTo>
                  <a:lnTo>
                    <a:pt x="271" y="1338"/>
                  </a:lnTo>
                  <a:lnTo>
                    <a:pt x="271" y="1338"/>
                  </a:lnTo>
                  <a:lnTo>
                    <a:pt x="271" y="1338"/>
                  </a:lnTo>
                  <a:lnTo>
                    <a:pt x="271" y="1338"/>
                  </a:lnTo>
                  <a:lnTo>
                    <a:pt x="271" y="1337"/>
                  </a:lnTo>
                  <a:lnTo>
                    <a:pt x="269" y="1335"/>
                  </a:lnTo>
                  <a:lnTo>
                    <a:pt x="267" y="1333"/>
                  </a:lnTo>
                  <a:lnTo>
                    <a:pt x="267" y="1329"/>
                  </a:lnTo>
                  <a:lnTo>
                    <a:pt x="267" y="1328"/>
                  </a:lnTo>
                  <a:lnTo>
                    <a:pt x="269" y="1326"/>
                  </a:lnTo>
                  <a:lnTo>
                    <a:pt x="267" y="1324"/>
                  </a:lnTo>
                  <a:lnTo>
                    <a:pt x="269" y="1322"/>
                  </a:lnTo>
                  <a:lnTo>
                    <a:pt x="272" y="1320"/>
                  </a:lnTo>
                  <a:lnTo>
                    <a:pt x="272" y="1319"/>
                  </a:lnTo>
                  <a:lnTo>
                    <a:pt x="272" y="1319"/>
                  </a:lnTo>
                  <a:lnTo>
                    <a:pt x="272" y="1319"/>
                  </a:lnTo>
                  <a:lnTo>
                    <a:pt x="272" y="1317"/>
                  </a:lnTo>
                  <a:lnTo>
                    <a:pt x="271" y="1315"/>
                  </a:lnTo>
                  <a:lnTo>
                    <a:pt x="272" y="1313"/>
                  </a:lnTo>
                  <a:lnTo>
                    <a:pt x="272" y="1313"/>
                  </a:lnTo>
                  <a:lnTo>
                    <a:pt x="276" y="1313"/>
                  </a:lnTo>
                  <a:lnTo>
                    <a:pt x="276" y="1311"/>
                  </a:lnTo>
                  <a:lnTo>
                    <a:pt x="276" y="1311"/>
                  </a:lnTo>
                  <a:lnTo>
                    <a:pt x="278" y="1311"/>
                  </a:lnTo>
                  <a:lnTo>
                    <a:pt x="278" y="1311"/>
                  </a:lnTo>
                  <a:lnTo>
                    <a:pt x="276" y="1310"/>
                  </a:lnTo>
                  <a:lnTo>
                    <a:pt x="276" y="1310"/>
                  </a:lnTo>
                  <a:lnTo>
                    <a:pt x="276" y="1308"/>
                  </a:lnTo>
                  <a:lnTo>
                    <a:pt x="276" y="1308"/>
                  </a:lnTo>
                  <a:lnTo>
                    <a:pt x="276" y="1308"/>
                  </a:lnTo>
                  <a:lnTo>
                    <a:pt x="278" y="1308"/>
                  </a:lnTo>
                  <a:lnTo>
                    <a:pt x="278" y="1306"/>
                  </a:lnTo>
                  <a:lnTo>
                    <a:pt x="278" y="1304"/>
                  </a:lnTo>
                  <a:lnTo>
                    <a:pt x="278" y="1306"/>
                  </a:lnTo>
                  <a:lnTo>
                    <a:pt x="278" y="1304"/>
                  </a:lnTo>
                  <a:lnTo>
                    <a:pt x="278" y="1301"/>
                  </a:lnTo>
                  <a:lnTo>
                    <a:pt x="276" y="1297"/>
                  </a:lnTo>
                  <a:lnTo>
                    <a:pt x="274" y="1297"/>
                  </a:lnTo>
                  <a:lnTo>
                    <a:pt x="271" y="1297"/>
                  </a:lnTo>
                  <a:lnTo>
                    <a:pt x="271" y="1297"/>
                  </a:lnTo>
                  <a:lnTo>
                    <a:pt x="271" y="1297"/>
                  </a:lnTo>
                  <a:lnTo>
                    <a:pt x="271" y="1295"/>
                  </a:lnTo>
                  <a:lnTo>
                    <a:pt x="271" y="1295"/>
                  </a:lnTo>
                  <a:lnTo>
                    <a:pt x="271" y="1293"/>
                  </a:lnTo>
                  <a:lnTo>
                    <a:pt x="271" y="1293"/>
                  </a:lnTo>
                  <a:lnTo>
                    <a:pt x="271" y="1293"/>
                  </a:lnTo>
                  <a:lnTo>
                    <a:pt x="271" y="1293"/>
                  </a:lnTo>
                  <a:lnTo>
                    <a:pt x="271" y="1292"/>
                  </a:lnTo>
                  <a:lnTo>
                    <a:pt x="271" y="1292"/>
                  </a:lnTo>
                  <a:lnTo>
                    <a:pt x="271" y="1292"/>
                  </a:lnTo>
                  <a:lnTo>
                    <a:pt x="271" y="1292"/>
                  </a:lnTo>
                  <a:lnTo>
                    <a:pt x="272" y="1292"/>
                  </a:lnTo>
                  <a:lnTo>
                    <a:pt x="272" y="1292"/>
                  </a:lnTo>
                  <a:lnTo>
                    <a:pt x="272" y="1292"/>
                  </a:lnTo>
                  <a:lnTo>
                    <a:pt x="272" y="1293"/>
                  </a:lnTo>
                  <a:lnTo>
                    <a:pt x="272" y="1293"/>
                  </a:lnTo>
                  <a:lnTo>
                    <a:pt x="272" y="1293"/>
                  </a:lnTo>
                  <a:lnTo>
                    <a:pt x="272" y="1293"/>
                  </a:lnTo>
                  <a:lnTo>
                    <a:pt x="274" y="1293"/>
                  </a:lnTo>
                  <a:lnTo>
                    <a:pt x="274" y="1292"/>
                  </a:lnTo>
                  <a:lnTo>
                    <a:pt x="274" y="1292"/>
                  </a:lnTo>
                  <a:lnTo>
                    <a:pt x="276" y="1292"/>
                  </a:lnTo>
                  <a:lnTo>
                    <a:pt x="276" y="1292"/>
                  </a:lnTo>
                  <a:lnTo>
                    <a:pt x="276" y="1290"/>
                  </a:lnTo>
                  <a:lnTo>
                    <a:pt x="274" y="1290"/>
                  </a:lnTo>
                  <a:lnTo>
                    <a:pt x="274" y="1290"/>
                  </a:lnTo>
                  <a:lnTo>
                    <a:pt x="274" y="1288"/>
                  </a:lnTo>
                  <a:lnTo>
                    <a:pt x="274" y="1288"/>
                  </a:lnTo>
                  <a:lnTo>
                    <a:pt x="274" y="1288"/>
                  </a:lnTo>
                  <a:lnTo>
                    <a:pt x="276" y="1288"/>
                  </a:lnTo>
                  <a:lnTo>
                    <a:pt x="276" y="1288"/>
                  </a:lnTo>
                  <a:lnTo>
                    <a:pt x="274" y="1286"/>
                  </a:lnTo>
                  <a:lnTo>
                    <a:pt x="274" y="1284"/>
                  </a:lnTo>
                  <a:lnTo>
                    <a:pt x="274" y="1284"/>
                  </a:lnTo>
                  <a:lnTo>
                    <a:pt x="272" y="1282"/>
                  </a:lnTo>
                  <a:lnTo>
                    <a:pt x="274" y="1284"/>
                  </a:lnTo>
                  <a:lnTo>
                    <a:pt x="276" y="1284"/>
                  </a:lnTo>
                  <a:lnTo>
                    <a:pt x="280" y="1286"/>
                  </a:lnTo>
                  <a:lnTo>
                    <a:pt x="280" y="1284"/>
                  </a:lnTo>
                  <a:lnTo>
                    <a:pt x="280" y="1284"/>
                  </a:lnTo>
                  <a:lnTo>
                    <a:pt x="280" y="1284"/>
                  </a:lnTo>
                  <a:lnTo>
                    <a:pt x="280" y="1284"/>
                  </a:lnTo>
                  <a:lnTo>
                    <a:pt x="280" y="1282"/>
                  </a:lnTo>
                  <a:lnTo>
                    <a:pt x="280" y="1282"/>
                  </a:lnTo>
                  <a:lnTo>
                    <a:pt x="278" y="1281"/>
                  </a:lnTo>
                  <a:lnTo>
                    <a:pt x="276" y="1281"/>
                  </a:lnTo>
                  <a:lnTo>
                    <a:pt x="278" y="1281"/>
                  </a:lnTo>
                  <a:lnTo>
                    <a:pt x="276" y="1281"/>
                  </a:lnTo>
                  <a:lnTo>
                    <a:pt x="276" y="1277"/>
                  </a:lnTo>
                  <a:lnTo>
                    <a:pt x="274" y="1277"/>
                  </a:lnTo>
                  <a:lnTo>
                    <a:pt x="274" y="1277"/>
                  </a:lnTo>
                  <a:lnTo>
                    <a:pt x="274" y="1277"/>
                  </a:lnTo>
                  <a:lnTo>
                    <a:pt x="272" y="1275"/>
                  </a:lnTo>
                  <a:lnTo>
                    <a:pt x="272" y="1275"/>
                  </a:lnTo>
                  <a:lnTo>
                    <a:pt x="271" y="1272"/>
                  </a:lnTo>
                  <a:lnTo>
                    <a:pt x="269" y="1270"/>
                  </a:lnTo>
                  <a:lnTo>
                    <a:pt x="267" y="1268"/>
                  </a:lnTo>
                  <a:lnTo>
                    <a:pt x="265" y="1268"/>
                  </a:lnTo>
                  <a:lnTo>
                    <a:pt x="265" y="1266"/>
                  </a:lnTo>
                  <a:lnTo>
                    <a:pt x="271" y="1272"/>
                  </a:lnTo>
                  <a:lnTo>
                    <a:pt x="276" y="1277"/>
                  </a:lnTo>
                  <a:lnTo>
                    <a:pt x="276" y="1279"/>
                  </a:lnTo>
                  <a:lnTo>
                    <a:pt x="278" y="1279"/>
                  </a:lnTo>
                  <a:lnTo>
                    <a:pt x="280" y="1281"/>
                  </a:lnTo>
                  <a:lnTo>
                    <a:pt x="280" y="1279"/>
                  </a:lnTo>
                  <a:lnTo>
                    <a:pt x="278" y="1279"/>
                  </a:lnTo>
                  <a:lnTo>
                    <a:pt x="267" y="1266"/>
                  </a:lnTo>
                  <a:lnTo>
                    <a:pt x="267" y="1264"/>
                  </a:lnTo>
                  <a:lnTo>
                    <a:pt x="269" y="1266"/>
                  </a:lnTo>
                  <a:lnTo>
                    <a:pt x="269" y="1266"/>
                  </a:lnTo>
                  <a:lnTo>
                    <a:pt x="269" y="1264"/>
                  </a:lnTo>
                  <a:lnTo>
                    <a:pt x="269" y="1264"/>
                  </a:lnTo>
                  <a:lnTo>
                    <a:pt x="271" y="1264"/>
                  </a:lnTo>
                  <a:lnTo>
                    <a:pt x="271" y="1266"/>
                  </a:lnTo>
                  <a:lnTo>
                    <a:pt x="272" y="1266"/>
                  </a:lnTo>
                  <a:lnTo>
                    <a:pt x="272" y="1266"/>
                  </a:lnTo>
                  <a:lnTo>
                    <a:pt x="272" y="1264"/>
                  </a:lnTo>
                  <a:lnTo>
                    <a:pt x="272" y="1264"/>
                  </a:lnTo>
                  <a:lnTo>
                    <a:pt x="272" y="1263"/>
                  </a:lnTo>
                  <a:lnTo>
                    <a:pt x="272" y="1263"/>
                  </a:lnTo>
                  <a:lnTo>
                    <a:pt x="274" y="1263"/>
                  </a:lnTo>
                  <a:lnTo>
                    <a:pt x="274" y="1263"/>
                  </a:lnTo>
                  <a:lnTo>
                    <a:pt x="271" y="1261"/>
                  </a:lnTo>
                  <a:lnTo>
                    <a:pt x="269" y="1259"/>
                  </a:lnTo>
                  <a:lnTo>
                    <a:pt x="269" y="1259"/>
                  </a:lnTo>
                  <a:lnTo>
                    <a:pt x="269" y="1257"/>
                  </a:lnTo>
                  <a:lnTo>
                    <a:pt x="269" y="1257"/>
                  </a:lnTo>
                  <a:lnTo>
                    <a:pt x="269" y="1255"/>
                  </a:lnTo>
                  <a:lnTo>
                    <a:pt x="271" y="1255"/>
                  </a:lnTo>
                  <a:lnTo>
                    <a:pt x="276" y="1263"/>
                  </a:lnTo>
                  <a:lnTo>
                    <a:pt x="276" y="1263"/>
                  </a:lnTo>
                  <a:lnTo>
                    <a:pt x="276" y="1263"/>
                  </a:lnTo>
                  <a:lnTo>
                    <a:pt x="274" y="1263"/>
                  </a:lnTo>
                  <a:lnTo>
                    <a:pt x="274" y="1263"/>
                  </a:lnTo>
                  <a:lnTo>
                    <a:pt x="274" y="1263"/>
                  </a:lnTo>
                  <a:lnTo>
                    <a:pt x="274" y="1264"/>
                  </a:lnTo>
                  <a:lnTo>
                    <a:pt x="274" y="1264"/>
                  </a:lnTo>
                  <a:lnTo>
                    <a:pt x="274" y="1266"/>
                  </a:lnTo>
                  <a:lnTo>
                    <a:pt x="276" y="1266"/>
                  </a:lnTo>
                  <a:lnTo>
                    <a:pt x="278" y="1266"/>
                  </a:lnTo>
                  <a:lnTo>
                    <a:pt x="278" y="1266"/>
                  </a:lnTo>
                  <a:lnTo>
                    <a:pt x="278" y="1264"/>
                  </a:lnTo>
                  <a:lnTo>
                    <a:pt x="280" y="1264"/>
                  </a:lnTo>
                  <a:lnTo>
                    <a:pt x="280" y="1266"/>
                  </a:lnTo>
                  <a:lnTo>
                    <a:pt x="280" y="1266"/>
                  </a:lnTo>
                  <a:lnTo>
                    <a:pt x="281" y="1268"/>
                  </a:lnTo>
                  <a:lnTo>
                    <a:pt x="281" y="1268"/>
                  </a:lnTo>
                  <a:lnTo>
                    <a:pt x="283" y="1266"/>
                  </a:lnTo>
                  <a:lnTo>
                    <a:pt x="283" y="1266"/>
                  </a:lnTo>
                  <a:lnTo>
                    <a:pt x="281" y="1264"/>
                  </a:lnTo>
                  <a:lnTo>
                    <a:pt x="281" y="1263"/>
                  </a:lnTo>
                  <a:lnTo>
                    <a:pt x="283" y="1264"/>
                  </a:lnTo>
                  <a:lnTo>
                    <a:pt x="283" y="1264"/>
                  </a:lnTo>
                  <a:lnTo>
                    <a:pt x="283" y="1263"/>
                  </a:lnTo>
                  <a:lnTo>
                    <a:pt x="281" y="1261"/>
                  </a:lnTo>
                  <a:lnTo>
                    <a:pt x="281" y="1261"/>
                  </a:lnTo>
                  <a:lnTo>
                    <a:pt x="281" y="1259"/>
                  </a:lnTo>
                  <a:lnTo>
                    <a:pt x="281" y="1259"/>
                  </a:lnTo>
                  <a:lnTo>
                    <a:pt x="281" y="1259"/>
                  </a:lnTo>
                  <a:lnTo>
                    <a:pt x="280" y="1259"/>
                  </a:lnTo>
                  <a:lnTo>
                    <a:pt x="280" y="1259"/>
                  </a:lnTo>
                  <a:lnTo>
                    <a:pt x="280" y="1259"/>
                  </a:lnTo>
                  <a:lnTo>
                    <a:pt x="278" y="1257"/>
                  </a:lnTo>
                  <a:lnTo>
                    <a:pt x="278" y="1257"/>
                  </a:lnTo>
                  <a:lnTo>
                    <a:pt x="278" y="1257"/>
                  </a:lnTo>
                  <a:lnTo>
                    <a:pt x="278" y="1257"/>
                  </a:lnTo>
                  <a:lnTo>
                    <a:pt x="276" y="1255"/>
                  </a:lnTo>
                  <a:lnTo>
                    <a:pt x="276" y="1254"/>
                  </a:lnTo>
                  <a:lnTo>
                    <a:pt x="276" y="1252"/>
                  </a:lnTo>
                  <a:lnTo>
                    <a:pt x="278" y="1252"/>
                  </a:lnTo>
                  <a:lnTo>
                    <a:pt x="278" y="1255"/>
                  </a:lnTo>
                  <a:lnTo>
                    <a:pt x="280" y="1255"/>
                  </a:lnTo>
                  <a:lnTo>
                    <a:pt x="278" y="1255"/>
                  </a:lnTo>
                  <a:lnTo>
                    <a:pt x="280" y="1255"/>
                  </a:lnTo>
                  <a:lnTo>
                    <a:pt x="280" y="1254"/>
                  </a:lnTo>
                  <a:lnTo>
                    <a:pt x="281" y="1254"/>
                  </a:lnTo>
                  <a:lnTo>
                    <a:pt x="281" y="1255"/>
                  </a:lnTo>
                  <a:lnTo>
                    <a:pt x="281" y="1254"/>
                  </a:lnTo>
                  <a:lnTo>
                    <a:pt x="281" y="1254"/>
                  </a:lnTo>
                  <a:lnTo>
                    <a:pt x="281" y="1252"/>
                  </a:lnTo>
                  <a:lnTo>
                    <a:pt x="280" y="1252"/>
                  </a:lnTo>
                  <a:lnTo>
                    <a:pt x="280" y="1252"/>
                  </a:lnTo>
                  <a:lnTo>
                    <a:pt x="278" y="1250"/>
                  </a:lnTo>
                  <a:lnTo>
                    <a:pt x="280" y="1250"/>
                  </a:lnTo>
                  <a:lnTo>
                    <a:pt x="280" y="1250"/>
                  </a:lnTo>
                  <a:lnTo>
                    <a:pt x="280" y="1250"/>
                  </a:lnTo>
                  <a:lnTo>
                    <a:pt x="280" y="1248"/>
                  </a:lnTo>
                  <a:lnTo>
                    <a:pt x="281" y="1248"/>
                  </a:lnTo>
                  <a:lnTo>
                    <a:pt x="280" y="1246"/>
                  </a:lnTo>
                  <a:lnTo>
                    <a:pt x="278" y="1245"/>
                  </a:lnTo>
                  <a:lnTo>
                    <a:pt x="278" y="1243"/>
                  </a:lnTo>
                  <a:lnTo>
                    <a:pt x="278" y="1243"/>
                  </a:lnTo>
                  <a:lnTo>
                    <a:pt x="278" y="1243"/>
                  </a:lnTo>
                  <a:lnTo>
                    <a:pt x="278" y="1243"/>
                  </a:lnTo>
                  <a:lnTo>
                    <a:pt x="278" y="1241"/>
                  </a:lnTo>
                  <a:lnTo>
                    <a:pt x="276" y="1239"/>
                  </a:lnTo>
                  <a:lnTo>
                    <a:pt x="276" y="1237"/>
                  </a:lnTo>
                  <a:lnTo>
                    <a:pt x="278" y="1239"/>
                  </a:lnTo>
                  <a:lnTo>
                    <a:pt x="280" y="1241"/>
                  </a:lnTo>
                  <a:lnTo>
                    <a:pt x="283" y="1245"/>
                  </a:lnTo>
                  <a:lnTo>
                    <a:pt x="285" y="1241"/>
                  </a:lnTo>
                  <a:lnTo>
                    <a:pt x="285" y="1241"/>
                  </a:lnTo>
                  <a:lnTo>
                    <a:pt x="283" y="1239"/>
                  </a:lnTo>
                  <a:lnTo>
                    <a:pt x="283" y="1239"/>
                  </a:lnTo>
                  <a:lnTo>
                    <a:pt x="283" y="1239"/>
                  </a:lnTo>
                  <a:lnTo>
                    <a:pt x="285" y="1239"/>
                  </a:lnTo>
                  <a:lnTo>
                    <a:pt x="285" y="1239"/>
                  </a:lnTo>
                  <a:lnTo>
                    <a:pt x="285" y="1239"/>
                  </a:lnTo>
                  <a:lnTo>
                    <a:pt x="285" y="1237"/>
                  </a:lnTo>
                  <a:lnTo>
                    <a:pt x="285" y="1236"/>
                  </a:lnTo>
                  <a:lnTo>
                    <a:pt x="285" y="1236"/>
                  </a:lnTo>
                  <a:lnTo>
                    <a:pt x="285" y="1234"/>
                  </a:lnTo>
                  <a:lnTo>
                    <a:pt x="283" y="1234"/>
                  </a:lnTo>
                  <a:lnTo>
                    <a:pt x="283" y="1234"/>
                  </a:lnTo>
                  <a:lnTo>
                    <a:pt x="285" y="1234"/>
                  </a:lnTo>
                  <a:lnTo>
                    <a:pt x="281" y="1230"/>
                  </a:lnTo>
                  <a:lnTo>
                    <a:pt x="280" y="1230"/>
                  </a:lnTo>
                  <a:lnTo>
                    <a:pt x="280" y="1230"/>
                  </a:lnTo>
                  <a:lnTo>
                    <a:pt x="281" y="1230"/>
                  </a:lnTo>
                  <a:lnTo>
                    <a:pt x="281" y="1228"/>
                  </a:lnTo>
                  <a:lnTo>
                    <a:pt x="281" y="1228"/>
                  </a:lnTo>
                  <a:lnTo>
                    <a:pt x="281" y="1228"/>
                  </a:lnTo>
                  <a:lnTo>
                    <a:pt x="281" y="1226"/>
                  </a:lnTo>
                  <a:lnTo>
                    <a:pt x="281" y="1226"/>
                  </a:lnTo>
                  <a:lnTo>
                    <a:pt x="283" y="1226"/>
                  </a:lnTo>
                  <a:lnTo>
                    <a:pt x="283" y="1226"/>
                  </a:lnTo>
                  <a:lnTo>
                    <a:pt x="283" y="1226"/>
                  </a:lnTo>
                  <a:lnTo>
                    <a:pt x="285" y="1225"/>
                  </a:lnTo>
                  <a:lnTo>
                    <a:pt x="283" y="1225"/>
                  </a:lnTo>
                  <a:lnTo>
                    <a:pt x="280" y="1226"/>
                  </a:lnTo>
                  <a:lnTo>
                    <a:pt x="281" y="1226"/>
                  </a:lnTo>
                  <a:lnTo>
                    <a:pt x="281" y="1226"/>
                  </a:lnTo>
                  <a:lnTo>
                    <a:pt x="280" y="1228"/>
                  </a:lnTo>
                  <a:lnTo>
                    <a:pt x="280" y="1228"/>
                  </a:lnTo>
                  <a:lnTo>
                    <a:pt x="280" y="1228"/>
                  </a:lnTo>
                  <a:lnTo>
                    <a:pt x="280" y="1226"/>
                  </a:lnTo>
                  <a:lnTo>
                    <a:pt x="280" y="1226"/>
                  </a:lnTo>
                  <a:lnTo>
                    <a:pt x="278" y="1225"/>
                  </a:lnTo>
                  <a:lnTo>
                    <a:pt x="276" y="1223"/>
                  </a:lnTo>
                  <a:lnTo>
                    <a:pt x="276" y="1223"/>
                  </a:lnTo>
                  <a:lnTo>
                    <a:pt x="283" y="1225"/>
                  </a:lnTo>
                  <a:lnTo>
                    <a:pt x="283" y="1221"/>
                  </a:lnTo>
                  <a:lnTo>
                    <a:pt x="283" y="1221"/>
                  </a:lnTo>
                  <a:lnTo>
                    <a:pt x="281" y="1221"/>
                  </a:lnTo>
                  <a:lnTo>
                    <a:pt x="281" y="1221"/>
                  </a:lnTo>
                  <a:lnTo>
                    <a:pt x="281" y="1221"/>
                  </a:lnTo>
                  <a:lnTo>
                    <a:pt x="280" y="1221"/>
                  </a:lnTo>
                  <a:lnTo>
                    <a:pt x="280" y="1221"/>
                  </a:lnTo>
                  <a:lnTo>
                    <a:pt x="280" y="1221"/>
                  </a:lnTo>
                  <a:lnTo>
                    <a:pt x="280" y="1221"/>
                  </a:lnTo>
                  <a:lnTo>
                    <a:pt x="280" y="1219"/>
                  </a:lnTo>
                  <a:lnTo>
                    <a:pt x="280" y="1219"/>
                  </a:lnTo>
                  <a:lnTo>
                    <a:pt x="280" y="1217"/>
                  </a:lnTo>
                  <a:lnTo>
                    <a:pt x="280" y="1217"/>
                  </a:lnTo>
                  <a:lnTo>
                    <a:pt x="278" y="1217"/>
                  </a:lnTo>
                  <a:lnTo>
                    <a:pt x="267" y="1210"/>
                  </a:lnTo>
                  <a:lnTo>
                    <a:pt x="265" y="1210"/>
                  </a:lnTo>
                  <a:lnTo>
                    <a:pt x="267" y="1210"/>
                  </a:lnTo>
                  <a:lnTo>
                    <a:pt x="271" y="1212"/>
                  </a:lnTo>
                  <a:lnTo>
                    <a:pt x="274" y="1214"/>
                  </a:lnTo>
                  <a:lnTo>
                    <a:pt x="280" y="1214"/>
                  </a:lnTo>
                  <a:lnTo>
                    <a:pt x="281" y="1214"/>
                  </a:lnTo>
                  <a:lnTo>
                    <a:pt x="281" y="1216"/>
                  </a:lnTo>
                  <a:lnTo>
                    <a:pt x="281" y="1216"/>
                  </a:lnTo>
                  <a:lnTo>
                    <a:pt x="281" y="1216"/>
                  </a:lnTo>
                  <a:lnTo>
                    <a:pt x="283" y="1214"/>
                  </a:lnTo>
                  <a:lnTo>
                    <a:pt x="283" y="1214"/>
                  </a:lnTo>
                  <a:lnTo>
                    <a:pt x="283" y="1214"/>
                  </a:lnTo>
                  <a:lnTo>
                    <a:pt x="285" y="1214"/>
                  </a:lnTo>
                  <a:lnTo>
                    <a:pt x="287" y="1212"/>
                  </a:lnTo>
                  <a:lnTo>
                    <a:pt x="287" y="1210"/>
                  </a:lnTo>
                  <a:lnTo>
                    <a:pt x="287" y="1210"/>
                  </a:lnTo>
                  <a:lnTo>
                    <a:pt x="290" y="1210"/>
                  </a:lnTo>
                  <a:lnTo>
                    <a:pt x="290" y="1210"/>
                  </a:lnTo>
                  <a:lnTo>
                    <a:pt x="289" y="1207"/>
                  </a:lnTo>
                  <a:lnTo>
                    <a:pt x="287" y="1207"/>
                  </a:lnTo>
                  <a:lnTo>
                    <a:pt x="287" y="1205"/>
                  </a:lnTo>
                  <a:lnTo>
                    <a:pt x="287" y="1205"/>
                  </a:lnTo>
                  <a:lnTo>
                    <a:pt x="287" y="1205"/>
                  </a:lnTo>
                  <a:lnTo>
                    <a:pt x="285" y="1205"/>
                  </a:lnTo>
                  <a:lnTo>
                    <a:pt x="285" y="1203"/>
                  </a:lnTo>
                  <a:lnTo>
                    <a:pt x="285" y="1203"/>
                  </a:lnTo>
                  <a:lnTo>
                    <a:pt x="285" y="1203"/>
                  </a:lnTo>
                  <a:lnTo>
                    <a:pt x="285" y="1203"/>
                  </a:lnTo>
                  <a:lnTo>
                    <a:pt x="283" y="1201"/>
                  </a:lnTo>
                  <a:lnTo>
                    <a:pt x="283" y="1199"/>
                  </a:lnTo>
                  <a:lnTo>
                    <a:pt x="283" y="1198"/>
                  </a:lnTo>
                  <a:lnTo>
                    <a:pt x="283" y="1198"/>
                  </a:lnTo>
                  <a:lnTo>
                    <a:pt x="281" y="1198"/>
                  </a:lnTo>
                  <a:lnTo>
                    <a:pt x="281" y="1198"/>
                  </a:lnTo>
                  <a:lnTo>
                    <a:pt x="281" y="1199"/>
                  </a:lnTo>
                  <a:lnTo>
                    <a:pt x="281" y="1199"/>
                  </a:lnTo>
                  <a:lnTo>
                    <a:pt x="281" y="1199"/>
                  </a:lnTo>
                  <a:lnTo>
                    <a:pt x="280" y="1198"/>
                  </a:lnTo>
                  <a:lnTo>
                    <a:pt x="278" y="1198"/>
                  </a:lnTo>
                  <a:lnTo>
                    <a:pt x="278" y="1198"/>
                  </a:lnTo>
                  <a:lnTo>
                    <a:pt x="276" y="1196"/>
                  </a:lnTo>
                  <a:lnTo>
                    <a:pt x="271" y="1196"/>
                  </a:lnTo>
                  <a:lnTo>
                    <a:pt x="269" y="1196"/>
                  </a:lnTo>
                  <a:lnTo>
                    <a:pt x="267" y="1194"/>
                  </a:lnTo>
                  <a:lnTo>
                    <a:pt x="267" y="1194"/>
                  </a:lnTo>
                  <a:lnTo>
                    <a:pt x="265" y="1196"/>
                  </a:lnTo>
                  <a:lnTo>
                    <a:pt x="265" y="1196"/>
                  </a:lnTo>
                  <a:lnTo>
                    <a:pt x="265" y="1198"/>
                  </a:lnTo>
                  <a:lnTo>
                    <a:pt x="265" y="1199"/>
                  </a:lnTo>
                  <a:lnTo>
                    <a:pt x="263" y="1199"/>
                  </a:lnTo>
                  <a:lnTo>
                    <a:pt x="263" y="1199"/>
                  </a:lnTo>
                  <a:lnTo>
                    <a:pt x="263" y="1199"/>
                  </a:lnTo>
                  <a:lnTo>
                    <a:pt x="263" y="1199"/>
                  </a:lnTo>
                  <a:lnTo>
                    <a:pt x="263" y="1198"/>
                  </a:lnTo>
                  <a:lnTo>
                    <a:pt x="263" y="1198"/>
                  </a:lnTo>
                  <a:lnTo>
                    <a:pt x="263" y="1198"/>
                  </a:lnTo>
                  <a:lnTo>
                    <a:pt x="262" y="1196"/>
                  </a:lnTo>
                  <a:lnTo>
                    <a:pt x="262" y="1196"/>
                  </a:lnTo>
                  <a:lnTo>
                    <a:pt x="260" y="1196"/>
                  </a:lnTo>
                  <a:lnTo>
                    <a:pt x="260" y="1196"/>
                  </a:lnTo>
                  <a:lnTo>
                    <a:pt x="258" y="1198"/>
                  </a:lnTo>
                  <a:lnTo>
                    <a:pt x="256" y="1196"/>
                  </a:lnTo>
                  <a:lnTo>
                    <a:pt x="254" y="1198"/>
                  </a:lnTo>
                  <a:lnTo>
                    <a:pt x="254" y="1196"/>
                  </a:lnTo>
                  <a:lnTo>
                    <a:pt x="254" y="1196"/>
                  </a:lnTo>
                  <a:lnTo>
                    <a:pt x="254" y="1196"/>
                  </a:lnTo>
                  <a:lnTo>
                    <a:pt x="253" y="1196"/>
                  </a:lnTo>
                  <a:lnTo>
                    <a:pt x="253" y="1196"/>
                  </a:lnTo>
                  <a:lnTo>
                    <a:pt x="254" y="1196"/>
                  </a:lnTo>
                  <a:lnTo>
                    <a:pt x="256" y="1196"/>
                  </a:lnTo>
                  <a:lnTo>
                    <a:pt x="256" y="1196"/>
                  </a:lnTo>
                  <a:lnTo>
                    <a:pt x="258" y="1194"/>
                  </a:lnTo>
                  <a:lnTo>
                    <a:pt x="258" y="1194"/>
                  </a:lnTo>
                  <a:lnTo>
                    <a:pt x="256" y="1194"/>
                  </a:lnTo>
                  <a:lnTo>
                    <a:pt x="256" y="1192"/>
                  </a:lnTo>
                  <a:lnTo>
                    <a:pt x="256" y="1192"/>
                  </a:lnTo>
                  <a:lnTo>
                    <a:pt x="272" y="1194"/>
                  </a:lnTo>
                  <a:lnTo>
                    <a:pt x="290" y="1196"/>
                  </a:lnTo>
                  <a:lnTo>
                    <a:pt x="294" y="1196"/>
                  </a:lnTo>
                  <a:lnTo>
                    <a:pt x="296" y="1196"/>
                  </a:lnTo>
                  <a:lnTo>
                    <a:pt x="296" y="1194"/>
                  </a:lnTo>
                  <a:lnTo>
                    <a:pt x="294" y="1192"/>
                  </a:lnTo>
                  <a:lnTo>
                    <a:pt x="292" y="1192"/>
                  </a:lnTo>
                  <a:lnTo>
                    <a:pt x="292" y="1190"/>
                  </a:lnTo>
                  <a:lnTo>
                    <a:pt x="294" y="1190"/>
                  </a:lnTo>
                  <a:lnTo>
                    <a:pt x="298" y="1192"/>
                  </a:lnTo>
                  <a:lnTo>
                    <a:pt x="300" y="1194"/>
                  </a:lnTo>
                  <a:lnTo>
                    <a:pt x="300" y="1192"/>
                  </a:lnTo>
                  <a:lnTo>
                    <a:pt x="301" y="1190"/>
                  </a:lnTo>
                  <a:lnTo>
                    <a:pt x="301" y="1190"/>
                  </a:lnTo>
                  <a:lnTo>
                    <a:pt x="301" y="1189"/>
                  </a:lnTo>
                  <a:lnTo>
                    <a:pt x="301" y="1189"/>
                  </a:lnTo>
                  <a:lnTo>
                    <a:pt x="298" y="1189"/>
                  </a:lnTo>
                  <a:lnTo>
                    <a:pt x="298" y="1189"/>
                  </a:lnTo>
                  <a:lnTo>
                    <a:pt x="298" y="1189"/>
                  </a:lnTo>
                  <a:lnTo>
                    <a:pt x="298" y="1187"/>
                  </a:lnTo>
                  <a:lnTo>
                    <a:pt x="298" y="1187"/>
                  </a:lnTo>
                  <a:lnTo>
                    <a:pt x="298" y="1185"/>
                  </a:lnTo>
                  <a:lnTo>
                    <a:pt x="298" y="1185"/>
                  </a:lnTo>
                  <a:lnTo>
                    <a:pt x="296" y="1185"/>
                  </a:lnTo>
                  <a:lnTo>
                    <a:pt x="296" y="1185"/>
                  </a:lnTo>
                  <a:lnTo>
                    <a:pt x="296" y="1185"/>
                  </a:lnTo>
                  <a:lnTo>
                    <a:pt x="298" y="1183"/>
                  </a:lnTo>
                  <a:lnTo>
                    <a:pt x="300" y="1183"/>
                  </a:lnTo>
                  <a:lnTo>
                    <a:pt x="300" y="1183"/>
                  </a:lnTo>
                  <a:lnTo>
                    <a:pt x="300" y="1185"/>
                  </a:lnTo>
                  <a:lnTo>
                    <a:pt x="301" y="1185"/>
                  </a:lnTo>
                  <a:lnTo>
                    <a:pt x="303" y="1187"/>
                  </a:lnTo>
                  <a:lnTo>
                    <a:pt x="309" y="1187"/>
                  </a:lnTo>
                  <a:lnTo>
                    <a:pt x="309" y="1185"/>
                  </a:lnTo>
                  <a:lnTo>
                    <a:pt x="310" y="1185"/>
                  </a:lnTo>
                  <a:lnTo>
                    <a:pt x="312" y="1185"/>
                  </a:lnTo>
                  <a:lnTo>
                    <a:pt x="314" y="1183"/>
                  </a:lnTo>
                  <a:lnTo>
                    <a:pt x="312" y="1181"/>
                  </a:lnTo>
                  <a:lnTo>
                    <a:pt x="310" y="1180"/>
                  </a:lnTo>
                  <a:lnTo>
                    <a:pt x="318" y="1181"/>
                  </a:lnTo>
                  <a:lnTo>
                    <a:pt x="319" y="1180"/>
                  </a:lnTo>
                  <a:lnTo>
                    <a:pt x="318" y="1178"/>
                  </a:lnTo>
                  <a:lnTo>
                    <a:pt x="318" y="1178"/>
                  </a:lnTo>
                  <a:lnTo>
                    <a:pt x="318" y="1178"/>
                  </a:lnTo>
                  <a:lnTo>
                    <a:pt x="318" y="1178"/>
                  </a:lnTo>
                  <a:lnTo>
                    <a:pt x="318" y="1176"/>
                  </a:lnTo>
                  <a:lnTo>
                    <a:pt x="318" y="1172"/>
                  </a:lnTo>
                  <a:lnTo>
                    <a:pt x="318" y="1172"/>
                  </a:lnTo>
                  <a:lnTo>
                    <a:pt x="318" y="1170"/>
                  </a:lnTo>
                  <a:lnTo>
                    <a:pt x="318" y="1170"/>
                  </a:lnTo>
                  <a:lnTo>
                    <a:pt x="318" y="1170"/>
                  </a:lnTo>
                  <a:lnTo>
                    <a:pt x="323" y="1174"/>
                  </a:lnTo>
                  <a:lnTo>
                    <a:pt x="323" y="1174"/>
                  </a:lnTo>
                  <a:lnTo>
                    <a:pt x="323" y="1174"/>
                  </a:lnTo>
                  <a:lnTo>
                    <a:pt x="323" y="1174"/>
                  </a:lnTo>
                  <a:lnTo>
                    <a:pt x="323" y="1174"/>
                  </a:lnTo>
                  <a:lnTo>
                    <a:pt x="323" y="1172"/>
                  </a:lnTo>
                  <a:lnTo>
                    <a:pt x="323" y="1172"/>
                  </a:lnTo>
                  <a:lnTo>
                    <a:pt x="321" y="1170"/>
                  </a:lnTo>
                  <a:lnTo>
                    <a:pt x="321" y="1170"/>
                  </a:lnTo>
                  <a:lnTo>
                    <a:pt x="323" y="1170"/>
                  </a:lnTo>
                  <a:lnTo>
                    <a:pt x="323" y="1170"/>
                  </a:lnTo>
                  <a:lnTo>
                    <a:pt x="325" y="1170"/>
                  </a:lnTo>
                  <a:lnTo>
                    <a:pt x="325" y="1170"/>
                  </a:lnTo>
                  <a:lnTo>
                    <a:pt x="325" y="1169"/>
                  </a:lnTo>
                  <a:lnTo>
                    <a:pt x="325" y="1167"/>
                  </a:lnTo>
                  <a:lnTo>
                    <a:pt x="325" y="1167"/>
                  </a:lnTo>
                  <a:lnTo>
                    <a:pt x="325" y="1167"/>
                  </a:lnTo>
                  <a:lnTo>
                    <a:pt x="325" y="1165"/>
                  </a:lnTo>
                  <a:lnTo>
                    <a:pt x="325" y="1165"/>
                  </a:lnTo>
                  <a:lnTo>
                    <a:pt x="325" y="1165"/>
                  </a:lnTo>
                  <a:lnTo>
                    <a:pt x="323" y="1165"/>
                  </a:lnTo>
                  <a:lnTo>
                    <a:pt x="323" y="1165"/>
                  </a:lnTo>
                  <a:lnTo>
                    <a:pt x="323" y="1163"/>
                  </a:lnTo>
                  <a:lnTo>
                    <a:pt x="323" y="1163"/>
                  </a:lnTo>
                  <a:lnTo>
                    <a:pt x="323" y="1163"/>
                  </a:lnTo>
                  <a:lnTo>
                    <a:pt x="325" y="1163"/>
                  </a:lnTo>
                  <a:lnTo>
                    <a:pt x="325" y="1163"/>
                  </a:lnTo>
                  <a:lnTo>
                    <a:pt x="325" y="1161"/>
                  </a:lnTo>
                  <a:lnTo>
                    <a:pt x="325" y="1160"/>
                  </a:lnTo>
                  <a:lnTo>
                    <a:pt x="327" y="1158"/>
                  </a:lnTo>
                  <a:lnTo>
                    <a:pt x="325" y="1158"/>
                  </a:lnTo>
                  <a:lnTo>
                    <a:pt x="325" y="1156"/>
                  </a:lnTo>
                  <a:lnTo>
                    <a:pt x="325" y="1152"/>
                  </a:lnTo>
                  <a:lnTo>
                    <a:pt x="325" y="1151"/>
                  </a:lnTo>
                  <a:lnTo>
                    <a:pt x="327" y="1151"/>
                  </a:lnTo>
                  <a:lnTo>
                    <a:pt x="327" y="1151"/>
                  </a:lnTo>
                  <a:lnTo>
                    <a:pt x="327" y="1149"/>
                  </a:lnTo>
                  <a:lnTo>
                    <a:pt x="328" y="1147"/>
                  </a:lnTo>
                  <a:lnTo>
                    <a:pt x="327" y="1143"/>
                  </a:lnTo>
                  <a:lnTo>
                    <a:pt x="328" y="1145"/>
                  </a:lnTo>
                  <a:lnTo>
                    <a:pt x="328" y="1145"/>
                  </a:lnTo>
                  <a:lnTo>
                    <a:pt x="328" y="1147"/>
                  </a:lnTo>
                  <a:lnTo>
                    <a:pt x="328" y="1147"/>
                  </a:lnTo>
                  <a:lnTo>
                    <a:pt x="328" y="1149"/>
                  </a:lnTo>
                  <a:lnTo>
                    <a:pt x="328" y="1151"/>
                  </a:lnTo>
                  <a:lnTo>
                    <a:pt x="328" y="1152"/>
                  </a:lnTo>
                  <a:lnTo>
                    <a:pt x="330" y="1154"/>
                  </a:lnTo>
                  <a:lnTo>
                    <a:pt x="330" y="1156"/>
                  </a:lnTo>
                  <a:lnTo>
                    <a:pt x="330" y="1154"/>
                  </a:lnTo>
                  <a:lnTo>
                    <a:pt x="330" y="1152"/>
                  </a:lnTo>
                  <a:lnTo>
                    <a:pt x="330" y="1151"/>
                  </a:lnTo>
                  <a:lnTo>
                    <a:pt x="330" y="1149"/>
                  </a:lnTo>
                  <a:lnTo>
                    <a:pt x="332" y="1149"/>
                  </a:lnTo>
                  <a:lnTo>
                    <a:pt x="332" y="1149"/>
                  </a:lnTo>
                  <a:lnTo>
                    <a:pt x="332" y="1149"/>
                  </a:lnTo>
                  <a:lnTo>
                    <a:pt x="332" y="1151"/>
                  </a:lnTo>
                  <a:lnTo>
                    <a:pt x="332" y="1152"/>
                  </a:lnTo>
                  <a:lnTo>
                    <a:pt x="332" y="1152"/>
                  </a:lnTo>
                  <a:lnTo>
                    <a:pt x="332" y="1154"/>
                  </a:lnTo>
                  <a:lnTo>
                    <a:pt x="332" y="1156"/>
                  </a:lnTo>
                  <a:lnTo>
                    <a:pt x="332" y="1160"/>
                  </a:lnTo>
                  <a:lnTo>
                    <a:pt x="332" y="1161"/>
                  </a:lnTo>
                  <a:lnTo>
                    <a:pt x="332" y="1161"/>
                  </a:lnTo>
                  <a:lnTo>
                    <a:pt x="332" y="1163"/>
                  </a:lnTo>
                  <a:lnTo>
                    <a:pt x="332" y="1165"/>
                  </a:lnTo>
                  <a:lnTo>
                    <a:pt x="332" y="1167"/>
                  </a:lnTo>
                  <a:lnTo>
                    <a:pt x="334" y="1169"/>
                  </a:lnTo>
                  <a:lnTo>
                    <a:pt x="334" y="1169"/>
                  </a:lnTo>
                  <a:lnTo>
                    <a:pt x="334" y="1170"/>
                  </a:lnTo>
                  <a:lnTo>
                    <a:pt x="334" y="1170"/>
                  </a:lnTo>
                  <a:lnTo>
                    <a:pt x="334" y="1172"/>
                  </a:lnTo>
                  <a:lnTo>
                    <a:pt x="334" y="1172"/>
                  </a:lnTo>
                  <a:lnTo>
                    <a:pt x="334" y="1170"/>
                  </a:lnTo>
                  <a:lnTo>
                    <a:pt x="334" y="1169"/>
                  </a:lnTo>
                  <a:lnTo>
                    <a:pt x="334" y="1167"/>
                  </a:lnTo>
                  <a:lnTo>
                    <a:pt x="334" y="1165"/>
                  </a:lnTo>
                  <a:lnTo>
                    <a:pt x="334" y="1163"/>
                  </a:lnTo>
                  <a:lnTo>
                    <a:pt x="334" y="1165"/>
                  </a:lnTo>
                  <a:lnTo>
                    <a:pt x="334" y="1167"/>
                  </a:lnTo>
                  <a:lnTo>
                    <a:pt x="336" y="1167"/>
                  </a:lnTo>
                  <a:lnTo>
                    <a:pt x="336" y="1169"/>
                  </a:lnTo>
                  <a:lnTo>
                    <a:pt x="336" y="1169"/>
                  </a:lnTo>
                  <a:lnTo>
                    <a:pt x="337" y="1167"/>
                  </a:lnTo>
                  <a:lnTo>
                    <a:pt x="337" y="1167"/>
                  </a:lnTo>
                  <a:lnTo>
                    <a:pt x="337" y="1169"/>
                  </a:lnTo>
                  <a:lnTo>
                    <a:pt x="337" y="1169"/>
                  </a:lnTo>
                  <a:lnTo>
                    <a:pt x="337" y="1170"/>
                  </a:lnTo>
                  <a:lnTo>
                    <a:pt x="337" y="1170"/>
                  </a:lnTo>
                  <a:lnTo>
                    <a:pt x="337" y="1172"/>
                  </a:lnTo>
                  <a:lnTo>
                    <a:pt x="337" y="1172"/>
                  </a:lnTo>
                  <a:lnTo>
                    <a:pt x="339" y="1174"/>
                  </a:lnTo>
                  <a:lnTo>
                    <a:pt x="339" y="1170"/>
                  </a:lnTo>
                  <a:lnTo>
                    <a:pt x="339" y="1170"/>
                  </a:lnTo>
                  <a:lnTo>
                    <a:pt x="339" y="1169"/>
                  </a:lnTo>
                  <a:lnTo>
                    <a:pt x="339" y="1169"/>
                  </a:lnTo>
                  <a:lnTo>
                    <a:pt x="341" y="1169"/>
                  </a:lnTo>
                  <a:lnTo>
                    <a:pt x="341" y="1169"/>
                  </a:lnTo>
                  <a:lnTo>
                    <a:pt x="343" y="1169"/>
                  </a:lnTo>
                  <a:lnTo>
                    <a:pt x="343" y="1167"/>
                  </a:lnTo>
                  <a:lnTo>
                    <a:pt x="343" y="1165"/>
                  </a:lnTo>
                  <a:lnTo>
                    <a:pt x="343" y="1165"/>
                  </a:lnTo>
                  <a:lnTo>
                    <a:pt x="343" y="1163"/>
                  </a:lnTo>
                  <a:lnTo>
                    <a:pt x="343" y="1161"/>
                  </a:lnTo>
                  <a:lnTo>
                    <a:pt x="345" y="1160"/>
                  </a:lnTo>
                  <a:lnTo>
                    <a:pt x="345" y="1158"/>
                  </a:lnTo>
                  <a:lnTo>
                    <a:pt x="345" y="1156"/>
                  </a:lnTo>
                  <a:lnTo>
                    <a:pt x="345" y="1156"/>
                  </a:lnTo>
                  <a:lnTo>
                    <a:pt x="346" y="1156"/>
                  </a:lnTo>
                  <a:lnTo>
                    <a:pt x="346" y="1156"/>
                  </a:lnTo>
                  <a:lnTo>
                    <a:pt x="346" y="1156"/>
                  </a:lnTo>
                  <a:lnTo>
                    <a:pt x="346" y="1154"/>
                  </a:lnTo>
                  <a:lnTo>
                    <a:pt x="346" y="1154"/>
                  </a:lnTo>
                  <a:lnTo>
                    <a:pt x="348" y="1154"/>
                  </a:lnTo>
                  <a:lnTo>
                    <a:pt x="350" y="1154"/>
                  </a:lnTo>
                  <a:lnTo>
                    <a:pt x="350" y="1152"/>
                  </a:lnTo>
                  <a:lnTo>
                    <a:pt x="352" y="1151"/>
                  </a:lnTo>
                  <a:lnTo>
                    <a:pt x="352" y="1151"/>
                  </a:lnTo>
                  <a:lnTo>
                    <a:pt x="354" y="1151"/>
                  </a:lnTo>
                  <a:lnTo>
                    <a:pt x="354" y="1151"/>
                  </a:lnTo>
                  <a:lnTo>
                    <a:pt x="355" y="1149"/>
                  </a:lnTo>
                  <a:lnTo>
                    <a:pt x="355" y="1149"/>
                  </a:lnTo>
                  <a:lnTo>
                    <a:pt x="355" y="1149"/>
                  </a:lnTo>
                  <a:lnTo>
                    <a:pt x="357" y="1149"/>
                  </a:lnTo>
                  <a:lnTo>
                    <a:pt x="357" y="1149"/>
                  </a:lnTo>
                  <a:lnTo>
                    <a:pt x="357" y="1149"/>
                  </a:lnTo>
                  <a:lnTo>
                    <a:pt x="357" y="1151"/>
                  </a:lnTo>
                  <a:lnTo>
                    <a:pt x="357" y="1151"/>
                  </a:lnTo>
                  <a:lnTo>
                    <a:pt x="357" y="1151"/>
                  </a:lnTo>
                  <a:lnTo>
                    <a:pt x="355" y="1152"/>
                  </a:lnTo>
                  <a:lnTo>
                    <a:pt x="354" y="1152"/>
                  </a:lnTo>
                  <a:lnTo>
                    <a:pt x="355" y="1152"/>
                  </a:lnTo>
                  <a:lnTo>
                    <a:pt x="361" y="1151"/>
                  </a:lnTo>
                  <a:lnTo>
                    <a:pt x="361" y="1149"/>
                  </a:lnTo>
                  <a:lnTo>
                    <a:pt x="359" y="1149"/>
                  </a:lnTo>
                  <a:lnTo>
                    <a:pt x="359" y="1149"/>
                  </a:lnTo>
                  <a:lnTo>
                    <a:pt x="359" y="1149"/>
                  </a:lnTo>
                  <a:lnTo>
                    <a:pt x="359" y="1147"/>
                  </a:lnTo>
                  <a:lnTo>
                    <a:pt x="361" y="1147"/>
                  </a:lnTo>
                  <a:lnTo>
                    <a:pt x="363" y="1145"/>
                  </a:lnTo>
                  <a:lnTo>
                    <a:pt x="365" y="1147"/>
                  </a:lnTo>
                  <a:lnTo>
                    <a:pt x="365" y="1147"/>
                  </a:lnTo>
                  <a:lnTo>
                    <a:pt x="366" y="1147"/>
                  </a:lnTo>
                  <a:lnTo>
                    <a:pt x="366" y="1145"/>
                  </a:lnTo>
                  <a:lnTo>
                    <a:pt x="366" y="1143"/>
                  </a:lnTo>
                  <a:lnTo>
                    <a:pt x="366" y="1143"/>
                  </a:lnTo>
                  <a:lnTo>
                    <a:pt x="365" y="1143"/>
                  </a:lnTo>
                  <a:lnTo>
                    <a:pt x="365" y="1143"/>
                  </a:lnTo>
                  <a:lnTo>
                    <a:pt x="365" y="1143"/>
                  </a:lnTo>
                  <a:lnTo>
                    <a:pt x="365" y="1143"/>
                  </a:lnTo>
                  <a:lnTo>
                    <a:pt x="365" y="1143"/>
                  </a:lnTo>
                  <a:lnTo>
                    <a:pt x="365" y="1142"/>
                  </a:lnTo>
                  <a:lnTo>
                    <a:pt x="365" y="1142"/>
                  </a:lnTo>
                  <a:lnTo>
                    <a:pt x="365" y="1143"/>
                  </a:lnTo>
                  <a:lnTo>
                    <a:pt x="363" y="1142"/>
                  </a:lnTo>
                  <a:lnTo>
                    <a:pt x="363" y="1140"/>
                  </a:lnTo>
                  <a:lnTo>
                    <a:pt x="363" y="1140"/>
                  </a:lnTo>
                  <a:lnTo>
                    <a:pt x="363" y="1140"/>
                  </a:lnTo>
                  <a:lnTo>
                    <a:pt x="361" y="1140"/>
                  </a:lnTo>
                  <a:lnTo>
                    <a:pt x="361" y="1138"/>
                  </a:lnTo>
                  <a:lnTo>
                    <a:pt x="361" y="1138"/>
                  </a:lnTo>
                  <a:lnTo>
                    <a:pt x="361" y="1138"/>
                  </a:lnTo>
                  <a:lnTo>
                    <a:pt x="366" y="1142"/>
                  </a:lnTo>
                  <a:lnTo>
                    <a:pt x="365" y="1140"/>
                  </a:lnTo>
                  <a:lnTo>
                    <a:pt x="365" y="1138"/>
                  </a:lnTo>
                  <a:lnTo>
                    <a:pt x="363" y="1136"/>
                  </a:lnTo>
                  <a:lnTo>
                    <a:pt x="361" y="1136"/>
                  </a:lnTo>
                  <a:lnTo>
                    <a:pt x="359" y="1134"/>
                  </a:lnTo>
                  <a:lnTo>
                    <a:pt x="357" y="1134"/>
                  </a:lnTo>
                  <a:lnTo>
                    <a:pt x="359" y="1133"/>
                  </a:lnTo>
                  <a:lnTo>
                    <a:pt x="361" y="1133"/>
                  </a:lnTo>
                  <a:lnTo>
                    <a:pt x="361" y="1133"/>
                  </a:lnTo>
                  <a:lnTo>
                    <a:pt x="359" y="1133"/>
                  </a:lnTo>
                  <a:lnTo>
                    <a:pt x="359" y="1131"/>
                  </a:lnTo>
                  <a:lnTo>
                    <a:pt x="359" y="1131"/>
                  </a:lnTo>
                  <a:lnTo>
                    <a:pt x="357" y="1129"/>
                  </a:lnTo>
                  <a:lnTo>
                    <a:pt x="359" y="1129"/>
                  </a:lnTo>
                  <a:lnTo>
                    <a:pt x="359" y="1129"/>
                  </a:lnTo>
                  <a:lnTo>
                    <a:pt x="361" y="1127"/>
                  </a:lnTo>
                  <a:lnTo>
                    <a:pt x="361" y="1127"/>
                  </a:lnTo>
                  <a:lnTo>
                    <a:pt x="361" y="1129"/>
                  </a:lnTo>
                  <a:lnTo>
                    <a:pt x="361" y="1129"/>
                  </a:lnTo>
                  <a:lnTo>
                    <a:pt x="361" y="1129"/>
                  </a:lnTo>
                  <a:lnTo>
                    <a:pt x="363" y="1131"/>
                  </a:lnTo>
                  <a:lnTo>
                    <a:pt x="366" y="1129"/>
                  </a:lnTo>
                  <a:lnTo>
                    <a:pt x="368" y="1131"/>
                  </a:lnTo>
                  <a:lnTo>
                    <a:pt x="368" y="1131"/>
                  </a:lnTo>
                  <a:lnTo>
                    <a:pt x="370" y="1131"/>
                  </a:lnTo>
                  <a:lnTo>
                    <a:pt x="370" y="1131"/>
                  </a:lnTo>
                  <a:lnTo>
                    <a:pt x="372" y="1131"/>
                  </a:lnTo>
                  <a:lnTo>
                    <a:pt x="372" y="1131"/>
                  </a:lnTo>
                  <a:lnTo>
                    <a:pt x="374" y="1131"/>
                  </a:lnTo>
                  <a:lnTo>
                    <a:pt x="375" y="1131"/>
                  </a:lnTo>
                  <a:lnTo>
                    <a:pt x="377" y="1129"/>
                  </a:lnTo>
                  <a:lnTo>
                    <a:pt x="377" y="1129"/>
                  </a:lnTo>
                  <a:lnTo>
                    <a:pt x="375" y="1127"/>
                  </a:lnTo>
                  <a:lnTo>
                    <a:pt x="374" y="1125"/>
                  </a:lnTo>
                  <a:lnTo>
                    <a:pt x="374" y="1125"/>
                  </a:lnTo>
                  <a:lnTo>
                    <a:pt x="372" y="1124"/>
                  </a:lnTo>
                  <a:lnTo>
                    <a:pt x="372" y="1125"/>
                  </a:lnTo>
                  <a:lnTo>
                    <a:pt x="374" y="1125"/>
                  </a:lnTo>
                  <a:lnTo>
                    <a:pt x="374" y="1125"/>
                  </a:lnTo>
                  <a:lnTo>
                    <a:pt x="375" y="1124"/>
                  </a:lnTo>
                  <a:lnTo>
                    <a:pt x="372" y="1122"/>
                  </a:lnTo>
                  <a:lnTo>
                    <a:pt x="372" y="1122"/>
                  </a:lnTo>
                  <a:lnTo>
                    <a:pt x="372" y="1120"/>
                  </a:lnTo>
                  <a:lnTo>
                    <a:pt x="372" y="1120"/>
                  </a:lnTo>
                  <a:lnTo>
                    <a:pt x="370" y="1118"/>
                  </a:lnTo>
                  <a:lnTo>
                    <a:pt x="368" y="1118"/>
                  </a:lnTo>
                  <a:lnTo>
                    <a:pt x="366" y="1118"/>
                  </a:lnTo>
                  <a:lnTo>
                    <a:pt x="366" y="1120"/>
                  </a:lnTo>
                  <a:lnTo>
                    <a:pt x="366" y="1120"/>
                  </a:lnTo>
                  <a:lnTo>
                    <a:pt x="370" y="1122"/>
                  </a:lnTo>
                  <a:lnTo>
                    <a:pt x="366" y="1122"/>
                  </a:lnTo>
                  <a:lnTo>
                    <a:pt x="366" y="1124"/>
                  </a:lnTo>
                  <a:lnTo>
                    <a:pt x="368" y="1127"/>
                  </a:lnTo>
                  <a:lnTo>
                    <a:pt x="368" y="1127"/>
                  </a:lnTo>
                  <a:lnTo>
                    <a:pt x="366" y="1127"/>
                  </a:lnTo>
                  <a:lnTo>
                    <a:pt x="366" y="1127"/>
                  </a:lnTo>
                  <a:lnTo>
                    <a:pt x="366" y="1127"/>
                  </a:lnTo>
                  <a:lnTo>
                    <a:pt x="366" y="1125"/>
                  </a:lnTo>
                  <a:lnTo>
                    <a:pt x="366" y="1125"/>
                  </a:lnTo>
                  <a:lnTo>
                    <a:pt x="365" y="1124"/>
                  </a:lnTo>
                  <a:lnTo>
                    <a:pt x="361" y="1124"/>
                  </a:lnTo>
                  <a:lnTo>
                    <a:pt x="357" y="1125"/>
                  </a:lnTo>
                  <a:lnTo>
                    <a:pt x="355" y="1129"/>
                  </a:lnTo>
                  <a:lnTo>
                    <a:pt x="355" y="1129"/>
                  </a:lnTo>
                  <a:lnTo>
                    <a:pt x="355" y="1127"/>
                  </a:lnTo>
                  <a:lnTo>
                    <a:pt x="354" y="1127"/>
                  </a:lnTo>
                  <a:lnTo>
                    <a:pt x="354" y="1129"/>
                  </a:lnTo>
                  <a:lnTo>
                    <a:pt x="348" y="1129"/>
                  </a:lnTo>
                  <a:lnTo>
                    <a:pt x="348" y="1127"/>
                  </a:lnTo>
                  <a:lnTo>
                    <a:pt x="350" y="1127"/>
                  </a:lnTo>
                  <a:lnTo>
                    <a:pt x="352" y="1127"/>
                  </a:lnTo>
                  <a:lnTo>
                    <a:pt x="345" y="1120"/>
                  </a:lnTo>
                  <a:lnTo>
                    <a:pt x="345" y="1120"/>
                  </a:lnTo>
                  <a:lnTo>
                    <a:pt x="346" y="1122"/>
                  </a:lnTo>
                  <a:lnTo>
                    <a:pt x="346" y="1122"/>
                  </a:lnTo>
                  <a:lnTo>
                    <a:pt x="348" y="1122"/>
                  </a:lnTo>
                  <a:lnTo>
                    <a:pt x="350" y="1120"/>
                  </a:lnTo>
                  <a:lnTo>
                    <a:pt x="348" y="1120"/>
                  </a:lnTo>
                  <a:lnTo>
                    <a:pt x="348" y="1118"/>
                  </a:lnTo>
                  <a:lnTo>
                    <a:pt x="348" y="1118"/>
                  </a:lnTo>
                  <a:lnTo>
                    <a:pt x="348" y="1116"/>
                  </a:lnTo>
                  <a:lnTo>
                    <a:pt x="350" y="1116"/>
                  </a:lnTo>
                  <a:lnTo>
                    <a:pt x="350" y="1116"/>
                  </a:lnTo>
                  <a:lnTo>
                    <a:pt x="350" y="1116"/>
                  </a:lnTo>
                  <a:lnTo>
                    <a:pt x="350" y="1116"/>
                  </a:lnTo>
                  <a:lnTo>
                    <a:pt x="352" y="1116"/>
                  </a:lnTo>
                  <a:lnTo>
                    <a:pt x="352" y="1116"/>
                  </a:lnTo>
                  <a:lnTo>
                    <a:pt x="352" y="1116"/>
                  </a:lnTo>
                  <a:lnTo>
                    <a:pt x="354" y="1116"/>
                  </a:lnTo>
                  <a:lnTo>
                    <a:pt x="354" y="1116"/>
                  </a:lnTo>
                  <a:lnTo>
                    <a:pt x="354" y="1116"/>
                  </a:lnTo>
                  <a:lnTo>
                    <a:pt x="354" y="1118"/>
                  </a:lnTo>
                  <a:lnTo>
                    <a:pt x="355" y="1120"/>
                  </a:lnTo>
                  <a:lnTo>
                    <a:pt x="354" y="1118"/>
                  </a:lnTo>
                  <a:lnTo>
                    <a:pt x="354" y="1118"/>
                  </a:lnTo>
                  <a:lnTo>
                    <a:pt x="354" y="1118"/>
                  </a:lnTo>
                  <a:lnTo>
                    <a:pt x="352" y="1120"/>
                  </a:lnTo>
                  <a:lnTo>
                    <a:pt x="354" y="1120"/>
                  </a:lnTo>
                  <a:lnTo>
                    <a:pt x="357" y="1122"/>
                  </a:lnTo>
                  <a:lnTo>
                    <a:pt x="359" y="1122"/>
                  </a:lnTo>
                  <a:lnTo>
                    <a:pt x="361" y="1120"/>
                  </a:lnTo>
                  <a:lnTo>
                    <a:pt x="361" y="1120"/>
                  </a:lnTo>
                  <a:lnTo>
                    <a:pt x="359" y="1120"/>
                  </a:lnTo>
                  <a:lnTo>
                    <a:pt x="357" y="1120"/>
                  </a:lnTo>
                  <a:lnTo>
                    <a:pt x="359" y="1118"/>
                  </a:lnTo>
                  <a:lnTo>
                    <a:pt x="357" y="1116"/>
                  </a:lnTo>
                  <a:lnTo>
                    <a:pt x="357" y="1116"/>
                  </a:lnTo>
                  <a:lnTo>
                    <a:pt x="357" y="1116"/>
                  </a:lnTo>
                  <a:lnTo>
                    <a:pt x="359" y="1116"/>
                  </a:lnTo>
                  <a:lnTo>
                    <a:pt x="359" y="1116"/>
                  </a:lnTo>
                  <a:lnTo>
                    <a:pt x="357" y="1114"/>
                  </a:lnTo>
                  <a:lnTo>
                    <a:pt x="357" y="1114"/>
                  </a:lnTo>
                  <a:lnTo>
                    <a:pt x="361" y="1114"/>
                  </a:lnTo>
                  <a:lnTo>
                    <a:pt x="363" y="1114"/>
                  </a:lnTo>
                  <a:lnTo>
                    <a:pt x="365" y="1113"/>
                  </a:lnTo>
                  <a:lnTo>
                    <a:pt x="368" y="1109"/>
                  </a:lnTo>
                  <a:lnTo>
                    <a:pt x="368" y="1107"/>
                  </a:lnTo>
                  <a:lnTo>
                    <a:pt x="372" y="1107"/>
                  </a:lnTo>
                  <a:lnTo>
                    <a:pt x="374" y="1104"/>
                  </a:lnTo>
                  <a:lnTo>
                    <a:pt x="377" y="1104"/>
                  </a:lnTo>
                  <a:lnTo>
                    <a:pt x="377" y="1102"/>
                  </a:lnTo>
                  <a:lnTo>
                    <a:pt x="379" y="1102"/>
                  </a:lnTo>
                  <a:lnTo>
                    <a:pt x="379" y="1102"/>
                  </a:lnTo>
                  <a:lnTo>
                    <a:pt x="379" y="1100"/>
                  </a:lnTo>
                  <a:lnTo>
                    <a:pt x="377" y="1098"/>
                  </a:lnTo>
                  <a:lnTo>
                    <a:pt x="377" y="1098"/>
                  </a:lnTo>
                  <a:lnTo>
                    <a:pt x="379" y="1098"/>
                  </a:lnTo>
                  <a:lnTo>
                    <a:pt x="379" y="1100"/>
                  </a:lnTo>
                  <a:lnTo>
                    <a:pt x="379" y="1100"/>
                  </a:lnTo>
                  <a:lnTo>
                    <a:pt x="381" y="1100"/>
                  </a:lnTo>
                  <a:lnTo>
                    <a:pt x="381" y="1098"/>
                  </a:lnTo>
                  <a:lnTo>
                    <a:pt x="381" y="1098"/>
                  </a:lnTo>
                  <a:lnTo>
                    <a:pt x="381" y="1096"/>
                  </a:lnTo>
                  <a:lnTo>
                    <a:pt x="379" y="1096"/>
                  </a:lnTo>
                  <a:lnTo>
                    <a:pt x="379" y="1096"/>
                  </a:lnTo>
                  <a:lnTo>
                    <a:pt x="379" y="1096"/>
                  </a:lnTo>
                  <a:lnTo>
                    <a:pt x="381" y="1095"/>
                  </a:lnTo>
                  <a:lnTo>
                    <a:pt x="381" y="1095"/>
                  </a:lnTo>
                  <a:lnTo>
                    <a:pt x="381" y="1095"/>
                  </a:lnTo>
                  <a:lnTo>
                    <a:pt x="383" y="1095"/>
                  </a:lnTo>
                  <a:lnTo>
                    <a:pt x="383" y="1093"/>
                  </a:lnTo>
                  <a:lnTo>
                    <a:pt x="383" y="1091"/>
                  </a:lnTo>
                  <a:lnTo>
                    <a:pt x="388" y="1091"/>
                  </a:lnTo>
                  <a:lnTo>
                    <a:pt x="388" y="1089"/>
                  </a:lnTo>
                  <a:lnTo>
                    <a:pt x="390" y="1087"/>
                  </a:lnTo>
                  <a:lnTo>
                    <a:pt x="390" y="1087"/>
                  </a:lnTo>
                  <a:lnTo>
                    <a:pt x="390" y="1087"/>
                  </a:lnTo>
                  <a:lnTo>
                    <a:pt x="392" y="1089"/>
                  </a:lnTo>
                  <a:lnTo>
                    <a:pt x="392" y="1089"/>
                  </a:lnTo>
                  <a:lnTo>
                    <a:pt x="392" y="1089"/>
                  </a:lnTo>
                  <a:lnTo>
                    <a:pt x="393" y="1089"/>
                  </a:lnTo>
                  <a:lnTo>
                    <a:pt x="397" y="1089"/>
                  </a:lnTo>
                  <a:lnTo>
                    <a:pt x="397" y="1087"/>
                  </a:lnTo>
                  <a:lnTo>
                    <a:pt x="399" y="1087"/>
                  </a:lnTo>
                  <a:lnTo>
                    <a:pt x="399" y="1084"/>
                  </a:lnTo>
                  <a:lnTo>
                    <a:pt x="397" y="1084"/>
                  </a:lnTo>
                  <a:lnTo>
                    <a:pt x="384" y="1084"/>
                  </a:lnTo>
                  <a:lnTo>
                    <a:pt x="383" y="1086"/>
                  </a:lnTo>
                  <a:lnTo>
                    <a:pt x="381" y="1086"/>
                  </a:lnTo>
                  <a:lnTo>
                    <a:pt x="381" y="1084"/>
                  </a:lnTo>
                  <a:lnTo>
                    <a:pt x="383" y="1082"/>
                  </a:lnTo>
                  <a:lnTo>
                    <a:pt x="383" y="1082"/>
                  </a:lnTo>
                  <a:lnTo>
                    <a:pt x="386" y="1082"/>
                  </a:lnTo>
                  <a:lnTo>
                    <a:pt x="386" y="1082"/>
                  </a:lnTo>
                  <a:lnTo>
                    <a:pt x="388" y="1082"/>
                  </a:lnTo>
                  <a:lnTo>
                    <a:pt x="390" y="1077"/>
                  </a:lnTo>
                  <a:lnTo>
                    <a:pt x="392" y="1075"/>
                  </a:lnTo>
                  <a:lnTo>
                    <a:pt x="392" y="1073"/>
                  </a:lnTo>
                  <a:lnTo>
                    <a:pt x="390" y="1069"/>
                  </a:lnTo>
                  <a:lnTo>
                    <a:pt x="388" y="1069"/>
                  </a:lnTo>
                  <a:lnTo>
                    <a:pt x="390" y="1069"/>
                  </a:lnTo>
                  <a:lnTo>
                    <a:pt x="392" y="1071"/>
                  </a:lnTo>
                  <a:lnTo>
                    <a:pt x="395" y="1078"/>
                  </a:lnTo>
                  <a:lnTo>
                    <a:pt x="397" y="1078"/>
                  </a:lnTo>
                  <a:lnTo>
                    <a:pt x="397" y="1078"/>
                  </a:lnTo>
                  <a:lnTo>
                    <a:pt x="397" y="1078"/>
                  </a:lnTo>
                  <a:lnTo>
                    <a:pt x="397" y="1073"/>
                  </a:lnTo>
                  <a:lnTo>
                    <a:pt x="399" y="1073"/>
                  </a:lnTo>
                  <a:lnTo>
                    <a:pt x="397" y="1071"/>
                  </a:lnTo>
                  <a:lnTo>
                    <a:pt x="397" y="1071"/>
                  </a:lnTo>
                  <a:lnTo>
                    <a:pt x="397" y="1071"/>
                  </a:lnTo>
                  <a:lnTo>
                    <a:pt x="397" y="1073"/>
                  </a:lnTo>
                  <a:lnTo>
                    <a:pt x="397" y="1073"/>
                  </a:lnTo>
                  <a:lnTo>
                    <a:pt x="395" y="1073"/>
                  </a:lnTo>
                  <a:lnTo>
                    <a:pt x="395" y="1073"/>
                  </a:lnTo>
                  <a:lnTo>
                    <a:pt x="395" y="1073"/>
                  </a:lnTo>
                  <a:lnTo>
                    <a:pt x="395" y="1071"/>
                  </a:lnTo>
                  <a:lnTo>
                    <a:pt x="395" y="1071"/>
                  </a:lnTo>
                  <a:lnTo>
                    <a:pt x="395" y="1071"/>
                  </a:lnTo>
                  <a:lnTo>
                    <a:pt x="395" y="1071"/>
                  </a:lnTo>
                  <a:lnTo>
                    <a:pt x="393" y="1069"/>
                  </a:lnTo>
                  <a:lnTo>
                    <a:pt x="393" y="1069"/>
                  </a:lnTo>
                  <a:lnTo>
                    <a:pt x="390" y="1068"/>
                  </a:lnTo>
                  <a:lnTo>
                    <a:pt x="390" y="1068"/>
                  </a:lnTo>
                  <a:lnTo>
                    <a:pt x="388" y="1062"/>
                  </a:lnTo>
                  <a:lnTo>
                    <a:pt x="386" y="1055"/>
                  </a:lnTo>
                  <a:lnTo>
                    <a:pt x="386" y="1053"/>
                  </a:lnTo>
                  <a:lnTo>
                    <a:pt x="384" y="1051"/>
                  </a:lnTo>
                  <a:lnTo>
                    <a:pt x="386" y="1051"/>
                  </a:lnTo>
                  <a:lnTo>
                    <a:pt x="384" y="1049"/>
                  </a:lnTo>
                  <a:lnTo>
                    <a:pt x="384" y="1049"/>
                  </a:lnTo>
                  <a:lnTo>
                    <a:pt x="383" y="1051"/>
                  </a:lnTo>
                  <a:lnTo>
                    <a:pt x="383" y="1053"/>
                  </a:lnTo>
                  <a:lnTo>
                    <a:pt x="383" y="1057"/>
                  </a:lnTo>
                  <a:lnTo>
                    <a:pt x="383" y="1058"/>
                  </a:lnTo>
                  <a:lnTo>
                    <a:pt x="384" y="1062"/>
                  </a:lnTo>
                  <a:lnTo>
                    <a:pt x="384" y="1060"/>
                  </a:lnTo>
                  <a:lnTo>
                    <a:pt x="381" y="1057"/>
                  </a:lnTo>
                  <a:lnTo>
                    <a:pt x="381" y="1055"/>
                  </a:lnTo>
                  <a:lnTo>
                    <a:pt x="381" y="1051"/>
                  </a:lnTo>
                  <a:lnTo>
                    <a:pt x="381" y="1049"/>
                  </a:lnTo>
                  <a:lnTo>
                    <a:pt x="381" y="1049"/>
                  </a:lnTo>
                  <a:lnTo>
                    <a:pt x="379" y="1049"/>
                  </a:lnTo>
                  <a:lnTo>
                    <a:pt x="377" y="1048"/>
                  </a:lnTo>
                  <a:lnTo>
                    <a:pt x="375" y="1046"/>
                  </a:lnTo>
                  <a:lnTo>
                    <a:pt x="374" y="1048"/>
                  </a:lnTo>
                  <a:lnTo>
                    <a:pt x="374" y="1048"/>
                  </a:lnTo>
                  <a:lnTo>
                    <a:pt x="374" y="1049"/>
                  </a:lnTo>
                  <a:lnTo>
                    <a:pt x="374" y="1051"/>
                  </a:lnTo>
                  <a:lnTo>
                    <a:pt x="374" y="1053"/>
                  </a:lnTo>
                  <a:lnTo>
                    <a:pt x="374" y="1055"/>
                  </a:lnTo>
                  <a:lnTo>
                    <a:pt x="374" y="1055"/>
                  </a:lnTo>
                  <a:lnTo>
                    <a:pt x="374" y="1053"/>
                  </a:lnTo>
                  <a:lnTo>
                    <a:pt x="372" y="1049"/>
                  </a:lnTo>
                  <a:lnTo>
                    <a:pt x="372" y="1049"/>
                  </a:lnTo>
                  <a:lnTo>
                    <a:pt x="372" y="1048"/>
                  </a:lnTo>
                  <a:lnTo>
                    <a:pt x="372" y="1044"/>
                  </a:lnTo>
                  <a:lnTo>
                    <a:pt x="372" y="1044"/>
                  </a:lnTo>
                  <a:lnTo>
                    <a:pt x="372" y="1046"/>
                  </a:lnTo>
                  <a:lnTo>
                    <a:pt x="372" y="1046"/>
                  </a:lnTo>
                  <a:lnTo>
                    <a:pt x="370" y="1046"/>
                  </a:lnTo>
                  <a:lnTo>
                    <a:pt x="370" y="1046"/>
                  </a:lnTo>
                  <a:lnTo>
                    <a:pt x="368" y="1046"/>
                  </a:lnTo>
                  <a:lnTo>
                    <a:pt x="368" y="1044"/>
                  </a:lnTo>
                  <a:lnTo>
                    <a:pt x="365" y="1042"/>
                  </a:lnTo>
                  <a:lnTo>
                    <a:pt x="365" y="1040"/>
                  </a:lnTo>
                  <a:lnTo>
                    <a:pt x="365" y="1039"/>
                  </a:lnTo>
                  <a:lnTo>
                    <a:pt x="365" y="1040"/>
                  </a:lnTo>
                  <a:lnTo>
                    <a:pt x="366" y="1040"/>
                  </a:lnTo>
                  <a:lnTo>
                    <a:pt x="366" y="1040"/>
                  </a:lnTo>
                  <a:lnTo>
                    <a:pt x="365" y="1039"/>
                  </a:lnTo>
                  <a:lnTo>
                    <a:pt x="363" y="1035"/>
                  </a:lnTo>
                  <a:lnTo>
                    <a:pt x="361" y="1033"/>
                  </a:lnTo>
                  <a:lnTo>
                    <a:pt x="361" y="1030"/>
                  </a:lnTo>
                  <a:lnTo>
                    <a:pt x="363" y="1033"/>
                  </a:lnTo>
                  <a:lnTo>
                    <a:pt x="365" y="1035"/>
                  </a:lnTo>
                  <a:lnTo>
                    <a:pt x="372" y="1039"/>
                  </a:lnTo>
                  <a:lnTo>
                    <a:pt x="375" y="1039"/>
                  </a:lnTo>
                  <a:lnTo>
                    <a:pt x="372" y="1035"/>
                  </a:lnTo>
                  <a:lnTo>
                    <a:pt x="366" y="1033"/>
                  </a:lnTo>
                  <a:lnTo>
                    <a:pt x="366" y="1033"/>
                  </a:lnTo>
                  <a:lnTo>
                    <a:pt x="366" y="1033"/>
                  </a:lnTo>
                  <a:lnTo>
                    <a:pt x="368" y="1033"/>
                  </a:lnTo>
                  <a:lnTo>
                    <a:pt x="368" y="1033"/>
                  </a:lnTo>
                  <a:lnTo>
                    <a:pt x="368" y="1031"/>
                  </a:lnTo>
                  <a:lnTo>
                    <a:pt x="366" y="1031"/>
                  </a:lnTo>
                  <a:lnTo>
                    <a:pt x="366" y="1030"/>
                  </a:lnTo>
                  <a:lnTo>
                    <a:pt x="366" y="1030"/>
                  </a:lnTo>
                  <a:lnTo>
                    <a:pt x="366" y="1028"/>
                  </a:lnTo>
                  <a:lnTo>
                    <a:pt x="366" y="1028"/>
                  </a:lnTo>
                  <a:lnTo>
                    <a:pt x="366" y="1028"/>
                  </a:lnTo>
                  <a:lnTo>
                    <a:pt x="366" y="1026"/>
                  </a:lnTo>
                  <a:lnTo>
                    <a:pt x="363" y="1028"/>
                  </a:lnTo>
                  <a:lnTo>
                    <a:pt x="361" y="1026"/>
                  </a:lnTo>
                  <a:lnTo>
                    <a:pt x="361" y="1026"/>
                  </a:lnTo>
                  <a:lnTo>
                    <a:pt x="359" y="1026"/>
                  </a:lnTo>
                  <a:lnTo>
                    <a:pt x="359" y="1026"/>
                  </a:lnTo>
                  <a:lnTo>
                    <a:pt x="357" y="1028"/>
                  </a:lnTo>
                  <a:lnTo>
                    <a:pt x="355" y="1030"/>
                  </a:lnTo>
                  <a:lnTo>
                    <a:pt x="355" y="1028"/>
                  </a:lnTo>
                  <a:lnTo>
                    <a:pt x="355" y="1028"/>
                  </a:lnTo>
                  <a:lnTo>
                    <a:pt x="355" y="1028"/>
                  </a:lnTo>
                  <a:lnTo>
                    <a:pt x="355" y="1026"/>
                  </a:lnTo>
                  <a:lnTo>
                    <a:pt x="355" y="1026"/>
                  </a:lnTo>
                  <a:lnTo>
                    <a:pt x="357" y="1024"/>
                  </a:lnTo>
                  <a:lnTo>
                    <a:pt x="357" y="1024"/>
                  </a:lnTo>
                  <a:lnTo>
                    <a:pt x="354" y="1022"/>
                  </a:lnTo>
                  <a:lnTo>
                    <a:pt x="352" y="1021"/>
                  </a:lnTo>
                  <a:lnTo>
                    <a:pt x="350" y="1019"/>
                  </a:lnTo>
                  <a:lnTo>
                    <a:pt x="350" y="1017"/>
                  </a:lnTo>
                  <a:lnTo>
                    <a:pt x="350" y="1015"/>
                  </a:lnTo>
                  <a:lnTo>
                    <a:pt x="350" y="1015"/>
                  </a:lnTo>
                  <a:lnTo>
                    <a:pt x="348" y="1013"/>
                  </a:lnTo>
                  <a:lnTo>
                    <a:pt x="345" y="1012"/>
                  </a:lnTo>
                  <a:lnTo>
                    <a:pt x="345" y="1010"/>
                  </a:lnTo>
                  <a:lnTo>
                    <a:pt x="343" y="1010"/>
                  </a:lnTo>
                  <a:lnTo>
                    <a:pt x="343" y="1010"/>
                  </a:lnTo>
                  <a:lnTo>
                    <a:pt x="343" y="1010"/>
                  </a:lnTo>
                  <a:lnTo>
                    <a:pt x="343" y="1008"/>
                  </a:lnTo>
                  <a:lnTo>
                    <a:pt x="345" y="1008"/>
                  </a:lnTo>
                  <a:lnTo>
                    <a:pt x="345" y="1006"/>
                  </a:lnTo>
                  <a:lnTo>
                    <a:pt x="343" y="1002"/>
                  </a:lnTo>
                  <a:lnTo>
                    <a:pt x="341" y="1001"/>
                  </a:lnTo>
                  <a:lnTo>
                    <a:pt x="341" y="1001"/>
                  </a:lnTo>
                  <a:lnTo>
                    <a:pt x="336" y="1002"/>
                  </a:lnTo>
                  <a:lnTo>
                    <a:pt x="332" y="1004"/>
                  </a:lnTo>
                  <a:lnTo>
                    <a:pt x="330" y="1008"/>
                  </a:lnTo>
                  <a:lnTo>
                    <a:pt x="332" y="1012"/>
                  </a:lnTo>
                  <a:lnTo>
                    <a:pt x="332" y="1012"/>
                  </a:lnTo>
                  <a:lnTo>
                    <a:pt x="328" y="1012"/>
                  </a:lnTo>
                  <a:lnTo>
                    <a:pt x="327" y="1010"/>
                  </a:lnTo>
                  <a:lnTo>
                    <a:pt x="325" y="1008"/>
                  </a:lnTo>
                  <a:lnTo>
                    <a:pt x="325" y="1006"/>
                  </a:lnTo>
                  <a:lnTo>
                    <a:pt x="325" y="1004"/>
                  </a:lnTo>
                  <a:lnTo>
                    <a:pt x="325" y="1002"/>
                  </a:lnTo>
                  <a:lnTo>
                    <a:pt x="325" y="1002"/>
                  </a:lnTo>
                  <a:lnTo>
                    <a:pt x="327" y="1001"/>
                  </a:lnTo>
                  <a:lnTo>
                    <a:pt x="327" y="1001"/>
                  </a:lnTo>
                  <a:lnTo>
                    <a:pt x="327" y="999"/>
                  </a:lnTo>
                  <a:lnTo>
                    <a:pt x="325" y="999"/>
                  </a:lnTo>
                  <a:lnTo>
                    <a:pt x="325" y="997"/>
                  </a:lnTo>
                  <a:lnTo>
                    <a:pt x="323" y="997"/>
                  </a:lnTo>
                  <a:lnTo>
                    <a:pt x="321" y="997"/>
                  </a:lnTo>
                  <a:lnTo>
                    <a:pt x="316" y="997"/>
                  </a:lnTo>
                  <a:lnTo>
                    <a:pt x="314" y="999"/>
                  </a:lnTo>
                  <a:lnTo>
                    <a:pt x="314" y="999"/>
                  </a:lnTo>
                  <a:lnTo>
                    <a:pt x="314" y="999"/>
                  </a:lnTo>
                  <a:lnTo>
                    <a:pt x="312" y="999"/>
                  </a:lnTo>
                  <a:lnTo>
                    <a:pt x="312" y="999"/>
                  </a:lnTo>
                  <a:lnTo>
                    <a:pt x="310" y="999"/>
                  </a:lnTo>
                  <a:lnTo>
                    <a:pt x="310" y="997"/>
                  </a:lnTo>
                  <a:lnTo>
                    <a:pt x="312" y="997"/>
                  </a:lnTo>
                  <a:lnTo>
                    <a:pt x="310" y="993"/>
                  </a:lnTo>
                  <a:lnTo>
                    <a:pt x="309" y="993"/>
                  </a:lnTo>
                  <a:lnTo>
                    <a:pt x="307" y="992"/>
                  </a:lnTo>
                  <a:lnTo>
                    <a:pt x="307" y="992"/>
                  </a:lnTo>
                  <a:lnTo>
                    <a:pt x="305" y="992"/>
                  </a:lnTo>
                  <a:lnTo>
                    <a:pt x="305" y="992"/>
                  </a:lnTo>
                  <a:lnTo>
                    <a:pt x="303" y="992"/>
                  </a:lnTo>
                  <a:lnTo>
                    <a:pt x="303" y="992"/>
                  </a:lnTo>
                  <a:lnTo>
                    <a:pt x="303" y="992"/>
                  </a:lnTo>
                  <a:lnTo>
                    <a:pt x="303" y="992"/>
                  </a:lnTo>
                  <a:lnTo>
                    <a:pt x="305" y="990"/>
                  </a:lnTo>
                  <a:lnTo>
                    <a:pt x="307" y="990"/>
                  </a:lnTo>
                  <a:lnTo>
                    <a:pt x="309" y="988"/>
                  </a:lnTo>
                  <a:lnTo>
                    <a:pt x="310" y="986"/>
                  </a:lnTo>
                  <a:lnTo>
                    <a:pt x="310" y="986"/>
                  </a:lnTo>
                  <a:lnTo>
                    <a:pt x="310" y="984"/>
                  </a:lnTo>
                  <a:lnTo>
                    <a:pt x="310" y="984"/>
                  </a:lnTo>
                  <a:lnTo>
                    <a:pt x="310" y="984"/>
                  </a:lnTo>
                  <a:lnTo>
                    <a:pt x="309" y="984"/>
                  </a:lnTo>
                  <a:lnTo>
                    <a:pt x="309" y="983"/>
                  </a:lnTo>
                  <a:lnTo>
                    <a:pt x="309" y="983"/>
                  </a:lnTo>
                  <a:lnTo>
                    <a:pt x="309" y="981"/>
                  </a:lnTo>
                  <a:lnTo>
                    <a:pt x="309" y="979"/>
                  </a:lnTo>
                  <a:lnTo>
                    <a:pt x="309" y="979"/>
                  </a:lnTo>
                  <a:lnTo>
                    <a:pt x="307" y="979"/>
                  </a:lnTo>
                  <a:lnTo>
                    <a:pt x="307" y="979"/>
                  </a:lnTo>
                  <a:lnTo>
                    <a:pt x="307" y="977"/>
                  </a:lnTo>
                  <a:lnTo>
                    <a:pt x="307" y="977"/>
                  </a:lnTo>
                  <a:lnTo>
                    <a:pt x="307" y="977"/>
                  </a:lnTo>
                  <a:lnTo>
                    <a:pt x="309" y="977"/>
                  </a:lnTo>
                  <a:lnTo>
                    <a:pt x="309" y="977"/>
                  </a:lnTo>
                  <a:lnTo>
                    <a:pt x="307" y="970"/>
                  </a:lnTo>
                  <a:lnTo>
                    <a:pt x="307" y="970"/>
                  </a:lnTo>
                  <a:lnTo>
                    <a:pt x="307" y="970"/>
                  </a:lnTo>
                  <a:lnTo>
                    <a:pt x="305" y="970"/>
                  </a:lnTo>
                  <a:lnTo>
                    <a:pt x="305" y="970"/>
                  </a:lnTo>
                  <a:lnTo>
                    <a:pt x="305" y="970"/>
                  </a:lnTo>
                  <a:lnTo>
                    <a:pt x="305" y="968"/>
                  </a:lnTo>
                  <a:lnTo>
                    <a:pt x="305" y="966"/>
                  </a:lnTo>
                  <a:lnTo>
                    <a:pt x="305" y="966"/>
                  </a:lnTo>
                  <a:lnTo>
                    <a:pt x="303" y="966"/>
                  </a:lnTo>
                  <a:lnTo>
                    <a:pt x="301" y="966"/>
                  </a:lnTo>
                  <a:lnTo>
                    <a:pt x="301" y="965"/>
                  </a:lnTo>
                  <a:lnTo>
                    <a:pt x="303" y="965"/>
                  </a:lnTo>
                  <a:lnTo>
                    <a:pt x="303" y="961"/>
                  </a:lnTo>
                  <a:lnTo>
                    <a:pt x="303" y="959"/>
                  </a:lnTo>
                  <a:lnTo>
                    <a:pt x="307" y="959"/>
                  </a:lnTo>
                  <a:lnTo>
                    <a:pt x="307" y="957"/>
                  </a:lnTo>
                  <a:lnTo>
                    <a:pt x="305" y="957"/>
                  </a:lnTo>
                  <a:lnTo>
                    <a:pt x="303" y="959"/>
                  </a:lnTo>
                  <a:lnTo>
                    <a:pt x="303" y="957"/>
                  </a:lnTo>
                  <a:lnTo>
                    <a:pt x="303" y="957"/>
                  </a:lnTo>
                  <a:lnTo>
                    <a:pt x="303" y="957"/>
                  </a:lnTo>
                  <a:lnTo>
                    <a:pt x="303" y="956"/>
                  </a:lnTo>
                  <a:lnTo>
                    <a:pt x="303" y="956"/>
                  </a:lnTo>
                  <a:lnTo>
                    <a:pt x="303" y="954"/>
                  </a:lnTo>
                  <a:lnTo>
                    <a:pt x="303" y="952"/>
                  </a:lnTo>
                  <a:lnTo>
                    <a:pt x="303" y="952"/>
                  </a:lnTo>
                  <a:lnTo>
                    <a:pt x="303" y="952"/>
                  </a:lnTo>
                  <a:lnTo>
                    <a:pt x="305" y="950"/>
                  </a:lnTo>
                  <a:lnTo>
                    <a:pt x="305" y="950"/>
                  </a:lnTo>
                  <a:lnTo>
                    <a:pt x="305" y="950"/>
                  </a:lnTo>
                  <a:lnTo>
                    <a:pt x="303" y="948"/>
                  </a:lnTo>
                  <a:lnTo>
                    <a:pt x="303" y="948"/>
                  </a:lnTo>
                  <a:lnTo>
                    <a:pt x="301" y="948"/>
                  </a:lnTo>
                  <a:lnTo>
                    <a:pt x="301" y="948"/>
                  </a:lnTo>
                  <a:lnTo>
                    <a:pt x="303" y="948"/>
                  </a:lnTo>
                  <a:lnTo>
                    <a:pt x="303" y="948"/>
                  </a:lnTo>
                  <a:lnTo>
                    <a:pt x="303" y="947"/>
                  </a:lnTo>
                  <a:lnTo>
                    <a:pt x="303" y="945"/>
                  </a:lnTo>
                  <a:lnTo>
                    <a:pt x="303" y="945"/>
                  </a:lnTo>
                  <a:lnTo>
                    <a:pt x="303" y="943"/>
                  </a:lnTo>
                  <a:lnTo>
                    <a:pt x="303" y="941"/>
                  </a:lnTo>
                  <a:lnTo>
                    <a:pt x="301" y="939"/>
                  </a:lnTo>
                  <a:lnTo>
                    <a:pt x="303" y="937"/>
                  </a:lnTo>
                  <a:lnTo>
                    <a:pt x="305" y="937"/>
                  </a:lnTo>
                  <a:lnTo>
                    <a:pt x="305" y="936"/>
                  </a:lnTo>
                  <a:lnTo>
                    <a:pt x="305" y="934"/>
                  </a:lnTo>
                  <a:lnTo>
                    <a:pt x="303" y="932"/>
                  </a:lnTo>
                  <a:lnTo>
                    <a:pt x="301" y="930"/>
                  </a:lnTo>
                  <a:lnTo>
                    <a:pt x="300" y="928"/>
                  </a:lnTo>
                  <a:lnTo>
                    <a:pt x="300" y="928"/>
                  </a:lnTo>
                  <a:lnTo>
                    <a:pt x="300" y="927"/>
                  </a:lnTo>
                  <a:lnTo>
                    <a:pt x="300" y="927"/>
                  </a:lnTo>
                  <a:lnTo>
                    <a:pt x="301" y="928"/>
                  </a:lnTo>
                  <a:lnTo>
                    <a:pt x="303" y="930"/>
                  </a:lnTo>
                  <a:lnTo>
                    <a:pt x="305" y="930"/>
                  </a:lnTo>
                  <a:lnTo>
                    <a:pt x="307" y="930"/>
                  </a:lnTo>
                  <a:lnTo>
                    <a:pt x="305" y="930"/>
                  </a:lnTo>
                  <a:lnTo>
                    <a:pt x="303" y="928"/>
                  </a:lnTo>
                  <a:lnTo>
                    <a:pt x="303" y="928"/>
                  </a:lnTo>
                  <a:lnTo>
                    <a:pt x="301" y="927"/>
                  </a:lnTo>
                  <a:lnTo>
                    <a:pt x="305" y="928"/>
                  </a:lnTo>
                  <a:lnTo>
                    <a:pt x="307" y="928"/>
                  </a:lnTo>
                  <a:lnTo>
                    <a:pt x="309" y="928"/>
                  </a:lnTo>
                  <a:lnTo>
                    <a:pt x="305" y="925"/>
                  </a:lnTo>
                  <a:lnTo>
                    <a:pt x="305" y="925"/>
                  </a:lnTo>
                  <a:lnTo>
                    <a:pt x="303" y="923"/>
                  </a:lnTo>
                  <a:lnTo>
                    <a:pt x="301" y="921"/>
                  </a:lnTo>
                  <a:lnTo>
                    <a:pt x="300" y="919"/>
                  </a:lnTo>
                  <a:lnTo>
                    <a:pt x="300" y="919"/>
                  </a:lnTo>
                  <a:lnTo>
                    <a:pt x="300" y="918"/>
                  </a:lnTo>
                  <a:lnTo>
                    <a:pt x="301" y="918"/>
                  </a:lnTo>
                  <a:lnTo>
                    <a:pt x="301" y="916"/>
                  </a:lnTo>
                  <a:lnTo>
                    <a:pt x="301" y="916"/>
                  </a:lnTo>
                  <a:lnTo>
                    <a:pt x="303" y="916"/>
                  </a:lnTo>
                  <a:lnTo>
                    <a:pt x="303" y="918"/>
                  </a:lnTo>
                  <a:lnTo>
                    <a:pt x="303" y="916"/>
                  </a:lnTo>
                  <a:lnTo>
                    <a:pt x="303" y="916"/>
                  </a:lnTo>
                  <a:lnTo>
                    <a:pt x="305" y="916"/>
                  </a:lnTo>
                  <a:lnTo>
                    <a:pt x="305" y="916"/>
                  </a:lnTo>
                  <a:lnTo>
                    <a:pt x="305" y="916"/>
                  </a:lnTo>
                  <a:lnTo>
                    <a:pt x="305" y="914"/>
                  </a:lnTo>
                  <a:lnTo>
                    <a:pt x="305" y="914"/>
                  </a:lnTo>
                  <a:lnTo>
                    <a:pt x="305" y="914"/>
                  </a:lnTo>
                  <a:lnTo>
                    <a:pt x="305" y="914"/>
                  </a:lnTo>
                  <a:lnTo>
                    <a:pt x="305" y="914"/>
                  </a:lnTo>
                  <a:lnTo>
                    <a:pt x="303" y="916"/>
                  </a:lnTo>
                  <a:lnTo>
                    <a:pt x="303" y="916"/>
                  </a:lnTo>
                  <a:lnTo>
                    <a:pt x="303" y="914"/>
                  </a:lnTo>
                  <a:lnTo>
                    <a:pt x="303" y="914"/>
                  </a:lnTo>
                  <a:lnTo>
                    <a:pt x="301" y="912"/>
                  </a:lnTo>
                  <a:lnTo>
                    <a:pt x="301" y="912"/>
                  </a:lnTo>
                  <a:lnTo>
                    <a:pt x="303" y="910"/>
                  </a:lnTo>
                  <a:lnTo>
                    <a:pt x="303" y="910"/>
                  </a:lnTo>
                  <a:lnTo>
                    <a:pt x="303" y="910"/>
                  </a:lnTo>
                  <a:lnTo>
                    <a:pt x="303" y="909"/>
                  </a:lnTo>
                  <a:lnTo>
                    <a:pt x="303" y="909"/>
                  </a:lnTo>
                  <a:lnTo>
                    <a:pt x="301" y="907"/>
                  </a:lnTo>
                  <a:lnTo>
                    <a:pt x="301" y="907"/>
                  </a:lnTo>
                  <a:lnTo>
                    <a:pt x="303" y="907"/>
                  </a:lnTo>
                  <a:lnTo>
                    <a:pt x="303" y="905"/>
                  </a:lnTo>
                  <a:lnTo>
                    <a:pt x="301" y="905"/>
                  </a:lnTo>
                  <a:lnTo>
                    <a:pt x="301" y="905"/>
                  </a:lnTo>
                  <a:lnTo>
                    <a:pt x="300" y="903"/>
                  </a:lnTo>
                  <a:lnTo>
                    <a:pt x="300" y="903"/>
                  </a:lnTo>
                  <a:lnTo>
                    <a:pt x="298" y="903"/>
                  </a:lnTo>
                  <a:lnTo>
                    <a:pt x="300" y="903"/>
                  </a:lnTo>
                  <a:lnTo>
                    <a:pt x="303" y="903"/>
                  </a:lnTo>
                  <a:lnTo>
                    <a:pt x="303" y="901"/>
                  </a:lnTo>
                  <a:lnTo>
                    <a:pt x="298" y="901"/>
                  </a:lnTo>
                  <a:lnTo>
                    <a:pt x="298" y="900"/>
                  </a:lnTo>
                  <a:lnTo>
                    <a:pt x="300" y="900"/>
                  </a:lnTo>
                  <a:lnTo>
                    <a:pt x="301" y="898"/>
                  </a:lnTo>
                  <a:lnTo>
                    <a:pt x="301" y="898"/>
                  </a:lnTo>
                  <a:lnTo>
                    <a:pt x="300" y="898"/>
                  </a:lnTo>
                  <a:lnTo>
                    <a:pt x="298" y="898"/>
                  </a:lnTo>
                  <a:lnTo>
                    <a:pt x="298" y="896"/>
                  </a:lnTo>
                  <a:lnTo>
                    <a:pt x="301" y="896"/>
                  </a:lnTo>
                  <a:lnTo>
                    <a:pt x="303" y="896"/>
                  </a:lnTo>
                  <a:lnTo>
                    <a:pt x="305" y="898"/>
                  </a:lnTo>
                  <a:lnTo>
                    <a:pt x="305" y="898"/>
                  </a:lnTo>
                  <a:lnTo>
                    <a:pt x="307" y="898"/>
                  </a:lnTo>
                  <a:lnTo>
                    <a:pt x="305" y="896"/>
                  </a:lnTo>
                  <a:lnTo>
                    <a:pt x="300" y="894"/>
                  </a:lnTo>
                  <a:lnTo>
                    <a:pt x="300" y="892"/>
                  </a:lnTo>
                  <a:lnTo>
                    <a:pt x="303" y="894"/>
                  </a:lnTo>
                  <a:lnTo>
                    <a:pt x="303" y="894"/>
                  </a:lnTo>
                  <a:lnTo>
                    <a:pt x="303" y="892"/>
                  </a:lnTo>
                  <a:lnTo>
                    <a:pt x="303" y="892"/>
                  </a:lnTo>
                  <a:lnTo>
                    <a:pt x="303" y="892"/>
                  </a:lnTo>
                  <a:lnTo>
                    <a:pt x="303" y="892"/>
                  </a:lnTo>
                  <a:lnTo>
                    <a:pt x="305" y="891"/>
                  </a:lnTo>
                  <a:lnTo>
                    <a:pt x="307" y="891"/>
                  </a:lnTo>
                  <a:lnTo>
                    <a:pt x="309" y="889"/>
                  </a:lnTo>
                  <a:lnTo>
                    <a:pt x="305" y="887"/>
                  </a:lnTo>
                  <a:lnTo>
                    <a:pt x="303" y="887"/>
                  </a:lnTo>
                  <a:lnTo>
                    <a:pt x="301" y="885"/>
                  </a:lnTo>
                  <a:lnTo>
                    <a:pt x="301" y="885"/>
                  </a:lnTo>
                  <a:lnTo>
                    <a:pt x="305" y="885"/>
                  </a:lnTo>
                  <a:lnTo>
                    <a:pt x="307" y="885"/>
                  </a:lnTo>
                  <a:lnTo>
                    <a:pt x="310" y="887"/>
                  </a:lnTo>
                  <a:lnTo>
                    <a:pt x="309" y="889"/>
                  </a:lnTo>
                  <a:lnTo>
                    <a:pt x="310" y="889"/>
                  </a:lnTo>
                  <a:lnTo>
                    <a:pt x="312" y="891"/>
                  </a:lnTo>
                  <a:lnTo>
                    <a:pt x="310" y="889"/>
                  </a:lnTo>
                  <a:lnTo>
                    <a:pt x="310" y="887"/>
                  </a:lnTo>
                  <a:lnTo>
                    <a:pt x="310" y="885"/>
                  </a:lnTo>
                  <a:lnTo>
                    <a:pt x="312" y="887"/>
                  </a:lnTo>
                  <a:lnTo>
                    <a:pt x="314" y="889"/>
                  </a:lnTo>
                  <a:lnTo>
                    <a:pt x="316" y="892"/>
                  </a:lnTo>
                  <a:lnTo>
                    <a:pt x="316" y="894"/>
                  </a:lnTo>
                  <a:lnTo>
                    <a:pt x="316" y="894"/>
                  </a:lnTo>
                  <a:lnTo>
                    <a:pt x="318" y="894"/>
                  </a:lnTo>
                  <a:lnTo>
                    <a:pt x="318" y="894"/>
                  </a:lnTo>
                  <a:lnTo>
                    <a:pt x="319" y="894"/>
                  </a:lnTo>
                  <a:lnTo>
                    <a:pt x="319" y="892"/>
                  </a:lnTo>
                  <a:lnTo>
                    <a:pt x="319" y="891"/>
                  </a:lnTo>
                  <a:lnTo>
                    <a:pt x="319" y="889"/>
                  </a:lnTo>
                  <a:lnTo>
                    <a:pt x="321" y="889"/>
                  </a:lnTo>
                  <a:lnTo>
                    <a:pt x="321" y="887"/>
                  </a:lnTo>
                  <a:lnTo>
                    <a:pt x="319" y="885"/>
                  </a:lnTo>
                  <a:lnTo>
                    <a:pt x="319" y="885"/>
                  </a:lnTo>
                  <a:lnTo>
                    <a:pt x="318" y="883"/>
                  </a:lnTo>
                  <a:lnTo>
                    <a:pt x="318" y="883"/>
                  </a:lnTo>
                  <a:lnTo>
                    <a:pt x="318" y="885"/>
                  </a:lnTo>
                  <a:lnTo>
                    <a:pt x="314" y="885"/>
                  </a:lnTo>
                  <a:lnTo>
                    <a:pt x="314" y="885"/>
                  </a:lnTo>
                  <a:lnTo>
                    <a:pt x="314" y="883"/>
                  </a:lnTo>
                  <a:lnTo>
                    <a:pt x="314" y="881"/>
                  </a:lnTo>
                  <a:lnTo>
                    <a:pt x="314" y="880"/>
                  </a:lnTo>
                  <a:lnTo>
                    <a:pt x="314" y="878"/>
                  </a:lnTo>
                  <a:lnTo>
                    <a:pt x="312" y="878"/>
                  </a:lnTo>
                  <a:lnTo>
                    <a:pt x="312" y="876"/>
                  </a:lnTo>
                  <a:lnTo>
                    <a:pt x="314" y="876"/>
                  </a:lnTo>
                  <a:lnTo>
                    <a:pt x="314" y="876"/>
                  </a:lnTo>
                  <a:lnTo>
                    <a:pt x="314" y="876"/>
                  </a:lnTo>
                  <a:lnTo>
                    <a:pt x="314" y="874"/>
                  </a:lnTo>
                  <a:lnTo>
                    <a:pt x="312" y="876"/>
                  </a:lnTo>
                  <a:lnTo>
                    <a:pt x="312" y="874"/>
                  </a:lnTo>
                  <a:lnTo>
                    <a:pt x="310" y="874"/>
                  </a:lnTo>
                  <a:lnTo>
                    <a:pt x="310" y="874"/>
                  </a:lnTo>
                  <a:lnTo>
                    <a:pt x="312" y="872"/>
                  </a:lnTo>
                  <a:lnTo>
                    <a:pt x="312" y="872"/>
                  </a:lnTo>
                  <a:lnTo>
                    <a:pt x="312" y="872"/>
                  </a:lnTo>
                  <a:lnTo>
                    <a:pt x="312" y="871"/>
                  </a:lnTo>
                  <a:lnTo>
                    <a:pt x="312" y="871"/>
                  </a:lnTo>
                  <a:lnTo>
                    <a:pt x="312" y="871"/>
                  </a:lnTo>
                  <a:lnTo>
                    <a:pt x="312" y="871"/>
                  </a:lnTo>
                  <a:lnTo>
                    <a:pt x="312" y="871"/>
                  </a:lnTo>
                  <a:lnTo>
                    <a:pt x="312" y="869"/>
                  </a:lnTo>
                  <a:lnTo>
                    <a:pt x="312" y="869"/>
                  </a:lnTo>
                  <a:lnTo>
                    <a:pt x="312" y="869"/>
                  </a:lnTo>
                  <a:lnTo>
                    <a:pt x="312" y="869"/>
                  </a:lnTo>
                  <a:lnTo>
                    <a:pt x="312" y="867"/>
                  </a:lnTo>
                  <a:lnTo>
                    <a:pt x="312" y="867"/>
                  </a:lnTo>
                  <a:lnTo>
                    <a:pt x="312" y="865"/>
                  </a:lnTo>
                  <a:lnTo>
                    <a:pt x="312" y="863"/>
                  </a:lnTo>
                  <a:lnTo>
                    <a:pt x="312" y="862"/>
                  </a:lnTo>
                  <a:lnTo>
                    <a:pt x="312" y="862"/>
                  </a:lnTo>
                  <a:lnTo>
                    <a:pt x="312" y="860"/>
                  </a:lnTo>
                  <a:lnTo>
                    <a:pt x="312" y="860"/>
                  </a:lnTo>
                  <a:lnTo>
                    <a:pt x="314" y="860"/>
                  </a:lnTo>
                  <a:lnTo>
                    <a:pt x="314" y="858"/>
                  </a:lnTo>
                  <a:lnTo>
                    <a:pt x="314" y="858"/>
                  </a:lnTo>
                  <a:lnTo>
                    <a:pt x="314" y="856"/>
                  </a:lnTo>
                  <a:lnTo>
                    <a:pt x="314" y="856"/>
                  </a:lnTo>
                  <a:lnTo>
                    <a:pt x="318" y="856"/>
                  </a:lnTo>
                  <a:lnTo>
                    <a:pt x="318" y="854"/>
                  </a:lnTo>
                  <a:lnTo>
                    <a:pt x="318" y="854"/>
                  </a:lnTo>
                  <a:lnTo>
                    <a:pt x="316" y="853"/>
                  </a:lnTo>
                  <a:lnTo>
                    <a:pt x="316" y="853"/>
                  </a:lnTo>
                  <a:lnTo>
                    <a:pt x="318" y="851"/>
                  </a:lnTo>
                  <a:lnTo>
                    <a:pt x="318" y="849"/>
                  </a:lnTo>
                  <a:lnTo>
                    <a:pt x="318" y="849"/>
                  </a:lnTo>
                  <a:lnTo>
                    <a:pt x="318" y="847"/>
                  </a:lnTo>
                  <a:lnTo>
                    <a:pt x="318" y="847"/>
                  </a:lnTo>
                  <a:lnTo>
                    <a:pt x="318" y="845"/>
                  </a:lnTo>
                  <a:lnTo>
                    <a:pt x="318" y="844"/>
                  </a:lnTo>
                  <a:lnTo>
                    <a:pt x="318" y="842"/>
                  </a:lnTo>
                  <a:lnTo>
                    <a:pt x="319" y="840"/>
                  </a:lnTo>
                  <a:lnTo>
                    <a:pt x="319" y="840"/>
                  </a:lnTo>
                  <a:lnTo>
                    <a:pt x="319" y="838"/>
                  </a:lnTo>
                  <a:lnTo>
                    <a:pt x="319" y="836"/>
                  </a:lnTo>
                  <a:lnTo>
                    <a:pt x="319" y="836"/>
                  </a:lnTo>
                  <a:lnTo>
                    <a:pt x="319" y="835"/>
                  </a:lnTo>
                  <a:lnTo>
                    <a:pt x="319" y="833"/>
                  </a:lnTo>
                  <a:lnTo>
                    <a:pt x="319" y="831"/>
                  </a:lnTo>
                  <a:lnTo>
                    <a:pt x="321" y="831"/>
                  </a:lnTo>
                  <a:lnTo>
                    <a:pt x="321" y="831"/>
                  </a:lnTo>
                  <a:lnTo>
                    <a:pt x="323" y="831"/>
                  </a:lnTo>
                  <a:lnTo>
                    <a:pt x="321" y="833"/>
                  </a:lnTo>
                  <a:lnTo>
                    <a:pt x="321" y="835"/>
                  </a:lnTo>
                  <a:lnTo>
                    <a:pt x="323" y="835"/>
                  </a:lnTo>
                  <a:lnTo>
                    <a:pt x="327" y="831"/>
                  </a:lnTo>
                  <a:lnTo>
                    <a:pt x="327" y="829"/>
                  </a:lnTo>
                  <a:lnTo>
                    <a:pt x="325" y="829"/>
                  </a:lnTo>
                  <a:lnTo>
                    <a:pt x="323" y="829"/>
                  </a:lnTo>
                  <a:lnTo>
                    <a:pt x="321" y="829"/>
                  </a:lnTo>
                  <a:lnTo>
                    <a:pt x="318" y="825"/>
                  </a:lnTo>
                  <a:lnTo>
                    <a:pt x="318" y="825"/>
                  </a:lnTo>
                  <a:lnTo>
                    <a:pt x="318" y="825"/>
                  </a:lnTo>
                  <a:lnTo>
                    <a:pt x="319" y="825"/>
                  </a:lnTo>
                  <a:lnTo>
                    <a:pt x="319" y="825"/>
                  </a:lnTo>
                  <a:lnTo>
                    <a:pt x="318" y="824"/>
                  </a:lnTo>
                  <a:lnTo>
                    <a:pt x="318" y="824"/>
                  </a:lnTo>
                  <a:lnTo>
                    <a:pt x="318" y="822"/>
                  </a:lnTo>
                  <a:lnTo>
                    <a:pt x="318" y="822"/>
                  </a:lnTo>
                  <a:lnTo>
                    <a:pt x="316" y="820"/>
                  </a:lnTo>
                  <a:lnTo>
                    <a:pt x="316" y="820"/>
                  </a:lnTo>
                  <a:lnTo>
                    <a:pt x="314" y="820"/>
                  </a:lnTo>
                  <a:lnTo>
                    <a:pt x="314" y="820"/>
                  </a:lnTo>
                  <a:lnTo>
                    <a:pt x="312" y="818"/>
                  </a:lnTo>
                  <a:lnTo>
                    <a:pt x="312" y="818"/>
                  </a:lnTo>
                  <a:lnTo>
                    <a:pt x="312" y="816"/>
                  </a:lnTo>
                  <a:lnTo>
                    <a:pt x="312" y="815"/>
                  </a:lnTo>
                  <a:lnTo>
                    <a:pt x="312" y="815"/>
                  </a:lnTo>
                  <a:lnTo>
                    <a:pt x="312" y="813"/>
                  </a:lnTo>
                  <a:lnTo>
                    <a:pt x="310" y="813"/>
                  </a:lnTo>
                  <a:lnTo>
                    <a:pt x="312" y="813"/>
                  </a:lnTo>
                  <a:lnTo>
                    <a:pt x="312" y="813"/>
                  </a:lnTo>
                  <a:lnTo>
                    <a:pt x="312" y="813"/>
                  </a:lnTo>
                  <a:lnTo>
                    <a:pt x="314" y="811"/>
                  </a:lnTo>
                  <a:lnTo>
                    <a:pt x="314" y="811"/>
                  </a:lnTo>
                  <a:lnTo>
                    <a:pt x="314" y="809"/>
                  </a:lnTo>
                  <a:lnTo>
                    <a:pt x="314" y="809"/>
                  </a:lnTo>
                  <a:lnTo>
                    <a:pt x="312" y="809"/>
                  </a:lnTo>
                  <a:lnTo>
                    <a:pt x="310" y="806"/>
                  </a:lnTo>
                  <a:lnTo>
                    <a:pt x="310" y="804"/>
                  </a:lnTo>
                  <a:lnTo>
                    <a:pt x="312" y="802"/>
                  </a:lnTo>
                  <a:lnTo>
                    <a:pt x="312" y="802"/>
                  </a:lnTo>
                  <a:lnTo>
                    <a:pt x="314" y="802"/>
                  </a:lnTo>
                  <a:lnTo>
                    <a:pt x="314" y="800"/>
                  </a:lnTo>
                  <a:lnTo>
                    <a:pt x="314" y="798"/>
                  </a:lnTo>
                  <a:lnTo>
                    <a:pt x="316" y="797"/>
                  </a:lnTo>
                  <a:lnTo>
                    <a:pt x="316" y="798"/>
                  </a:lnTo>
                  <a:lnTo>
                    <a:pt x="318" y="802"/>
                  </a:lnTo>
                  <a:lnTo>
                    <a:pt x="321" y="806"/>
                  </a:lnTo>
                  <a:lnTo>
                    <a:pt x="321" y="806"/>
                  </a:lnTo>
                  <a:lnTo>
                    <a:pt x="321" y="807"/>
                  </a:lnTo>
                  <a:lnTo>
                    <a:pt x="323" y="807"/>
                  </a:lnTo>
                  <a:lnTo>
                    <a:pt x="323" y="807"/>
                  </a:lnTo>
                  <a:lnTo>
                    <a:pt x="330" y="809"/>
                  </a:lnTo>
                  <a:lnTo>
                    <a:pt x="328" y="807"/>
                  </a:lnTo>
                  <a:lnTo>
                    <a:pt x="328" y="807"/>
                  </a:lnTo>
                  <a:lnTo>
                    <a:pt x="327" y="806"/>
                  </a:lnTo>
                  <a:lnTo>
                    <a:pt x="327" y="804"/>
                  </a:lnTo>
                  <a:lnTo>
                    <a:pt x="328" y="804"/>
                  </a:lnTo>
                  <a:lnTo>
                    <a:pt x="328" y="802"/>
                  </a:lnTo>
                  <a:lnTo>
                    <a:pt x="330" y="802"/>
                  </a:lnTo>
                  <a:lnTo>
                    <a:pt x="334" y="802"/>
                  </a:lnTo>
                  <a:lnTo>
                    <a:pt x="334" y="802"/>
                  </a:lnTo>
                  <a:lnTo>
                    <a:pt x="336" y="804"/>
                  </a:lnTo>
                  <a:lnTo>
                    <a:pt x="336" y="804"/>
                  </a:lnTo>
                  <a:lnTo>
                    <a:pt x="336" y="804"/>
                  </a:lnTo>
                  <a:lnTo>
                    <a:pt x="337" y="802"/>
                  </a:lnTo>
                  <a:lnTo>
                    <a:pt x="339" y="798"/>
                  </a:lnTo>
                  <a:lnTo>
                    <a:pt x="337" y="797"/>
                  </a:lnTo>
                  <a:lnTo>
                    <a:pt x="339" y="797"/>
                  </a:lnTo>
                  <a:lnTo>
                    <a:pt x="339" y="797"/>
                  </a:lnTo>
                  <a:lnTo>
                    <a:pt x="339" y="795"/>
                  </a:lnTo>
                  <a:lnTo>
                    <a:pt x="339" y="795"/>
                  </a:lnTo>
                  <a:lnTo>
                    <a:pt x="339" y="795"/>
                  </a:lnTo>
                  <a:lnTo>
                    <a:pt x="341" y="791"/>
                  </a:lnTo>
                  <a:lnTo>
                    <a:pt x="341" y="789"/>
                  </a:lnTo>
                  <a:lnTo>
                    <a:pt x="341" y="789"/>
                  </a:lnTo>
                  <a:lnTo>
                    <a:pt x="341" y="789"/>
                  </a:lnTo>
                  <a:lnTo>
                    <a:pt x="343" y="789"/>
                  </a:lnTo>
                  <a:lnTo>
                    <a:pt x="343" y="791"/>
                  </a:lnTo>
                  <a:lnTo>
                    <a:pt x="343" y="793"/>
                  </a:lnTo>
                  <a:lnTo>
                    <a:pt x="343" y="795"/>
                  </a:lnTo>
                  <a:lnTo>
                    <a:pt x="343" y="795"/>
                  </a:lnTo>
                  <a:lnTo>
                    <a:pt x="346" y="791"/>
                  </a:lnTo>
                  <a:lnTo>
                    <a:pt x="348" y="791"/>
                  </a:lnTo>
                  <a:lnTo>
                    <a:pt x="346" y="791"/>
                  </a:lnTo>
                  <a:lnTo>
                    <a:pt x="346" y="791"/>
                  </a:lnTo>
                  <a:lnTo>
                    <a:pt x="346" y="789"/>
                  </a:lnTo>
                  <a:lnTo>
                    <a:pt x="346" y="788"/>
                  </a:lnTo>
                  <a:lnTo>
                    <a:pt x="339" y="784"/>
                  </a:lnTo>
                  <a:lnTo>
                    <a:pt x="337" y="784"/>
                  </a:lnTo>
                  <a:lnTo>
                    <a:pt x="341" y="784"/>
                  </a:lnTo>
                  <a:lnTo>
                    <a:pt x="341" y="784"/>
                  </a:lnTo>
                  <a:lnTo>
                    <a:pt x="343" y="784"/>
                  </a:lnTo>
                  <a:lnTo>
                    <a:pt x="343" y="784"/>
                  </a:lnTo>
                  <a:lnTo>
                    <a:pt x="343" y="784"/>
                  </a:lnTo>
                  <a:lnTo>
                    <a:pt x="345" y="784"/>
                  </a:lnTo>
                  <a:lnTo>
                    <a:pt x="345" y="784"/>
                  </a:lnTo>
                  <a:lnTo>
                    <a:pt x="345" y="782"/>
                  </a:lnTo>
                  <a:lnTo>
                    <a:pt x="345" y="782"/>
                  </a:lnTo>
                  <a:lnTo>
                    <a:pt x="345" y="780"/>
                  </a:lnTo>
                  <a:lnTo>
                    <a:pt x="345" y="779"/>
                  </a:lnTo>
                  <a:lnTo>
                    <a:pt x="345" y="777"/>
                  </a:lnTo>
                  <a:lnTo>
                    <a:pt x="343" y="775"/>
                  </a:lnTo>
                  <a:lnTo>
                    <a:pt x="343" y="773"/>
                  </a:lnTo>
                  <a:lnTo>
                    <a:pt x="343" y="771"/>
                  </a:lnTo>
                  <a:lnTo>
                    <a:pt x="343" y="771"/>
                  </a:lnTo>
                  <a:lnTo>
                    <a:pt x="341" y="769"/>
                  </a:lnTo>
                  <a:lnTo>
                    <a:pt x="341" y="769"/>
                  </a:lnTo>
                  <a:lnTo>
                    <a:pt x="339" y="768"/>
                  </a:lnTo>
                  <a:lnTo>
                    <a:pt x="339" y="766"/>
                  </a:lnTo>
                  <a:lnTo>
                    <a:pt x="339" y="764"/>
                  </a:lnTo>
                  <a:lnTo>
                    <a:pt x="339" y="762"/>
                  </a:lnTo>
                  <a:lnTo>
                    <a:pt x="337" y="759"/>
                  </a:lnTo>
                  <a:lnTo>
                    <a:pt x="337" y="755"/>
                  </a:lnTo>
                  <a:lnTo>
                    <a:pt x="336" y="753"/>
                  </a:lnTo>
                  <a:lnTo>
                    <a:pt x="328" y="748"/>
                  </a:lnTo>
                  <a:lnTo>
                    <a:pt x="330" y="748"/>
                  </a:lnTo>
                  <a:lnTo>
                    <a:pt x="330" y="748"/>
                  </a:lnTo>
                  <a:lnTo>
                    <a:pt x="332" y="750"/>
                  </a:lnTo>
                  <a:lnTo>
                    <a:pt x="332" y="750"/>
                  </a:lnTo>
                  <a:lnTo>
                    <a:pt x="334" y="750"/>
                  </a:lnTo>
                  <a:lnTo>
                    <a:pt x="336" y="748"/>
                  </a:lnTo>
                  <a:lnTo>
                    <a:pt x="336" y="748"/>
                  </a:lnTo>
                  <a:lnTo>
                    <a:pt x="336" y="750"/>
                  </a:lnTo>
                  <a:lnTo>
                    <a:pt x="336" y="750"/>
                  </a:lnTo>
                  <a:lnTo>
                    <a:pt x="336" y="750"/>
                  </a:lnTo>
                  <a:lnTo>
                    <a:pt x="336" y="750"/>
                  </a:lnTo>
                  <a:lnTo>
                    <a:pt x="337" y="751"/>
                  </a:lnTo>
                  <a:lnTo>
                    <a:pt x="337" y="751"/>
                  </a:lnTo>
                  <a:lnTo>
                    <a:pt x="337" y="757"/>
                  </a:lnTo>
                  <a:lnTo>
                    <a:pt x="337" y="757"/>
                  </a:lnTo>
                  <a:lnTo>
                    <a:pt x="339" y="757"/>
                  </a:lnTo>
                  <a:lnTo>
                    <a:pt x="339" y="757"/>
                  </a:lnTo>
                  <a:lnTo>
                    <a:pt x="341" y="757"/>
                  </a:lnTo>
                  <a:lnTo>
                    <a:pt x="341" y="759"/>
                  </a:lnTo>
                  <a:lnTo>
                    <a:pt x="341" y="759"/>
                  </a:lnTo>
                  <a:lnTo>
                    <a:pt x="339" y="759"/>
                  </a:lnTo>
                  <a:lnTo>
                    <a:pt x="339" y="760"/>
                  </a:lnTo>
                  <a:lnTo>
                    <a:pt x="339" y="760"/>
                  </a:lnTo>
                  <a:lnTo>
                    <a:pt x="341" y="762"/>
                  </a:lnTo>
                  <a:lnTo>
                    <a:pt x="341" y="762"/>
                  </a:lnTo>
                  <a:lnTo>
                    <a:pt x="341" y="766"/>
                  </a:lnTo>
                  <a:lnTo>
                    <a:pt x="341" y="766"/>
                  </a:lnTo>
                  <a:lnTo>
                    <a:pt x="341" y="768"/>
                  </a:lnTo>
                  <a:lnTo>
                    <a:pt x="341" y="768"/>
                  </a:lnTo>
                  <a:lnTo>
                    <a:pt x="343" y="768"/>
                  </a:lnTo>
                  <a:lnTo>
                    <a:pt x="343" y="768"/>
                  </a:lnTo>
                  <a:lnTo>
                    <a:pt x="345" y="766"/>
                  </a:lnTo>
                  <a:lnTo>
                    <a:pt x="345" y="764"/>
                  </a:lnTo>
                  <a:lnTo>
                    <a:pt x="346" y="764"/>
                  </a:lnTo>
                  <a:lnTo>
                    <a:pt x="348" y="762"/>
                  </a:lnTo>
                  <a:lnTo>
                    <a:pt x="348" y="764"/>
                  </a:lnTo>
                  <a:lnTo>
                    <a:pt x="348" y="764"/>
                  </a:lnTo>
                  <a:lnTo>
                    <a:pt x="348" y="764"/>
                  </a:lnTo>
                  <a:lnTo>
                    <a:pt x="348" y="764"/>
                  </a:lnTo>
                  <a:lnTo>
                    <a:pt x="348" y="766"/>
                  </a:lnTo>
                  <a:lnTo>
                    <a:pt x="350" y="766"/>
                  </a:lnTo>
                  <a:lnTo>
                    <a:pt x="352" y="766"/>
                  </a:lnTo>
                  <a:lnTo>
                    <a:pt x="350" y="768"/>
                  </a:lnTo>
                  <a:lnTo>
                    <a:pt x="346" y="768"/>
                  </a:lnTo>
                  <a:lnTo>
                    <a:pt x="345" y="769"/>
                  </a:lnTo>
                  <a:lnTo>
                    <a:pt x="346" y="769"/>
                  </a:lnTo>
                  <a:lnTo>
                    <a:pt x="348" y="769"/>
                  </a:lnTo>
                  <a:lnTo>
                    <a:pt x="348" y="771"/>
                  </a:lnTo>
                  <a:lnTo>
                    <a:pt x="348" y="771"/>
                  </a:lnTo>
                  <a:lnTo>
                    <a:pt x="348" y="771"/>
                  </a:lnTo>
                  <a:lnTo>
                    <a:pt x="350" y="773"/>
                  </a:lnTo>
                  <a:lnTo>
                    <a:pt x="352" y="773"/>
                  </a:lnTo>
                  <a:lnTo>
                    <a:pt x="352" y="771"/>
                  </a:lnTo>
                  <a:lnTo>
                    <a:pt x="354" y="769"/>
                  </a:lnTo>
                  <a:lnTo>
                    <a:pt x="354" y="769"/>
                  </a:lnTo>
                  <a:lnTo>
                    <a:pt x="354" y="768"/>
                  </a:lnTo>
                  <a:lnTo>
                    <a:pt x="354" y="768"/>
                  </a:lnTo>
                  <a:lnTo>
                    <a:pt x="354" y="769"/>
                  </a:lnTo>
                  <a:lnTo>
                    <a:pt x="354" y="769"/>
                  </a:lnTo>
                  <a:lnTo>
                    <a:pt x="354" y="769"/>
                  </a:lnTo>
                  <a:lnTo>
                    <a:pt x="354" y="771"/>
                  </a:lnTo>
                  <a:lnTo>
                    <a:pt x="354" y="771"/>
                  </a:lnTo>
                  <a:lnTo>
                    <a:pt x="355" y="771"/>
                  </a:lnTo>
                  <a:lnTo>
                    <a:pt x="355" y="769"/>
                  </a:lnTo>
                  <a:lnTo>
                    <a:pt x="355" y="769"/>
                  </a:lnTo>
                  <a:lnTo>
                    <a:pt x="357" y="769"/>
                  </a:lnTo>
                  <a:lnTo>
                    <a:pt x="357" y="768"/>
                  </a:lnTo>
                  <a:lnTo>
                    <a:pt x="359" y="764"/>
                  </a:lnTo>
                  <a:lnTo>
                    <a:pt x="357" y="764"/>
                  </a:lnTo>
                  <a:lnTo>
                    <a:pt x="355" y="766"/>
                  </a:lnTo>
                  <a:lnTo>
                    <a:pt x="355" y="766"/>
                  </a:lnTo>
                  <a:lnTo>
                    <a:pt x="355" y="764"/>
                  </a:lnTo>
                  <a:lnTo>
                    <a:pt x="355" y="764"/>
                  </a:lnTo>
                  <a:lnTo>
                    <a:pt x="355" y="762"/>
                  </a:lnTo>
                  <a:lnTo>
                    <a:pt x="355" y="762"/>
                  </a:lnTo>
                  <a:lnTo>
                    <a:pt x="355" y="762"/>
                  </a:lnTo>
                  <a:lnTo>
                    <a:pt x="357" y="762"/>
                  </a:lnTo>
                  <a:lnTo>
                    <a:pt x="357" y="760"/>
                  </a:lnTo>
                  <a:lnTo>
                    <a:pt x="357" y="760"/>
                  </a:lnTo>
                  <a:lnTo>
                    <a:pt x="357" y="760"/>
                  </a:lnTo>
                  <a:lnTo>
                    <a:pt x="359" y="760"/>
                  </a:lnTo>
                  <a:lnTo>
                    <a:pt x="361" y="762"/>
                  </a:lnTo>
                  <a:lnTo>
                    <a:pt x="361" y="764"/>
                  </a:lnTo>
                  <a:lnTo>
                    <a:pt x="361" y="764"/>
                  </a:lnTo>
                  <a:lnTo>
                    <a:pt x="361" y="764"/>
                  </a:lnTo>
                  <a:lnTo>
                    <a:pt x="361" y="764"/>
                  </a:lnTo>
                  <a:lnTo>
                    <a:pt x="361" y="764"/>
                  </a:lnTo>
                  <a:lnTo>
                    <a:pt x="363" y="766"/>
                  </a:lnTo>
                  <a:lnTo>
                    <a:pt x="363" y="766"/>
                  </a:lnTo>
                  <a:lnTo>
                    <a:pt x="365" y="764"/>
                  </a:lnTo>
                  <a:lnTo>
                    <a:pt x="365" y="764"/>
                  </a:lnTo>
                  <a:lnTo>
                    <a:pt x="365" y="764"/>
                  </a:lnTo>
                  <a:lnTo>
                    <a:pt x="366" y="764"/>
                  </a:lnTo>
                  <a:lnTo>
                    <a:pt x="366" y="762"/>
                  </a:lnTo>
                  <a:lnTo>
                    <a:pt x="368" y="762"/>
                  </a:lnTo>
                  <a:lnTo>
                    <a:pt x="368" y="762"/>
                  </a:lnTo>
                  <a:lnTo>
                    <a:pt x="368" y="760"/>
                  </a:lnTo>
                  <a:lnTo>
                    <a:pt x="368" y="760"/>
                  </a:lnTo>
                  <a:lnTo>
                    <a:pt x="365" y="759"/>
                  </a:lnTo>
                  <a:lnTo>
                    <a:pt x="365" y="757"/>
                  </a:lnTo>
                  <a:lnTo>
                    <a:pt x="368" y="759"/>
                  </a:lnTo>
                  <a:lnTo>
                    <a:pt x="370" y="759"/>
                  </a:lnTo>
                  <a:lnTo>
                    <a:pt x="370" y="755"/>
                  </a:lnTo>
                  <a:lnTo>
                    <a:pt x="370" y="755"/>
                  </a:lnTo>
                  <a:lnTo>
                    <a:pt x="368" y="755"/>
                  </a:lnTo>
                  <a:lnTo>
                    <a:pt x="366" y="755"/>
                  </a:lnTo>
                  <a:lnTo>
                    <a:pt x="366" y="755"/>
                  </a:lnTo>
                  <a:lnTo>
                    <a:pt x="365" y="753"/>
                  </a:lnTo>
                  <a:lnTo>
                    <a:pt x="365" y="751"/>
                  </a:lnTo>
                  <a:lnTo>
                    <a:pt x="365" y="751"/>
                  </a:lnTo>
                  <a:lnTo>
                    <a:pt x="368" y="753"/>
                  </a:lnTo>
                  <a:lnTo>
                    <a:pt x="370" y="753"/>
                  </a:lnTo>
                  <a:lnTo>
                    <a:pt x="370" y="753"/>
                  </a:lnTo>
                  <a:lnTo>
                    <a:pt x="372" y="750"/>
                  </a:lnTo>
                  <a:lnTo>
                    <a:pt x="372" y="750"/>
                  </a:lnTo>
                  <a:lnTo>
                    <a:pt x="372" y="751"/>
                  </a:lnTo>
                  <a:lnTo>
                    <a:pt x="374" y="753"/>
                  </a:lnTo>
                  <a:lnTo>
                    <a:pt x="374" y="751"/>
                  </a:lnTo>
                  <a:lnTo>
                    <a:pt x="374" y="750"/>
                  </a:lnTo>
                  <a:lnTo>
                    <a:pt x="372" y="750"/>
                  </a:lnTo>
                  <a:lnTo>
                    <a:pt x="370" y="748"/>
                  </a:lnTo>
                  <a:lnTo>
                    <a:pt x="357" y="748"/>
                  </a:lnTo>
                  <a:lnTo>
                    <a:pt x="357" y="748"/>
                  </a:lnTo>
                  <a:lnTo>
                    <a:pt x="359" y="746"/>
                  </a:lnTo>
                  <a:lnTo>
                    <a:pt x="361" y="746"/>
                  </a:lnTo>
                  <a:lnTo>
                    <a:pt x="361" y="744"/>
                  </a:lnTo>
                  <a:lnTo>
                    <a:pt x="361" y="744"/>
                  </a:lnTo>
                  <a:lnTo>
                    <a:pt x="361" y="744"/>
                  </a:lnTo>
                  <a:lnTo>
                    <a:pt x="361" y="742"/>
                  </a:lnTo>
                  <a:lnTo>
                    <a:pt x="361" y="742"/>
                  </a:lnTo>
                  <a:lnTo>
                    <a:pt x="363" y="742"/>
                  </a:lnTo>
                  <a:lnTo>
                    <a:pt x="363" y="744"/>
                  </a:lnTo>
                  <a:lnTo>
                    <a:pt x="363" y="744"/>
                  </a:lnTo>
                  <a:lnTo>
                    <a:pt x="363" y="744"/>
                  </a:lnTo>
                  <a:lnTo>
                    <a:pt x="366" y="746"/>
                  </a:lnTo>
                  <a:lnTo>
                    <a:pt x="366" y="744"/>
                  </a:lnTo>
                  <a:lnTo>
                    <a:pt x="365" y="744"/>
                  </a:lnTo>
                  <a:lnTo>
                    <a:pt x="363" y="742"/>
                  </a:lnTo>
                  <a:lnTo>
                    <a:pt x="365" y="741"/>
                  </a:lnTo>
                  <a:lnTo>
                    <a:pt x="365" y="741"/>
                  </a:lnTo>
                  <a:lnTo>
                    <a:pt x="365" y="741"/>
                  </a:lnTo>
                  <a:lnTo>
                    <a:pt x="366" y="742"/>
                  </a:lnTo>
                  <a:lnTo>
                    <a:pt x="368" y="744"/>
                  </a:lnTo>
                  <a:lnTo>
                    <a:pt x="368" y="744"/>
                  </a:lnTo>
                  <a:lnTo>
                    <a:pt x="368" y="744"/>
                  </a:lnTo>
                  <a:lnTo>
                    <a:pt x="368" y="742"/>
                  </a:lnTo>
                  <a:lnTo>
                    <a:pt x="370" y="741"/>
                  </a:lnTo>
                  <a:lnTo>
                    <a:pt x="370" y="741"/>
                  </a:lnTo>
                  <a:lnTo>
                    <a:pt x="372" y="739"/>
                  </a:lnTo>
                  <a:lnTo>
                    <a:pt x="370" y="739"/>
                  </a:lnTo>
                  <a:lnTo>
                    <a:pt x="372" y="739"/>
                  </a:lnTo>
                  <a:lnTo>
                    <a:pt x="372" y="737"/>
                  </a:lnTo>
                  <a:lnTo>
                    <a:pt x="372" y="735"/>
                  </a:lnTo>
                  <a:lnTo>
                    <a:pt x="372" y="735"/>
                  </a:lnTo>
                  <a:lnTo>
                    <a:pt x="374" y="733"/>
                  </a:lnTo>
                  <a:lnTo>
                    <a:pt x="374" y="733"/>
                  </a:lnTo>
                  <a:lnTo>
                    <a:pt x="375" y="735"/>
                  </a:lnTo>
                  <a:lnTo>
                    <a:pt x="377" y="735"/>
                  </a:lnTo>
                  <a:lnTo>
                    <a:pt x="377" y="735"/>
                  </a:lnTo>
                  <a:lnTo>
                    <a:pt x="377" y="733"/>
                  </a:lnTo>
                  <a:lnTo>
                    <a:pt x="377" y="732"/>
                  </a:lnTo>
                  <a:lnTo>
                    <a:pt x="377" y="732"/>
                  </a:lnTo>
                  <a:lnTo>
                    <a:pt x="375" y="730"/>
                  </a:lnTo>
                  <a:lnTo>
                    <a:pt x="375" y="730"/>
                  </a:lnTo>
                  <a:lnTo>
                    <a:pt x="374" y="728"/>
                  </a:lnTo>
                  <a:lnTo>
                    <a:pt x="372" y="728"/>
                  </a:lnTo>
                  <a:lnTo>
                    <a:pt x="372" y="728"/>
                  </a:lnTo>
                  <a:lnTo>
                    <a:pt x="375" y="728"/>
                  </a:lnTo>
                  <a:lnTo>
                    <a:pt x="383" y="730"/>
                  </a:lnTo>
                  <a:lnTo>
                    <a:pt x="383" y="730"/>
                  </a:lnTo>
                  <a:lnTo>
                    <a:pt x="381" y="726"/>
                  </a:lnTo>
                  <a:lnTo>
                    <a:pt x="381" y="724"/>
                  </a:lnTo>
                  <a:lnTo>
                    <a:pt x="381" y="724"/>
                  </a:lnTo>
                  <a:lnTo>
                    <a:pt x="381" y="723"/>
                  </a:lnTo>
                  <a:lnTo>
                    <a:pt x="379" y="723"/>
                  </a:lnTo>
                  <a:lnTo>
                    <a:pt x="381" y="721"/>
                  </a:lnTo>
                  <a:lnTo>
                    <a:pt x="386" y="723"/>
                  </a:lnTo>
                  <a:lnTo>
                    <a:pt x="386" y="724"/>
                  </a:lnTo>
                  <a:lnTo>
                    <a:pt x="383" y="724"/>
                  </a:lnTo>
                  <a:lnTo>
                    <a:pt x="383" y="724"/>
                  </a:lnTo>
                  <a:lnTo>
                    <a:pt x="383" y="726"/>
                  </a:lnTo>
                  <a:lnTo>
                    <a:pt x="383" y="728"/>
                  </a:lnTo>
                  <a:lnTo>
                    <a:pt x="383" y="728"/>
                  </a:lnTo>
                  <a:lnTo>
                    <a:pt x="384" y="728"/>
                  </a:lnTo>
                  <a:lnTo>
                    <a:pt x="384" y="728"/>
                  </a:lnTo>
                  <a:lnTo>
                    <a:pt x="384" y="728"/>
                  </a:lnTo>
                  <a:lnTo>
                    <a:pt x="384" y="726"/>
                  </a:lnTo>
                  <a:lnTo>
                    <a:pt x="388" y="726"/>
                  </a:lnTo>
                  <a:lnTo>
                    <a:pt x="390" y="726"/>
                  </a:lnTo>
                  <a:lnTo>
                    <a:pt x="390" y="724"/>
                  </a:lnTo>
                  <a:lnTo>
                    <a:pt x="383" y="721"/>
                  </a:lnTo>
                  <a:lnTo>
                    <a:pt x="381" y="719"/>
                  </a:lnTo>
                  <a:lnTo>
                    <a:pt x="383" y="719"/>
                  </a:lnTo>
                  <a:lnTo>
                    <a:pt x="383" y="719"/>
                  </a:lnTo>
                  <a:lnTo>
                    <a:pt x="384" y="719"/>
                  </a:lnTo>
                  <a:lnTo>
                    <a:pt x="388" y="719"/>
                  </a:lnTo>
                  <a:lnTo>
                    <a:pt x="388" y="719"/>
                  </a:lnTo>
                  <a:lnTo>
                    <a:pt x="388" y="717"/>
                  </a:lnTo>
                  <a:lnTo>
                    <a:pt x="388" y="717"/>
                  </a:lnTo>
                  <a:lnTo>
                    <a:pt x="390" y="717"/>
                  </a:lnTo>
                  <a:lnTo>
                    <a:pt x="390" y="719"/>
                  </a:lnTo>
                  <a:lnTo>
                    <a:pt x="392" y="719"/>
                  </a:lnTo>
                  <a:lnTo>
                    <a:pt x="392" y="721"/>
                  </a:lnTo>
                  <a:lnTo>
                    <a:pt x="393" y="721"/>
                  </a:lnTo>
                  <a:lnTo>
                    <a:pt x="392" y="723"/>
                  </a:lnTo>
                  <a:lnTo>
                    <a:pt x="393" y="723"/>
                  </a:lnTo>
                  <a:lnTo>
                    <a:pt x="393" y="724"/>
                  </a:lnTo>
                  <a:lnTo>
                    <a:pt x="395" y="724"/>
                  </a:lnTo>
                  <a:lnTo>
                    <a:pt x="395" y="724"/>
                  </a:lnTo>
                  <a:lnTo>
                    <a:pt x="395" y="728"/>
                  </a:lnTo>
                  <a:lnTo>
                    <a:pt x="397" y="728"/>
                  </a:lnTo>
                  <a:lnTo>
                    <a:pt x="397" y="728"/>
                  </a:lnTo>
                  <a:lnTo>
                    <a:pt x="397" y="726"/>
                  </a:lnTo>
                  <a:lnTo>
                    <a:pt x="397" y="726"/>
                  </a:lnTo>
                  <a:lnTo>
                    <a:pt x="397" y="724"/>
                  </a:lnTo>
                  <a:lnTo>
                    <a:pt x="399" y="724"/>
                  </a:lnTo>
                  <a:lnTo>
                    <a:pt x="399" y="724"/>
                  </a:lnTo>
                  <a:lnTo>
                    <a:pt x="399" y="724"/>
                  </a:lnTo>
                  <a:lnTo>
                    <a:pt x="401" y="723"/>
                  </a:lnTo>
                  <a:lnTo>
                    <a:pt x="399" y="723"/>
                  </a:lnTo>
                  <a:lnTo>
                    <a:pt x="397" y="723"/>
                  </a:lnTo>
                  <a:lnTo>
                    <a:pt x="397" y="721"/>
                  </a:lnTo>
                  <a:lnTo>
                    <a:pt x="397" y="719"/>
                  </a:lnTo>
                  <a:lnTo>
                    <a:pt x="399" y="721"/>
                  </a:lnTo>
                  <a:lnTo>
                    <a:pt x="401" y="721"/>
                  </a:lnTo>
                  <a:lnTo>
                    <a:pt x="401" y="719"/>
                  </a:lnTo>
                  <a:lnTo>
                    <a:pt x="401" y="719"/>
                  </a:lnTo>
                  <a:lnTo>
                    <a:pt x="401" y="719"/>
                  </a:lnTo>
                  <a:lnTo>
                    <a:pt x="401" y="715"/>
                  </a:lnTo>
                  <a:lnTo>
                    <a:pt x="402" y="715"/>
                  </a:lnTo>
                  <a:lnTo>
                    <a:pt x="401" y="713"/>
                  </a:lnTo>
                  <a:lnTo>
                    <a:pt x="401" y="713"/>
                  </a:lnTo>
                  <a:lnTo>
                    <a:pt x="402" y="712"/>
                  </a:lnTo>
                  <a:lnTo>
                    <a:pt x="404" y="712"/>
                  </a:lnTo>
                  <a:lnTo>
                    <a:pt x="406" y="710"/>
                  </a:lnTo>
                  <a:lnTo>
                    <a:pt x="406" y="712"/>
                  </a:lnTo>
                  <a:lnTo>
                    <a:pt x="406" y="712"/>
                  </a:lnTo>
                  <a:lnTo>
                    <a:pt x="408" y="712"/>
                  </a:lnTo>
                  <a:lnTo>
                    <a:pt x="408" y="710"/>
                  </a:lnTo>
                  <a:lnTo>
                    <a:pt x="408" y="706"/>
                  </a:lnTo>
                  <a:lnTo>
                    <a:pt x="408" y="704"/>
                  </a:lnTo>
                  <a:lnTo>
                    <a:pt x="408" y="703"/>
                  </a:lnTo>
                  <a:lnTo>
                    <a:pt x="408" y="703"/>
                  </a:lnTo>
                  <a:lnTo>
                    <a:pt x="408" y="697"/>
                  </a:lnTo>
                  <a:lnTo>
                    <a:pt x="408" y="695"/>
                  </a:lnTo>
                  <a:lnTo>
                    <a:pt x="410" y="695"/>
                  </a:lnTo>
                  <a:lnTo>
                    <a:pt x="410" y="695"/>
                  </a:lnTo>
                  <a:lnTo>
                    <a:pt x="411" y="697"/>
                  </a:lnTo>
                  <a:lnTo>
                    <a:pt x="411" y="699"/>
                  </a:lnTo>
                  <a:lnTo>
                    <a:pt x="413" y="697"/>
                  </a:lnTo>
                  <a:lnTo>
                    <a:pt x="411" y="694"/>
                  </a:lnTo>
                  <a:lnTo>
                    <a:pt x="411" y="694"/>
                  </a:lnTo>
                  <a:lnTo>
                    <a:pt x="413" y="694"/>
                  </a:lnTo>
                  <a:lnTo>
                    <a:pt x="417" y="699"/>
                  </a:lnTo>
                  <a:lnTo>
                    <a:pt x="419" y="701"/>
                  </a:lnTo>
                  <a:lnTo>
                    <a:pt x="420" y="701"/>
                  </a:lnTo>
                  <a:lnTo>
                    <a:pt x="420" y="701"/>
                  </a:lnTo>
                  <a:lnTo>
                    <a:pt x="420" y="701"/>
                  </a:lnTo>
                  <a:lnTo>
                    <a:pt x="420" y="699"/>
                  </a:lnTo>
                  <a:lnTo>
                    <a:pt x="419" y="695"/>
                  </a:lnTo>
                  <a:lnTo>
                    <a:pt x="417" y="695"/>
                  </a:lnTo>
                  <a:lnTo>
                    <a:pt x="417" y="695"/>
                  </a:lnTo>
                  <a:lnTo>
                    <a:pt x="419" y="695"/>
                  </a:lnTo>
                  <a:lnTo>
                    <a:pt x="419" y="694"/>
                  </a:lnTo>
                  <a:lnTo>
                    <a:pt x="420" y="694"/>
                  </a:lnTo>
                  <a:lnTo>
                    <a:pt x="419" y="692"/>
                  </a:lnTo>
                  <a:lnTo>
                    <a:pt x="417" y="692"/>
                  </a:lnTo>
                  <a:lnTo>
                    <a:pt x="417" y="690"/>
                  </a:lnTo>
                  <a:lnTo>
                    <a:pt x="419" y="688"/>
                  </a:lnTo>
                  <a:lnTo>
                    <a:pt x="417" y="688"/>
                  </a:lnTo>
                  <a:lnTo>
                    <a:pt x="417" y="686"/>
                  </a:lnTo>
                  <a:lnTo>
                    <a:pt x="415" y="686"/>
                  </a:lnTo>
                  <a:lnTo>
                    <a:pt x="417" y="685"/>
                  </a:lnTo>
                  <a:lnTo>
                    <a:pt x="419" y="685"/>
                  </a:lnTo>
                  <a:lnTo>
                    <a:pt x="419" y="686"/>
                  </a:lnTo>
                  <a:lnTo>
                    <a:pt x="420" y="688"/>
                  </a:lnTo>
                  <a:lnTo>
                    <a:pt x="420" y="688"/>
                  </a:lnTo>
                  <a:lnTo>
                    <a:pt x="424" y="690"/>
                  </a:lnTo>
                  <a:lnTo>
                    <a:pt x="424" y="692"/>
                  </a:lnTo>
                  <a:lnTo>
                    <a:pt x="426" y="692"/>
                  </a:lnTo>
                  <a:lnTo>
                    <a:pt x="426" y="692"/>
                  </a:lnTo>
                  <a:lnTo>
                    <a:pt x="426" y="694"/>
                  </a:lnTo>
                  <a:lnTo>
                    <a:pt x="426" y="694"/>
                  </a:lnTo>
                  <a:lnTo>
                    <a:pt x="426" y="694"/>
                  </a:lnTo>
                  <a:lnTo>
                    <a:pt x="426" y="695"/>
                  </a:lnTo>
                  <a:lnTo>
                    <a:pt x="426" y="695"/>
                  </a:lnTo>
                  <a:lnTo>
                    <a:pt x="426" y="697"/>
                  </a:lnTo>
                  <a:lnTo>
                    <a:pt x="430" y="699"/>
                  </a:lnTo>
                  <a:lnTo>
                    <a:pt x="430" y="699"/>
                  </a:lnTo>
                  <a:lnTo>
                    <a:pt x="431" y="697"/>
                  </a:lnTo>
                  <a:lnTo>
                    <a:pt x="431" y="697"/>
                  </a:lnTo>
                  <a:lnTo>
                    <a:pt x="431" y="697"/>
                  </a:lnTo>
                  <a:lnTo>
                    <a:pt x="433" y="695"/>
                  </a:lnTo>
                  <a:lnTo>
                    <a:pt x="433" y="695"/>
                  </a:lnTo>
                  <a:lnTo>
                    <a:pt x="433" y="694"/>
                  </a:lnTo>
                  <a:lnTo>
                    <a:pt x="431" y="690"/>
                  </a:lnTo>
                  <a:lnTo>
                    <a:pt x="431" y="688"/>
                  </a:lnTo>
                  <a:lnTo>
                    <a:pt x="433" y="686"/>
                  </a:lnTo>
                  <a:lnTo>
                    <a:pt x="435" y="685"/>
                  </a:lnTo>
                  <a:lnTo>
                    <a:pt x="439" y="683"/>
                  </a:lnTo>
                  <a:lnTo>
                    <a:pt x="439" y="681"/>
                  </a:lnTo>
                  <a:lnTo>
                    <a:pt x="439" y="681"/>
                  </a:lnTo>
                  <a:lnTo>
                    <a:pt x="440" y="679"/>
                  </a:lnTo>
                  <a:lnTo>
                    <a:pt x="442" y="677"/>
                  </a:lnTo>
                  <a:lnTo>
                    <a:pt x="442" y="679"/>
                  </a:lnTo>
                  <a:lnTo>
                    <a:pt x="446" y="681"/>
                  </a:lnTo>
                  <a:lnTo>
                    <a:pt x="446" y="677"/>
                  </a:lnTo>
                  <a:lnTo>
                    <a:pt x="446" y="677"/>
                  </a:lnTo>
                  <a:lnTo>
                    <a:pt x="446" y="676"/>
                  </a:lnTo>
                  <a:lnTo>
                    <a:pt x="446" y="674"/>
                  </a:lnTo>
                  <a:lnTo>
                    <a:pt x="448" y="674"/>
                  </a:lnTo>
                  <a:lnTo>
                    <a:pt x="448" y="674"/>
                  </a:lnTo>
                  <a:lnTo>
                    <a:pt x="449" y="674"/>
                  </a:lnTo>
                  <a:lnTo>
                    <a:pt x="449" y="674"/>
                  </a:lnTo>
                  <a:lnTo>
                    <a:pt x="449" y="674"/>
                  </a:lnTo>
                  <a:lnTo>
                    <a:pt x="449" y="676"/>
                  </a:lnTo>
                  <a:lnTo>
                    <a:pt x="451" y="676"/>
                  </a:lnTo>
                  <a:lnTo>
                    <a:pt x="451" y="676"/>
                  </a:lnTo>
                  <a:lnTo>
                    <a:pt x="451" y="676"/>
                  </a:lnTo>
                  <a:lnTo>
                    <a:pt x="453" y="676"/>
                  </a:lnTo>
                  <a:lnTo>
                    <a:pt x="455" y="674"/>
                  </a:lnTo>
                  <a:lnTo>
                    <a:pt x="457" y="676"/>
                  </a:lnTo>
                  <a:lnTo>
                    <a:pt x="457" y="672"/>
                  </a:lnTo>
                  <a:lnTo>
                    <a:pt x="457" y="670"/>
                  </a:lnTo>
                  <a:lnTo>
                    <a:pt x="458" y="667"/>
                  </a:lnTo>
                  <a:lnTo>
                    <a:pt x="458" y="665"/>
                  </a:lnTo>
                  <a:lnTo>
                    <a:pt x="458" y="667"/>
                  </a:lnTo>
                  <a:lnTo>
                    <a:pt x="458" y="668"/>
                  </a:lnTo>
                  <a:lnTo>
                    <a:pt x="458" y="670"/>
                  </a:lnTo>
                  <a:lnTo>
                    <a:pt x="458" y="672"/>
                  </a:lnTo>
                  <a:lnTo>
                    <a:pt x="458" y="672"/>
                  </a:lnTo>
                  <a:lnTo>
                    <a:pt x="458" y="674"/>
                  </a:lnTo>
                  <a:lnTo>
                    <a:pt x="458" y="674"/>
                  </a:lnTo>
                  <a:lnTo>
                    <a:pt x="460" y="674"/>
                  </a:lnTo>
                  <a:lnTo>
                    <a:pt x="460" y="672"/>
                  </a:lnTo>
                  <a:lnTo>
                    <a:pt x="460" y="665"/>
                  </a:lnTo>
                  <a:lnTo>
                    <a:pt x="460" y="663"/>
                  </a:lnTo>
                  <a:lnTo>
                    <a:pt x="462" y="663"/>
                  </a:lnTo>
                  <a:lnTo>
                    <a:pt x="462" y="665"/>
                  </a:lnTo>
                  <a:lnTo>
                    <a:pt x="462" y="667"/>
                  </a:lnTo>
                  <a:lnTo>
                    <a:pt x="462" y="667"/>
                  </a:lnTo>
                  <a:lnTo>
                    <a:pt x="462" y="668"/>
                  </a:lnTo>
                  <a:lnTo>
                    <a:pt x="462" y="670"/>
                  </a:lnTo>
                  <a:lnTo>
                    <a:pt x="462" y="672"/>
                  </a:lnTo>
                  <a:lnTo>
                    <a:pt x="464" y="672"/>
                  </a:lnTo>
                  <a:lnTo>
                    <a:pt x="464" y="672"/>
                  </a:lnTo>
                  <a:lnTo>
                    <a:pt x="466" y="670"/>
                  </a:lnTo>
                  <a:lnTo>
                    <a:pt x="466" y="668"/>
                  </a:lnTo>
                  <a:lnTo>
                    <a:pt x="466" y="668"/>
                  </a:lnTo>
                  <a:lnTo>
                    <a:pt x="466" y="667"/>
                  </a:lnTo>
                  <a:lnTo>
                    <a:pt x="466" y="665"/>
                  </a:lnTo>
                  <a:lnTo>
                    <a:pt x="466" y="663"/>
                  </a:lnTo>
                  <a:lnTo>
                    <a:pt x="466" y="663"/>
                  </a:lnTo>
                  <a:lnTo>
                    <a:pt x="466" y="663"/>
                  </a:lnTo>
                  <a:lnTo>
                    <a:pt x="466" y="661"/>
                  </a:lnTo>
                  <a:lnTo>
                    <a:pt x="466" y="663"/>
                  </a:lnTo>
                  <a:lnTo>
                    <a:pt x="467" y="661"/>
                  </a:lnTo>
                  <a:lnTo>
                    <a:pt x="469" y="656"/>
                  </a:lnTo>
                  <a:lnTo>
                    <a:pt x="469" y="656"/>
                  </a:lnTo>
                  <a:lnTo>
                    <a:pt x="471" y="657"/>
                  </a:lnTo>
                  <a:lnTo>
                    <a:pt x="471" y="657"/>
                  </a:lnTo>
                  <a:lnTo>
                    <a:pt x="471" y="659"/>
                  </a:lnTo>
                  <a:lnTo>
                    <a:pt x="471" y="659"/>
                  </a:lnTo>
                  <a:lnTo>
                    <a:pt x="471" y="661"/>
                  </a:lnTo>
                  <a:lnTo>
                    <a:pt x="473" y="661"/>
                  </a:lnTo>
                  <a:lnTo>
                    <a:pt x="473" y="659"/>
                  </a:lnTo>
                  <a:lnTo>
                    <a:pt x="473" y="657"/>
                  </a:lnTo>
                  <a:lnTo>
                    <a:pt x="475" y="656"/>
                  </a:lnTo>
                  <a:lnTo>
                    <a:pt x="476" y="656"/>
                  </a:lnTo>
                  <a:lnTo>
                    <a:pt x="476" y="656"/>
                  </a:lnTo>
                  <a:lnTo>
                    <a:pt x="478" y="659"/>
                  </a:lnTo>
                  <a:lnTo>
                    <a:pt x="478" y="659"/>
                  </a:lnTo>
                  <a:lnTo>
                    <a:pt x="478" y="657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8" y="656"/>
                  </a:lnTo>
                  <a:lnTo>
                    <a:pt x="478" y="654"/>
                  </a:lnTo>
                  <a:lnTo>
                    <a:pt x="478" y="654"/>
                  </a:lnTo>
                  <a:lnTo>
                    <a:pt x="478" y="652"/>
                  </a:lnTo>
                  <a:lnTo>
                    <a:pt x="480" y="652"/>
                  </a:lnTo>
                  <a:lnTo>
                    <a:pt x="484" y="650"/>
                  </a:lnTo>
                  <a:lnTo>
                    <a:pt x="484" y="648"/>
                  </a:lnTo>
                  <a:lnTo>
                    <a:pt x="486" y="645"/>
                  </a:lnTo>
                  <a:lnTo>
                    <a:pt x="486" y="641"/>
                  </a:lnTo>
                  <a:lnTo>
                    <a:pt x="487" y="639"/>
                  </a:lnTo>
                  <a:lnTo>
                    <a:pt x="487" y="639"/>
                  </a:lnTo>
                  <a:lnTo>
                    <a:pt x="487" y="639"/>
                  </a:lnTo>
                  <a:lnTo>
                    <a:pt x="487" y="638"/>
                  </a:lnTo>
                  <a:lnTo>
                    <a:pt x="489" y="638"/>
                  </a:lnTo>
                  <a:lnTo>
                    <a:pt x="489" y="638"/>
                  </a:lnTo>
                  <a:lnTo>
                    <a:pt x="489" y="638"/>
                  </a:lnTo>
                  <a:lnTo>
                    <a:pt x="489" y="636"/>
                  </a:lnTo>
                  <a:lnTo>
                    <a:pt x="489" y="634"/>
                  </a:lnTo>
                  <a:lnTo>
                    <a:pt x="489" y="632"/>
                  </a:lnTo>
                  <a:lnTo>
                    <a:pt x="489" y="632"/>
                  </a:lnTo>
                  <a:lnTo>
                    <a:pt x="491" y="632"/>
                  </a:lnTo>
                  <a:lnTo>
                    <a:pt x="491" y="632"/>
                  </a:lnTo>
                  <a:lnTo>
                    <a:pt x="491" y="632"/>
                  </a:lnTo>
                  <a:lnTo>
                    <a:pt x="491" y="632"/>
                  </a:lnTo>
                  <a:lnTo>
                    <a:pt x="489" y="630"/>
                  </a:lnTo>
                  <a:lnTo>
                    <a:pt x="489" y="630"/>
                  </a:lnTo>
                  <a:lnTo>
                    <a:pt x="491" y="630"/>
                  </a:lnTo>
                  <a:lnTo>
                    <a:pt x="491" y="629"/>
                  </a:lnTo>
                  <a:lnTo>
                    <a:pt x="491" y="629"/>
                  </a:lnTo>
                  <a:lnTo>
                    <a:pt x="493" y="625"/>
                  </a:lnTo>
                  <a:lnTo>
                    <a:pt x="493" y="623"/>
                  </a:lnTo>
                  <a:lnTo>
                    <a:pt x="493" y="620"/>
                  </a:lnTo>
                  <a:lnTo>
                    <a:pt x="493" y="618"/>
                  </a:lnTo>
                  <a:lnTo>
                    <a:pt x="496" y="614"/>
                  </a:lnTo>
                  <a:lnTo>
                    <a:pt x="498" y="611"/>
                  </a:lnTo>
                  <a:lnTo>
                    <a:pt x="498" y="609"/>
                  </a:lnTo>
                  <a:lnTo>
                    <a:pt x="498" y="609"/>
                  </a:lnTo>
                  <a:lnTo>
                    <a:pt x="500" y="611"/>
                  </a:lnTo>
                  <a:lnTo>
                    <a:pt x="500" y="611"/>
                  </a:lnTo>
                  <a:lnTo>
                    <a:pt x="507" y="600"/>
                  </a:lnTo>
                  <a:lnTo>
                    <a:pt x="507" y="600"/>
                  </a:lnTo>
                  <a:lnTo>
                    <a:pt x="507" y="600"/>
                  </a:lnTo>
                  <a:lnTo>
                    <a:pt x="507" y="601"/>
                  </a:lnTo>
                  <a:lnTo>
                    <a:pt x="509" y="600"/>
                  </a:lnTo>
                  <a:lnTo>
                    <a:pt x="511" y="600"/>
                  </a:lnTo>
                  <a:lnTo>
                    <a:pt x="511" y="600"/>
                  </a:lnTo>
                  <a:lnTo>
                    <a:pt x="511" y="598"/>
                  </a:lnTo>
                  <a:lnTo>
                    <a:pt x="511" y="598"/>
                  </a:lnTo>
                  <a:lnTo>
                    <a:pt x="511" y="598"/>
                  </a:lnTo>
                  <a:lnTo>
                    <a:pt x="511" y="598"/>
                  </a:lnTo>
                  <a:lnTo>
                    <a:pt x="511" y="596"/>
                  </a:lnTo>
                  <a:lnTo>
                    <a:pt x="511" y="596"/>
                  </a:lnTo>
                  <a:lnTo>
                    <a:pt x="511" y="594"/>
                  </a:lnTo>
                  <a:lnTo>
                    <a:pt x="511" y="592"/>
                  </a:lnTo>
                  <a:lnTo>
                    <a:pt x="511" y="594"/>
                  </a:lnTo>
                  <a:lnTo>
                    <a:pt x="513" y="596"/>
                  </a:lnTo>
                  <a:lnTo>
                    <a:pt x="513" y="598"/>
                  </a:lnTo>
                  <a:lnTo>
                    <a:pt x="514" y="596"/>
                  </a:lnTo>
                  <a:lnTo>
                    <a:pt x="516" y="594"/>
                  </a:lnTo>
                  <a:lnTo>
                    <a:pt x="518" y="592"/>
                  </a:lnTo>
                  <a:lnTo>
                    <a:pt x="520" y="587"/>
                  </a:lnTo>
                  <a:lnTo>
                    <a:pt x="522" y="587"/>
                  </a:lnTo>
                  <a:lnTo>
                    <a:pt x="522" y="585"/>
                  </a:lnTo>
                  <a:lnTo>
                    <a:pt x="523" y="585"/>
                  </a:lnTo>
                  <a:lnTo>
                    <a:pt x="523" y="585"/>
                  </a:lnTo>
                  <a:lnTo>
                    <a:pt x="523" y="585"/>
                  </a:lnTo>
                  <a:lnTo>
                    <a:pt x="525" y="583"/>
                  </a:lnTo>
                  <a:lnTo>
                    <a:pt x="525" y="583"/>
                  </a:lnTo>
                  <a:lnTo>
                    <a:pt x="525" y="582"/>
                  </a:lnTo>
                  <a:lnTo>
                    <a:pt x="525" y="580"/>
                  </a:lnTo>
                  <a:lnTo>
                    <a:pt x="523" y="580"/>
                  </a:lnTo>
                  <a:lnTo>
                    <a:pt x="523" y="580"/>
                  </a:lnTo>
                  <a:lnTo>
                    <a:pt x="523" y="582"/>
                  </a:lnTo>
                  <a:lnTo>
                    <a:pt x="522" y="582"/>
                  </a:lnTo>
                  <a:lnTo>
                    <a:pt x="522" y="582"/>
                  </a:lnTo>
                  <a:lnTo>
                    <a:pt x="522" y="582"/>
                  </a:lnTo>
                  <a:lnTo>
                    <a:pt x="520" y="583"/>
                  </a:lnTo>
                  <a:lnTo>
                    <a:pt x="520" y="583"/>
                  </a:lnTo>
                  <a:lnTo>
                    <a:pt x="520" y="583"/>
                  </a:lnTo>
                  <a:lnTo>
                    <a:pt x="518" y="582"/>
                  </a:lnTo>
                  <a:lnTo>
                    <a:pt x="518" y="582"/>
                  </a:lnTo>
                  <a:lnTo>
                    <a:pt x="520" y="580"/>
                  </a:lnTo>
                  <a:lnTo>
                    <a:pt x="518" y="578"/>
                  </a:lnTo>
                  <a:lnTo>
                    <a:pt x="518" y="576"/>
                  </a:lnTo>
                  <a:lnTo>
                    <a:pt x="518" y="576"/>
                  </a:lnTo>
                  <a:lnTo>
                    <a:pt x="518" y="576"/>
                  </a:lnTo>
                  <a:lnTo>
                    <a:pt x="516" y="576"/>
                  </a:lnTo>
                  <a:lnTo>
                    <a:pt x="514" y="576"/>
                  </a:lnTo>
                  <a:lnTo>
                    <a:pt x="514" y="576"/>
                  </a:lnTo>
                  <a:lnTo>
                    <a:pt x="514" y="576"/>
                  </a:lnTo>
                  <a:lnTo>
                    <a:pt x="513" y="574"/>
                  </a:lnTo>
                  <a:lnTo>
                    <a:pt x="513" y="574"/>
                  </a:lnTo>
                  <a:lnTo>
                    <a:pt x="513" y="574"/>
                  </a:lnTo>
                  <a:lnTo>
                    <a:pt x="513" y="573"/>
                  </a:lnTo>
                  <a:lnTo>
                    <a:pt x="513" y="573"/>
                  </a:lnTo>
                  <a:lnTo>
                    <a:pt x="513" y="573"/>
                  </a:lnTo>
                  <a:lnTo>
                    <a:pt x="513" y="573"/>
                  </a:lnTo>
                  <a:lnTo>
                    <a:pt x="513" y="574"/>
                  </a:lnTo>
                  <a:lnTo>
                    <a:pt x="514" y="574"/>
                  </a:lnTo>
                  <a:lnTo>
                    <a:pt x="514" y="574"/>
                  </a:lnTo>
                  <a:lnTo>
                    <a:pt x="518" y="573"/>
                  </a:lnTo>
                  <a:lnTo>
                    <a:pt x="518" y="573"/>
                  </a:lnTo>
                  <a:lnTo>
                    <a:pt x="520" y="574"/>
                  </a:lnTo>
                  <a:lnTo>
                    <a:pt x="520" y="574"/>
                  </a:lnTo>
                  <a:lnTo>
                    <a:pt x="522" y="574"/>
                  </a:lnTo>
                  <a:lnTo>
                    <a:pt x="522" y="574"/>
                  </a:lnTo>
                  <a:lnTo>
                    <a:pt x="522" y="574"/>
                  </a:lnTo>
                  <a:lnTo>
                    <a:pt x="522" y="574"/>
                  </a:lnTo>
                  <a:lnTo>
                    <a:pt x="520" y="573"/>
                  </a:lnTo>
                  <a:lnTo>
                    <a:pt x="520" y="573"/>
                  </a:lnTo>
                  <a:lnTo>
                    <a:pt x="520" y="571"/>
                  </a:lnTo>
                  <a:lnTo>
                    <a:pt x="520" y="569"/>
                  </a:lnTo>
                  <a:lnTo>
                    <a:pt x="518" y="567"/>
                  </a:lnTo>
                  <a:lnTo>
                    <a:pt x="518" y="567"/>
                  </a:lnTo>
                  <a:lnTo>
                    <a:pt x="518" y="567"/>
                  </a:lnTo>
                  <a:lnTo>
                    <a:pt x="518" y="571"/>
                  </a:lnTo>
                  <a:lnTo>
                    <a:pt x="516" y="569"/>
                  </a:lnTo>
                  <a:lnTo>
                    <a:pt x="514" y="567"/>
                  </a:lnTo>
                  <a:lnTo>
                    <a:pt x="514" y="565"/>
                  </a:lnTo>
                  <a:lnTo>
                    <a:pt x="513" y="565"/>
                  </a:lnTo>
                  <a:lnTo>
                    <a:pt x="513" y="565"/>
                  </a:lnTo>
                  <a:lnTo>
                    <a:pt x="513" y="567"/>
                  </a:lnTo>
                  <a:lnTo>
                    <a:pt x="513" y="567"/>
                  </a:lnTo>
                  <a:lnTo>
                    <a:pt x="513" y="567"/>
                  </a:lnTo>
                  <a:lnTo>
                    <a:pt x="513" y="569"/>
                  </a:lnTo>
                  <a:lnTo>
                    <a:pt x="513" y="569"/>
                  </a:lnTo>
                  <a:lnTo>
                    <a:pt x="513" y="569"/>
                  </a:lnTo>
                  <a:lnTo>
                    <a:pt x="513" y="569"/>
                  </a:lnTo>
                  <a:lnTo>
                    <a:pt x="511" y="567"/>
                  </a:lnTo>
                  <a:lnTo>
                    <a:pt x="511" y="567"/>
                  </a:lnTo>
                  <a:lnTo>
                    <a:pt x="511" y="567"/>
                  </a:lnTo>
                  <a:lnTo>
                    <a:pt x="511" y="565"/>
                  </a:lnTo>
                  <a:lnTo>
                    <a:pt x="509" y="565"/>
                  </a:lnTo>
                  <a:lnTo>
                    <a:pt x="509" y="564"/>
                  </a:lnTo>
                  <a:lnTo>
                    <a:pt x="509" y="564"/>
                  </a:lnTo>
                  <a:lnTo>
                    <a:pt x="507" y="564"/>
                  </a:lnTo>
                  <a:lnTo>
                    <a:pt x="507" y="564"/>
                  </a:lnTo>
                  <a:lnTo>
                    <a:pt x="505" y="562"/>
                  </a:lnTo>
                  <a:lnTo>
                    <a:pt x="505" y="562"/>
                  </a:lnTo>
                  <a:lnTo>
                    <a:pt x="507" y="560"/>
                  </a:lnTo>
                  <a:lnTo>
                    <a:pt x="505" y="558"/>
                  </a:lnTo>
                  <a:lnTo>
                    <a:pt x="505" y="558"/>
                  </a:lnTo>
                  <a:lnTo>
                    <a:pt x="504" y="558"/>
                  </a:lnTo>
                  <a:lnTo>
                    <a:pt x="502" y="558"/>
                  </a:lnTo>
                  <a:lnTo>
                    <a:pt x="500" y="556"/>
                  </a:lnTo>
                  <a:lnTo>
                    <a:pt x="500" y="555"/>
                  </a:lnTo>
                  <a:lnTo>
                    <a:pt x="500" y="553"/>
                  </a:lnTo>
                  <a:lnTo>
                    <a:pt x="500" y="551"/>
                  </a:lnTo>
                  <a:lnTo>
                    <a:pt x="502" y="551"/>
                  </a:lnTo>
                  <a:lnTo>
                    <a:pt x="504" y="551"/>
                  </a:lnTo>
                  <a:lnTo>
                    <a:pt x="504" y="553"/>
                  </a:lnTo>
                  <a:lnTo>
                    <a:pt x="505" y="555"/>
                  </a:lnTo>
                  <a:lnTo>
                    <a:pt x="505" y="555"/>
                  </a:lnTo>
                  <a:lnTo>
                    <a:pt x="509" y="558"/>
                  </a:lnTo>
                  <a:lnTo>
                    <a:pt x="509" y="558"/>
                  </a:lnTo>
                  <a:lnTo>
                    <a:pt x="509" y="558"/>
                  </a:lnTo>
                  <a:lnTo>
                    <a:pt x="509" y="556"/>
                  </a:lnTo>
                  <a:lnTo>
                    <a:pt x="509" y="556"/>
                  </a:lnTo>
                  <a:lnTo>
                    <a:pt x="509" y="555"/>
                  </a:lnTo>
                  <a:lnTo>
                    <a:pt x="511" y="555"/>
                  </a:lnTo>
                  <a:lnTo>
                    <a:pt x="511" y="555"/>
                  </a:lnTo>
                  <a:lnTo>
                    <a:pt x="507" y="553"/>
                  </a:lnTo>
                  <a:lnTo>
                    <a:pt x="507" y="551"/>
                  </a:lnTo>
                  <a:lnTo>
                    <a:pt x="505" y="549"/>
                  </a:lnTo>
                  <a:lnTo>
                    <a:pt x="507" y="549"/>
                  </a:lnTo>
                  <a:lnTo>
                    <a:pt x="509" y="549"/>
                  </a:lnTo>
                  <a:lnTo>
                    <a:pt x="511" y="547"/>
                  </a:lnTo>
                  <a:lnTo>
                    <a:pt x="509" y="546"/>
                  </a:lnTo>
                  <a:lnTo>
                    <a:pt x="509" y="546"/>
                  </a:lnTo>
                  <a:lnTo>
                    <a:pt x="505" y="544"/>
                  </a:lnTo>
                  <a:lnTo>
                    <a:pt x="502" y="546"/>
                  </a:lnTo>
                  <a:lnTo>
                    <a:pt x="500" y="546"/>
                  </a:lnTo>
                  <a:lnTo>
                    <a:pt x="500" y="544"/>
                  </a:lnTo>
                  <a:lnTo>
                    <a:pt x="498" y="544"/>
                  </a:lnTo>
                  <a:lnTo>
                    <a:pt x="498" y="542"/>
                  </a:lnTo>
                  <a:lnTo>
                    <a:pt x="498" y="542"/>
                  </a:lnTo>
                  <a:lnTo>
                    <a:pt x="496" y="540"/>
                  </a:lnTo>
                  <a:lnTo>
                    <a:pt x="496" y="540"/>
                  </a:lnTo>
                  <a:lnTo>
                    <a:pt x="496" y="538"/>
                  </a:lnTo>
                  <a:lnTo>
                    <a:pt x="496" y="536"/>
                  </a:lnTo>
                  <a:lnTo>
                    <a:pt x="496" y="536"/>
                  </a:lnTo>
                  <a:lnTo>
                    <a:pt x="498" y="535"/>
                  </a:lnTo>
                  <a:lnTo>
                    <a:pt x="498" y="536"/>
                  </a:lnTo>
                  <a:lnTo>
                    <a:pt x="498" y="536"/>
                  </a:lnTo>
                  <a:lnTo>
                    <a:pt x="500" y="538"/>
                  </a:lnTo>
                  <a:lnTo>
                    <a:pt x="500" y="540"/>
                  </a:lnTo>
                  <a:lnTo>
                    <a:pt x="500" y="540"/>
                  </a:lnTo>
                  <a:lnTo>
                    <a:pt x="502" y="540"/>
                  </a:lnTo>
                  <a:lnTo>
                    <a:pt x="504" y="538"/>
                  </a:lnTo>
                  <a:lnTo>
                    <a:pt x="504" y="538"/>
                  </a:lnTo>
                  <a:lnTo>
                    <a:pt x="504" y="536"/>
                  </a:lnTo>
                  <a:lnTo>
                    <a:pt x="504" y="535"/>
                  </a:lnTo>
                  <a:lnTo>
                    <a:pt x="505" y="535"/>
                  </a:lnTo>
                  <a:lnTo>
                    <a:pt x="505" y="531"/>
                  </a:lnTo>
                  <a:lnTo>
                    <a:pt x="505" y="531"/>
                  </a:lnTo>
                  <a:lnTo>
                    <a:pt x="505" y="529"/>
                  </a:lnTo>
                  <a:lnTo>
                    <a:pt x="507" y="529"/>
                  </a:lnTo>
                  <a:lnTo>
                    <a:pt x="507" y="527"/>
                  </a:lnTo>
                  <a:lnTo>
                    <a:pt x="507" y="527"/>
                  </a:lnTo>
                  <a:lnTo>
                    <a:pt x="507" y="526"/>
                  </a:lnTo>
                  <a:lnTo>
                    <a:pt x="507" y="526"/>
                  </a:lnTo>
                  <a:lnTo>
                    <a:pt x="507" y="524"/>
                  </a:lnTo>
                  <a:lnTo>
                    <a:pt x="507" y="524"/>
                  </a:lnTo>
                  <a:lnTo>
                    <a:pt x="513" y="524"/>
                  </a:lnTo>
                  <a:lnTo>
                    <a:pt x="514" y="524"/>
                  </a:lnTo>
                  <a:lnTo>
                    <a:pt x="513" y="522"/>
                  </a:lnTo>
                  <a:lnTo>
                    <a:pt x="514" y="520"/>
                  </a:lnTo>
                  <a:lnTo>
                    <a:pt x="514" y="520"/>
                  </a:lnTo>
                  <a:lnTo>
                    <a:pt x="514" y="518"/>
                  </a:lnTo>
                  <a:lnTo>
                    <a:pt x="516" y="518"/>
                  </a:lnTo>
                  <a:lnTo>
                    <a:pt x="516" y="518"/>
                  </a:lnTo>
                  <a:lnTo>
                    <a:pt x="516" y="517"/>
                  </a:lnTo>
                  <a:lnTo>
                    <a:pt x="516" y="517"/>
                  </a:lnTo>
                  <a:lnTo>
                    <a:pt x="516" y="517"/>
                  </a:lnTo>
                  <a:lnTo>
                    <a:pt x="518" y="518"/>
                  </a:lnTo>
                  <a:lnTo>
                    <a:pt x="518" y="518"/>
                  </a:lnTo>
                  <a:lnTo>
                    <a:pt x="518" y="518"/>
                  </a:lnTo>
                  <a:lnTo>
                    <a:pt x="520" y="517"/>
                  </a:lnTo>
                  <a:lnTo>
                    <a:pt x="520" y="517"/>
                  </a:lnTo>
                  <a:lnTo>
                    <a:pt x="518" y="515"/>
                  </a:lnTo>
                  <a:lnTo>
                    <a:pt x="518" y="513"/>
                  </a:lnTo>
                  <a:lnTo>
                    <a:pt x="518" y="511"/>
                  </a:lnTo>
                  <a:lnTo>
                    <a:pt x="523" y="511"/>
                  </a:lnTo>
                  <a:lnTo>
                    <a:pt x="523" y="511"/>
                  </a:lnTo>
                  <a:lnTo>
                    <a:pt x="523" y="509"/>
                  </a:lnTo>
                  <a:lnTo>
                    <a:pt x="522" y="509"/>
                  </a:lnTo>
                  <a:lnTo>
                    <a:pt x="522" y="509"/>
                  </a:lnTo>
                  <a:lnTo>
                    <a:pt x="522" y="509"/>
                  </a:lnTo>
                  <a:lnTo>
                    <a:pt x="522" y="509"/>
                  </a:lnTo>
                  <a:lnTo>
                    <a:pt x="523" y="506"/>
                  </a:lnTo>
                  <a:lnTo>
                    <a:pt x="523" y="504"/>
                  </a:lnTo>
                  <a:lnTo>
                    <a:pt x="522" y="504"/>
                  </a:lnTo>
                  <a:lnTo>
                    <a:pt x="522" y="502"/>
                  </a:lnTo>
                  <a:lnTo>
                    <a:pt x="525" y="502"/>
                  </a:lnTo>
                  <a:lnTo>
                    <a:pt x="525" y="502"/>
                  </a:lnTo>
                  <a:lnTo>
                    <a:pt x="525" y="499"/>
                  </a:lnTo>
                  <a:lnTo>
                    <a:pt x="522" y="491"/>
                  </a:lnTo>
                  <a:lnTo>
                    <a:pt x="518" y="488"/>
                  </a:lnTo>
                  <a:lnTo>
                    <a:pt x="516" y="482"/>
                  </a:lnTo>
                  <a:lnTo>
                    <a:pt x="514" y="480"/>
                  </a:lnTo>
                  <a:lnTo>
                    <a:pt x="507" y="479"/>
                  </a:lnTo>
                  <a:lnTo>
                    <a:pt x="509" y="477"/>
                  </a:lnTo>
                  <a:lnTo>
                    <a:pt x="511" y="477"/>
                  </a:lnTo>
                  <a:lnTo>
                    <a:pt x="511" y="475"/>
                  </a:lnTo>
                  <a:lnTo>
                    <a:pt x="511" y="475"/>
                  </a:lnTo>
                  <a:lnTo>
                    <a:pt x="511" y="475"/>
                  </a:lnTo>
                  <a:lnTo>
                    <a:pt x="511" y="475"/>
                  </a:lnTo>
                  <a:lnTo>
                    <a:pt x="513" y="475"/>
                  </a:lnTo>
                  <a:lnTo>
                    <a:pt x="513" y="477"/>
                  </a:lnTo>
                  <a:lnTo>
                    <a:pt x="514" y="479"/>
                  </a:lnTo>
                  <a:lnTo>
                    <a:pt x="516" y="480"/>
                  </a:lnTo>
                  <a:lnTo>
                    <a:pt x="518" y="480"/>
                  </a:lnTo>
                  <a:lnTo>
                    <a:pt x="518" y="482"/>
                  </a:lnTo>
                  <a:lnTo>
                    <a:pt x="520" y="482"/>
                  </a:lnTo>
                  <a:lnTo>
                    <a:pt x="520" y="484"/>
                  </a:lnTo>
                  <a:lnTo>
                    <a:pt x="520" y="486"/>
                  </a:lnTo>
                  <a:lnTo>
                    <a:pt x="522" y="488"/>
                  </a:lnTo>
                  <a:lnTo>
                    <a:pt x="522" y="490"/>
                  </a:lnTo>
                  <a:lnTo>
                    <a:pt x="523" y="491"/>
                  </a:lnTo>
                  <a:lnTo>
                    <a:pt x="525" y="490"/>
                  </a:lnTo>
                  <a:lnTo>
                    <a:pt x="527" y="490"/>
                  </a:lnTo>
                  <a:lnTo>
                    <a:pt x="529" y="486"/>
                  </a:lnTo>
                  <a:lnTo>
                    <a:pt x="529" y="486"/>
                  </a:lnTo>
                  <a:lnTo>
                    <a:pt x="529" y="484"/>
                  </a:lnTo>
                  <a:lnTo>
                    <a:pt x="527" y="482"/>
                  </a:lnTo>
                  <a:lnTo>
                    <a:pt x="525" y="480"/>
                  </a:lnTo>
                  <a:lnTo>
                    <a:pt x="525" y="479"/>
                  </a:lnTo>
                  <a:lnTo>
                    <a:pt x="523" y="479"/>
                  </a:lnTo>
                  <a:lnTo>
                    <a:pt x="523" y="480"/>
                  </a:lnTo>
                  <a:lnTo>
                    <a:pt x="523" y="482"/>
                  </a:lnTo>
                  <a:lnTo>
                    <a:pt x="522" y="480"/>
                  </a:lnTo>
                  <a:lnTo>
                    <a:pt x="522" y="480"/>
                  </a:lnTo>
                  <a:lnTo>
                    <a:pt x="520" y="479"/>
                  </a:lnTo>
                  <a:lnTo>
                    <a:pt x="520" y="477"/>
                  </a:lnTo>
                  <a:lnTo>
                    <a:pt x="518" y="477"/>
                  </a:lnTo>
                  <a:lnTo>
                    <a:pt x="516" y="477"/>
                  </a:lnTo>
                  <a:lnTo>
                    <a:pt x="520" y="475"/>
                  </a:lnTo>
                  <a:lnTo>
                    <a:pt x="518" y="475"/>
                  </a:lnTo>
                  <a:lnTo>
                    <a:pt x="518" y="473"/>
                  </a:lnTo>
                  <a:lnTo>
                    <a:pt x="518" y="473"/>
                  </a:lnTo>
                  <a:lnTo>
                    <a:pt x="520" y="471"/>
                  </a:lnTo>
                  <a:lnTo>
                    <a:pt x="522" y="471"/>
                  </a:lnTo>
                  <a:lnTo>
                    <a:pt x="525" y="471"/>
                  </a:lnTo>
                  <a:lnTo>
                    <a:pt x="525" y="471"/>
                  </a:lnTo>
                  <a:lnTo>
                    <a:pt x="523" y="471"/>
                  </a:lnTo>
                  <a:lnTo>
                    <a:pt x="522" y="471"/>
                  </a:lnTo>
                  <a:lnTo>
                    <a:pt x="522" y="470"/>
                  </a:lnTo>
                  <a:lnTo>
                    <a:pt x="523" y="470"/>
                  </a:lnTo>
                  <a:lnTo>
                    <a:pt x="525" y="470"/>
                  </a:lnTo>
                  <a:lnTo>
                    <a:pt x="525" y="471"/>
                  </a:lnTo>
                  <a:lnTo>
                    <a:pt x="527" y="471"/>
                  </a:lnTo>
                  <a:lnTo>
                    <a:pt x="529" y="471"/>
                  </a:lnTo>
                  <a:lnTo>
                    <a:pt x="529" y="470"/>
                  </a:lnTo>
                  <a:lnTo>
                    <a:pt x="531" y="470"/>
                  </a:lnTo>
                  <a:lnTo>
                    <a:pt x="534" y="471"/>
                  </a:lnTo>
                  <a:lnTo>
                    <a:pt x="536" y="471"/>
                  </a:lnTo>
                  <a:lnTo>
                    <a:pt x="538" y="470"/>
                  </a:lnTo>
                  <a:lnTo>
                    <a:pt x="538" y="470"/>
                  </a:lnTo>
                  <a:lnTo>
                    <a:pt x="540" y="470"/>
                  </a:lnTo>
                  <a:lnTo>
                    <a:pt x="540" y="471"/>
                  </a:lnTo>
                  <a:lnTo>
                    <a:pt x="541" y="471"/>
                  </a:lnTo>
                  <a:lnTo>
                    <a:pt x="541" y="470"/>
                  </a:lnTo>
                  <a:lnTo>
                    <a:pt x="541" y="468"/>
                  </a:lnTo>
                  <a:lnTo>
                    <a:pt x="541" y="468"/>
                  </a:lnTo>
                  <a:lnTo>
                    <a:pt x="541" y="466"/>
                  </a:lnTo>
                  <a:lnTo>
                    <a:pt x="541" y="464"/>
                  </a:lnTo>
                  <a:lnTo>
                    <a:pt x="543" y="468"/>
                  </a:lnTo>
                  <a:lnTo>
                    <a:pt x="543" y="468"/>
                  </a:lnTo>
                  <a:lnTo>
                    <a:pt x="545" y="468"/>
                  </a:lnTo>
                  <a:lnTo>
                    <a:pt x="545" y="468"/>
                  </a:lnTo>
                  <a:lnTo>
                    <a:pt x="545" y="466"/>
                  </a:lnTo>
                  <a:lnTo>
                    <a:pt x="545" y="464"/>
                  </a:lnTo>
                  <a:lnTo>
                    <a:pt x="547" y="462"/>
                  </a:lnTo>
                  <a:lnTo>
                    <a:pt x="545" y="462"/>
                  </a:lnTo>
                  <a:lnTo>
                    <a:pt x="541" y="459"/>
                  </a:lnTo>
                  <a:lnTo>
                    <a:pt x="541" y="459"/>
                  </a:lnTo>
                  <a:lnTo>
                    <a:pt x="541" y="459"/>
                  </a:lnTo>
                  <a:lnTo>
                    <a:pt x="541" y="461"/>
                  </a:lnTo>
                  <a:lnTo>
                    <a:pt x="541" y="461"/>
                  </a:lnTo>
                  <a:lnTo>
                    <a:pt x="540" y="459"/>
                  </a:lnTo>
                  <a:lnTo>
                    <a:pt x="538" y="455"/>
                  </a:lnTo>
                  <a:lnTo>
                    <a:pt x="538" y="455"/>
                  </a:lnTo>
                  <a:lnTo>
                    <a:pt x="545" y="457"/>
                  </a:lnTo>
                  <a:lnTo>
                    <a:pt x="547" y="457"/>
                  </a:lnTo>
                  <a:lnTo>
                    <a:pt x="547" y="457"/>
                  </a:lnTo>
                  <a:lnTo>
                    <a:pt x="547" y="457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9" y="457"/>
                  </a:lnTo>
                  <a:lnTo>
                    <a:pt x="549" y="455"/>
                  </a:lnTo>
                  <a:lnTo>
                    <a:pt x="549" y="455"/>
                  </a:lnTo>
                  <a:lnTo>
                    <a:pt x="549" y="455"/>
                  </a:lnTo>
                  <a:lnTo>
                    <a:pt x="551" y="455"/>
                  </a:lnTo>
                  <a:lnTo>
                    <a:pt x="554" y="455"/>
                  </a:lnTo>
                  <a:lnTo>
                    <a:pt x="554" y="453"/>
                  </a:lnTo>
                  <a:lnTo>
                    <a:pt x="554" y="453"/>
                  </a:lnTo>
                  <a:lnTo>
                    <a:pt x="552" y="453"/>
                  </a:lnTo>
                  <a:lnTo>
                    <a:pt x="552" y="452"/>
                  </a:lnTo>
                  <a:lnTo>
                    <a:pt x="551" y="450"/>
                  </a:lnTo>
                  <a:lnTo>
                    <a:pt x="551" y="450"/>
                  </a:lnTo>
                  <a:lnTo>
                    <a:pt x="547" y="448"/>
                  </a:lnTo>
                  <a:lnTo>
                    <a:pt x="543" y="443"/>
                  </a:lnTo>
                  <a:lnTo>
                    <a:pt x="536" y="439"/>
                  </a:lnTo>
                  <a:lnTo>
                    <a:pt x="534" y="437"/>
                  </a:lnTo>
                  <a:lnTo>
                    <a:pt x="532" y="432"/>
                  </a:lnTo>
                  <a:lnTo>
                    <a:pt x="534" y="434"/>
                  </a:lnTo>
                  <a:lnTo>
                    <a:pt x="534" y="434"/>
                  </a:lnTo>
                  <a:lnTo>
                    <a:pt x="536" y="435"/>
                  </a:lnTo>
                  <a:lnTo>
                    <a:pt x="536" y="437"/>
                  </a:lnTo>
                  <a:lnTo>
                    <a:pt x="538" y="437"/>
                  </a:lnTo>
                  <a:lnTo>
                    <a:pt x="538" y="439"/>
                  </a:lnTo>
                  <a:lnTo>
                    <a:pt x="541" y="439"/>
                  </a:lnTo>
                  <a:lnTo>
                    <a:pt x="543" y="441"/>
                  </a:lnTo>
                  <a:lnTo>
                    <a:pt x="545" y="443"/>
                  </a:lnTo>
                  <a:lnTo>
                    <a:pt x="545" y="443"/>
                  </a:lnTo>
                  <a:lnTo>
                    <a:pt x="547" y="444"/>
                  </a:lnTo>
                  <a:lnTo>
                    <a:pt x="551" y="446"/>
                  </a:lnTo>
                  <a:lnTo>
                    <a:pt x="556" y="450"/>
                  </a:lnTo>
                  <a:lnTo>
                    <a:pt x="558" y="452"/>
                  </a:lnTo>
                  <a:lnTo>
                    <a:pt x="558" y="450"/>
                  </a:lnTo>
                  <a:lnTo>
                    <a:pt x="558" y="448"/>
                  </a:lnTo>
                  <a:lnTo>
                    <a:pt x="558" y="448"/>
                  </a:lnTo>
                  <a:lnTo>
                    <a:pt x="560" y="450"/>
                  </a:lnTo>
                  <a:lnTo>
                    <a:pt x="561" y="450"/>
                  </a:lnTo>
                  <a:lnTo>
                    <a:pt x="561" y="452"/>
                  </a:lnTo>
                  <a:lnTo>
                    <a:pt x="563" y="452"/>
                  </a:lnTo>
                  <a:lnTo>
                    <a:pt x="563" y="453"/>
                  </a:lnTo>
                  <a:lnTo>
                    <a:pt x="565" y="453"/>
                  </a:lnTo>
                  <a:lnTo>
                    <a:pt x="567" y="453"/>
                  </a:lnTo>
                  <a:lnTo>
                    <a:pt x="565" y="452"/>
                  </a:lnTo>
                  <a:lnTo>
                    <a:pt x="565" y="450"/>
                  </a:lnTo>
                  <a:lnTo>
                    <a:pt x="565" y="450"/>
                  </a:lnTo>
                  <a:lnTo>
                    <a:pt x="563" y="448"/>
                  </a:lnTo>
                  <a:lnTo>
                    <a:pt x="561" y="448"/>
                  </a:lnTo>
                  <a:lnTo>
                    <a:pt x="561" y="446"/>
                  </a:lnTo>
                  <a:lnTo>
                    <a:pt x="561" y="446"/>
                  </a:lnTo>
                  <a:lnTo>
                    <a:pt x="563" y="444"/>
                  </a:lnTo>
                  <a:lnTo>
                    <a:pt x="563" y="443"/>
                  </a:lnTo>
                  <a:lnTo>
                    <a:pt x="561" y="443"/>
                  </a:lnTo>
                  <a:lnTo>
                    <a:pt x="561" y="441"/>
                  </a:lnTo>
                  <a:lnTo>
                    <a:pt x="561" y="441"/>
                  </a:lnTo>
                  <a:lnTo>
                    <a:pt x="560" y="439"/>
                  </a:lnTo>
                  <a:lnTo>
                    <a:pt x="560" y="439"/>
                  </a:lnTo>
                  <a:lnTo>
                    <a:pt x="560" y="439"/>
                  </a:lnTo>
                  <a:lnTo>
                    <a:pt x="560" y="441"/>
                  </a:lnTo>
                  <a:lnTo>
                    <a:pt x="560" y="443"/>
                  </a:lnTo>
                  <a:lnTo>
                    <a:pt x="561" y="443"/>
                  </a:lnTo>
                  <a:lnTo>
                    <a:pt x="560" y="446"/>
                  </a:lnTo>
                  <a:lnTo>
                    <a:pt x="558" y="446"/>
                  </a:lnTo>
                  <a:lnTo>
                    <a:pt x="554" y="444"/>
                  </a:lnTo>
                  <a:lnTo>
                    <a:pt x="558" y="444"/>
                  </a:lnTo>
                  <a:lnTo>
                    <a:pt x="560" y="443"/>
                  </a:lnTo>
                  <a:lnTo>
                    <a:pt x="558" y="441"/>
                  </a:lnTo>
                  <a:lnTo>
                    <a:pt x="558" y="441"/>
                  </a:lnTo>
                  <a:lnTo>
                    <a:pt x="558" y="439"/>
                  </a:lnTo>
                  <a:lnTo>
                    <a:pt x="558" y="439"/>
                  </a:lnTo>
                  <a:lnTo>
                    <a:pt x="558" y="437"/>
                  </a:lnTo>
                  <a:lnTo>
                    <a:pt x="558" y="437"/>
                  </a:lnTo>
                  <a:lnTo>
                    <a:pt x="558" y="435"/>
                  </a:lnTo>
                  <a:lnTo>
                    <a:pt x="560" y="435"/>
                  </a:lnTo>
                  <a:lnTo>
                    <a:pt x="560" y="435"/>
                  </a:lnTo>
                  <a:lnTo>
                    <a:pt x="561" y="437"/>
                  </a:lnTo>
                  <a:lnTo>
                    <a:pt x="561" y="439"/>
                  </a:lnTo>
                  <a:lnTo>
                    <a:pt x="561" y="439"/>
                  </a:lnTo>
                  <a:lnTo>
                    <a:pt x="563" y="439"/>
                  </a:lnTo>
                  <a:lnTo>
                    <a:pt x="563" y="439"/>
                  </a:lnTo>
                  <a:lnTo>
                    <a:pt x="563" y="439"/>
                  </a:lnTo>
                  <a:lnTo>
                    <a:pt x="563" y="435"/>
                  </a:lnTo>
                  <a:lnTo>
                    <a:pt x="563" y="434"/>
                  </a:lnTo>
                  <a:lnTo>
                    <a:pt x="561" y="432"/>
                  </a:lnTo>
                  <a:lnTo>
                    <a:pt x="558" y="432"/>
                  </a:lnTo>
                  <a:lnTo>
                    <a:pt x="558" y="430"/>
                  </a:lnTo>
                  <a:lnTo>
                    <a:pt x="556" y="430"/>
                  </a:lnTo>
                  <a:lnTo>
                    <a:pt x="554" y="428"/>
                  </a:lnTo>
                  <a:lnTo>
                    <a:pt x="556" y="428"/>
                  </a:lnTo>
                  <a:lnTo>
                    <a:pt x="560" y="430"/>
                  </a:lnTo>
                  <a:lnTo>
                    <a:pt x="561" y="430"/>
                  </a:lnTo>
                  <a:lnTo>
                    <a:pt x="563" y="428"/>
                  </a:lnTo>
                  <a:lnTo>
                    <a:pt x="561" y="426"/>
                  </a:lnTo>
                  <a:lnTo>
                    <a:pt x="561" y="424"/>
                  </a:lnTo>
                  <a:lnTo>
                    <a:pt x="561" y="423"/>
                  </a:lnTo>
                  <a:lnTo>
                    <a:pt x="561" y="423"/>
                  </a:lnTo>
                  <a:lnTo>
                    <a:pt x="563" y="423"/>
                  </a:lnTo>
                  <a:lnTo>
                    <a:pt x="563" y="421"/>
                  </a:lnTo>
                  <a:lnTo>
                    <a:pt x="561" y="419"/>
                  </a:lnTo>
                  <a:lnTo>
                    <a:pt x="563" y="417"/>
                  </a:lnTo>
                  <a:lnTo>
                    <a:pt x="563" y="415"/>
                  </a:lnTo>
                  <a:lnTo>
                    <a:pt x="565" y="415"/>
                  </a:lnTo>
                  <a:lnTo>
                    <a:pt x="569" y="415"/>
                  </a:lnTo>
                  <a:lnTo>
                    <a:pt x="569" y="417"/>
                  </a:lnTo>
                  <a:lnTo>
                    <a:pt x="569" y="417"/>
                  </a:lnTo>
                  <a:lnTo>
                    <a:pt x="570" y="419"/>
                  </a:lnTo>
                  <a:lnTo>
                    <a:pt x="570" y="421"/>
                  </a:lnTo>
                  <a:lnTo>
                    <a:pt x="570" y="421"/>
                  </a:lnTo>
                  <a:lnTo>
                    <a:pt x="570" y="423"/>
                  </a:lnTo>
                  <a:lnTo>
                    <a:pt x="570" y="423"/>
                  </a:lnTo>
                  <a:lnTo>
                    <a:pt x="570" y="424"/>
                  </a:lnTo>
                  <a:lnTo>
                    <a:pt x="570" y="426"/>
                  </a:lnTo>
                  <a:lnTo>
                    <a:pt x="570" y="426"/>
                  </a:lnTo>
                  <a:lnTo>
                    <a:pt x="572" y="424"/>
                  </a:lnTo>
                  <a:lnTo>
                    <a:pt x="572" y="423"/>
                  </a:lnTo>
                  <a:lnTo>
                    <a:pt x="576" y="424"/>
                  </a:lnTo>
                  <a:lnTo>
                    <a:pt x="578" y="426"/>
                  </a:lnTo>
                  <a:lnTo>
                    <a:pt x="578" y="428"/>
                  </a:lnTo>
                  <a:lnTo>
                    <a:pt x="578" y="428"/>
                  </a:lnTo>
                  <a:lnTo>
                    <a:pt x="578" y="426"/>
                  </a:lnTo>
                  <a:lnTo>
                    <a:pt x="579" y="426"/>
                  </a:lnTo>
                  <a:lnTo>
                    <a:pt x="579" y="424"/>
                  </a:lnTo>
                  <a:lnTo>
                    <a:pt x="579" y="423"/>
                  </a:lnTo>
                  <a:lnTo>
                    <a:pt x="579" y="421"/>
                  </a:lnTo>
                  <a:lnTo>
                    <a:pt x="579" y="421"/>
                  </a:lnTo>
                  <a:lnTo>
                    <a:pt x="579" y="419"/>
                  </a:lnTo>
                  <a:lnTo>
                    <a:pt x="579" y="415"/>
                  </a:lnTo>
                  <a:lnTo>
                    <a:pt x="579" y="414"/>
                  </a:lnTo>
                  <a:lnTo>
                    <a:pt x="578" y="414"/>
                  </a:lnTo>
                  <a:lnTo>
                    <a:pt x="578" y="412"/>
                  </a:lnTo>
                  <a:lnTo>
                    <a:pt x="576" y="410"/>
                  </a:lnTo>
                  <a:lnTo>
                    <a:pt x="578" y="410"/>
                  </a:lnTo>
                  <a:lnTo>
                    <a:pt x="578" y="410"/>
                  </a:lnTo>
                  <a:lnTo>
                    <a:pt x="583" y="415"/>
                  </a:lnTo>
                  <a:lnTo>
                    <a:pt x="585" y="417"/>
                  </a:lnTo>
                  <a:lnTo>
                    <a:pt x="587" y="423"/>
                  </a:lnTo>
                  <a:lnTo>
                    <a:pt x="588" y="423"/>
                  </a:lnTo>
                  <a:lnTo>
                    <a:pt x="588" y="423"/>
                  </a:lnTo>
                  <a:lnTo>
                    <a:pt x="590" y="423"/>
                  </a:lnTo>
                  <a:lnTo>
                    <a:pt x="590" y="423"/>
                  </a:lnTo>
                  <a:lnTo>
                    <a:pt x="592" y="426"/>
                  </a:lnTo>
                  <a:lnTo>
                    <a:pt x="592" y="426"/>
                  </a:lnTo>
                  <a:lnTo>
                    <a:pt x="594" y="428"/>
                  </a:lnTo>
                  <a:lnTo>
                    <a:pt x="597" y="428"/>
                  </a:lnTo>
                  <a:lnTo>
                    <a:pt x="597" y="428"/>
                  </a:lnTo>
                  <a:lnTo>
                    <a:pt x="599" y="432"/>
                  </a:lnTo>
                  <a:lnTo>
                    <a:pt x="599" y="434"/>
                  </a:lnTo>
                  <a:lnTo>
                    <a:pt x="599" y="435"/>
                  </a:lnTo>
                  <a:lnTo>
                    <a:pt x="601" y="434"/>
                  </a:lnTo>
                  <a:lnTo>
                    <a:pt x="601" y="432"/>
                  </a:lnTo>
                  <a:lnTo>
                    <a:pt x="603" y="430"/>
                  </a:lnTo>
                  <a:lnTo>
                    <a:pt x="603" y="428"/>
                  </a:lnTo>
                  <a:lnTo>
                    <a:pt x="606" y="428"/>
                  </a:lnTo>
                  <a:lnTo>
                    <a:pt x="606" y="426"/>
                  </a:lnTo>
                  <a:lnTo>
                    <a:pt x="605" y="424"/>
                  </a:lnTo>
                  <a:lnTo>
                    <a:pt x="605" y="424"/>
                  </a:lnTo>
                  <a:lnTo>
                    <a:pt x="603" y="423"/>
                  </a:lnTo>
                  <a:lnTo>
                    <a:pt x="605" y="421"/>
                  </a:lnTo>
                  <a:lnTo>
                    <a:pt x="605" y="419"/>
                  </a:lnTo>
                  <a:lnTo>
                    <a:pt x="605" y="419"/>
                  </a:lnTo>
                  <a:lnTo>
                    <a:pt x="606" y="421"/>
                  </a:lnTo>
                  <a:lnTo>
                    <a:pt x="608" y="423"/>
                  </a:lnTo>
                  <a:lnTo>
                    <a:pt x="608" y="423"/>
                  </a:lnTo>
                  <a:lnTo>
                    <a:pt x="610" y="423"/>
                  </a:lnTo>
                  <a:lnTo>
                    <a:pt x="610" y="423"/>
                  </a:lnTo>
                  <a:lnTo>
                    <a:pt x="612" y="421"/>
                  </a:lnTo>
                  <a:lnTo>
                    <a:pt x="612" y="421"/>
                  </a:lnTo>
                  <a:lnTo>
                    <a:pt x="614" y="421"/>
                  </a:lnTo>
                  <a:lnTo>
                    <a:pt x="614" y="423"/>
                  </a:lnTo>
                  <a:lnTo>
                    <a:pt x="614" y="424"/>
                  </a:lnTo>
                  <a:lnTo>
                    <a:pt x="614" y="426"/>
                  </a:lnTo>
                  <a:lnTo>
                    <a:pt x="616" y="426"/>
                  </a:lnTo>
                  <a:lnTo>
                    <a:pt x="616" y="426"/>
                  </a:lnTo>
                  <a:lnTo>
                    <a:pt x="616" y="426"/>
                  </a:lnTo>
                  <a:lnTo>
                    <a:pt x="616" y="426"/>
                  </a:lnTo>
                  <a:lnTo>
                    <a:pt x="617" y="426"/>
                  </a:lnTo>
                  <a:lnTo>
                    <a:pt x="617" y="424"/>
                  </a:lnTo>
                  <a:lnTo>
                    <a:pt x="617" y="424"/>
                  </a:lnTo>
                  <a:lnTo>
                    <a:pt x="616" y="423"/>
                  </a:lnTo>
                  <a:lnTo>
                    <a:pt x="616" y="423"/>
                  </a:lnTo>
                  <a:lnTo>
                    <a:pt x="616" y="423"/>
                  </a:lnTo>
                  <a:lnTo>
                    <a:pt x="617" y="421"/>
                  </a:lnTo>
                  <a:lnTo>
                    <a:pt x="617" y="421"/>
                  </a:lnTo>
                  <a:lnTo>
                    <a:pt x="617" y="421"/>
                  </a:lnTo>
                  <a:lnTo>
                    <a:pt x="617" y="419"/>
                  </a:lnTo>
                  <a:lnTo>
                    <a:pt x="617" y="419"/>
                  </a:lnTo>
                  <a:lnTo>
                    <a:pt x="617" y="419"/>
                  </a:lnTo>
                  <a:lnTo>
                    <a:pt x="619" y="419"/>
                  </a:lnTo>
                  <a:lnTo>
                    <a:pt x="619" y="419"/>
                  </a:lnTo>
                  <a:lnTo>
                    <a:pt x="619" y="421"/>
                  </a:lnTo>
                  <a:lnTo>
                    <a:pt x="621" y="421"/>
                  </a:lnTo>
                  <a:lnTo>
                    <a:pt x="625" y="421"/>
                  </a:lnTo>
                  <a:lnTo>
                    <a:pt x="625" y="423"/>
                  </a:lnTo>
                  <a:lnTo>
                    <a:pt x="625" y="423"/>
                  </a:lnTo>
                  <a:lnTo>
                    <a:pt x="626" y="423"/>
                  </a:lnTo>
                  <a:lnTo>
                    <a:pt x="626" y="423"/>
                  </a:lnTo>
                  <a:lnTo>
                    <a:pt x="626" y="423"/>
                  </a:lnTo>
                  <a:lnTo>
                    <a:pt x="628" y="419"/>
                  </a:lnTo>
                  <a:lnTo>
                    <a:pt x="630" y="419"/>
                  </a:lnTo>
                  <a:lnTo>
                    <a:pt x="632" y="419"/>
                  </a:lnTo>
                  <a:lnTo>
                    <a:pt x="634" y="421"/>
                  </a:lnTo>
                  <a:lnTo>
                    <a:pt x="634" y="423"/>
                  </a:lnTo>
                  <a:lnTo>
                    <a:pt x="634" y="424"/>
                  </a:lnTo>
                  <a:lnTo>
                    <a:pt x="635" y="424"/>
                  </a:lnTo>
                  <a:lnTo>
                    <a:pt x="637" y="424"/>
                  </a:lnTo>
                  <a:lnTo>
                    <a:pt x="637" y="423"/>
                  </a:lnTo>
                  <a:lnTo>
                    <a:pt x="639" y="423"/>
                  </a:lnTo>
                  <a:lnTo>
                    <a:pt x="639" y="424"/>
                  </a:lnTo>
                  <a:lnTo>
                    <a:pt x="639" y="426"/>
                  </a:lnTo>
                  <a:lnTo>
                    <a:pt x="639" y="426"/>
                  </a:lnTo>
                  <a:lnTo>
                    <a:pt x="639" y="426"/>
                  </a:lnTo>
                  <a:lnTo>
                    <a:pt x="641" y="426"/>
                  </a:lnTo>
                  <a:lnTo>
                    <a:pt x="641" y="428"/>
                  </a:lnTo>
                  <a:lnTo>
                    <a:pt x="641" y="428"/>
                  </a:lnTo>
                  <a:lnTo>
                    <a:pt x="641" y="428"/>
                  </a:lnTo>
                  <a:lnTo>
                    <a:pt x="643" y="426"/>
                  </a:lnTo>
                  <a:lnTo>
                    <a:pt x="643" y="424"/>
                  </a:lnTo>
                  <a:lnTo>
                    <a:pt x="643" y="424"/>
                  </a:lnTo>
                  <a:lnTo>
                    <a:pt x="644" y="423"/>
                  </a:lnTo>
                  <a:lnTo>
                    <a:pt x="646" y="424"/>
                  </a:lnTo>
                  <a:lnTo>
                    <a:pt x="648" y="423"/>
                  </a:lnTo>
                  <a:lnTo>
                    <a:pt x="646" y="423"/>
                  </a:lnTo>
                  <a:lnTo>
                    <a:pt x="646" y="423"/>
                  </a:lnTo>
                  <a:lnTo>
                    <a:pt x="646" y="423"/>
                  </a:lnTo>
                  <a:lnTo>
                    <a:pt x="646" y="421"/>
                  </a:lnTo>
                  <a:lnTo>
                    <a:pt x="650" y="423"/>
                  </a:lnTo>
                  <a:lnTo>
                    <a:pt x="652" y="423"/>
                  </a:lnTo>
                  <a:lnTo>
                    <a:pt x="653" y="421"/>
                  </a:lnTo>
                  <a:lnTo>
                    <a:pt x="653" y="417"/>
                  </a:lnTo>
                  <a:lnTo>
                    <a:pt x="652" y="414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33F8DC56-159C-C5EF-DB42-A9380DBC5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4727576"/>
              <a:ext cx="1789113" cy="1582738"/>
            </a:xfrm>
            <a:custGeom>
              <a:avLst/>
              <a:gdLst>
                <a:gd name="T0" fmla="*/ 139 w 1127"/>
                <a:gd name="T1" fmla="*/ 974 h 997"/>
                <a:gd name="T2" fmla="*/ 130 w 1127"/>
                <a:gd name="T3" fmla="*/ 992 h 997"/>
                <a:gd name="T4" fmla="*/ 91 w 1127"/>
                <a:gd name="T5" fmla="*/ 947 h 997"/>
                <a:gd name="T6" fmla="*/ 76 w 1127"/>
                <a:gd name="T7" fmla="*/ 978 h 997"/>
                <a:gd name="T8" fmla="*/ 203 w 1127"/>
                <a:gd name="T9" fmla="*/ 954 h 997"/>
                <a:gd name="T10" fmla="*/ 217 w 1127"/>
                <a:gd name="T11" fmla="*/ 952 h 997"/>
                <a:gd name="T12" fmla="*/ 20 w 1127"/>
                <a:gd name="T13" fmla="*/ 940 h 997"/>
                <a:gd name="T14" fmla="*/ 232 w 1127"/>
                <a:gd name="T15" fmla="*/ 923 h 997"/>
                <a:gd name="T16" fmla="*/ 716 w 1127"/>
                <a:gd name="T17" fmla="*/ 555 h 997"/>
                <a:gd name="T18" fmla="*/ 873 w 1127"/>
                <a:gd name="T19" fmla="*/ 398 h 997"/>
                <a:gd name="T20" fmla="*/ 990 w 1127"/>
                <a:gd name="T21" fmla="*/ 311 h 997"/>
                <a:gd name="T22" fmla="*/ 981 w 1127"/>
                <a:gd name="T23" fmla="*/ 325 h 997"/>
                <a:gd name="T24" fmla="*/ 1071 w 1127"/>
                <a:gd name="T25" fmla="*/ 260 h 997"/>
                <a:gd name="T26" fmla="*/ 1037 w 1127"/>
                <a:gd name="T27" fmla="*/ 273 h 997"/>
                <a:gd name="T28" fmla="*/ 1060 w 1127"/>
                <a:gd name="T29" fmla="*/ 297 h 997"/>
                <a:gd name="T30" fmla="*/ 1124 w 1127"/>
                <a:gd name="T31" fmla="*/ 255 h 997"/>
                <a:gd name="T32" fmla="*/ 1109 w 1127"/>
                <a:gd name="T33" fmla="*/ 259 h 997"/>
                <a:gd name="T34" fmla="*/ 1071 w 1127"/>
                <a:gd name="T35" fmla="*/ 127 h 997"/>
                <a:gd name="T36" fmla="*/ 1064 w 1127"/>
                <a:gd name="T37" fmla="*/ 92 h 997"/>
                <a:gd name="T38" fmla="*/ 1019 w 1127"/>
                <a:gd name="T39" fmla="*/ 94 h 997"/>
                <a:gd name="T40" fmla="*/ 981 w 1127"/>
                <a:gd name="T41" fmla="*/ 89 h 997"/>
                <a:gd name="T42" fmla="*/ 947 w 1127"/>
                <a:gd name="T43" fmla="*/ 65 h 997"/>
                <a:gd name="T44" fmla="*/ 905 w 1127"/>
                <a:gd name="T45" fmla="*/ 73 h 997"/>
                <a:gd name="T46" fmla="*/ 873 w 1127"/>
                <a:gd name="T47" fmla="*/ 60 h 997"/>
                <a:gd name="T48" fmla="*/ 833 w 1127"/>
                <a:gd name="T49" fmla="*/ 35 h 997"/>
                <a:gd name="T50" fmla="*/ 804 w 1127"/>
                <a:gd name="T51" fmla="*/ 35 h 997"/>
                <a:gd name="T52" fmla="*/ 762 w 1127"/>
                <a:gd name="T53" fmla="*/ 26 h 997"/>
                <a:gd name="T54" fmla="*/ 734 w 1127"/>
                <a:gd name="T55" fmla="*/ 20 h 997"/>
                <a:gd name="T56" fmla="*/ 716 w 1127"/>
                <a:gd name="T57" fmla="*/ 22 h 997"/>
                <a:gd name="T58" fmla="*/ 645 w 1127"/>
                <a:gd name="T59" fmla="*/ 18 h 997"/>
                <a:gd name="T60" fmla="*/ 598 w 1127"/>
                <a:gd name="T61" fmla="*/ 13 h 997"/>
                <a:gd name="T62" fmla="*/ 548 w 1127"/>
                <a:gd name="T63" fmla="*/ 17 h 997"/>
                <a:gd name="T64" fmla="*/ 519 w 1127"/>
                <a:gd name="T65" fmla="*/ 6 h 997"/>
                <a:gd name="T66" fmla="*/ 506 w 1127"/>
                <a:gd name="T67" fmla="*/ 9 h 997"/>
                <a:gd name="T68" fmla="*/ 499 w 1127"/>
                <a:gd name="T69" fmla="*/ 31 h 997"/>
                <a:gd name="T70" fmla="*/ 463 w 1127"/>
                <a:gd name="T71" fmla="*/ 38 h 997"/>
                <a:gd name="T72" fmla="*/ 446 w 1127"/>
                <a:gd name="T73" fmla="*/ 55 h 997"/>
                <a:gd name="T74" fmla="*/ 457 w 1127"/>
                <a:gd name="T75" fmla="*/ 71 h 997"/>
                <a:gd name="T76" fmla="*/ 466 w 1127"/>
                <a:gd name="T77" fmla="*/ 78 h 997"/>
                <a:gd name="T78" fmla="*/ 474 w 1127"/>
                <a:gd name="T79" fmla="*/ 94 h 997"/>
                <a:gd name="T80" fmla="*/ 475 w 1127"/>
                <a:gd name="T81" fmla="*/ 105 h 997"/>
                <a:gd name="T82" fmla="*/ 497 w 1127"/>
                <a:gd name="T83" fmla="*/ 112 h 997"/>
                <a:gd name="T84" fmla="*/ 519 w 1127"/>
                <a:gd name="T85" fmla="*/ 130 h 997"/>
                <a:gd name="T86" fmla="*/ 560 w 1127"/>
                <a:gd name="T87" fmla="*/ 123 h 997"/>
                <a:gd name="T88" fmla="*/ 596 w 1127"/>
                <a:gd name="T89" fmla="*/ 156 h 997"/>
                <a:gd name="T90" fmla="*/ 569 w 1127"/>
                <a:gd name="T91" fmla="*/ 197 h 997"/>
                <a:gd name="T92" fmla="*/ 558 w 1127"/>
                <a:gd name="T93" fmla="*/ 241 h 997"/>
                <a:gd name="T94" fmla="*/ 544 w 1127"/>
                <a:gd name="T95" fmla="*/ 275 h 997"/>
                <a:gd name="T96" fmla="*/ 560 w 1127"/>
                <a:gd name="T97" fmla="*/ 315 h 997"/>
                <a:gd name="T98" fmla="*/ 549 w 1127"/>
                <a:gd name="T99" fmla="*/ 363 h 997"/>
                <a:gd name="T100" fmla="*/ 539 w 1127"/>
                <a:gd name="T101" fmla="*/ 398 h 997"/>
                <a:gd name="T102" fmla="*/ 564 w 1127"/>
                <a:gd name="T103" fmla="*/ 434 h 997"/>
                <a:gd name="T104" fmla="*/ 589 w 1127"/>
                <a:gd name="T105" fmla="*/ 465 h 997"/>
                <a:gd name="T106" fmla="*/ 623 w 1127"/>
                <a:gd name="T107" fmla="*/ 503 h 997"/>
                <a:gd name="T108" fmla="*/ 660 w 1127"/>
                <a:gd name="T109" fmla="*/ 479 h 997"/>
                <a:gd name="T110" fmla="*/ 757 w 1127"/>
                <a:gd name="T111" fmla="*/ 461 h 997"/>
                <a:gd name="T112" fmla="*/ 808 w 1127"/>
                <a:gd name="T113" fmla="*/ 456 h 997"/>
                <a:gd name="T114" fmla="*/ 838 w 1127"/>
                <a:gd name="T115" fmla="*/ 414 h 997"/>
                <a:gd name="T116" fmla="*/ 869 w 1127"/>
                <a:gd name="T117" fmla="*/ 403 h 997"/>
                <a:gd name="T118" fmla="*/ 903 w 1127"/>
                <a:gd name="T119" fmla="*/ 349 h 997"/>
                <a:gd name="T120" fmla="*/ 903 w 1127"/>
                <a:gd name="T121" fmla="*/ 318 h 997"/>
                <a:gd name="T122" fmla="*/ 939 w 1127"/>
                <a:gd name="T123" fmla="*/ 215 h 997"/>
                <a:gd name="T124" fmla="*/ 972 w 1127"/>
                <a:gd name="T125" fmla="*/ 181 h 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27" h="997">
                  <a:moveTo>
                    <a:pt x="15" y="987"/>
                  </a:moveTo>
                  <a:lnTo>
                    <a:pt x="13" y="987"/>
                  </a:lnTo>
                  <a:lnTo>
                    <a:pt x="13" y="987"/>
                  </a:lnTo>
                  <a:lnTo>
                    <a:pt x="11" y="987"/>
                  </a:lnTo>
                  <a:lnTo>
                    <a:pt x="9" y="988"/>
                  </a:lnTo>
                  <a:lnTo>
                    <a:pt x="9" y="988"/>
                  </a:lnTo>
                  <a:lnTo>
                    <a:pt x="9" y="988"/>
                  </a:lnTo>
                  <a:lnTo>
                    <a:pt x="9" y="988"/>
                  </a:lnTo>
                  <a:lnTo>
                    <a:pt x="8" y="990"/>
                  </a:lnTo>
                  <a:lnTo>
                    <a:pt x="6" y="992"/>
                  </a:lnTo>
                  <a:lnTo>
                    <a:pt x="4" y="990"/>
                  </a:lnTo>
                  <a:lnTo>
                    <a:pt x="2" y="990"/>
                  </a:lnTo>
                  <a:lnTo>
                    <a:pt x="0" y="992"/>
                  </a:lnTo>
                  <a:lnTo>
                    <a:pt x="2" y="994"/>
                  </a:lnTo>
                  <a:lnTo>
                    <a:pt x="2" y="994"/>
                  </a:lnTo>
                  <a:lnTo>
                    <a:pt x="2" y="996"/>
                  </a:lnTo>
                  <a:lnTo>
                    <a:pt x="6" y="996"/>
                  </a:lnTo>
                  <a:lnTo>
                    <a:pt x="8" y="996"/>
                  </a:lnTo>
                  <a:lnTo>
                    <a:pt x="8" y="997"/>
                  </a:lnTo>
                  <a:lnTo>
                    <a:pt x="9" y="997"/>
                  </a:lnTo>
                  <a:lnTo>
                    <a:pt x="9" y="997"/>
                  </a:lnTo>
                  <a:lnTo>
                    <a:pt x="11" y="997"/>
                  </a:lnTo>
                  <a:lnTo>
                    <a:pt x="11" y="997"/>
                  </a:lnTo>
                  <a:lnTo>
                    <a:pt x="11" y="996"/>
                  </a:lnTo>
                  <a:lnTo>
                    <a:pt x="11" y="996"/>
                  </a:lnTo>
                  <a:lnTo>
                    <a:pt x="11" y="996"/>
                  </a:lnTo>
                  <a:lnTo>
                    <a:pt x="11" y="996"/>
                  </a:lnTo>
                  <a:lnTo>
                    <a:pt x="11" y="994"/>
                  </a:lnTo>
                  <a:lnTo>
                    <a:pt x="11" y="994"/>
                  </a:lnTo>
                  <a:lnTo>
                    <a:pt x="13" y="994"/>
                  </a:lnTo>
                  <a:lnTo>
                    <a:pt x="13" y="994"/>
                  </a:lnTo>
                  <a:lnTo>
                    <a:pt x="13" y="994"/>
                  </a:lnTo>
                  <a:lnTo>
                    <a:pt x="13" y="994"/>
                  </a:lnTo>
                  <a:lnTo>
                    <a:pt x="13" y="994"/>
                  </a:lnTo>
                  <a:lnTo>
                    <a:pt x="13" y="992"/>
                  </a:lnTo>
                  <a:lnTo>
                    <a:pt x="13" y="992"/>
                  </a:lnTo>
                  <a:lnTo>
                    <a:pt x="15" y="988"/>
                  </a:lnTo>
                  <a:lnTo>
                    <a:pt x="15" y="988"/>
                  </a:lnTo>
                  <a:lnTo>
                    <a:pt x="15" y="988"/>
                  </a:lnTo>
                  <a:lnTo>
                    <a:pt x="15" y="987"/>
                  </a:lnTo>
                  <a:close/>
                  <a:moveTo>
                    <a:pt x="141" y="978"/>
                  </a:moveTo>
                  <a:lnTo>
                    <a:pt x="141" y="978"/>
                  </a:lnTo>
                  <a:lnTo>
                    <a:pt x="141" y="978"/>
                  </a:lnTo>
                  <a:lnTo>
                    <a:pt x="139" y="976"/>
                  </a:lnTo>
                  <a:lnTo>
                    <a:pt x="139" y="976"/>
                  </a:lnTo>
                  <a:lnTo>
                    <a:pt x="139" y="976"/>
                  </a:lnTo>
                  <a:lnTo>
                    <a:pt x="139" y="974"/>
                  </a:lnTo>
                  <a:lnTo>
                    <a:pt x="139" y="974"/>
                  </a:lnTo>
                  <a:lnTo>
                    <a:pt x="139" y="974"/>
                  </a:lnTo>
                  <a:lnTo>
                    <a:pt x="139" y="972"/>
                  </a:lnTo>
                  <a:lnTo>
                    <a:pt x="139" y="970"/>
                  </a:lnTo>
                  <a:lnTo>
                    <a:pt x="139" y="969"/>
                  </a:lnTo>
                  <a:lnTo>
                    <a:pt x="139" y="969"/>
                  </a:lnTo>
                  <a:lnTo>
                    <a:pt x="139" y="969"/>
                  </a:lnTo>
                  <a:lnTo>
                    <a:pt x="139" y="969"/>
                  </a:lnTo>
                  <a:lnTo>
                    <a:pt x="139" y="969"/>
                  </a:lnTo>
                  <a:lnTo>
                    <a:pt x="138" y="969"/>
                  </a:lnTo>
                  <a:lnTo>
                    <a:pt x="138" y="970"/>
                  </a:lnTo>
                  <a:lnTo>
                    <a:pt x="136" y="970"/>
                  </a:lnTo>
                  <a:lnTo>
                    <a:pt x="134" y="970"/>
                  </a:lnTo>
                  <a:lnTo>
                    <a:pt x="130" y="970"/>
                  </a:lnTo>
                  <a:lnTo>
                    <a:pt x="127" y="969"/>
                  </a:lnTo>
                  <a:lnTo>
                    <a:pt x="127" y="969"/>
                  </a:lnTo>
                  <a:lnTo>
                    <a:pt x="125" y="969"/>
                  </a:lnTo>
                  <a:lnTo>
                    <a:pt x="125" y="969"/>
                  </a:lnTo>
                  <a:lnTo>
                    <a:pt x="125" y="969"/>
                  </a:lnTo>
                  <a:lnTo>
                    <a:pt x="125" y="969"/>
                  </a:lnTo>
                  <a:lnTo>
                    <a:pt x="125" y="969"/>
                  </a:lnTo>
                  <a:lnTo>
                    <a:pt x="125" y="970"/>
                  </a:lnTo>
                  <a:lnTo>
                    <a:pt x="125" y="972"/>
                  </a:lnTo>
                  <a:lnTo>
                    <a:pt x="123" y="972"/>
                  </a:lnTo>
                  <a:lnTo>
                    <a:pt x="123" y="974"/>
                  </a:lnTo>
                  <a:lnTo>
                    <a:pt x="123" y="974"/>
                  </a:lnTo>
                  <a:lnTo>
                    <a:pt x="121" y="976"/>
                  </a:lnTo>
                  <a:lnTo>
                    <a:pt x="121" y="976"/>
                  </a:lnTo>
                  <a:lnTo>
                    <a:pt x="120" y="978"/>
                  </a:lnTo>
                  <a:lnTo>
                    <a:pt x="118" y="978"/>
                  </a:lnTo>
                  <a:lnTo>
                    <a:pt x="118" y="979"/>
                  </a:lnTo>
                  <a:lnTo>
                    <a:pt x="118" y="979"/>
                  </a:lnTo>
                  <a:lnTo>
                    <a:pt x="118" y="981"/>
                  </a:lnTo>
                  <a:lnTo>
                    <a:pt x="118" y="981"/>
                  </a:lnTo>
                  <a:lnTo>
                    <a:pt x="118" y="983"/>
                  </a:lnTo>
                  <a:lnTo>
                    <a:pt x="120" y="983"/>
                  </a:lnTo>
                  <a:lnTo>
                    <a:pt x="120" y="987"/>
                  </a:lnTo>
                  <a:lnTo>
                    <a:pt x="120" y="987"/>
                  </a:lnTo>
                  <a:lnTo>
                    <a:pt x="121" y="987"/>
                  </a:lnTo>
                  <a:lnTo>
                    <a:pt x="121" y="988"/>
                  </a:lnTo>
                  <a:lnTo>
                    <a:pt x="121" y="988"/>
                  </a:lnTo>
                  <a:lnTo>
                    <a:pt x="123" y="988"/>
                  </a:lnTo>
                  <a:lnTo>
                    <a:pt x="125" y="992"/>
                  </a:lnTo>
                  <a:lnTo>
                    <a:pt x="127" y="992"/>
                  </a:lnTo>
                  <a:lnTo>
                    <a:pt x="127" y="992"/>
                  </a:lnTo>
                  <a:lnTo>
                    <a:pt x="129" y="992"/>
                  </a:lnTo>
                  <a:lnTo>
                    <a:pt x="130" y="992"/>
                  </a:lnTo>
                  <a:lnTo>
                    <a:pt x="130" y="992"/>
                  </a:lnTo>
                  <a:lnTo>
                    <a:pt x="130" y="992"/>
                  </a:lnTo>
                  <a:lnTo>
                    <a:pt x="130" y="992"/>
                  </a:lnTo>
                  <a:lnTo>
                    <a:pt x="132" y="990"/>
                  </a:lnTo>
                  <a:lnTo>
                    <a:pt x="132" y="990"/>
                  </a:lnTo>
                  <a:lnTo>
                    <a:pt x="134" y="990"/>
                  </a:lnTo>
                  <a:lnTo>
                    <a:pt x="138" y="990"/>
                  </a:lnTo>
                  <a:lnTo>
                    <a:pt x="138" y="988"/>
                  </a:lnTo>
                  <a:lnTo>
                    <a:pt x="139" y="987"/>
                  </a:lnTo>
                  <a:lnTo>
                    <a:pt x="139" y="987"/>
                  </a:lnTo>
                  <a:lnTo>
                    <a:pt x="141" y="987"/>
                  </a:lnTo>
                  <a:lnTo>
                    <a:pt x="141" y="985"/>
                  </a:lnTo>
                  <a:lnTo>
                    <a:pt x="139" y="985"/>
                  </a:lnTo>
                  <a:lnTo>
                    <a:pt x="139" y="983"/>
                  </a:lnTo>
                  <a:lnTo>
                    <a:pt x="141" y="983"/>
                  </a:lnTo>
                  <a:lnTo>
                    <a:pt x="141" y="981"/>
                  </a:lnTo>
                  <a:lnTo>
                    <a:pt x="141" y="981"/>
                  </a:lnTo>
                  <a:lnTo>
                    <a:pt x="141" y="981"/>
                  </a:lnTo>
                  <a:lnTo>
                    <a:pt x="141" y="979"/>
                  </a:lnTo>
                  <a:lnTo>
                    <a:pt x="141" y="979"/>
                  </a:lnTo>
                  <a:lnTo>
                    <a:pt x="141" y="978"/>
                  </a:lnTo>
                  <a:close/>
                  <a:moveTo>
                    <a:pt x="53" y="970"/>
                  </a:moveTo>
                  <a:lnTo>
                    <a:pt x="51" y="969"/>
                  </a:lnTo>
                  <a:lnTo>
                    <a:pt x="49" y="967"/>
                  </a:lnTo>
                  <a:lnTo>
                    <a:pt x="46" y="965"/>
                  </a:lnTo>
                  <a:lnTo>
                    <a:pt x="44" y="967"/>
                  </a:lnTo>
                  <a:lnTo>
                    <a:pt x="42" y="969"/>
                  </a:lnTo>
                  <a:lnTo>
                    <a:pt x="42" y="970"/>
                  </a:lnTo>
                  <a:lnTo>
                    <a:pt x="42" y="972"/>
                  </a:lnTo>
                  <a:lnTo>
                    <a:pt x="44" y="974"/>
                  </a:lnTo>
                  <a:lnTo>
                    <a:pt x="47" y="976"/>
                  </a:lnTo>
                  <a:lnTo>
                    <a:pt x="47" y="978"/>
                  </a:lnTo>
                  <a:lnTo>
                    <a:pt x="49" y="976"/>
                  </a:lnTo>
                  <a:lnTo>
                    <a:pt x="51" y="976"/>
                  </a:lnTo>
                  <a:lnTo>
                    <a:pt x="51" y="976"/>
                  </a:lnTo>
                  <a:lnTo>
                    <a:pt x="53" y="974"/>
                  </a:lnTo>
                  <a:lnTo>
                    <a:pt x="55" y="974"/>
                  </a:lnTo>
                  <a:lnTo>
                    <a:pt x="55" y="972"/>
                  </a:lnTo>
                  <a:lnTo>
                    <a:pt x="55" y="970"/>
                  </a:lnTo>
                  <a:lnTo>
                    <a:pt x="53" y="970"/>
                  </a:lnTo>
                  <a:close/>
                  <a:moveTo>
                    <a:pt x="100" y="947"/>
                  </a:moveTo>
                  <a:lnTo>
                    <a:pt x="94" y="945"/>
                  </a:lnTo>
                  <a:lnTo>
                    <a:pt x="94" y="945"/>
                  </a:lnTo>
                  <a:lnTo>
                    <a:pt x="92" y="947"/>
                  </a:lnTo>
                  <a:lnTo>
                    <a:pt x="92" y="947"/>
                  </a:lnTo>
                  <a:lnTo>
                    <a:pt x="91" y="947"/>
                  </a:lnTo>
                  <a:lnTo>
                    <a:pt x="91" y="947"/>
                  </a:lnTo>
                  <a:lnTo>
                    <a:pt x="91" y="949"/>
                  </a:lnTo>
                  <a:lnTo>
                    <a:pt x="89" y="949"/>
                  </a:lnTo>
                  <a:lnTo>
                    <a:pt x="89" y="949"/>
                  </a:lnTo>
                  <a:lnTo>
                    <a:pt x="89" y="950"/>
                  </a:lnTo>
                  <a:lnTo>
                    <a:pt x="89" y="950"/>
                  </a:lnTo>
                  <a:lnTo>
                    <a:pt x="87" y="950"/>
                  </a:lnTo>
                  <a:lnTo>
                    <a:pt x="85" y="952"/>
                  </a:lnTo>
                  <a:lnTo>
                    <a:pt x="83" y="954"/>
                  </a:lnTo>
                  <a:lnTo>
                    <a:pt x="83" y="954"/>
                  </a:lnTo>
                  <a:lnTo>
                    <a:pt x="82" y="954"/>
                  </a:lnTo>
                  <a:lnTo>
                    <a:pt x="82" y="954"/>
                  </a:lnTo>
                  <a:lnTo>
                    <a:pt x="80" y="956"/>
                  </a:lnTo>
                  <a:lnTo>
                    <a:pt x="80" y="956"/>
                  </a:lnTo>
                  <a:lnTo>
                    <a:pt x="78" y="956"/>
                  </a:lnTo>
                  <a:lnTo>
                    <a:pt x="76" y="956"/>
                  </a:lnTo>
                  <a:lnTo>
                    <a:pt x="74" y="956"/>
                  </a:lnTo>
                  <a:lnTo>
                    <a:pt x="73" y="956"/>
                  </a:lnTo>
                  <a:lnTo>
                    <a:pt x="73" y="956"/>
                  </a:lnTo>
                  <a:lnTo>
                    <a:pt x="71" y="958"/>
                  </a:lnTo>
                  <a:lnTo>
                    <a:pt x="71" y="958"/>
                  </a:lnTo>
                  <a:lnTo>
                    <a:pt x="69" y="958"/>
                  </a:lnTo>
                  <a:lnTo>
                    <a:pt x="69" y="956"/>
                  </a:lnTo>
                  <a:lnTo>
                    <a:pt x="67" y="956"/>
                  </a:lnTo>
                  <a:lnTo>
                    <a:pt x="65" y="958"/>
                  </a:lnTo>
                  <a:lnTo>
                    <a:pt x="64" y="958"/>
                  </a:lnTo>
                  <a:lnTo>
                    <a:pt x="64" y="960"/>
                  </a:lnTo>
                  <a:lnTo>
                    <a:pt x="65" y="961"/>
                  </a:lnTo>
                  <a:lnTo>
                    <a:pt x="67" y="961"/>
                  </a:lnTo>
                  <a:lnTo>
                    <a:pt x="67" y="963"/>
                  </a:lnTo>
                  <a:lnTo>
                    <a:pt x="67" y="963"/>
                  </a:lnTo>
                  <a:lnTo>
                    <a:pt x="67" y="967"/>
                  </a:lnTo>
                  <a:lnTo>
                    <a:pt x="67" y="967"/>
                  </a:lnTo>
                  <a:lnTo>
                    <a:pt x="69" y="967"/>
                  </a:lnTo>
                  <a:lnTo>
                    <a:pt x="69" y="969"/>
                  </a:lnTo>
                  <a:lnTo>
                    <a:pt x="71" y="970"/>
                  </a:lnTo>
                  <a:lnTo>
                    <a:pt x="71" y="970"/>
                  </a:lnTo>
                  <a:lnTo>
                    <a:pt x="73" y="972"/>
                  </a:lnTo>
                  <a:lnTo>
                    <a:pt x="73" y="974"/>
                  </a:lnTo>
                  <a:lnTo>
                    <a:pt x="73" y="974"/>
                  </a:lnTo>
                  <a:lnTo>
                    <a:pt x="73" y="976"/>
                  </a:lnTo>
                  <a:lnTo>
                    <a:pt x="73" y="976"/>
                  </a:lnTo>
                  <a:lnTo>
                    <a:pt x="74" y="976"/>
                  </a:lnTo>
                  <a:lnTo>
                    <a:pt x="74" y="976"/>
                  </a:lnTo>
                  <a:lnTo>
                    <a:pt x="74" y="976"/>
                  </a:lnTo>
                  <a:lnTo>
                    <a:pt x="74" y="978"/>
                  </a:lnTo>
                  <a:lnTo>
                    <a:pt x="74" y="978"/>
                  </a:lnTo>
                  <a:lnTo>
                    <a:pt x="76" y="978"/>
                  </a:lnTo>
                  <a:lnTo>
                    <a:pt x="76" y="978"/>
                  </a:lnTo>
                  <a:lnTo>
                    <a:pt x="78" y="978"/>
                  </a:lnTo>
                  <a:lnTo>
                    <a:pt x="80" y="976"/>
                  </a:lnTo>
                  <a:lnTo>
                    <a:pt x="82" y="976"/>
                  </a:lnTo>
                  <a:lnTo>
                    <a:pt x="83" y="976"/>
                  </a:lnTo>
                  <a:lnTo>
                    <a:pt x="83" y="974"/>
                  </a:lnTo>
                  <a:lnTo>
                    <a:pt x="87" y="972"/>
                  </a:lnTo>
                  <a:lnTo>
                    <a:pt x="87" y="970"/>
                  </a:lnTo>
                  <a:lnTo>
                    <a:pt x="89" y="969"/>
                  </a:lnTo>
                  <a:lnTo>
                    <a:pt x="89" y="969"/>
                  </a:lnTo>
                  <a:lnTo>
                    <a:pt x="89" y="967"/>
                  </a:lnTo>
                  <a:lnTo>
                    <a:pt x="91" y="963"/>
                  </a:lnTo>
                  <a:lnTo>
                    <a:pt x="91" y="961"/>
                  </a:lnTo>
                  <a:lnTo>
                    <a:pt x="91" y="961"/>
                  </a:lnTo>
                  <a:lnTo>
                    <a:pt x="91" y="961"/>
                  </a:lnTo>
                  <a:lnTo>
                    <a:pt x="91" y="960"/>
                  </a:lnTo>
                  <a:lnTo>
                    <a:pt x="91" y="960"/>
                  </a:lnTo>
                  <a:lnTo>
                    <a:pt x="91" y="958"/>
                  </a:lnTo>
                  <a:lnTo>
                    <a:pt x="91" y="958"/>
                  </a:lnTo>
                  <a:lnTo>
                    <a:pt x="92" y="956"/>
                  </a:lnTo>
                  <a:lnTo>
                    <a:pt x="92" y="956"/>
                  </a:lnTo>
                  <a:lnTo>
                    <a:pt x="92" y="956"/>
                  </a:lnTo>
                  <a:lnTo>
                    <a:pt x="94" y="954"/>
                  </a:lnTo>
                  <a:lnTo>
                    <a:pt x="96" y="952"/>
                  </a:lnTo>
                  <a:lnTo>
                    <a:pt x="98" y="952"/>
                  </a:lnTo>
                  <a:lnTo>
                    <a:pt x="98" y="950"/>
                  </a:lnTo>
                  <a:lnTo>
                    <a:pt x="102" y="949"/>
                  </a:lnTo>
                  <a:lnTo>
                    <a:pt x="103" y="947"/>
                  </a:lnTo>
                  <a:lnTo>
                    <a:pt x="103" y="945"/>
                  </a:lnTo>
                  <a:lnTo>
                    <a:pt x="102" y="945"/>
                  </a:lnTo>
                  <a:lnTo>
                    <a:pt x="100" y="947"/>
                  </a:lnTo>
                  <a:close/>
                  <a:moveTo>
                    <a:pt x="217" y="938"/>
                  </a:moveTo>
                  <a:lnTo>
                    <a:pt x="217" y="936"/>
                  </a:lnTo>
                  <a:lnTo>
                    <a:pt x="215" y="936"/>
                  </a:lnTo>
                  <a:lnTo>
                    <a:pt x="213" y="936"/>
                  </a:lnTo>
                  <a:lnTo>
                    <a:pt x="212" y="936"/>
                  </a:lnTo>
                  <a:lnTo>
                    <a:pt x="210" y="936"/>
                  </a:lnTo>
                  <a:lnTo>
                    <a:pt x="210" y="938"/>
                  </a:lnTo>
                  <a:lnTo>
                    <a:pt x="210" y="938"/>
                  </a:lnTo>
                  <a:lnTo>
                    <a:pt x="210" y="940"/>
                  </a:lnTo>
                  <a:lnTo>
                    <a:pt x="208" y="941"/>
                  </a:lnTo>
                  <a:lnTo>
                    <a:pt x="208" y="945"/>
                  </a:lnTo>
                  <a:lnTo>
                    <a:pt x="206" y="947"/>
                  </a:lnTo>
                  <a:lnTo>
                    <a:pt x="204" y="950"/>
                  </a:lnTo>
                  <a:lnTo>
                    <a:pt x="203" y="952"/>
                  </a:lnTo>
                  <a:lnTo>
                    <a:pt x="203" y="954"/>
                  </a:lnTo>
                  <a:lnTo>
                    <a:pt x="203" y="954"/>
                  </a:lnTo>
                  <a:lnTo>
                    <a:pt x="201" y="958"/>
                  </a:lnTo>
                  <a:lnTo>
                    <a:pt x="199" y="960"/>
                  </a:lnTo>
                  <a:lnTo>
                    <a:pt x="199" y="961"/>
                  </a:lnTo>
                  <a:lnTo>
                    <a:pt x="199" y="963"/>
                  </a:lnTo>
                  <a:lnTo>
                    <a:pt x="199" y="965"/>
                  </a:lnTo>
                  <a:lnTo>
                    <a:pt x="199" y="965"/>
                  </a:lnTo>
                  <a:lnTo>
                    <a:pt x="197" y="967"/>
                  </a:lnTo>
                  <a:lnTo>
                    <a:pt x="195" y="969"/>
                  </a:lnTo>
                  <a:lnTo>
                    <a:pt x="192" y="970"/>
                  </a:lnTo>
                  <a:lnTo>
                    <a:pt x="190" y="972"/>
                  </a:lnTo>
                  <a:lnTo>
                    <a:pt x="188" y="972"/>
                  </a:lnTo>
                  <a:lnTo>
                    <a:pt x="186" y="972"/>
                  </a:lnTo>
                  <a:lnTo>
                    <a:pt x="185" y="972"/>
                  </a:lnTo>
                  <a:lnTo>
                    <a:pt x="185" y="972"/>
                  </a:lnTo>
                  <a:lnTo>
                    <a:pt x="185" y="972"/>
                  </a:lnTo>
                  <a:lnTo>
                    <a:pt x="185" y="972"/>
                  </a:lnTo>
                  <a:lnTo>
                    <a:pt x="185" y="974"/>
                  </a:lnTo>
                  <a:lnTo>
                    <a:pt x="185" y="974"/>
                  </a:lnTo>
                  <a:lnTo>
                    <a:pt x="185" y="974"/>
                  </a:lnTo>
                  <a:lnTo>
                    <a:pt x="188" y="974"/>
                  </a:lnTo>
                  <a:lnTo>
                    <a:pt x="190" y="974"/>
                  </a:lnTo>
                  <a:lnTo>
                    <a:pt x="192" y="976"/>
                  </a:lnTo>
                  <a:lnTo>
                    <a:pt x="192" y="976"/>
                  </a:lnTo>
                  <a:lnTo>
                    <a:pt x="194" y="974"/>
                  </a:lnTo>
                  <a:lnTo>
                    <a:pt x="195" y="972"/>
                  </a:lnTo>
                  <a:lnTo>
                    <a:pt x="197" y="970"/>
                  </a:lnTo>
                  <a:lnTo>
                    <a:pt x="199" y="969"/>
                  </a:lnTo>
                  <a:lnTo>
                    <a:pt x="201" y="969"/>
                  </a:lnTo>
                  <a:lnTo>
                    <a:pt x="203" y="969"/>
                  </a:lnTo>
                  <a:lnTo>
                    <a:pt x="204" y="967"/>
                  </a:lnTo>
                  <a:lnTo>
                    <a:pt x="206" y="967"/>
                  </a:lnTo>
                  <a:lnTo>
                    <a:pt x="212" y="965"/>
                  </a:lnTo>
                  <a:lnTo>
                    <a:pt x="213" y="965"/>
                  </a:lnTo>
                  <a:lnTo>
                    <a:pt x="213" y="961"/>
                  </a:lnTo>
                  <a:lnTo>
                    <a:pt x="215" y="960"/>
                  </a:lnTo>
                  <a:lnTo>
                    <a:pt x="215" y="960"/>
                  </a:lnTo>
                  <a:lnTo>
                    <a:pt x="215" y="958"/>
                  </a:lnTo>
                  <a:lnTo>
                    <a:pt x="215" y="958"/>
                  </a:lnTo>
                  <a:lnTo>
                    <a:pt x="215" y="958"/>
                  </a:lnTo>
                  <a:lnTo>
                    <a:pt x="215" y="956"/>
                  </a:lnTo>
                  <a:lnTo>
                    <a:pt x="217" y="956"/>
                  </a:lnTo>
                  <a:lnTo>
                    <a:pt x="217" y="956"/>
                  </a:lnTo>
                  <a:lnTo>
                    <a:pt x="217" y="954"/>
                  </a:lnTo>
                  <a:lnTo>
                    <a:pt x="217" y="954"/>
                  </a:lnTo>
                  <a:lnTo>
                    <a:pt x="217" y="954"/>
                  </a:lnTo>
                  <a:lnTo>
                    <a:pt x="217" y="954"/>
                  </a:lnTo>
                  <a:lnTo>
                    <a:pt x="217" y="952"/>
                  </a:lnTo>
                  <a:lnTo>
                    <a:pt x="217" y="950"/>
                  </a:lnTo>
                  <a:lnTo>
                    <a:pt x="217" y="950"/>
                  </a:lnTo>
                  <a:lnTo>
                    <a:pt x="217" y="949"/>
                  </a:lnTo>
                  <a:lnTo>
                    <a:pt x="219" y="947"/>
                  </a:lnTo>
                  <a:lnTo>
                    <a:pt x="219" y="941"/>
                  </a:lnTo>
                  <a:lnTo>
                    <a:pt x="219" y="940"/>
                  </a:lnTo>
                  <a:lnTo>
                    <a:pt x="217" y="938"/>
                  </a:lnTo>
                  <a:close/>
                  <a:moveTo>
                    <a:pt x="24" y="936"/>
                  </a:moveTo>
                  <a:lnTo>
                    <a:pt x="24" y="936"/>
                  </a:lnTo>
                  <a:lnTo>
                    <a:pt x="22" y="934"/>
                  </a:lnTo>
                  <a:lnTo>
                    <a:pt x="22" y="934"/>
                  </a:lnTo>
                  <a:lnTo>
                    <a:pt x="22" y="932"/>
                  </a:lnTo>
                  <a:lnTo>
                    <a:pt x="22" y="932"/>
                  </a:lnTo>
                  <a:lnTo>
                    <a:pt x="20" y="931"/>
                  </a:lnTo>
                  <a:lnTo>
                    <a:pt x="20" y="931"/>
                  </a:lnTo>
                  <a:lnTo>
                    <a:pt x="18" y="931"/>
                  </a:lnTo>
                  <a:lnTo>
                    <a:pt x="17" y="931"/>
                  </a:lnTo>
                  <a:lnTo>
                    <a:pt x="17" y="931"/>
                  </a:lnTo>
                  <a:lnTo>
                    <a:pt x="15" y="931"/>
                  </a:lnTo>
                  <a:lnTo>
                    <a:pt x="13" y="929"/>
                  </a:lnTo>
                  <a:lnTo>
                    <a:pt x="13" y="931"/>
                  </a:lnTo>
                  <a:lnTo>
                    <a:pt x="11" y="932"/>
                  </a:lnTo>
                  <a:lnTo>
                    <a:pt x="9" y="934"/>
                  </a:lnTo>
                  <a:lnTo>
                    <a:pt x="9" y="936"/>
                  </a:lnTo>
                  <a:lnTo>
                    <a:pt x="9" y="936"/>
                  </a:lnTo>
                  <a:lnTo>
                    <a:pt x="11" y="936"/>
                  </a:lnTo>
                  <a:lnTo>
                    <a:pt x="11" y="938"/>
                  </a:lnTo>
                  <a:lnTo>
                    <a:pt x="11" y="938"/>
                  </a:lnTo>
                  <a:lnTo>
                    <a:pt x="11" y="940"/>
                  </a:lnTo>
                  <a:lnTo>
                    <a:pt x="13" y="943"/>
                  </a:lnTo>
                  <a:lnTo>
                    <a:pt x="13" y="943"/>
                  </a:lnTo>
                  <a:lnTo>
                    <a:pt x="15" y="945"/>
                  </a:lnTo>
                  <a:lnTo>
                    <a:pt x="15" y="947"/>
                  </a:lnTo>
                  <a:lnTo>
                    <a:pt x="15" y="947"/>
                  </a:lnTo>
                  <a:lnTo>
                    <a:pt x="15" y="950"/>
                  </a:lnTo>
                  <a:lnTo>
                    <a:pt x="17" y="950"/>
                  </a:lnTo>
                  <a:lnTo>
                    <a:pt x="17" y="952"/>
                  </a:lnTo>
                  <a:lnTo>
                    <a:pt x="17" y="952"/>
                  </a:lnTo>
                  <a:lnTo>
                    <a:pt x="18" y="952"/>
                  </a:lnTo>
                  <a:lnTo>
                    <a:pt x="18" y="950"/>
                  </a:lnTo>
                  <a:lnTo>
                    <a:pt x="18" y="949"/>
                  </a:lnTo>
                  <a:lnTo>
                    <a:pt x="20" y="947"/>
                  </a:lnTo>
                  <a:lnTo>
                    <a:pt x="22" y="945"/>
                  </a:lnTo>
                  <a:lnTo>
                    <a:pt x="22" y="943"/>
                  </a:lnTo>
                  <a:lnTo>
                    <a:pt x="22" y="943"/>
                  </a:lnTo>
                  <a:lnTo>
                    <a:pt x="22" y="941"/>
                  </a:lnTo>
                  <a:lnTo>
                    <a:pt x="20" y="940"/>
                  </a:lnTo>
                  <a:lnTo>
                    <a:pt x="22" y="938"/>
                  </a:lnTo>
                  <a:lnTo>
                    <a:pt x="24" y="936"/>
                  </a:lnTo>
                  <a:close/>
                  <a:moveTo>
                    <a:pt x="237" y="907"/>
                  </a:moveTo>
                  <a:lnTo>
                    <a:pt x="235" y="907"/>
                  </a:lnTo>
                  <a:lnTo>
                    <a:pt x="235" y="909"/>
                  </a:lnTo>
                  <a:lnTo>
                    <a:pt x="235" y="909"/>
                  </a:lnTo>
                  <a:lnTo>
                    <a:pt x="233" y="911"/>
                  </a:lnTo>
                  <a:lnTo>
                    <a:pt x="233" y="913"/>
                  </a:lnTo>
                  <a:lnTo>
                    <a:pt x="233" y="913"/>
                  </a:lnTo>
                  <a:lnTo>
                    <a:pt x="232" y="914"/>
                  </a:lnTo>
                  <a:lnTo>
                    <a:pt x="230" y="914"/>
                  </a:lnTo>
                  <a:lnTo>
                    <a:pt x="228" y="914"/>
                  </a:lnTo>
                  <a:lnTo>
                    <a:pt x="228" y="914"/>
                  </a:lnTo>
                  <a:lnTo>
                    <a:pt x="226" y="914"/>
                  </a:lnTo>
                  <a:lnTo>
                    <a:pt x="224" y="916"/>
                  </a:lnTo>
                  <a:lnTo>
                    <a:pt x="224" y="916"/>
                  </a:lnTo>
                  <a:lnTo>
                    <a:pt x="223" y="916"/>
                  </a:lnTo>
                  <a:lnTo>
                    <a:pt x="223" y="916"/>
                  </a:lnTo>
                  <a:lnTo>
                    <a:pt x="221" y="916"/>
                  </a:lnTo>
                  <a:lnTo>
                    <a:pt x="221" y="918"/>
                  </a:lnTo>
                  <a:lnTo>
                    <a:pt x="219" y="918"/>
                  </a:lnTo>
                  <a:lnTo>
                    <a:pt x="217" y="922"/>
                  </a:lnTo>
                  <a:lnTo>
                    <a:pt x="217" y="922"/>
                  </a:lnTo>
                  <a:lnTo>
                    <a:pt x="217" y="925"/>
                  </a:lnTo>
                  <a:lnTo>
                    <a:pt x="217" y="925"/>
                  </a:lnTo>
                  <a:lnTo>
                    <a:pt x="217" y="927"/>
                  </a:lnTo>
                  <a:lnTo>
                    <a:pt x="217" y="927"/>
                  </a:lnTo>
                  <a:lnTo>
                    <a:pt x="215" y="927"/>
                  </a:lnTo>
                  <a:lnTo>
                    <a:pt x="215" y="927"/>
                  </a:lnTo>
                  <a:lnTo>
                    <a:pt x="215" y="929"/>
                  </a:lnTo>
                  <a:lnTo>
                    <a:pt x="217" y="929"/>
                  </a:lnTo>
                  <a:lnTo>
                    <a:pt x="217" y="929"/>
                  </a:lnTo>
                  <a:lnTo>
                    <a:pt x="219" y="929"/>
                  </a:lnTo>
                  <a:lnTo>
                    <a:pt x="221" y="929"/>
                  </a:lnTo>
                  <a:lnTo>
                    <a:pt x="221" y="931"/>
                  </a:lnTo>
                  <a:lnTo>
                    <a:pt x="221" y="931"/>
                  </a:lnTo>
                  <a:lnTo>
                    <a:pt x="223" y="929"/>
                  </a:lnTo>
                  <a:lnTo>
                    <a:pt x="223" y="927"/>
                  </a:lnTo>
                  <a:lnTo>
                    <a:pt x="224" y="925"/>
                  </a:lnTo>
                  <a:lnTo>
                    <a:pt x="226" y="925"/>
                  </a:lnTo>
                  <a:lnTo>
                    <a:pt x="226" y="925"/>
                  </a:lnTo>
                  <a:lnTo>
                    <a:pt x="228" y="925"/>
                  </a:lnTo>
                  <a:lnTo>
                    <a:pt x="228" y="925"/>
                  </a:lnTo>
                  <a:lnTo>
                    <a:pt x="230" y="925"/>
                  </a:lnTo>
                  <a:lnTo>
                    <a:pt x="230" y="925"/>
                  </a:lnTo>
                  <a:lnTo>
                    <a:pt x="230" y="923"/>
                  </a:lnTo>
                  <a:lnTo>
                    <a:pt x="232" y="923"/>
                  </a:lnTo>
                  <a:lnTo>
                    <a:pt x="233" y="922"/>
                  </a:lnTo>
                  <a:lnTo>
                    <a:pt x="235" y="922"/>
                  </a:lnTo>
                  <a:lnTo>
                    <a:pt x="237" y="920"/>
                  </a:lnTo>
                  <a:lnTo>
                    <a:pt x="237" y="920"/>
                  </a:lnTo>
                  <a:lnTo>
                    <a:pt x="237" y="918"/>
                  </a:lnTo>
                  <a:lnTo>
                    <a:pt x="237" y="918"/>
                  </a:lnTo>
                  <a:lnTo>
                    <a:pt x="237" y="918"/>
                  </a:lnTo>
                  <a:lnTo>
                    <a:pt x="237" y="916"/>
                  </a:lnTo>
                  <a:lnTo>
                    <a:pt x="237" y="916"/>
                  </a:lnTo>
                  <a:lnTo>
                    <a:pt x="237" y="916"/>
                  </a:lnTo>
                  <a:lnTo>
                    <a:pt x="237" y="914"/>
                  </a:lnTo>
                  <a:lnTo>
                    <a:pt x="237" y="914"/>
                  </a:lnTo>
                  <a:lnTo>
                    <a:pt x="237" y="913"/>
                  </a:lnTo>
                  <a:lnTo>
                    <a:pt x="237" y="913"/>
                  </a:lnTo>
                  <a:lnTo>
                    <a:pt x="239" y="911"/>
                  </a:lnTo>
                  <a:lnTo>
                    <a:pt x="239" y="911"/>
                  </a:lnTo>
                  <a:lnTo>
                    <a:pt x="239" y="909"/>
                  </a:lnTo>
                  <a:lnTo>
                    <a:pt x="237" y="907"/>
                  </a:lnTo>
                  <a:lnTo>
                    <a:pt x="237" y="907"/>
                  </a:lnTo>
                  <a:close/>
                  <a:moveTo>
                    <a:pt x="235" y="907"/>
                  </a:moveTo>
                  <a:lnTo>
                    <a:pt x="235" y="905"/>
                  </a:lnTo>
                  <a:lnTo>
                    <a:pt x="235" y="905"/>
                  </a:lnTo>
                  <a:lnTo>
                    <a:pt x="233" y="905"/>
                  </a:lnTo>
                  <a:lnTo>
                    <a:pt x="233" y="905"/>
                  </a:lnTo>
                  <a:lnTo>
                    <a:pt x="233" y="907"/>
                  </a:lnTo>
                  <a:lnTo>
                    <a:pt x="233" y="907"/>
                  </a:lnTo>
                  <a:lnTo>
                    <a:pt x="233" y="909"/>
                  </a:lnTo>
                  <a:lnTo>
                    <a:pt x="233" y="909"/>
                  </a:lnTo>
                  <a:lnTo>
                    <a:pt x="235" y="907"/>
                  </a:lnTo>
                  <a:close/>
                  <a:moveTo>
                    <a:pt x="696" y="559"/>
                  </a:moveTo>
                  <a:lnTo>
                    <a:pt x="696" y="559"/>
                  </a:lnTo>
                  <a:lnTo>
                    <a:pt x="696" y="559"/>
                  </a:lnTo>
                  <a:lnTo>
                    <a:pt x="696" y="559"/>
                  </a:lnTo>
                  <a:lnTo>
                    <a:pt x="696" y="559"/>
                  </a:lnTo>
                  <a:lnTo>
                    <a:pt x="696" y="559"/>
                  </a:lnTo>
                  <a:lnTo>
                    <a:pt x="696" y="559"/>
                  </a:lnTo>
                  <a:lnTo>
                    <a:pt x="696" y="559"/>
                  </a:lnTo>
                  <a:lnTo>
                    <a:pt x="696" y="559"/>
                  </a:lnTo>
                  <a:close/>
                  <a:moveTo>
                    <a:pt x="788" y="557"/>
                  </a:moveTo>
                  <a:lnTo>
                    <a:pt x="788" y="557"/>
                  </a:lnTo>
                  <a:lnTo>
                    <a:pt x="788" y="557"/>
                  </a:lnTo>
                  <a:lnTo>
                    <a:pt x="790" y="557"/>
                  </a:lnTo>
                  <a:lnTo>
                    <a:pt x="790" y="557"/>
                  </a:lnTo>
                  <a:lnTo>
                    <a:pt x="788" y="557"/>
                  </a:lnTo>
                  <a:close/>
                  <a:moveTo>
                    <a:pt x="716" y="555"/>
                  </a:moveTo>
                  <a:lnTo>
                    <a:pt x="716" y="555"/>
                  </a:lnTo>
                  <a:lnTo>
                    <a:pt x="716" y="555"/>
                  </a:lnTo>
                  <a:lnTo>
                    <a:pt x="716" y="555"/>
                  </a:lnTo>
                  <a:lnTo>
                    <a:pt x="716" y="555"/>
                  </a:lnTo>
                  <a:lnTo>
                    <a:pt x="716" y="555"/>
                  </a:lnTo>
                  <a:close/>
                  <a:moveTo>
                    <a:pt x="716" y="555"/>
                  </a:moveTo>
                  <a:lnTo>
                    <a:pt x="716" y="555"/>
                  </a:lnTo>
                  <a:lnTo>
                    <a:pt x="716" y="555"/>
                  </a:lnTo>
                  <a:lnTo>
                    <a:pt x="716" y="555"/>
                  </a:lnTo>
                  <a:lnTo>
                    <a:pt x="716" y="555"/>
                  </a:lnTo>
                  <a:lnTo>
                    <a:pt x="716" y="555"/>
                  </a:lnTo>
                  <a:lnTo>
                    <a:pt x="716" y="555"/>
                  </a:lnTo>
                  <a:lnTo>
                    <a:pt x="716" y="555"/>
                  </a:lnTo>
                  <a:close/>
                  <a:moveTo>
                    <a:pt x="764" y="551"/>
                  </a:moveTo>
                  <a:lnTo>
                    <a:pt x="762" y="548"/>
                  </a:lnTo>
                  <a:lnTo>
                    <a:pt x="762" y="549"/>
                  </a:lnTo>
                  <a:lnTo>
                    <a:pt x="762" y="551"/>
                  </a:lnTo>
                  <a:lnTo>
                    <a:pt x="762" y="551"/>
                  </a:lnTo>
                  <a:lnTo>
                    <a:pt x="764" y="551"/>
                  </a:lnTo>
                  <a:lnTo>
                    <a:pt x="764" y="551"/>
                  </a:lnTo>
                  <a:lnTo>
                    <a:pt x="764" y="551"/>
                  </a:lnTo>
                  <a:lnTo>
                    <a:pt x="764" y="551"/>
                  </a:lnTo>
                  <a:close/>
                  <a:moveTo>
                    <a:pt x="640" y="512"/>
                  </a:moveTo>
                  <a:lnTo>
                    <a:pt x="640" y="513"/>
                  </a:lnTo>
                  <a:lnTo>
                    <a:pt x="640" y="513"/>
                  </a:lnTo>
                  <a:lnTo>
                    <a:pt x="640" y="513"/>
                  </a:lnTo>
                  <a:lnTo>
                    <a:pt x="640" y="512"/>
                  </a:lnTo>
                  <a:lnTo>
                    <a:pt x="640" y="512"/>
                  </a:lnTo>
                  <a:close/>
                  <a:moveTo>
                    <a:pt x="643" y="513"/>
                  </a:moveTo>
                  <a:lnTo>
                    <a:pt x="643" y="512"/>
                  </a:lnTo>
                  <a:lnTo>
                    <a:pt x="641" y="512"/>
                  </a:lnTo>
                  <a:lnTo>
                    <a:pt x="641" y="512"/>
                  </a:lnTo>
                  <a:lnTo>
                    <a:pt x="640" y="512"/>
                  </a:lnTo>
                  <a:lnTo>
                    <a:pt x="640" y="512"/>
                  </a:lnTo>
                  <a:lnTo>
                    <a:pt x="640" y="513"/>
                  </a:lnTo>
                  <a:lnTo>
                    <a:pt x="641" y="515"/>
                  </a:lnTo>
                  <a:lnTo>
                    <a:pt x="641" y="515"/>
                  </a:lnTo>
                  <a:lnTo>
                    <a:pt x="643" y="517"/>
                  </a:lnTo>
                  <a:lnTo>
                    <a:pt x="643" y="515"/>
                  </a:lnTo>
                  <a:lnTo>
                    <a:pt x="645" y="513"/>
                  </a:lnTo>
                  <a:lnTo>
                    <a:pt x="645" y="513"/>
                  </a:lnTo>
                  <a:lnTo>
                    <a:pt x="645" y="513"/>
                  </a:lnTo>
                  <a:lnTo>
                    <a:pt x="643" y="513"/>
                  </a:lnTo>
                  <a:close/>
                  <a:moveTo>
                    <a:pt x="873" y="401"/>
                  </a:moveTo>
                  <a:lnTo>
                    <a:pt x="874" y="403"/>
                  </a:lnTo>
                  <a:lnTo>
                    <a:pt x="873" y="401"/>
                  </a:lnTo>
                  <a:lnTo>
                    <a:pt x="873" y="400"/>
                  </a:lnTo>
                  <a:lnTo>
                    <a:pt x="874" y="398"/>
                  </a:lnTo>
                  <a:lnTo>
                    <a:pt x="873" y="398"/>
                  </a:lnTo>
                  <a:lnTo>
                    <a:pt x="873" y="398"/>
                  </a:lnTo>
                  <a:lnTo>
                    <a:pt x="873" y="398"/>
                  </a:lnTo>
                  <a:lnTo>
                    <a:pt x="873" y="396"/>
                  </a:lnTo>
                  <a:lnTo>
                    <a:pt x="873" y="396"/>
                  </a:lnTo>
                  <a:lnTo>
                    <a:pt x="873" y="396"/>
                  </a:lnTo>
                  <a:lnTo>
                    <a:pt x="873" y="396"/>
                  </a:lnTo>
                  <a:lnTo>
                    <a:pt x="873" y="398"/>
                  </a:lnTo>
                  <a:lnTo>
                    <a:pt x="873" y="400"/>
                  </a:lnTo>
                  <a:lnTo>
                    <a:pt x="873" y="401"/>
                  </a:lnTo>
                  <a:close/>
                  <a:moveTo>
                    <a:pt x="986" y="340"/>
                  </a:moveTo>
                  <a:lnTo>
                    <a:pt x="985" y="338"/>
                  </a:lnTo>
                  <a:lnTo>
                    <a:pt x="983" y="335"/>
                  </a:lnTo>
                  <a:lnTo>
                    <a:pt x="983" y="335"/>
                  </a:lnTo>
                  <a:lnTo>
                    <a:pt x="983" y="335"/>
                  </a:lnTo>
                  <a:lnTo>
                    <a:pt x="983" y="335"/>
                  </a:lnTo>
                  <a:lnTo>
                    <a:pt x="983" y="335"/>
                  </a:lnTo>
                  <a:lnTo>
                    <a:pt x="981" y="335"/>
                  </a:lnTo>
                  <a:lnTo>
                    <a:pt x="981" y="336"/>
                  </a:lnTo>
                  <a:lnTo>
                    <a:pt x="981" y="336"/>
                  </a:lnTo>
                  <a:lnTo>
                    <a:pt x="981" y="336"/>
                  </a:lnTo>
                  <a:lnTo>
                    <a:pt x="979" y="336"/>
                  </a:lnTo>
                  <a:lnTo>
                    <a:pt x="979" y="336"/>
                  </a:lnTo>
                  <a:lnTo>
                    <a:pt x="979" y="338"/>
                  </a:lnTo>
                  <a:lnTo>
                    <a:pt x="981" y="338"/>
                  </a:lnTo>
                  <a:lnTo>
                    <a:pt x="981" y="338"/>
                  </a:lnTo>
                  <a:lnTo>
                    <a:pt x="979" y="338"/>
                  </a:lnTo>
                  <a:lnTo>
                    <a:pt x="979" y="338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2"/>
                  </a:lnTo>
                  <a:lnTo>
                    <a:pt x="981" y="342"/>
                  </a:lnTo>
                  <a:lnTo>
                    <a:pt x="981" y="342"/>
                  </a:lnTo>
                  <a:lnTo>
                    <a:pt x="981" y="340"/>
                  </a:lnTo>
                  <a:lnTo>
                    <a:pt x="983" y="340"/>
                  </a:lnTo>
                  <a:lnTo>
                    <a:pt x="983" y="338"/>
                  </a:lnTo>
                  <a:lnTo>
                    <a:pt x="985" y="340"/>
                  </a:lnTo>
                  <a:lnTo>
                    <a:pt x="986" y="342"/>
                  </a:lnTo>
                  <a:lnTo>
                    <a:pt x="988" y="342"/>
                  </a:lnTo>
                  <a:lnTo>
                    <a:pt x="990" y="340"/>
                  </a:lnTo>
                  <a:lnTo>
                    <a:pt x="990" y="340"/>
                  </a:lnTo>
                  <a:lnTo>
                    <a:pt x="988" y="338"/>
                  </a:lnTo>
                  <a:lnTo>
                    <a:pt x="986" y="340"/>
                  </a:lnTo>
                  <a:close/>
                  <a:moveTo>
                    <a:pt x="990" y="313"/>
                  </a:moveTo>
                  <a:lnTo>
                    <a:pt x="990" y="313"/>
                  </a:lnTo>
                  <a:lnTo>
                    <a:pt x="990" y="313"/>
                  </a:lnTo>
                  <a:lnTo>
                    <a:pt x="990" y="313"/>
                  </a:lnTo>
                  <a:lnTo>
                    <a:pt x="990" y="311"/>
                  </a:lnTo>
                  <a:lnTo>
                    <a:pt x="988" y="311"/>
                  </a:lnTo>
                  <a:lnTo>
                    <a:pt x="988" y="311"/>
                  </a:lnTo>
                  <a:lnTo>
                    <a:pt x="986" y="311"/>
                  </a:lnTo>
                  <a:lnTo>
                    <a:pt x="986" y="311"/>
                  </a:lnTo>
                  <a:lnTo>
                    <a:pt x="986" y="311"/>
                  </a:lnTo>
                  <a:lnTo>
                    <a:pt x="985" y="311"/>
                  </a:lnTo>
                  <a:lnTo>
                    <a:pt x="985" y="311"/>
                  </a:lnTo>
                  <a:lnTo>
                    <a:pt x="983" y="313"/>
                  </a:lnTo>
                  <a:lnTo>
                    <a:pt x="981" y="313"/>
                  </a:lnTo>
                  <a:lnTo>
                    <a:pt x="981" y="313"/>
                  </a:lnTo>
                  <a:lnTo>
                    <a:pt x="979" y="313"/>
                  </a:lnTo>
                  <a:lnTo>
                    <a:pt x="979" y="315"/>
                  </a:lnTo>
                  <a:lnTo>
                    <a:pt x="979" y="313"/>
                  </a:lnTo>
                  <a:lnTo>
                    <a:pt x="977" y="313"/>
                  </a:lnTo>
                  <a:lnTo>
                    <a:pt x="977" y="315"/>
                  </a:lnTo>
                  <a:lnTo>
                    <a:pt x="976" y="315"/>
                  </a:lnTo>
                  <a:lnTo>
                    <a:pt x="976" y="316"/>
                  </a:lnTo>
                  <a:lnTo>
                    <a:pt x="976" y="316"/>
                  </a:lnTo>
                  <a:lnTo>
                    <a:pt x="976" y="318"/>
                  </a:lnTo>
                  <a:lnTo>
                    <a:pt x="976" y="320"/>
                  </a:lnTo>
                  <a:lnTo>
                    <a:pt x="974" y="320"/>
                  </a:lnTo>
                  <a:lnTo>
                    <a:pt x="974" y="320"/>
                  </a:lnTo>
                  <a:lnTo>
                    <a:pt x="974" y="322"/>
                  </a:lnTo>
                  <a:lnTo>
                    <a:pt x="972" y="320"/>
                  </a:lnTo>
                  <a:lnTo>
                    <a:pt x="972" y="320"/>
                  </a:lnTo>
                  <a:lnTo>
                    <a:pt x="972" y="322"/>
                  </a:lnTo>
                  <a:lnTo>
                    <a:pt x="972" y="322"/>
                  </a:lnTo>
                  <a:lnTo>
                    <a:pt x="972" y="322"/>
                  </a:lnTo>
                  <a:lnTo>
                    <a:pt x="972" y="324"/>
                  </a:lnTo>
                  <a:lnTo>
                    <a:pt x="970" y="325"/>
                  </a:lnTo>
                  <a:lnTo>
                    <a:pt x="972" y="325"/>
                  </a:lnTo>
                  <a:lnTo>
                    <a:pt x="972" y="327"/>
                  </a:lnTo>
                  <a:lnTo>
                    <a:pt x="974" y="327"/>
                  </a:lnTo>
                  <a:lnTo>
                    <a:pt x="974" y="327"/>
                  </a:lnTo>
                  <a:lnTo>
                    <a:pt x="974" y="327"/>
                  </a:lnTo>
                  <a:lnTo>
                    <a:pt x="976" y="327"/>
                  </a:lnTo>
                  <a:lnTo>
                    <a:pt x="976" y="327"/>
                  </a:lnTo>
                  <a:lnTo>
                    <a:pt x="976" y="327"/>
                  </a:lnTo>
                  <a:lnTo>
                    <a:pt x="976" y="327"/>
                  </a:lnTo>
                  <a:lnTo>
                    <a:pt x="977" y="327"/>
                  </a:lnTo>
                  <a:lnTo>
                    <a:pt x="977" y="327"/>
                  </a:lnTo>
                  <a:lnTo>
                    <a:pt x="977" y="327"/>
                  </a:lnTo>
                  <a:lnTo>
                    <a:pt x="979" y="327"/>
                  </a:lnTo>
                  <a:lnTo>
                    <a:pt x="979" y="329"/>
                  </a:lnTo>
                  <a:lnTo>
                    <a:pt x="981" y="329"/>
                  </a:lnTo>
                  <a:lnTo>
                    <a:pt x="981" y="327"/>
                  </a:lnTo>
                  <a:lnTo>
                    <a:pt x="981" y="325"/>
                  </a:lnTo>
                  <a:lnTo>
                    <a:pt x="981" y="325"/>
                  </a:lnTo>
                  <a:lnTo>
                    <a:pt x="983" y="324"/>
                  </a:lnTo>
                  <a:lnTo>
                    <a:pt x="983" y="324"/>
                  </a:lnTo>
                  <a:lnTo>
                    <a:pt x="983" y="325"/>
                  </a:lnTo>
                  <a:lnTo>
                    <a:pt x="983" y="325"/>
                  </a:lnTo>
                  <a:lnTo>
                    <a:pt x="985" y="324"/>
                  </a:lnTo>
                  <a:lnTo>
                    <a:pt x="985" y="324"/>
                  </a:lnTo>
                  <a:lnTo>
                    <a:pt x="986" y="324"/>
                  </a:lnTo>
                  <a:lnTo>
                    <a:pt x="988" y="320"/>
                  </a:lnTo>
                  <a:lnTo>
                    <a:pt x="990" y="320"/>
                  </a:lnTo>
                  <a:lnTo>
                    <a:pt x="990" y="318"/>
                  </a:lnTo>
                  <a:lnTo>
                    <a:pt x="990" y="318"/>
                  </a:lnTo>
                  <a:lnTo>
                    <a:pt x="990" y="316"/>
                  </a:lnTo>
                  <a:lnTo>
                    <a:pt x="990" y="316"/>
                  </a:lnTo>
                  <a:lnTo>
                    <a:pt x="992" y="316"/>
                  </a:lnTo>
                  <a:lnTo>
                    <a:pt x="990" y="315"/>
                  </a:lnTo>
                  <a:lnTo>
                    <a:pt x="990" y="313"/>
                  </a:lnTo>
                  <a:close/>
                  <a:moveTo>
                    <a:pt x="1057" y="307"/>
                  </a:moveTo>
                  <a:lnTo>
                    <a:pt x="1057" y="309"/>
                  </a:lnTo>
                  <a:lnTo>
                    <a:pt x="1057" y="311"/>
                  </a:lnTo>
                  <a:lnTo>
                    <a:pt x="1059" y="311"/>
                  </a:lnTo>
                  <a:lnTo>
                    <a:pt x="1060" y="309"/>
                  </a:lnTo>
                  <a:lnTo>
                    <a:pt x="1060" y="307"/>
                  </a:lnTo>
                  <a:lnTo>
                    <a:pt x="1060" y="307"/>
                  </a:lnTo>
                  <a:lnTo>
                    <a:pt x="1057" y="307"/>
                  </a:lnTo>
                  <a:close/>
                  <a:moveTo>
                    <a:pt x="1082" y="269"/>
                  </a:moveTo>
                  <a:lnTo>
                    <a:pt x="1080" y="268"/>
                  </a:lnTo>
                  <a:lnTo>
                    <a:pt x="1078" y="268"/>
                  </a:lnTo>
                  <a:lnTo>
                    <a:pt x="1077" y="268"/>
                  </a:lnTo>
                  <a:lnTo>
                    <a:pt x="1077" y="269"/>
                  </a:lnTo>
                  <a:lnTo>
                    <a:pt x="1075" y="269"/>
                  </a:lnTo>
                  <a:lnTo>
                    <a:pt x="1071" y="269"/>
                  </a:lnTo>
                  <a:lnTo>
                    <a:pt x="1069" y="269"/>
                  </a:lnTo>
                  <a:lnTo>
                    <a:pt x="1069" y="269"/>
                  </a:lnTo>
                  <a:lnTo>
                    <a:pt x="1068" y="268"/>
                  </a:lnTo>
                  <a:lnTo>
                    <a:pt x="1068" y="266"/>
                  </a:lnTo>
                  <a:lnTo>
                    <a:pt x="1068" y="264"/>
                  </a:lnTo>
                  <a:lnTo>
                    <a:pt x="1068" y="264"/>
                  </a:lnTo>
                  <a:lnTo>
                    <a:pt x="1069" y="264"/>
                  </a:lnTo>
                  <a:lnTo>
                    <a:pt x="1069" y="264"/>
                  </a:lnTo>
                  <a:lnTo>
                    <a:pt x="1069" y="264"/>
                  </a:lnTo>
                  <a:lnTo>
                    <a:pt x="1069" y="262"/>
                  </a:lnTo>
                  <a:lnTo>
                    <a:pt x="1069" y="262"/>
                  </a:lnTo>
                  <a:lnTo>
                    <a:pt x="1069" y="262"/>
                  </a:lnTo>
                  <a:lnTo>
                    <a:pt x="1069" y="262"/>
                  </a:lnTo>
                  <a:lnTo>
                    <a:pt x="1071" y="260"/>
                  </a:lnTo>
                  <a:lnTo>
                    <a:pt x="1071" y="260"/>
                  </a:lnTo>
                  <a:lnTo>
                    <a:pt x="1068" y="262"/>
                  </a:lnTo>
                  <a:lnTo>
                    <a:pt x="1066" y="262"/>
                  </a:lnTo>
                  <a:lnTo>
                    <a:pt x="1066" y="260"/>
                  </a:lnTo>
                  <a:lnTo>
                    <a:pt x="1066" y="260"/>
                  </a:lnTo>
                  <a:lnTo>
                    <a:pt x="1066" y="260"/>
                  </a:lnTo>
                  <a:lnTo>
                    <a:pt x="1068" y="259"/>
                  </a:lnTo>
                  <a:lnTo>
                    <a:pt x="1068" y="259"/>
                  </a:lnTo>
                  <a:lnTo>
                    <a:pt x="1068" y="259"/>
                  </a:lnTo>
                  <a:lnTo>
                    <a:pt x="1069" y="259"/>
                  </a:lnTo>
                  <a:lnTo>
                    <a:pt x="1071" y="257"/>
                  </a:lnTo>
                  <a:lnTo>
                    <a:pt x="1071" y="257"/>
                  </a:lnTo>
                  <a:lnTo>
                    <a:pt x="1071" y="257"/>
                  </a:lnTo>
                  <a:lnTo>
                    <a:pt x="1071" y="257"/>
                  </a:lnTo>
                  <a:lnTo>
                    <a:pt x="1069" y="257"/>
                  </a:lnTo>
                  <a:lnTo>
                    <a:pt x="1069" y="257"/>
                  </a:lnTo>
                  <a:lnTo>
                    <a:pt x="1064" y="259"/>
                  </a:lnTo>
                  <a:lnTo>
                    <a:pt x="1062" y="259"/>
                  </a:lnTo>
                  <a:lnTo>
                    <a:pt x="1059" y="259"/>
                  </a:lnTo>
                  <a:lnTo>
                    <a:pt x="1057" y="259"/>
                  </a:lnTo>
                  <a:lnTo>
                    <a:pt x="1055" y="262"/>
                  </a:lnTo>
                  <a:lnTo>
                    <a:pt x="1053" y="262"/>
                  </a:lnTo>
                  <a:lnTo>
                    <a:pt x="1051" y="262"/>
                  </a:lnTo>
                  <a:lnTo>
                    <a:pt x="1051" y="262"/>
                  </a:lnTo>
                  <a:lnTo>
                    <a:pt x="1051" y="262"/>
                  </a:lnTo>
                  <a:lnTo>
                    <a:pt x="1051" y="262"/>
                  </a:lnTo>
                  <a:lnTo>
                    <a:pt x="1050" y="262"/>
                  </a:lnTo>
                  <a:lnTo>
                    <a:pt x="1050" y="264"/>
                  </a:lnTo>
                  <a:lnTo>
                    <a:pt x="1050" y="264"/>
                  </a:lnTo>
                  <a:lnTo>
                    <a:pt x="1048" y="264"/>
                  </a:lnTo>
                  <a:lnTo>
                    <a:pt x="1048" y="264"/>
                  </a:lnTo>
                  <a:lnTo>
                    <a:pt x="1046" y="266"/>
                  </a:lnTo>
                  <a:lnTo>
                    <a:pt x="1046" y="266"/>
                  </a:lnTo>
                  <a:lnTo>
                    <a:pt x="1046" y="266"/>
                  </a:lnTo>
                  <a:lnTo>
                    <a:pt x="1044" y="268"/>
                  </a:lnTo>
                  <a:lnTo>
                    <a:pt x="1044" y="268"/>
                  </a:lnTo>
                  <a:lnTo>
                    <a:pt x="1044" y="268"/>
                  </a:lnTo>
                  <a:lnTo>
                    <a:pt x="1042" y="269"/>
                  </a:lnTo>
                  <a:lnTo>
                    <a:pt x="1042" y="269"/>
                  </a:lnTo>
                  <a:lnTo>
                    <a:pt x="1042" y="269"/>
                  </a:lnTo>
                  <a:lnTo>
                    <a:pt x="1042" y="269"/>
                  </a:lnTo>
                  <a:lnTo>
                    <a:pt x="1042" y="269"/>
                  </a:lnTo>
                  <a:lnTo>
                    <a:pt x="1042" y="269"/>
                  </a:lnTo>
                  <a:lnTo>
                    <a:pt x="1041" y="269"/>
                  </a:lnTo>
                  <a:lnTo>
                    <a:pt x="1041" y="271"/>
                  </a:lnTo>
                  <a:lnTo>
                    <a:pt x="1039" y="273"/>
                  </a:lnTo>
                  <a:lnTo>
                    <a:pt x="1039" y="273"/>
                  </a:lnTo>
                  <a:lnTo>
                    <a:pt x="1037" y="273"/>
                  </a:lnTo>
                  <a:lnTo>
                    <a:pt x="1037" y="273"/>
                  </a:lnTo>
                  <a:lnTo>
                    <a:pt x="1033" y="277"/>
                  </a:lnTo>
                  <a:lnTo>
                    <a:pt x="1033" y="277"/>
                  </a:lnTo>
                  <a:lnTo>
                    <a:pt x="1032" y="277"/>
                  </a:lnTo>
                  <a:lnTo>
                    <a:pt x="1028" y="279"/>
                  </a:lnTo>
                  <a:lnTo>
                    <a:pt x="1028" y="280"/>
                  </a:lnTo>
                  <a:lnTo>
                    <a:pt x="1028" y="282"/>
                  </a:lnTo>
                  <a:lnTo>
                    <a:pt x="1028" y="282"/>
                  </a:lnTo>
                  <a:lnTo>
                    <a:pt x="1030" y="284"/>
                  </a:lnTo>
                  <a:lnTo>
                    <a:pt x="1030" y="284"/>
                  </a:lnTo>
                  <a:lnTo>
                    <a:pt x="1030" y="284"/>
                  </a:lnTo>
                  <a:lnTo>
                    <a:pt x="1030" y="284"/>
                  </a:lnTo>
                  <a:lnTo>
                    <a:pt x="1032" y="284"/>
                  </a:lnTo>
                  <a:lnTo>
                    <a:pt x="1032" y="284"/>
                  </a:lnTo>
                  <a:lnTo>
                    <a:pt x="1032" y="284"/>
                  </a:lnTo>
                  <a:lnTo>
                    <a:pt x="1033" y="284"/>
                  </a:lnTo>
                  <a:lnTo>
                    <a:pt x="1033" y="284"/>
                  </a:lnTo>
                  <a:lnTo>
                    <a:pt x="1035" y="286"/>
                  </a:lnTo>
                  <a:lnTo>
                    <a:pt x="1033" y="286"/>
                  </a:lnTo>
                  <a:lnTo>
                    <a:pt x="1033" y="286"/>
                  </a:lnTo>
                  <a:lnTo>
                    <a:pt x="1033" y="286"/>
                  </a:lnTo>
                  <a:lnTo>
                    <a:pt x="1033" y="286"/>
                  </a:lnTo>
                  <a:lnTo>
                    <a:pt x="1035" y="288"/>
                  </a:lnTo>
                  <a:lnTo>
                    <a:pt x="1037" y="288"/>
                  </a:lnTo>
                  <a:lnTo>
                    <a:pt x="1037" y="288"/>
                  </a:lnTo>
                  <a:lnTo>
                    <a:pt x="1039" y="286"/>
                  </a:lnTo>
                  <a:lnTo>
                    <a:pt x="1039" y="284"/>
                  </a:lnTo>
                  <a:lnTo>
                    <a:pt x="1042" y="282"/>
                  </a:lnTo>
                  <a:lnTo>
                    <a:pt x="1042" y="282"/>
                  </a:lnTo>
                  <a:lnTo>
                    <a:pt x="1044" y="282"/>
                  </a:lnTo>
                  <a:lnTo>
                    <a:pt x="1046" y="284"/>
                  </a:lnTo>
                  <a:lnTo>
                    <a:pt x="1048" y="286"/>
                  </a:lnTo>
                  <a:lnTo>
                    <a:pt x="1048" y="286"/>
                  </a:lnTo>
                  <a:lnTo>
                    <a:pt x="1048" y="288"/>
                  </a:lnTo>
                  <a:lnTo>
                    <a:pt x="1048" y="289"/>
                  </a:lnTo>
                  <a:lnTo>
                    <a:pt x="1048" y="289"/>
                  </a:lnTo>
                  <a:lnTo>
                    <a:pt x="1048" y="293"/>
                  </a:lnTo>
                  <a:lnTo>
                    <a:pt x="1050" y="295"/>
                  </a:lnTo>
                  <a:lnTo>
                    <a:pt x="1051" y="295"/>
                  </a:lnTo>
                  <a:lnTo>
                    <a:pt x="1057" y="295"/>
                  </a:lnTo>
                  <a:lnTo>
                    <a:pt x="1057" y="295"/>
                  </a:lnTo>
                  <a:lnTo>
                    <a:pt x="1057" y="295"/>
                  </a:lnTo>
                  <a:lnTo>
                    <a:pt x="1059" y="295"/>
                  </a:lnTo>
                  <a:lnTo>
                    <a:pt x="1059" y="295"/>
                  </a:lnTo>
                  <a:lnTo>
                    <a:pt x="1059" y="297"/>
                  </a:lnTo>
                  <a:lnTo>
                    <a:pt x="1060" y="297"/>
                  </a:lnTo>
                  <a:lnTo>
                    <a:pt x="1060" y="297"/>
                  </a:lnTo>
                  <a:lnTo>
                    <a:pt x="1060" y="297"/>
                  </a:lnTo>
                  <a:lnTo>
                    <a:pt x="1060" y="298"/>
                  </a:lnTo>
                  <a:lnTo>
                    <a:pt x="1060" y="298"/>
                  </a:lnTo>
                  <a:lnTo>
                    <a:pt x="1060" y="298"/>
                  </a:lnTo>
                  <a:lnTo>
                    <a:pt x="1062" y="298"/>
                  </a:lnTo>
                  <a:lnTo>
                    <a:pt x="1062" y="298"/>
                  </a:lnTo>
                  <a:lnTo>
                    <a:pt x="1064" y="300"/>
                  </a:lnTo>
                  <a:lnTo>
                    <a:pt x="1064" y="302"/>
                  </a:lnTo>
                  <a:lnTo>
                    <a:pt x="1064" y="300"/>
                  </a:lnTo>
                  <a:lnTo>
                    <a:pt x="1064" y="300"/>
                  </a:lnTo>
                  <a:lnTo>
                    <a:pt x="1064" y="300"/>
                  </a:lnTo>
                  <a:lnTo>
                    <a:pt x="1066" y="300"/>
                  </a:lnTo>
                  <a:lnTo>
                    <a:pt x="1068" y="298"/>
                  </a:lnTo>
                  <a:lnTo>
                    <a:pt x="1071" y="295"/>
                  </a:lnTo>
                  <a:lnTo>
                    <a:pt x="1073" y="293"/>
                  </a:lnTo>
                  <a:lnTo>
                    <a:pt x="1073" y="291"/>
                  </a:lnTo>
                  <a:lnTo>
                    <a:pt x="1075" y="291"/>
                  </a:lnTo>
                  <a:lnTo>
                    <a:pt x="1075" y="291"/>
                  </a:lnTo>
                  <a:lnTo>
                    <a:pt x="1075" y="288"/>
                  </a:lnTo>
                  <a:lnTo>
                    <a:pt x="1077" y="284"/>
                  </a:lnTo>
                  <a:lnTo>
                    <a:pt x="1078" y="282"/>
                  </a:lnTo>
                  <a:lnTo>
                    <a:pt x="1080" y="280"/>
                  </a:lnTo>
                  <a:lnTo>
                    <a:pt x="1080" y="279"/>
                  </a:lnTo>
                  <a:lnTo>
                    <a:pt x="1080" y="279"/>
                  </a:lnTo>
                  <a:lnTo>
                    <a:pt x="1080" y="279"/>
                  </a:lnTo>
                  <a:lnTo>
                    <a:pt x="1082" y="277"/>
                  </a:lnTo>
                  <a:lnTo>
                    <a:pt x="1082" y="277"/>
                  </a:lnTo>
                  <a:lnTo>
                    <a:pt x="1084" y="277"/>
                  </a:lnTo>
                  <a:lnTo>
                    <a:pt x="1084" y="275"/>
                  </a:lnTo>
                  <a:lnTo>
                    <a:pt x="1084" y="273"/>
                  </a:lnTo>
                  <a:lnTo>
                    <a:pt x="1084" y="273"/>
                  </a:lnTo>
                  <a:lnTo>
                    <a:pt x="1084" y="273"/>
                  </a:lnTo>
                  <a:lnTo>
                    <a:pt x="1084" y="273"/>
                  </a:lnTo>
                  <a:lnTo>
                    <a:pt x="1084" y="271"/>
                  </a:lnTo>
                  <a:lnTo>
                    <a:pt x="1084" y="271"/>
                  </a:lnTo>
                  <a:lnTo>
                    <a:pt x="1084" y="271"/>
                  </a:lnTo>
                  <a:lnTo>
                    <a:pt x="1084" y="269"/>
                  </a:lnTo>
                  <a:lnTo>
                    <a:pt x="1082" y="269"/>
                  </a:lnTo>
                  <a:close/>
                  <a:moveTo>
                    <a:pt x="1127" y="262"/>
                  </a:moveTo>
                  <a:lnTo>
                    <a:pt x="1125" y="260"/>
                  </a:lnTo>
                  <a:lnTo>
                    <a:pt x="1125" y="259"/>
                  </a:lnTo>
                  <a:lnTo>
                    <a:pt x="1125" y="257"/>
                  </a:lnTo>
                  <a:lnTo>
                    <a:pt x="1125" y="257"/>
                  </a:lnTo>
                  <a:lnTo>
                    <a:pt x="1124" y="257"/>
                  </a:lnTo>
                  <a:lnTo>
                    <a:pt x="1124" y="257"/>
                  </a:lnTo>
                  <a:lnTo>
                    <a:pt x="1124" y="257"/>
                  </a:lnTo>
                  <a:lnTo>
                    <a:pt x="1124" y="255"/>
                  </a:lnTo>
                  <a:lnTo>
                    <a:pt x="1124" y="255"/>
                  </a:lnTo>
                  <a:lnTo>
                    <a:pt x="1124" y="253"/>
                  </a:lnTo>
                  <a:lnTo>
                    <a:pt x="1124" y="253"/>
                  </a:lnTo>
                  <a:lnTo>
                    <a:pt x="1122" y="253"/>
                  </a:lnTo>
                  <a:lnTo>
                    <a:pt x="1122" y="253"/>
                  </a:lnTo>
                  <a:lnTo>
                    <a:pt x="1122" y="253"/>
                  </a:lnTo>
                  <a:lnTo>
                    <a:pt x="1122" y="253"/>
                  </a:lnTo>
                  <a:lnTo>
                    <a:pt x="1120" y="251"/>
                  </a:lnTo>
                  <a:lnTo>
                    <a:pt x="1120" y="251"/>
                  </a:lnTo>
                  <a:lnTo>
                    <a:pt x="1120" y="251"/>
                  </a:lnTo>
                  <a:lnTo>
                    <a:pt x="1120" y="250"/>
                  </a:lnTo>
                  <a:lnTo>
                    <a:pt x="1118" y="250"/>
                  </a:lnTo>
                  <a:lnTo>
                    <a:pt x="1118" y="250"/>
                  </a:lnTo>
                  <a:lnTo>
                    <a:pt x="1118" y="251"/>
                  </a:lnTo>
                  <a:lnTo>
                    <a:pt x="1118" y="251"/>
                  </a:lnTo>
                  <a:lnTo>
                    <a:pt x="1118" y="251"/>
                  </a:lnTo>
                  <a:lnTo>
                    <a:pt x="1118" y="251"/>
                  </a:lnTo>
                  <a:lnTo>
                    <a:pt x="1118" y="251"/>
                  </a:lnTo>
                  <a:lnTo>
                    <a:pt x="1118" y="251"/>
                  </a:lnTo>
                  <a:lnTo>
                    <a:pt x="1118" y="251"/>
                  </a:lnTo>
                  <a:lnTo>
                    <a:pt x="1118" y="251"/>
                  </a:lnTo>
                  <a:lnTo>
                    <a:pt x="1116" y="250"/>
                  </a:lnTo>
                  <a:lnTo>
                    <a:pt x="1116" y="250"/>
                  </a:lnTo>
                  <a:lnTo>
                    <a:pt x="1116" y="250"/>
                  </a:lnTo>
                  <a:lnTo>
                    <a:pt x="1115" y="250"/>
                  </a:lnTo>
                  <a:lnTo>
                    <a:pt x="1115" y="250"/>
                  </a:lnTo>
                  <a:lnTo>
                    <a:pt x="1115" y="250"/>
                  </a:lnTo>
                  <a:lnTo>
                    <a:pt x="1113" y="250"/>
                  </a:lnTo>
                  <a:lnTo>
                    <a:pt x="1111" y="250"/>
                  </a:lnTo>
                  <a:lnTo>
                    <a:pt x="1106" y="251"/>
                  </a:lnTo>
                  <a:lnTo>
                    <a:pt x="1106" y="250"/>
                  </a:lnTo>
                  <a:lnTo>
                    <a:pt x="1102" y="251"/>
                  </a:lnTo>
                  <a:lnTo>
                    <a:pt x="1100" y="251"/>
                  </a:lnTo>
                  <a:lnTo>
                    <a:pt x="1100" y="253"/>
                  </a:lnTo>
                  <a:lnTo>
                    <a:pt x="1100" y="253"/>
                  </a:lnTo>
                  <a:lnTo>
                    <a:pt x="1100" y="253"/>
                  </a:lnTo>
                  <a:lnTo>
                    <a:pt x="1102" y="253"/>
                  </a:lnTo>
                  <a:lnTo>
                    <a:pt x="1102" y="255"/>
                  </a:lnTo>
                  <a:lnTo>
                    <a:pt x="1102" y="255"/>
                  </a:lnTo>
                  <a:lnTo>
                    <a:pt x="1104" y="255"/>
                  </a:lnTo>
                  <a:lnTo>
                    <a:pt x="1102" y="255"/>
                  </a:lnTo>
                  <a:lnTo>
                    <a:pt x="1102" y="257"/>
                  </a:lnTo>
                  <a:lnTo>
                    <a:pt x="1102" y="257"/>
                  </a:lnTo>
                  <a:lnTo>
                    <a:pt x="1102" y="259"/>
                  </a:lnTo>
                  <a:lnTo>
                    <a:pt x="1104" y="259"/>
                  </a:lnTo>
                  <a:lnTo>
                    <a:pt x="1107" y="259"/>
                  </a:lnTo>
                  <a:lnTo>
                    <a:pt x="1109" y="259"/>
                  </a:lnTo>
                  <a:lnTo>
                    <a:pt x="1111" y="259"/>
                  </a:lnTo>
                  <a:lnTo>
                    <a:pt x="1120" y="264"/>
                  </a:lnTo>
                  <a:lnTo>
                    <a:pt x="1124" y="266"/>
                  </a:lnTo>
                  <a:lnTo>
                    <a:pt x="1125" y="266"/>
                  </a:lnTo>
                  <a:lnTo>
                    <a:pt x="1125" y="260"/>
                  </a:lnTo>
                  <a:lnTo>
                    <a:pt x="1125" y="262"/>
                  </a:lnTo>
                  <a:lnTo>
                    <a:pt x="1127" y="262"/>
                  </a:lnTo>
                  <a:lnTo>
                    <a:pt x="1127" y="262"/>
                  </a:lnTo>
                  <a:lnTo>
                    <a:pt x="1127" y="262"/>
                  </a:lnTo>
                  <a:lnTo>
                    <a:pt x="1127" y="262"/>
                  </a:lnTo>
                  <a:lnTo>
                    <a:pt x="1127" y="262"/>
                  </a:lnTo>
                  <a:close/>
                  <a:moveTo>
                    <a:pt x="1008" y="92"/>
                  </a:moveTo>
                  <a:lnTo>
                    <a:pt x="1010" y="92"/>
                  </a:lnTo>
                  <a:lnTo>
                    <a:pt x="1010" y="92"/>
                  </a:lnTo>
                  <a:lnTo>
                    <a:pt x="1010" y="92"/>
                  </a:lnTo>
                  <a:lnTo>
                    <a:pt x="1010" y="92"/>
                  </a:lnTo>
                  <a:lnTo>
                    <a:pt x="1010" y="91"/>
                  </a:lnTo>
                  <a:lnTo>
                    <a:pt x="1010" y="89"/>
                  </a:lnTo>
                  <a:lnTo>
                    <a:pt x="1008" y="89"/>
                  </a:lnTo>
                  <a:lnTo>
                    <a:pt x="1008" y="89"/>
                  </a:lnTo>
                  <a:lnTo>
                    <a:pt x="1008" y="91"/>
                  </a:lnTo>
                  <a:lnTo>
                    <a:pt x="1008" y="91"/>
                  </a:lnTo>
                  <a:lnTo>
                    <a:pt x="1008" y="92"/>
                  </a:lnTo>
                  <a:close/>
                  <a:moveTo>
                    <a:pt x="1032" y="154"/>
                  </a:moveTo>
                  <a:lnTo>
                    <a:pt x="1033" y="152"/>
                  </a:lnTo>
                  <a:lnTo>
                    <a:pt x="1042" y="148"/>
                  </a:lnTo>
                  <a:lnTo>
                    <a:pt x="1050" y="145"/>
                  </a:lnTo>
                  <a:lnTo>
                    <a:pt x="1050" y="143"/>
                  </a:lnTo>
                  <a:lnTo>
                    <a:pt x="1051" y="143"/>
                  </a:lnTo>
                  <a:lnTo>
                    <a:pt x="1051" y="143"/>
                  </a:lnTo>
                  <a:lnTo>
                    <a:pt x="1051" y="143"/>
                  </a:lnTo>
                  <a:lnTo>
                    <a:pt x="1051" y="143"/>
                  </a:lnTo>
                  <a:lnTo>
                    <a:pt x="1051" y="143"/>
                  </a:lnTo>
                  <a:lnTo>
                    <a:pt x="1053" y="143"/>
                  </a:lnTo>
                  <a:lnTo>
                    <a:pt x="1053" y="141"/>
                  </a:lnTo>
                  <a:lnTo>
                    <a:pt x="1055" y="141"/>
                  </a:lnTo>
                  <a:lnTo>
                    <a:pt x="1055" y="141"/>
                  </a:lnTo>
                  <a:lnTo>
                    <a:pt x="1057" y="141"/>
                  </a:lnTo>
                  <a:lnTo>
                    <a:pt x="1059" y="139"/>
                  </a:lnTo>
                  <a:lnTo>
                    <a:pt x="1062" y="136"/>
                  </a:lnTo>
                  <a:lnTo>
                    <a:pt x="1064" y="136"/>
                  </a:lnTo>
                  <a:lnTo>
                    <a:pt x="1064" y="134"/>
                  </a:lnTo>
                  <a:lnTo>
                    <a:pt x="1066" y="132"/>
                  </a:lnTo>
                  <a:lnTo>
                    <a:pt x="1068" y="132"/>
                  </a:lnTo>
                  <a:lnTo>
                    <a:pt x="1069" y="130"/>
                  </a:lnTo>
                  <a:lnTo>
                    <a:pt x="1069" y="129"/>
                  </a:lnTo>
                  <a:lnTo>
                    <a:pt x="1071" y="127"/>
                  </a:lnTo>
                  <a:lnTo>
                    <a:pt x="1071" y="125"/>
                  </a:lnTo>
                  <a:lnTo>
                    <a:pt x="1073" y="123"/>
                  </a:lnTo>
                  <a:lnTo>
                    <a:pt x="1071" y="123"/>
                  </a:lnTo>
                  <a:lnTo>
                    <a:pt x="1071" y="123"/>
                  </a:lnTo>
                  <a:lnTo>
                    <a:pt x="1071" y="123"/>
                  </a:lnTo>
                  <a:lnTo>
                    <a:pt x="1071" y="121"/>
                  </a:lnTo>
                  <a:lnTo>
                    <a:pt x="1071" y="121"/>
                  </a:lnTo>
                  <a:lnTo>
                    <a:pt x="1069" y="120"/>
                  </a:lnTo>
                  <a:lnTo>
                    <a:pt x="1071" y="118"/>
                  </a:lnTo>
                  <a:lnTo>
                    <a:pt x="1071" y="118"/>
                  </a:lnTo>
                  <a:lnTo>
                    <a:pt x="1071" y="118"/>
                  </a:lnTo>
                  <a:lnTo>
                    <a:pt x="1069" y="116"/>
                  </a:lnTo>
                  <a:lnTo>
                    <a:pt x="1069" y="114"/>
                  </a:lnTo>
                  <a:lnTo>
                    <a:pt x="1068" y="112"/>
                  </a:lnTo>
                  <a:lnTo>
                    <a:pt x="1066" y="112"/>
                  </a:lnTo>
                  <a:lnTo>
                    <a:pt x="1066" y="111"/>
                  </a:lnTo>
                  <a:lnTo>
                    <a:pt x="1066" y="109"/>
                  </a:lnTo>
                  <a:lnTo>
                    <a:pt x="1066" y="107"/>
                  </a:lnTo>
                  <a:lnTo>
                    <a:pt x="1068" y="105"/>
                  </a:lnTo>
                  <a:lnTo>
                    <a:pt x="1068" y="105"/>
                  </a:lnTo>
                  <a:lnTo>
                    <a:pt x="1069" y="105"/>
                  </a:lnTo>
                  <a:lnTo>
                    <a:pt x="1069" y="105"/>
                  </a:lnTo>
                  <a:lnTo>
                    <a:pt x="1071" y="105"/>
                  </a:lnTo>
                  <a:lnTo>
                    <a:pt x="1073" y="105"/>
                  </a:lnTo>
                  <a:lnTo>
                    <a:pt x="1073" y="105"/>
                  </a:lnTo>
                  <a:lnTo>
                    <a:pt x="1075" y="105"/>
                  </a:lnTo>
                  <a:lnTo>
                    <a:pt x="1075" y="105"/>
                  </a:lnTo>
                  <a:lnTo>
                    <a:pt x="1075" y="103"/>
                  </a:lnTo>
                  <a:lnTo>
                    <a:pt x="1075" y="103"/>
                  </a:lnTo>
                  <a:lnTo>
                    <a:pt x="1075" y="102"/>
                  </a:lnTo>
                  <a:lnTo>
                    <a:pt x="1077" y="100"/>
                  </a:lnTo>
                  <a:lnTo>
                    <a:pt x="1075" y="100"/>
                  </a:lnTo>
                  <a:lnTo>
                    <a:pt x="1075" y="100"/>
                  </a:lnTo>
                  <a:lnTo>
                    <a:pt x="1075" y="100"/>
                  </a:lnTo>
                  <a:lnTo>
                    <a:pt x="1073" y="100"/>
                  </a:lnTo>
                  <a:lnTo>
                    <a:pt x="1073" y="98"/>
                  </a:lnTo>
                  <a:lnTo>
                    <a:pt x="1071" y="98"/>
                  </a:lnTo>
                  <a:lnTo>
                    <a:pt x="1071" y="100"/>
                  </a:lnTo>
                  <a:lnTo>
                    <a:pt x="1069" y="98"/>
                  </a:lnTo>
                  <a:lnTo>
                    <a:pt x="1069" y="98"/>
                  </a:lnTo>
                  <a:lnTo>
                    <a:pt x="1069" y="96"/>
                  </a:lnTo>
                  <a:lnTo>
                    <a:pt x="1069" y="94"/>
                  </a:lnTo>
                  <a:lnTo>
                    <a:pt x="1069" y="94"/>
                  </a:lnTo>
                  <a:lnTo>
                    <a:pt x="1069" y="92"/>
                  </a:lnTo>
                  <a:lnTo>
                    <a:pt x="1068" y="92"/>
                  </a:lnTo>
                  <a:lnTo>
                    <a:pt x="1066" y="92"/>
                  </a:lnTo>
                  <a:lnTo>
                    <a:pt x="1064" y="92"/>
                  </a:lnTo>
                  <a:lnTo>
                    <a:pt x="1064" y="92"/>
                  </a:lnTo>
                  <a:lnTo>
                    <a:pt x="1064" y="92"/>
                  </a:lnTo>
                  <a:lnTo>
                    <a:pt x="1062" y="92"/>
                  </a:lnTo>
                  <a:lnTo>
                    <a:pt x="1062" y="91"/>
                  </a:lnTo>
                  <a:lnTo>
                    <a:pt x="1062" y="91"/>
                  </a:lnTo>
                  <a:lnTo>
                    <a:pt x="1062" y="91"/>
                  </a:lnTo>
                  <a:lnTo>
                    <a:pt x="1060" y="91"/>
                  </a:lnTo>
                  <a:lnTo>
                    <a:pt x="1060" y="91"/>
                  </a:lnTo>
                  <a:lnTo>
                    <a:pt x="1059" y="91"/>
                  </a:lnTo>
                  <a:lnTo>
                    <a:pt x="1057" y="91"/>
                  </a:lnTo>
                  <a:lnTo>
                    <a:pt x="1055" y="91"/>
                  </a:lnTo>
                  <a:lnTo>
                    <a:pt x="1055" y="91"/>
                  </a:lnTo>
                  <a:lnTo>
                    <a:pt x="1053" y="91"/>
                  </a:lnTo>
                  <a:lnTo>
                    <a:pt x="1053" y="91"/>
                  </a:lnTo>
                  <a:lnTo>
                    <a:pt x="1051" y="92"/>
                  </a:lnTo>
                  <a:lnTo>
                    <a:pt x="1051" y="94"/>
                  </a:lnTo>
                  <a:lnTo>
                    <a:pt x="1050" y="94"/>
                  </a:lnTo>
                  <a:lnTo>
                    <a:pt x="1050" y="94"/>
                  </a:lnTo>
                  <a:lnTo>
                    <a:pt x="1048" y="94"/>
                  </a:lnTo>
                  <a:lnTo>
                    <a:pt x="1046" y="94"/>
                  </a:lnTo>
                  <a:lnTo>
                    <a:pt x="1044" y="94"/>
                  </a:lnTo>
                  <a:lnTo>
                    <a:pt x="1042" y="96"/>
                  </a:lnTo>
                  <a:lnTo>
                    <a:pt x="1042" y="96"/>
                  </a:lnTo>
                  <a:lnTo>
                    <a:pt x="1042" y="98"/>
                  </a:lnTo>
                  <a:lnTo>
                    <a:pt x="1044" y="98"/>
                  </a:lnTo>
                  <a:lnTo>
                    <a:pt x="1044" y="100"/>
                  </a:lnTo>
                  <a:lnTo>
                    <a:pt x="1042" y="100"/>
                  </a:lnTo>
                  <a:lnTo>
                    <a:pt x="1041" y="98"/>
                  </a:lnTo>
                  <a:lnTo>
                    <a:pt x="1039" y="98"/>
                  </a:lnTo>
                  <a:lnTo>
                    <a:pt x="1039" y="98"/>
                  </a:lnTo>
                  <a:lnTo>
                    <a:pt x="1037" y="98"/>
                  </a:lnTo>
                  <a:lnTo>
                    <a:pt x="1037" y="100"/>
                  </a:lnTo>
                  <a:lnTo>
                    <a:pt x="1037" y="100"/>
                  </a:lnTo>
                  <a:lnTo>
                    <a:pt x="1037" y="100"/>
                  </a:lnTo>
                  <a:lnTo>
                    <a:pt x="1035" y="100"/>
                  </a:lnTo>
                  <a:lnTo>
                    <a:pt x="1035" y="100"/>
                  </a:lnTo>
                  <a:lnTo>
                    <a:pt x="1033" y="100"/>
                  </a:lnTo>
                  <a:lnTo>
                    <a:pt x="1033" y="98"/>
                  </a:lnTo>
                  <a:lnTo>
                    <a:pt x="1032" y="98"/>
                  </a:lnTo>
                  <a:lnTo>
                    <a:pt x="1032" y="96"/>
                  </a:lnTo>
                  <a:lnTo>
                    <a:pt x="1032" y="96"/>
                  </a:lnTo>
                  <a:lnTo>
                    <a:pt x="1030" y="96"/>
                  </a:lnTo>
                  <a:lnTo>
                    <a:pt x="1026" y="94"/>
                  </a:lnTo>
                  <a:lnTo>
                    <a:pt x="1026" y="94"/>
                  </a:lnTo>
                  <a:lnTo>
                    <a:pt x="1024" y="92"/>
                  </a:lnTo>
                  <a:lnTo>
                    <a:pt x="1022" y="92"/>
                  </a:lnTo>
                  <a:lnTo>
                    <a:pt x="1019" y="94"/>
                  </a:lnTo>
                  <a:lnTo>
                    <a:pt x="1017" y="94"/>
                  </a:lnTo>
                  <a:lnTo>
                    <a:pt x="1017" y="94"/>
                  </a:lnTo>
                  <a:lnTo>
                    <a:pt x="1017" y="94"/>
                  </a:lnTo>
                  <a:lnTo>
                    <a:pt x="1015" y="96"/>
                  </a:lnTo>
                  <a:lnTo>
                    <a:pt x="1015" y="96"/>
                  </a:lnTo>
                  <a:lnTo>
                    <a:pt x="1015" y="96"/>
                  </a:lnTo>
                  <a:lnTo>
                    <a:pt x="1013" y="98"/>
                  </a:lnTo>
                  <a:lnTo>
                    <a:pt x="1013" y="98"/>
                  </a:lnTo>
                  <a:lnTo>
                    <a:pt x="1012" y="98"/>
                  </a:lnTo>
                  <a:lnTo>
                    <a:pt x="1012" y="98"/>
                  </a:lnTo>
                  <a:lnTo>
                    <a:pt x="1010" y="98"/>
                  </a:lnTo>
                  <a:lnTo>
                    <a:pt x="1010" y="98"/>
                  </a:lnTo>
                  <a:lnTo>
                    <a:pt x="1008" y="98"/>
                  </a:lnTo>
                  <a:lnTo>
                    <a:pt x="1008" y="96"/>
                  </a:lnTo>
                  <a:lnTo>
                    <a:pt x="1008" y="94"/>
                  </a:lnTo>
                  <a:lnTo>
                    <a:pt x="1006" y="92"/>
                  </a:lnTo>
                  <a:lnTo>
                    <a:pt x="1006" y="92"/>
                  </a:lnTo>
                  <a:lnTo>
                    <a:pt x="1004" y="92"/>
                  </a:lnTo>
                  <a:lnTo>
                    <a:pt x="1004" y="92"/>
                  </a:lnTo>
                  <a:lnTo>
                    <a:pt x="1001" y="89"/>
                  </a:lnTo>
                  <a:lnTo>
                    <a:pt x="1001" y="89"/>
                  </a:lnTo>
                  <a:lnTo>
                    <a:pt x="997" y="89"/>
                  </a:lnTo>
                  <a:lnTo>
                    <a:pt x="995" y="89"/>
                  </a:lnTo>
                  <a:lnTo>
                    <a:pt x="995" y="89"/>
                  </a:lnTo>
                  <a:lnTo>
                    <a:pt x="995" y="89"/>
                  </a:lnTo>
                  <a:lnTo>
                    <a:pt x="995" y="87"/>
                  </a:lnTo>
                  <a:lnTo>
                    <a:pt x="995" y="87"/>
                  </a:lnTo>
                  <a:lnTo>
                    <a:pt x="995" y="89"/>
                  </a:lnTo>
                  <a:lnTo>
                    <a:pt x="995" y="89"/>
                  </a:lnTo>
                  <a:lnTo>
                    <a:pt x="994" y="89"/>
                  </a:lnTo>
                  <a:lnTo>
                    <a:pt x="994" y="89"/>
                  </a:lnTo>
                  <a:lnTo>
                    <a:pt x="994" y="89"/>
                  </a:lnTo>
                  <a:lnTo>
                    <a:pt x="994" y="89"/>
                  </a:lnTo>
                  <a:lnTo>
                    <a:pt x="994" y="89"/>
                  </a:lnTo>
                  <a:lnTo>
                    <a:pt x="994" y="89"/>
                  </a:lnTo>
                  <a:lnTo>
                    <a:pt x="992" y="91"/>
                  </a:lnTo>
                  <a:lnTo>
                    <a:pt x="990" y="91"/>
                  </a:lnTo>
                  <a:lnTo>
                    <a:pt x="988" y="91"/>
                  </a:lnTo>
                  <a:lnTo>
                    <a:pt x="988" y="92"/>
                  </a:lnTo>
                  <a:lnTo>
                    <a:pt x="986" y="92"/>
                  </a:lnTo>
                  <a:lnTo>
                    <a:pt x="986" y="92"/>
                  </a:lnTo>
                  <a:lnTo>
                    <a:pt x="986" y="92"/>
                  </a:lnTo>
                  <a:lnTo>
                    <a:pt x="986" y="92"/>
                  </a:lnTo>
                  <a:lnTo>
                    <a:pt x="983" y="92"/>
                  </a:lnTo>
                  <a:lnTo>
                    <a:pt x="983" y="92"/>
                  </a:lnTo>
                  <a:lnTo>
                    <a:pt x="983" y="91"/>
                  </a:lnTo>
                  <a:lnTo>
                    <a:pt x="981" y="89"/>
                  </a:lnTo>
                  <a:lnTo>
                    <a:pt x="981" y="89"/>
                  </a:lnTo>
                  <a:lnTo>
                    <a:pt x="983" y="89"/>
                  </a:lnTo>
                  <a:lnTo>
                    <a:pt x="983" y="87"/>
                  </a:lnTo>
                  <a:lnTo>
                    <a:pt x="983" y="87"/>
                  </a:lnTo>
                  <a:lnTo>
                    <a:pt x="981" y="85"/>
                  </a:lnTo>
                  <a:lnTo>
                    <a:pt x="981" y="85"/>
                  </a:lnTo>
                  <a:lnTo>
                    <a:pt x="981" y="85"/>
                  </a:lnTo>
                  <a:lnTo>
                    <a:pt x="981" y="83"/>
                  </a:lnTo>
                  <a:lnTo>
                    <a:pt x="981" y="83"/>
                  </a:lnTo>
                  <a:lnTo>
                    <a:pt x="981" y="83"/>
                  </a:lnTo>
                  <a:lnTo>
                    <a:pt x="981" y="83"/>
                  </a:lnTo>
                  <a:lnTo>
                    <a:pt x="981" y="82"/>
                  </a:lnTo>
                  <a:lnTo>
                    <a:pt x="983" y="82"/>
                  </a:lnTo>
                  <a:lnTo>
                    <a:pt x="981" y="80"/>
                  </a:lnTo>
                  <a:lnTo>
                    <a:pt x="981" y="78"/>
                  </a:lnTo>
                  <a:lnTo>
                    <a:pt x="979" y="76"/>
                  </a:lnTo>
                  <a:lnTo>
                    <a:pt x="979" y="76"/>
                  </a:lnTo>
                  <a:lnTo>
                    <a:pt x="977" y="74"/>
                  </a:lnTo>
                  <a:lnTo>
                    <a:pt x="977" y="74"/>
                  </a:lnTo>
                  <a:lnTo>
                    <a:pt x="977" y="74"/>
                  </a:lnTo>
                  <a:lnTo>
                    <a:pt x="977" y="74"/>
                  </a:lnTo>
                  <a:lnTo>
                    <a:pt x="976" y="74"/>
                  </a:lnTo>
                  <a:lnTo>
                    <a:pt x="970" y="74"/>
                  </a:lnTo>
                  <a:lnTo>
                    <a:pt x="968" y="74"/>
                  </a:lnTo>
                  <a:lnTo>
                    <a:pt x="968" y="74"/>
                  </a:lnTo>
                  <a:lnTo>
                    <a:pt x="967" y="73"/>
                  </a:lnTo>
                  <a:lnTo>
                    <a:pt x="967" y="73"/>
                  </a:lnTo>
                  <a:lnTo>
                    <a:pt x="967" y="71"/>
                  </a:lnTo>
                  <a:lnTo>
                    <a:pt x="967" y="71"/>
                  </a:lnTo>
                  <a:lnTo>
                    <a:pt x="965" y="69"/>
                  </a:lnTo>
                  <a:lnTo>
                    <a:pt x="963" y="69"/>
                  </a:lnTo>
                  <a:lnTo>
                    <a:pt x="959" y="69"/>
                  </a:lnTo>
                  <a:lnTo>
                    <a:pt x="959" y="69"/>
                  </a:lnTo>
                  <a:lnTo>
                    <a:pt x="957" y="69"/>
                  </a:lnTo>
                  <a:lnTo>
                    <a:pt x="957" y="67"/>
                  </a:lnTo>
                  <a:lnTo>
                    <a:pt x="957" y="69"/>
                  </a:lnTo>
                  <a:lnTo>
                    <a:pt x="957" y="69"/>
                  </a:lnTo>
                  <a:lnTo>
                    <a:pt x="956" y="69"/>
                  </a:lnTo>
                  <a:lnTo>
                    <a:pt x="956" y="69"/>
                  </a:lnTo>
                  <a:lnTo>
                    <a:pt x="956" y="67"/>
                  </a:lnTo>
                  <a:lnTo>
                    <a:pt x="954" y="67"/>
                  </a:lnTo>
                  <a:lnTo>
                    <a:pt x="954" y="67"/>
                  </a:lnTo>
                  <a:lnTo>
                    <a:pt x="950" y="65"/>
                  </a:lnTo>
                  <a:lnTo>
                    <a:pt x="950" y="65"/>
                  </a:lnTo>
                  <a:lnTo>
                    <a:pt x="948" y="65"/>
                  </a:lnTo>
                  <a:lnTo>
                    <a:pt x="948" y="65"/>
                  </a:lnTo>
                  <a:lnTo>
                    <a:pt x="947" y="65"/>
                  </a:lnTo>
                  <a:lnTo>
                    <a:pt x="945" y="65"/>
                  </a:lnTo>
                  <a:lnTo>
                    <a:pt x="945" y="65"/>
                  </a:lnTo>
                  <a:lnTo>
                    <a:pt x="943" y="65"/>
                  </a:lnTo>
                  <a:lnTo>
                    <a:pt x="943" y="65"/>
                  </a:lnTo>
                  <a:lnTo>
                    <a:pt x="943" y="67"/>
                  </a:lnTo>
                  <a:lnTo>
                    <a:pt x="943" y="69"/>
                  </a:lnTo>
                  <a:lnTo>
                    <a:pt x="943" y="71"/>
                  </a:lnTo>
                  <a:lnTo>
                    <a:pt x="943" y="71"/>
                  </a:lnTo>
                  <a:lnTo>
                    <a:pt x="943" y="71"/>
                  </a:lnTo>
                  <a:lnTo>
                    <a:pt x="941" y="71"/>
                  </a:lnTo>
                  <a:lnTo>
                    <a:pt x="943" y="73"/>
                  </a:lnTo>
                  <a:lnTo>
                    <a:pt x="943" y="73"/>
                  </a:lnTo>
                  <a:lnTo>
                    <a:pt x="943" y="73"/>
                  </a:lnTo>
                  <a:lnTo>
                    <a:pt x="943" y="74"/>
                  </a:lnTo>
                  <a:lnTo>
                    <a:pt x="943" y="74"/>
                  </a:lnTo>
                  <a:lnTo>
                    <a:pt x="943" y="74"/>
                  </a:lnTo>
                  <a:lnTo>
                    <a:pt x="943" y="76"/>
                  </a:lnTo>
                  <a:lnTo>
                    <a:pt x="941" y="74"/>
                  </a:lnTo>
                  <a:lnTo>
                    <a:pt x="934" y="76"/>
                  </a:lnTo>
                  <a:lnTo>
                    <a:pt x="934" y="74"/>
                  </a:lnTo>
                  <a:lnTo>
                    <a:pt x="932" y="76"/>
                  </a:lnTo>
                  <a:lnTo>
                    <a:pt x="930" y="76"/>
                  </a:lnTo>
                  <a:lnTo>
                    <a:pt x="930" y="76"/>
                  </a:lnTo>
                  <a:lnTo>
                    <a:pt x="930" y="74"/>
                  </a:lnTo>
                  <a:lnTo>
                    <a:pt x="930" y="74"/>
                  </a:lnTo>
                  <a:lnTo>
                    <a:pt x="930" y="74"/>
                  </a:lnTo>
                  <a:lnTo>
                    <a:pt x="929" y="74"/>
                  </a:lnTo>
                  <a:lnTo>
                    <a:pt x="929" y="73"/>
                  </a:lnTo>
                  <a:lnTo>
                    <a:pt x="927" y="74"/>
                  </a:lnTo>
                  <a:lnTo>
                    <a:pt x="927" y="74"/>
                  </a:lnTo>
                  <a:lnTo>
                    <a:pt x="925" y="76"/>
                  </a:lnTo>
                  <a:lnTo>
                    <a:pt x="925" y="76"/>
                  </a:lnTo>
                  <a:lnTo>
                    <a:pt x="923" y="76"/>
                  </a:lnTo>
                  <a:lnTo>
                    <a:pt x="921" y="74"/>
                  </a:lnTo>
                  <a:lnTo>
                    <a:pt x="921" y="73"/>
                  </a:lnTo>
                  <a:lnTo>
                    <a:pt x="920" y="73"/>
                  </a:lnTo>
                  <a:lnTo>
                    <a:pt x="918" y="73"/>
                  </a:lnTo>
                  <a:lnTo>
                    <a:pt x="918" y="73"/>
                  </a:lnTo>
                  <a:lnTo>
                    <a:pt x="914" y="74"/>
                  </a:lnTo>
                  <a:lnTo>
                    <a:pt x="911" y="76"/>
                  </a:lnTo>
                  <a:lnTo>
                    <a:pt x="909" y="76"/>
                  </a:lnTo>
                  <a:lnTo>
                    <a:pt x="907" y="74"/>
                  </a:lnTo>
                  <a:lnTo>
                    <a:pt x="907" y="74"/>
                  </a:lnTo>
                  <a:lnTo>
                    <a:pt x="905" y="74"/>
                  </a:lnTo>
                  <a:lnTo>
                    <a:pt x="905" y="74"/>
                  </a:lnTo>
                  <a:lnTo>
                    <a:pt x="905" y="74"/>
                  </a:lnTo>
                  <a:lnTo>
                    <a:pt x="905" y="73"/>
                  </a:lnTo>
                  <a:lnTo>
                    <a:pt x="905" y="73"/>
                  </a:lnTo>
                  <a:lnTo>
                    <a:pt x="903" y="73"/>
                  </a:lnTo>
                  <a:lnTo>
                    <a:pt x="903" y="73"/>
                  </a:lnTo>
                  <a:lnTo>
                    <a:pt x="903" y="71"/>
                  </a:lnTo>
                  <a:lnTo>
                    <a:pt x="903" y="71"/>
                  </a:lnTo>
                  <a:lnTo>
                    <a:pt x="902" y="69"/>
                  </a:lnTo>
                  <a:lnTo>
                    <a:pt x="902" y="67"/>
                  </a:lnTo>
                  <a:lnTo>
                    <a:pt x="902" y="69"/>
                  </a:lnTo>
                  <a:lnTo>
                    <a:pt x="900" y="69"/>
                  </a:lnTo>
                  <a:lnTo>
                    <a:pt x="898" y="69"/>
                  </a:lnTo>
                  <a:lnTo>
                    <a:pt x="898" y="67"/>
                  </a:lnTo>
                  <a:lnTo>
                    <a:pt x="894" y="65"/>
                  </a:lnTo>
                  <a:lnTo>
                    <a:pt x="894" y="65"/>
                  </a:lnTo>
                  <a:lnTo>
                    <a:pt x="894" y="65"/>
                  </a:lnTo>
                  <a:lnTo>
                    <a:pt x="894" y="65"/>
                  </a:lnTo>
                  <a:lnTo>
                    <a:pt x="894" y="65"/>
                  </a:lnTo>
                  <a:lnTo>
                    <a:pt x="892" y="65"/>
                  </a:lnTo>
                  <a:lnTo>
                    <a:pt x="892" y="65"/>
                  </a:lnTo>
                  <a:lnTo>
                    <a:pt x="891" y="67"/>
                  </a:lnTo>
                  <a:lnTo>
                    <a:pt x="889" y="69"/>
                  </a:lnTo>
                  <a:lnTo>
                    <a:pt x="887" y="69"/>
                  </a:lnTo>
                  <a:lnTo>
                    <a:pt x="885" y="67"/>
                  </a:lnTo>
                  <a:lnTo>
                    <a:pt x="883" y="67"/>
                  </a:lnTo>
                  <a:lnTo>
                    <a:pt x="883" y="69"/>
                  </a:lnTo>
                  <a:lnTo>
                    <a:pt x="883" y="69"/>
                  </a:lnTo>
                  <a:lnTo>
                    <a:pt x="882" y="69"/>
                  </a:lnTo>
                  <a:lnTo>
                    <a:pt x="882" y="69"/>
                  </a:lnTo>
                  <a:lnTo>
                    <a:pt x="882" y="69"/>
                  </a:lnTo>
                  <a:lnTo>
                    <a:pt x="882" y="69"/>
                  </a:lnTo>
                  <a:lnTo>
                    <a:pt x="882" y="69"/>
                  </a:lnTo>
                  <a:lnTo>
                    <a:pt x="882" y="67"/>
                  </a:lnTo>
                  <a:lnTo>
                    <a:pt x="882" y="67"/>
                  </a:lnTo>
                  <a:lnTo>
                    <a:pt x="880" y="67"/>
                  </a:lnTo>
                  <a:lnTo>
                    <a:pt x="880" y="67"/>
                  </a:lnTo>
                  <a:lnTo>
                    <a:pt x="880" y="67"/>
                  </a:lnTo>
                  <a:lnTo>
                    <a:pt x="880" y="67"/>
                  </a:lnTo>
                  <a:lnTo>
                    <a:pt x="880" y="67"/>
                  </a:lnTo>
                  <a:lnTo>
                    <a:pt x="878" y="64"/>
                  </a:lnTo>
                  <a:lnTo>
                    <a:pt x="876" y="64"/>
                  </a:lnTo>
                  <a:lnTo>
                    <a:pt x="874" y="62"/>
                  </a:lnTo>
                  <a:lnTo>
                    <a:pt x="874" y="62"/>
                  </a:lnTo>
                  <a:lnTo>
                    <a:pt x="874" y="62"/>
                  </a:lnTo>
                  <a:lnTo>
                    <a:pt x="874" y="62"/>
                  </a:lnTo>
                  <a:lnTo>
                    <a:pt x="873" y="62"/>
                  </a:lnTo>
                  <a:lnTo>
                    <a:pt x="873" y="62"/>
                  </a:lnTo>
                  <a:lnTo>
                    <a:pt x="873" y="62"/>
                  </a:lnTo>
                  <a:lnTo>
                    <a:pt x="873" y="60"/>
                  </a:lnTo>
                  <a:lnTo>
                    <a:pt x="873" y="60"/>
                  </a:lnTo>
                  <a:lnTo>
                    <a:pt x="873" y="60"/>
                  </a:lnTo>
                  <a:lnTo>
                    <a:pt x="873" y="58"/>
                  </a:lnTo>
                  <a:lnTo>
                    <a:pt x="871" y="58"/>
                  </a:lnTo>
                  <a:lnTo>
                    <a:pt x="867" y="58"/>
                  </a:lnTo>
                  <a:lnTo>
                    <a:pt x="864" y="58"/>
                  </a:lnTo>
                  <a:lnTo>
                    <a:pt x="862" y="56"/>
                  </a:lnTo>
                  <a:lnTo>
                    <a:pt x="860" y="56"/>
                  </a:lnTo>
                  <a:lnTo>
                    <a:pt x="858" y="55"/>
                  </a:lnTo>
                  <a:lnTo>
                    <a:pt x="858" y="55"/>
                  </a:lnTo>
                  <a:lnTo>
                    <a:pt x="856" y="55"/>
                  </a:lnTo>
                  <a:lnTo>
                    <a:pt x="856" y="55"/>
                  </a:lnTo>
                  <a:lnTo>
                    <a:pt x="855" y="55"/>
                  </a:lnTo>
                  <a:lnTo>
                    <a:pt x="855" y="53"/>
                  </a:lnTo>
                  <a:lnTo>
                    <a:pt x="853" y="55"/>
                  </a:lnTo>
                  <a:lnTo>
                    <a:pt x="851" y="53"/>
                  </a:lnTo>
                  <a:lnTo>
                    <a:pt x="849" y="51"/>
                  </a:lnTo>
                  <a:lnTo>
                    <a:pt x="847" y="51"/>
                  </a:lnTo>
                  <a:lnTo>
                    <a:pt x="846" y="51"/>
                  </a:lnTo>
                  <a:lnTo>
                    <a:pt x="846" y="49"/>
                  </a:lnTo>
                  <a:lnTo>
                    <a:pt x="844" y="49"/>
                  </a:lnTo>
                  <a:lnTo>
                    <a:pt x="846" y="47"/>
                  </a:lnTo>
                  <a:lnTo>
                    <a:pt x="846" y="47"/>
                  </a:lnTo>
                  <a:lnTo>
                    <a:pt x="846" y="46"/>
                  </a:lnTo>
                  <a:lnTo>
                    <a:pt x="844" y="47"/>
                  </a:lnTo>
                  <a:lnTo>
                    <a:pt x="844" y="47"/>
                  </a:lnTo>
                  <a:lnTo>
                    <a:pt x="842" y="49"/>
                  </a:lnTo>
                  <a:lnTo>
                    <a:pt x="842" y="51"/>
                  </a:lnTo>
                  <a:lnTo>
                    <a:pt x="842" y="51"/>
                  </a:lnTo>
                  <a:lnTo>
                    <a:pt x="842" y="53"/>
                  </a:lnTo>
                  <a:lnTo>
                    <a:pt x="840" y="53"/>
                  </a:lnTo>
                  <a:lnTo>
                    <a:pt x="838" y="51"/>
                  </a:lnTo>
                  <a:lnTo>
                    <a:pt x="836" y="51"/>
                  </a:lnTo>
                  <a:lnTo>
                    <a:pt x="836" y="49"/>
                  </a:lnTo>
                  <a:lnTo>
                    <a:pt x="836" y="49"/>
                  </a:lnTo>
                  <a:lnTo>
                    <a:pt x="836" y="47"/>
                  </a:lnTo>
                  <a:lnTo>
                    <a:pt x="838" y="46"/>
                  </a:lnTo>
                  <a:lnTo>
                    <a:pt x="838" y="46"/>
                  </a:lnTo>
                  <a:lnTo>
                    <a:pt x="840" y="42"/>
                  </a:lnTo>
                  <a:lnTo>
                    <a:pt x="840" y="40"/>
                  </a:lnTo>
                  <a:lnTo>
                    <a:pt x="840" y="38"/>
                  </a:lnTo>
                  <a:lnTo>
                    <a:pt x="838" y="36"/>
                  </a:lnTo>
                  <a:lnTo>
                    <a:pt x="838" y="36"/>
                  </a:lnTo>
                  <a:lnTo>
                    <a:pt x="838" y="36"/>
                  </a:lnTo>
                  <a:lnTo>
                    <a:pt x="836" y="36"/>
                  </a:lnTo>
                  <a:lnTo>
                    <a:pt x="835" y="35"/>
                  </a:lnTo>
                  <a:lnTo>
                    <a:pt x="833" y="35"/>
                  </a:lnTo>
                  <a:lnTo>
                    <a:pt x="833" y="35"/>
                  </a:lnTo>
                  <a:lnTo>
                    <a:pt x="831" y="35"/>
                  </a:lnTo>
                  <a:lnTo>
                    <a:pt x="831" y="36"/>
                  </a:lnTo>
                  <a:lnTo>
                    <a:pt x="831" y="36"/>
                  </a:lnTo>
                  <a:lnTo>
                    <a:pt x="831" y="36"/>
                  </a:lnTo>
                  <a:lnTo>
                    <a:pt x="829" y="36"/>
                  </a:lnTo>
                  <a:lnTo>
                    <a:pt x="829" y="36"/>
                  </a:lnTo>
                  <a:lnTo>
                    <a:pt x="829" y="36"/>
                  </a:lnTo>
                  <a:lnTo>
                    <a:pt x="827" y="36"/>
                  </a:lnTo>
                  <a:lnTo>
                    <a:pt x="827" y="35"/>
                  </a:lnTo>
                  <a:lnTo>
                    <a:pt x="827" y="35"/>
                  </a:lnTo>
                  <a:lnTo>
                    <a:pt x="827" y="35"/>
                  </a:lnTo>
                  <a:lnTo>
                    <a:pt x="827" y="35"/>
                  </a:lnTo>
                  <a:lnTo>
                    <a:pt x="827" y="33"/>
                  </a:lnTo>
                  <a:lnTo>
                    <a:pt x="826" y="33"/>
                  </a:lnTo>
                  <a:lnTo>
                    <a:pt x="826" y="33"/>
                  </a:lnTo>
                  <a:lnTo>
                    <a:pt x="826" y="33"/>
                  </a:lnTo>
                  <a:lnTo>
                    <a:pt x="824" y="35"/>
                  </a:lnTo>
                  <a:lnTo>
                    <a:pt x="824" y="35"/>
                  </a:lnTo>
                  <a:lnTo>
                    <a:pt x="822" y="35"/>
                  </a:lnTo>
                  <a:lnTo>
                    <a:pt x="822" y="35"/>
                  </a:lnTo>
                  <a:lnTo>
                    <a:pt x="822" y="33"/>
                  </a:lnTo>
                  <a:lnTo>
                    <a:pt x="822" y="33"/>
                  </a:lnTo>
                  <a:lnTo>
                    <a:pt x="822" y="31"/>
                  </a:lnTo>
                  <a:lnTo>
                    <a:pt x="820" y="31"/>
                  </a:lnTo>
                  <a:lnTo>
                    <a:pt x="820" y="29"/>
                  </a:lnTo>
                  <a:lnTo>
                    <a:pt x="820" y="29"/>
                  </a:lnTo>
                  <a:lnTo>
                    <a:pt x="820" y="27"/>
                  </a:lnTo>
                  <a:lnTo>
                    <a:pt x="820" y="27"/>
                  </a:lnTo>
                  <a:lnTo>
                    <a:pt x="818" y="27"/>
                  </a:lnTo>
                  <a:lnTo>
                    <a:pt x="817" y="29"/>
                  </a:lnTo>
                  <a:lnTo>
                    <a:pt x="815" y="31"/>
                  </a:lnTo>
                  <a:lnTo>
                    <a:pt x="815" y="31"/>
                  </a:lnTo>
                  <a:lnTo>
                    <a:pt x="815" y="31"/>
                  </a:lnTo>
                  <a:lnTo>
                    <a:pt x="815" y="31"/>
                  </a:lnTo>
                  <a:lnTo>
                    <a:pt x="815" y="33"/>
                  </a:lnTo>
                  <a:lnTo>
                    <a:pt x="813" y="31"/>
                  </a:lnTo>
                  <a:lnTo>
                    <a:pt x="813" y="31"/>
                  </a:lnTo>
                  <a:lnTo>
                    <a:pt x="813" y="31"/>
                  </a:lnTo>
                  <a:lnTo>
                    <a:pt x="813" y="31"/>
                  </a:lnTo>
                  <a:lnTo>
                    <a:pt x="811" y="31"/>
                  </a:lnTo>
                  <a:lnTo>
                    <a:pt x="811" y="31"/>
                  </a:lnTo>
                  <a:lnTo>
                    <a:pt x="808" y="33"/>
                  </a:lnTo>
                  <a:lnTo>
                    <a:pt x="806" y="33"/>
                  </a:lnTo>
                  <a:lnTo>
                    <a:pt x="806" y="33"/>
                  </a:lnTo>
                  <a:lnTo>
                    <a:pt x="804" y="35"/>
                  </a:lnTo>
                  <a:lnTo>
                    <a:pt x="804" y="35"/>
                  </a:lnTo>
                  <a:lnTo>
                    <a:pt x="804" y="35"/>
                  </a:lnTo>
                  <a:lnTo>
                    <a:pt x="804" y="33"/>
                  </a:lnTo>
                  <a:lnTo>
                    <a:pt x="802" y="33"/>
                  </a:lnTo>
                  <a:lnTo>
                    <a:pt x="802" y="33"/>
                  </a:lnTo>
                  <a:lnTo>
                    <a:pt x="802" y="33"/>
                  </a:lnTo>
                  <a:lnTo>
                    <a:pt x="802" y="35"/>
                  </a:lnTo>
                  <a:lnTo>
                    <a:pt x="802" y="35"/>
                  </a:lnTo>
                  <a:lnTo>
                    <a:pt x="802" y="33"/>
                  </a:lnTo>
                  <a:lnTo>
                    <a:pt x="800" y="33"/>
                  </a:lnTo>
                  <a:lnTo>
                    <a:pt x="800" y="33"/>
                  </a:lnTo>
                  <a:lnTo>
                    <a:pt x="800" y="33"/>
                  </a:lnTo>
                  <a:lnTo>
                    <a:pt x="800" y="33"/>
                  </a:lnTo>
                  <a:lnTo>
                    <a:pt x="799" y="33"/>
                  </a:lnTo>
                  <a:lnTo>
                    <a:pt x="797" y="33"/>
                  </a:lnTo>
                  <a:lnTo>
                    <a:pt x="793" y="33"/>
                  </a:lnTo>
                  <a:lnTo>
                    <a:pt x="791" y="33"/>
                  </a:lnTo>
                  <a:lnTo>
                    <a:pt x="788" y="31"/>
                  </a:lnTo>
                  <a:lnTo>
                    <a:pt x="786" y="29"/>
                  </a:lnTo>
                  <a:lnTo>
                    <a:pt x="784" y="27"/>
                  </a:lnTo>
                  <a:lnTo>
                    <a:pt x="782" y="27"/>
                  </a:lnTo>
                  <a:lnTo>
                    <a:pt x="781" y="27"/>
                  </a:lnTo>
                  <a:lnTo>
                    <a:pt x="779" y="26"/>
                  </a:lnTo>
                  <a:lnTo>
                    <a:pt x="777" y="26"/>
                  </a:lnTo>
                  <a:lnTo>
                    <a:pt x="777" y="26"/>
                  </a:lnTo>
                  <a:lnTo>
                    <a:pt x="777" y="26"/>
                  </a:lnTo>
                  <a:lnTo>
                    <a:pt x="777" y="26"/>
                  </a:lnTo>
                  <a:lnTo>
                    <a:pt x="777" y="27"/>
                  </a:lnTo>
                  <a:lnTo>
                    <a:pt x="777" y="27"/>
                  </a:lnTo>
                  <a:lnTo>
                    <a:pt x="777" y="27"/>
                  </a:lnTo>
                  <a:lnTo>
                    <a:pt x="775" y="29"/>
                  </a:lnTo>
                  <a:lnTo>
                    <a:pt x="775" y="29"/>
                  </a:lnTo>
                  <a:lnTo>
                    <a:pt x="775" y="27"/>
                  </a:lnTo>
                  <a:lnTo>
                    <a:pt x="775" y="26"/>
                  </a:lnTo>
                  <a:lnTo>
                    <a:pt x="775" y="26"/>
                  </a:lnTo>
                  <a:lnTo>
                    <a:pt x="773" y="24"/>
                  </a:lnTo>
                  <a:lnTo>
                    <a:pt x="771" y="24"/>
                  </a:lnTo>
                  <a:lnTo>
                    <a:pt x="771" y="24"/>
                  </a:lnTo>
                  <a:lnTo>
                    <a:pt x="771" y="24"/>
                  </a:lnTo>
                  <a:lnTo>
                    <a:pt x="770" y="24"/>
                  </a:lnTo>
                  <a:lnTo>
                    <a:pt x="768" y="24"/>
                  </a:lnTo>
                  <a:lnTo>
                    <a:pt x="764" y="24"/>
                  </a:lnTo>
                  <a:lnTo>
                    <a:pt x="764" y="24"/>
                  </a:lnTo>
                  <a:lnTo>
                    <a:pt x="762" y="24"/>
                  </a:lnTo>
                  <a:lnTo>
                    <a:pt x="762" y="26"/>
                  </a:lnTo>
                  <a:lnTo>
                    <a:pt x="762" y="26"/>
                  </a:lnTo>
                  <a:lnTo>
                    <a:pt x="762" y="26"/>
                  </a:lnTo>
                  <a:lnTo>
                    <a:pt x="762" y="26"/>
                  </a:lnTo>
                  <a:lnTo>
                    <a:pt x="761" y="27"/>
                  </a:lnTo>
                  <a:lnTo>
                    <a:pt x="759" y="27"/>
                  </a:lnTo>
                  <a:lnTo>
                    <a:pt x="759" y="27"/>
                  </a:lnTo>
                  <a:lnTo>
                    <a:pt x="759" y="27"/>
                  </a:lnTo>
                  <a:lnTo>
                    <a:pt x="759" y="29"/>
                  </a:lnTo>
                  <a:lnTo>
                    <a:pt x="759" y="29"/>
                  </a:lnTo>
                  <a:lnTo>
                    <a:pt x="759" y="29"/>
                  </a:lnTo>
                  <a:lnTo>
                    <a:pt x="761" y="31"/>
                  </a:lnTo>
                  <a:lnTo>
                    <a:pt x="761" y="33"/>
                  </a:lnTo>
                  <a:lnTo>
                    <a:pt x="757" y="29"/>
                  </a:lnTo>
                  <a:lnTo>
                    <a:pt x="755" y="29"/>
                  </a:lnTo>
                  <a:lnTo>
                    <a:pt x="755" y="29"/>
                  </a:lnTo>
                  <a:lnTo>
                    <a:pt x="753" y="29"/>
                  </a:lnTo>
                  <a:lnTo>
                    <a:pt x="753" y="29"/>
                  </a:lnTo>
                  <a:lnTo>
                    <a:pt x="752" y="29"/>
                  </a:lnTo>
                  <a:lnTo>
                    <a:pt x="750" y="27"/>
                  </a:lnTo>
                  <a:lnTo>
                    <a:pt x="750" y="27"/>
                  </a:lnTo>
                  <a:lnTo>
                    <a:pt x="750" y="27"/>
                  </a:lnTo>
                  <a:lnTo>
                    <a:pt x="746" y="26"/>
                  </a:lnTo>
                  <a:lnTo>
                    <a:pt x="744" y="26"/>
                  </a:lnTo>
                  <a:lnTo>
                    <a:pt x="741" y="26"/>
                  </a:lnTo>
                  <a:lnTo>
                    <a:pt x="741" y="26"/>
                  </a:lnTo>
                  <a:lnTo>
                    <a:pt x="739" y="26"/>
                  </a:lnTo>
                  <a:lnTo>
                    <a:pt x="739" y="26"/>
                  </a:lnTo>
                  <a:lnTo>
                    <a:pt x="737" y="24"/>
                  </a:lnTo>
                  <a:lnTo>
                    <a:pt x="737" y="26"/>
                  </a:lnTo>
                  <a:lnTo>
                    <a:pt x="737" y="26"/>
                  </a:lnTo>
                  <a:lnTo>
                    <a:pt x="735" y="26"/>
                  </a:lnTo>
                  <a:lnTo>
                    <a:pt x="735" y="24"/>
                  </a:lnTo>
                  <a:lnTo>
                    <a:pt x="735" y="24"/>
                  </a:lnTo>
                  <a:lnTo>
                    <a:pt x="735" y="24"/>
                  </a:lnTo>
                  <a:lnTo>
                    <a:pt x="737" y="24"/>
                  </a:lnTo>
                  <a:lnTo>
                    <a:pt x="737" y="24"/>
                  </a:lnTo>
                  <a:lnTo>
                    <a:pt x="737" y="24"/>
                  </a:lnTo>
                  <a:lnTo>
                    <a:pt x="737" y="24"/>
                  </a:lnTo>
                  <a:lnTo>
                    <a:pt x="737" y="24"/>
                  </a:lnTo>
                  <a:lnTo>
                    <a:pt x="739" y="24"/>
                  </a:lnTo>
                  <a:lnTo>
                    <a:pt x="739" y="24"/>
                  </a:lnTo>
                  <a:lnTo>
                    <a:pt x="739" y="24"/>
                  </a:lnTo>
                  <a:lnTo>
                    <a:pt x="739" y="22"/>
                  </a:lnTo>
                  <a:lnTo>
                    <a:pt x="739" y="22"/>
                  </a:lnTo>
                  <a:lnTo>
                    <a:pt x="739" y="22"/>
                  </a:lnTo>
                  <a:lnTo>
                    <a:pt x="739" y="22"/>
                  </a:lnTo>
                  <a:lnTo>
                    <a:pt x="735" y="22"/>
                  </a:lnTo>
                  <a:lnTo>
                    <a:pt x="734" y="20"/>
                  </a:lnTo>
                  <a:lnTo>
                    <a:pt x="734" y="20"/>
                  </a:lnTo>
                  <a:lnTo>
                    <a:pt x="734" y="20"/>
                  </a:lnTo>
                  <a:lnTo>
                    <a:pt x="732" y="20"/>
                  </a:lnTo>
                  <a:lnTo>
                    <a:pt x="732" y="18"/>
                  </a:lnTo>
                  <a:lnTo>
                    <a:pt x="732" y="18"/>
                  </a:lnTo>
                  <a:lnTo>
                    <a:pt x="728" y="20"/>
                  </a:lnTo>
                  <a:lnTo>
                    <a:pt x="726" y="20"/>
                  </a:lnTo>
                  <a:lnTo>
                    <a:pt x="726" y="20"/>
                  </a:lnTo>
                  <a:lnTo>
                    <a:pt x="726" y="20"/>
                  </a:lnTo>
                  <a:lnTo>
                    <a:pt x="725" y="20"/>
                  </a:lnTo>
                  <a:lnTo>
                    <a:pt x="725" y="22"/>
                  </a:lnTo>
                  <a:lnTo>
                    <a:pt x="725" y="22"/>
                  </a:lnTo>
                  <a:lnTo>
                    <a:pt x="725" y="22"/>
                  </a:lnTo>
                  <a:lnTo>
                    <a:pt x="725" y="22"/>
                  </a:lnTo>
                  <a:lnTo>
                    <a:pt x="725" y="22"/>
                  </a:lnTo>
                  <a:lnTo>
                    <a:pt x="723" y="22"/>
                  </a:lnTo>
                  <a:lnTo>
                    <a:pt x="723" y="22"/>
                  </a:lnTo>
                  <a:lnTo>
                    <a:pt x="723" y="22"/>
                  </a:lnTo>
                  <a:lnTo>
                    <a:pt x="723" y="22"/>
                  </a:lnTo>
                  <a:lnTo>
                    <a:pt x="723" y="22"/>
                  </a:lnTo>
                  <a:lnTo>
                    <a:pt x="723" y="24"/>
                  </a:lnTo>
                  <a:lnTo>
                    <a:pt x="723" y="24"/>
                  </a:lnTo>
                  <a:lnTo>
                    <a:pt x="723" y="24"/>
                  </a:lnTo>
                  <a:lnTo>
                    <a:pt x="723" y="24"/>
                  </a:lnTo>
                  <a:lnTo>
                    <a:pt x="723" y="24"/>
                  </a:lnTo>
                  <a:lnTo>
                    <a:pt x="721" y="24"/>
                  </a:lnTo>
                  <a:lnTo>
                    <a:pt x="721" y="24"/>
                  </a:lnTo>
                  <a:lnTo>
                    <a:pt x="721" y="24"/>
                  </a:lnTo>
                  <a:lnTo>
                    <a:pt x="721" y="24"/>
                  </a:lnTo>
                  <a:lnTo>
                    <a:pt x="719" y="26"/>
                  </a:lnTo>
                  <a:lnTo>
                    <a:pt x="719" y="26"/>
                  </a:lnTo>
                  <a:lnTo>
                    <a:pt x="719" y="26"/>
                  </a:lnTo>
                  <a:lnTo>
                    <a:pt x="719" y="24"/>
                  </a:lnTo>
                  <a:lnTo>
                    <a:pt x="719" y="24"/>
                  </a:lnTo>
                  <a:lnTo>
                    <a:pt x="719" y="24"/>
                  </a:lnTo>
                  <a:lnTo>
                    <a:pt x="719" y="24"/>
                  </a:lnTo>
                  <a:lnTo>
                    <a:pt x="719" y="24"/>
                  </a:lnTo>
                  <a:lnTo>
                    <a:pt x="719" y="24"/>
                  </a:lnTo>
                  <a:lnTo>
                    <a:pt x="717" y="24"/>
                  </a:lnTo>
                  <a:lnTo>
                    <a:pt x="719" y="22"/>
                  </a:lnTo>
                  <a:lnTo>
                    <a:pt x="719" y="22"/>
                  </a:lnTo>
                  <a:lnTo>
                    <a:pt x="721" y="22"/>
                  </a:lnTo>
                  <a:lnTo>
                    <a:pt x="721" y="20"/>
                  </a:lnTo>
                  <a:lnTo>
                    <a:pt x="719" y="20"/>
                  </a:lnTo>
                  <a:lnTo>
                    <a:pt x="717" y="20"/>
                  </a:lnTo>
                  <a:lnTo>
                    <a:pt x="716" y="22"/>
                  </a:lnTo>
                  <a:lnTo>
                    <a:pt x="716" y="20"/>
                  </a:lnTo>
                  <a:lnTo>
                    <a:pt x="716" y="20"/>
                  </a:lnTo>
                  <a:lnTo>
                    <a:pt x="716" y="22"/>
                  </a:lnTo>
                  <a:lnTo>
                    <a:pt x="714" y="20"/>
                  </a:lnTo>
                  <a:lnTo>
                    <a:pt x="714" y="22"/>
                  </a:lnTo>
                  <a:lnTo>
                    <a:pt x="712" y="22"/>
                  </a:lnTo>
                  <a:lnTo>
                    <a:pt x="712" y="24"/>
                  </a:lnTo>
                  <a:lnTo>
                    <a:pt x="712" y="24"/>
                  </a:lnTo>
                  <a:lnTo>
                    <a:pt x="712" y="24"/>
                  </a:lnTo>
                  <a:lnTo>
                    <a:pt x="712" y="24"/>
                  </a:lnTo>
                  <a:lnTo>
                    <a:pt x="712" y="24"/>
                  </a:lnTo>
                  <a:lnTo>
                    <a:pt x="712" y="24"/>
                  </a:lnTo>
                  <a:lnTo>
                    <a:pt x="712" y="24"/>
                  </a:lnTo>
                  <a:lnTo>
                    <a:pt x="710" y="24"/>
                  </a:lnTo>
                  <a:lnTo>
                    <a:pt x="710" y="24"/>
                  </a:lnTo>
                  <a:lnTo>
                    <a:pt x="708" y="24"/>
                  </a:lnTo>
                  <a:lnTo>
                    <a:pt x="708" y="24"/>
                  </a:lnTo>
                  <a:lnTo>
                    <a:pt x="708" y="24"/>
                  </a:lnTo>
                  <a:lnTo>
                    <a:pt x="708" y="24"/>
                  </a:lnTo>
                  <a:lnTo>
                    <a:pt x="706" y="24"/>
                  </a:lnTo>
                  <a:lnTo>
                    <a:pt x="705" y="24"/>
                  </a:lnTo>
                  <a:lnTo>
                    <a:pt x="703" y="26"/>
                  </a:lnTo>
                  <a:lnTo>
                    <a:pt x="701" y="26"/>
                  </a:lnTo>
                  <a:lnTo>
                    <a:pt x="694" y="27"/>
                  </a:lnTo>
                  <a:lnTo>
                    <a:pt x="692" y="27"/>
                  </a:lnTo>
                  <a:lnTo>
                    <a:pt x="692" y="27"/>
                  </a:lnTo>
                  <a:lnTo>
                    <a:pt x="692" y="27"/>
                  </a:lnTo>
                  <a:lnTo>
                    <a:pt x="690" y="27"/>
                  </a:lnTo>
                  <a:lnTo>
                    <a:pt x="690" y="27"/>
                  </a:lnTo>
                  <a:lnTo>
                    <a:pt x="688" y="26"/>
                  </a:lnTo>
                  <a:lnTo>
                    <a:pt x="687" y="27"/>
                  </a:lnTo>
                  <a:lnTo>
                    <a:pt x="687" y="27"/>
                  </a:lnTo>
                  <a:lnTo>
                    <a:pt x="685" y="26"/>
                  </a:lnTo>
                  <a:lnTo>
                    <a:pt x="685" y="26"/>
                  </a:lnTo>
                  <a:lnTo>
                    <a:pt x="674" y="26"/>
                  </a:lnTo>
                  <a:lnTo>
                    <a:pt x="672" y="26"/>
                  </a:lnTo>
                  <a:lnTo>
                    <a:pt x="669" y="24"/>
                  </a:lnTo>
                  <a:lnTo>
                    <a:pt x="665" y="22"/>
                  </a:lnTo>
                  <a:lnTo>
                    <a:pt x="663" y="22"/>
                  </a:lnTo>
                  <a:lnTo>
                    <a:pt x="663" y="22"/>
                  </a:lnTo>
                  <a:lnTo>
                    <a:pt x="663" y="22"/>
                  </a:lnTo>
                  <a:lnTo>
                    <a:pt x="661" y="22"/>
                  </a:lnTo>
                  <a:lnTo>
                    <a:pt x="661" y="22"/>
                  </a:lnTo>
                  <a:lnTo>
                    <a:pt x="658" y="22"/>
                  </a:lnTo>
                  <a:lnTo>
                    <a:pt x="658" y="22"/>
                  </a:lnTo>
                  <a:lnTo>
                    <a:pt x="656" y="20"/>
                  </a:lnTo>
                  <a:lnTo>
                    <a:pt x="656" y="20"/>
                  </a:lnTo>
                  <a:lnTo>
                    <a:pt x="650" y="20"/>
                  </a:lnTo>
                  <a:lnTo>
                    <a:pt x="649" y="20"/>
                  </a:lnTo>
                  <a:lnTo>
                    <a:pt x="645" y="18"/>
                  </a:lnTo>
                  <a:lnTo>
                    <a:pt x="645" y="17"/>
                  </a:lnTo>
                  <a:lnTo>
                    <a:pt x="643" y="17"/>
                  </a:lnTo>
                  <a:lnTo>
                    <a:pt x="641" y="17"/>
                  </a:lnTo>
                  <a:lnTo>
                    <a:pt x="641" y="18"/>
                  </a:lnTo>
                  <a:lnTo>
                    <a:pt x="641" y="18"/>
                  </a:lnTo>
                  <a:lnTo>
                    <a:pt x="641" y="18"/>
                  </a:lnTo>
                  <a:lnTo>
                    <a:pt x="641" y="18"/>
                  </a:lnTo>
                  <a:lnTo>
                    <a:pt x="640" y="18"/>
                  </a:lnTo>
                  <a:lnTo>
                    <a:pt x="640" y="20"/>
                  </a:lnTo>
                  <a:lnTo>
                    <a:pt x="640" y="18"/>
                  </a:lnTo>
                  <a:lnTo>
                    <a:pt x="640" y="18"/>
                  </a:lnTo>
                  <a:lnTo>
                    <a:pt x="640" y="17"/>
                  </a:lnTo>
                  <a:lnTo>
                    <a:pt x="640" y="17"/>
                  </a:lnTo>
                  <a:lnTo>
                    <a:pt x="640" y="15"/>
                  </a:lnTo>
                  <a:lnTo>
                    <a:pt x="629" y="17"/>
                  </a:lnTo>
                  <a:lnTo>
                    <a:pt x="627" y="15"/>
                  </a:lnTo>
                  <a:lnTo>
                    <a:pt x="625" y="15"/>
                  </a:lnTo>
                  <a:lnTo>
                    <a:pt x="625" y="15"/>
                  </a:lnTo>
                  <a:lnTo>
                    <a:pt x="625" y="15"/>
                  </a:lnTo>
                  <a:lnTo>
                    <a:pt x="625" y="15"/>
                  </a:lnTo>
                  <a:lnTo>
                    <a:pt x="623" y="13"/>
                  </a:lnTo>
                  <a:lnTo>
                    <a:pt x="622" y="11"/>
                  </a:lnTo>
                  <a:lnTo>
                    <a:pt x="620" y="9"/>
                  </a:lnTo>
                  <a:lnTo>
                    <a:pt x="618" y="9"/>
                  </a:lnTo>
                  <a:lnTo>
                    <a:pt x="618" y="9"/>
                  </a:lnTo>
                  <a:lnTo>
                    <a:pt x="616" y="9"/>
                  </a:lnTo>
                  <a:lnTo>
                    <a:pt x="616" y="9"/>
                  </a:lnTo>
                  <a:lnTo>
                    <a:pt x="616" y="11"/>
                  </a:lnTo>
                  <a:lnTo>
                    <a:pt x="614" y="11"/>
                  </a:lnTo>
                  <a:lnTo>
                    <a:pt x="614" y="11"/>
                  </a:lnTo>
                  <a:lnTo>
                    <a:pt x="614" y="11"/>
                  </a:lnTo>
                  <a:lnTo>
                    <a:pt x="614" y="11"/>
                  </a:lnTo>
                  <a:lnTo>
                    <a:pt x="614" y="11"/>
                  </a:lnTo>
                  <a:lnTo>
                    <a:pt x="614" y="13"/>
                  </a:lnTo>
                  <a:lnTo>
                    <a:pt x="614" y="13"/>
                  </a:lnTo>
                  <a:lnTo>
                    <a:pt x="614" y="13"/>
                  </a:lnTo>
                  <a:lnTo>
                    <a:pt x="609" y="13"/>
                  </a:lnTo>
                  <a:lnTo>
                    <a:pt x="607" y="15"/>
                  </a:lnTo>
                  <a:lnTo>
                    <a:pt x="607" y="15"/>
                  </a:lnTo>
                  <a:lnTo>
                    <a:pt x="607" y="15"/>
                  </a:lnTo>
                  <a:lnTo>
                    <a:pt x="605" y="15"/>
                  </a:lnTo>
                  <a:lnTo>
                    <a:pt x="605" y="15"/>
                  </a:lnTo>
                  <a:lnTo>
                    <a:pt x="602" y="15"/>
                  </a:lnTo>
                  <a:lnTo>
                    <a:pt x="600" y="15"/>
                  </a:lnTo>
                  <a:lnTo>
                    <a:pt x="598" y="13"/>
                  </a:lnTo>
                  <a:lnTo>
                    <a:pt x="598" y="13"/>
                  </a:lnTo>
                  <a:lnTo>
                    <a:pt x="598" y="13"/>
                  </a:lnTo>
                  <a:lnTo>
                    <a:pt x="598" y="15"/>
                  </a:lnTo>
                  <a:lnTo>
                    <a:pt x="596" y="15"/>
                  </a:lnTo>
                  <a:lnTo>
                    <a:pt x="595" y="15"/>
                  </a:lnTo>
                  <a:lnTo>
                    <a:pt x="595" y="15"/>
                  </a:lnTo>
                  <a:lnTo>
                    <a:pt x="591" y="15"/>
                  </a:lnTo>
                  <a:lnTo>
                    <a:pt x="589" y="15"/>
                  </a:lnTo>
                  <a:lnTo>
                    <a:pt x="589" y="15"/>
                  </a:lnTo>
                  <a:lnTo>
                    <a:pt x="587" y="15"/>
                  </a:lnTo>
                  <a:lnTo>
                    <a:pt x="587" y="15"/>
                  </a:lnTo>
                  <a:lnTo>
                    <a:pt x="587" y="15"/>
                  </a:lnTo>
                  <a:lnTo>
                    <a:pt x="587" y="17"/>
                  </a:lnTo>
                  <a:lnTo>
                    <a:pt x="587" y="17"/>
                  </a:lnTo>
                  <a:lnTo>
                    <a:pt x="585" y="17"/>
                  </a:lnTo>
                  <a:lnTo>
                    <a:pt x="585" y="17"/>
                  </a:lnTo>
                  <a:lnTo>
                    <a:pt x="584" y="17"/>
                  </a:lnTo>
                  <a:lnTo>
                    <a:pt x="582" y="15"/>
                  </a:lnTo>
                  <a:lnTo>
                    <a:pt x="580" y="15"/>
                  </a:lnTo>
                  <a:lnTo>
                    <a:pt x="578" y="15"/>
                  </a:lnTo>
                  <a:lnTo>
                    <a:pt x="575" y="17"/>
                  </a:lnTo>
                  <a:lnTo>
                    <a:pt x="573" y="17"/>
                  </a:lnTo>
                  <a:lnTo>
                    <a:pt x="571" y="15"/>
                  </a:lnTo>
                  <a:lnTo>
                    <a:pt x="569" y="15"/>
                  </a:lnTo>
                  <a:lnTo>
                    <a:pt x="567" y="15"/>
                  </a:lnTo>
                  <a:lnTo>
                    <a:pt x="562" y="15"/>
                  </a:lnTo>
                  <a:lnTo>
                    <a:pt x="560" y="17"/>
                  </a:lnTo>
                  <a:lnTo>
                    <a:pt x="560" y="18"/>
                  </a:lnTo>
                  <a:lnTo>
                    <a:pt x="558" y="18"/>
                  </a:lnTo>
                  <a:lnTo>
                    <a:pt x="558" y="18"/>
                  </a:lnTo>
                  <a:lnTo>
                    <a:pt x="558" y="20"/>
                  </a:lnTo>
                  <a:lnTo>
                    <a:pt x="558" y="22"/>
                  </a:lnTo>
                  <a:lnTo>
                    <a:pt x="558" y="22"/>
                  </a:lnTo>
                  <a:lnTo>
                    <a:pt x="557" y="20"/>
                  </a:lnTo>
                  <a:lnTo>
                    <a:pt x="558" y="18"/>
                  </a:lnTo>
                  <a:lnTo>
                    <a:pt x="558" y="18"/>
                  </a:lnTo>
                  <a:lnTo>
                    <a:pt x="558" y="18"/>
                  </a:lnTo>
                  <a:lnTo>
                    <a:pt x="558" y="17"/>
                  </a:lnTo>
                  <a:lnTo>
                    <a:pt x="558" y="17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55" y="15"/>
                  </a:lnTo>
                  <a:lnTo>
                    <a:pt x="553" y="17"/>
                  </a:lnTo>
                  <a:lnTo>
                    <a:pt x="549" y="15"/>
                  </a:lnTo>
                  <a:lnTo>
                    <a:pt x="549" y="15"/>
                  </a:lnTo>
                  <a:lnTo>
                    <a:pt x="548" y="15"/>
                  </a:lnTo>
                  <a:lnTo>
                    <a:pt x="548" y="15"/>
                  </a:lnTo>
                  <a:lnTo>
                    <a:pt x="548" y="17"/>
                  </a:lnTo>
                  <a:lnTo>
                    <a:pt x="548" y="17"/>
                  </a:lnTo>
                  <a:lnTo>
                    <a:pt x="546" y="15"/>
                  </a:lnTo>
                  <a:lnTo>
                    <a:pt x="546" y="15"/>
                  </a:lnTo>
                  <a:lnTo>
                    <a:pt x="548" y="15"/>
                  </a:lnTo>
                  <a:lnTo>
                    <a:pt x="548" y="15"/>
                  </a:lnTo>
                  <a:lnTo>
                    <a:pt x="548" y="15"/>
                  </a:lnTo>
                  <a:lnTo>
                    <a:pt x="548" y="15"/>
                  </a:lnTo>
                  <a:lnTo>
                    <a:pt x="544" y="13"/>
                  </a:lnTo>
                  <a:lnTo>
                    <a:pt x="542" y="8"/>
                  </a:lnTo>
                  <a:lnTo>
                    <a:pt x="540" y="6"/>
                  </a:lnTo>
                  <a:lnTo>
                    <a:pt x="535" y="4"/>
                  </a:lnTo>
                  <a:lnTo>
                    <a:pt x="535" y="4"/>
                  </a:lnTo>
                  <a:lnTo>
                    <a:pt x="533" y="4"/>
                  </a:lnTo>
                  <a:lnTo>
                    <a:pt x="531" y="4"/>
                  </a:lnTo>
                  <a:lnTo>
                    <a:pt x="531" y="4"/>
                  </a:lnTo>
                  <a:lnTo>
                    <a:pt x="531" y="6"/>
                  </a:lnTo>
                  <a:lnTo>
                    <a:pt x="531" y="4"/>
                  </a:lnTo>
                  <a:lnTo>
                    <a:pt x="530" y="6"/>
                  </a:lnTo>
                  <a:lnTo>
                    <a:pt x="530" y="6"/>
                  </a:lnTo>
                  <a:lnTo>
                    <a:pt x="530" y="8"/>
                  </a:lnTo>
                  <a:lnTo>
                    <a:pt x="530" y="6"/>
                  </a:lnTo>
                  <a:lnTo>
                    <a:pt x="528" y="4"/>
                  </a:lnTo>
                  <a:lnTo>
                    <a:pt x="528" y="2"/>
                  </a:lnTo>
                  <a:lnTo>
                    <a:pt x="528" y="2"/>
                  </a:lnTo>
                  <a:lnTo>
                    <a:pt x="526" y="2"/>
                  </a:lnTo>
                  <a:lnTo>
                    <a:pt x="526" y="2"/>
                  </a:lnTo>
                  <a:lnTo>
                    <a:pt x="526" y="4"/>
                  </a:lnTo>
                  <a:lnTo>
                    <a:pt x="526" y="4"/>
                  </a:lnTo>
                  <a:lnTo>
                    <a:pt x="526" y="4"/>
                  </a:lnTo>
                  <a:lnTo>
                    <a:pt x="526" y="4"/>
                  </a:lnTo>
                  <a:lnTo>
                    <a:pt x="526" y="4"/>
                  </a:lnTo>
                  <a:lnTo>
                    <a:pt x="526" y="4"/>
                  </a:lnTo>
                  <a:lnTo>
                    <a:pt x="526" y="2"/>
                  </a:lnTo>
                  <a:lnTo>
                    <a:pt x="526" y="2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4" y="2"/>
                  </a:lnTo>
                  <a:lnTo>
                    <a:pt x="524" y="2"/>
                  </a:lnTo>
                  <a:lnTo>
                    <a:pt x="520" y="4"/>
                  </a:lnTo>
                  <a:lnTo>
                    <a:pt x="520" y="4"/>
                  </a:lnTo>
                  <a:lnTo>
                    <a:pt x="519" y="4"/>
                  </a:lnTo>
                  <a:lnTo>
                    <a:pt x="519" y="6"/>
                  </a:lnTo>
                  <a:lnTo>
                    <a:pt x="519" y="6"/>
                  </a:lnTo>
                  <a:lnTo>
                    <a:pt x="519" y="6"/>
                  </a:lnTo>
                  <a:lnTo>
                    <a:pt x="519" y="6"/>
                  </a:lnTo>
                  <a:lnTo>
                    <a:pt x="517" y="6"/>
                  </a:lnTo>
                  <a:lnTo>
                    <a:pt x="517" y="6"/>
                  </a:lnTo>
                  <a:lnTo>
                    <a:pt x="517" y="6"/>
                  </a:lnTo>
                  <a:lnTo>
                    <a:pt x="517" y="8"/>
                  </a:lnTo>
                  <a:lnTo>
                    <a:pt x="517" y="8"/>
                  </a:lnTo>
                  <a:lnTo>
                    <a:pt x="515" y="8"/>
                  </a:lnTo>
                  <a:lnTo>
                    <a:pt x="515" y="8"/>
                  </a:lnTo>
                  <a:lnTo>
                    <a:pt x="515" y="8"/>
                  </a:lnTo>
                  <a:lnTo>
                    <a:pt x="515" y="8"/>
                  </a:lnTo>
                  <a:lnTo>
                    <a:pt x="515" y="8"/>
                  </a:lnTo>
                  <a:lnTo>
                    <a:pt x="515" y="8"/>
                  </a:lnTo>
                  <a:lnTo>
                    <a:pt x="515" y="8"/>
                  </a:lnTo>
                  <a:lnTo>
                    <a:pt x="517" y="8"/>
                  </a:lnTo>
                  <a:lnTo>
                    <a:pt x="515" y="6"/>
                  </a:lnTo>
                  <a:lnTo>
                    <a:pt x="515" y="6"/>
                  </a:lnTo>
                  <a:lnTo>
                    <a:pt x="517" y="6"/>
                  </a:lnTo>
                  <a:lnTo>
                    <a:pt x="517" y="4"/>
                  </a:lnTo>
                  <a:lnTo>
                    <a:pt x="517" y="6"/>
                  </a:lnTo>
                  <a:lnTo>
                    <a:pt x="517" y="6"/>
                  </a:lnTo>
                  <a:lnTo>
                    <a:pt x="517" y="6"/>
                  </a:lnTo>
                  <a:lnTo>
                    <a:pt x="517" y="4"/>
                  </a:lnTo>
                  <a:lnTo>
                    <a:pt x="517" y="4"/>
                  </a:lnTo>
                  <a:lnTo>
                    <a:pt x="517" y="2"/>
                  </a:lnTo>
                  <a:lnTo>
                    <a:pt x="515" y="2"/>
                  </a:lnTo>
                  <a:lnTo>
                    <a:pt x="515" y="2"/>
                  </a:lnTo>
                  <a:lnTo>
                    <a:pt x="513" y="2"/>
                  </a:lnTo>
                  <a:lnTo>
                    <a:pt x="511" y="4"/>
                  </a:lnTo>
                  <a:lnTo>
                    <a:pt x="511" y="4"/>
                  </a:lnTo>
                  <a:lnTo>
                    <a:pt x="510" y="6"/>
                  </a:lnTo>
                  <a:lnTo>
                    <a:pt x="508" y="6"/>
                  </a:lnTo>
                  <a:lnTo>
                    <a:pt x="506" y="6"/>
                  </a:lnTo>
                  <a:lnTo>
                    <a:pt x="506" y="6"/>
                  </a:lnTo>
                  <a:lnTo>
                    <a:pt x="506" y="8"/>
                  </a:lnTo>
                  <a:lnTo>
                    <a:pt x="506" y="8"/>
                  </a:lnTo>
                  <a:lnTo>
                    <a:pt x="506" y="8"/>
                  </a:lnTo>
                  <a:lnTo>
                    <a:pt x="508" y="9"/>
                  </a:lnTo>
                  <a:lnTo>
                    <a:pt x="508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8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499" y="15"/>
                  </a:lnTo>
                  <a:lnTo>
                    <a:pt x="497" y="15"/>
                  </a:lnTo>
                  <a:lnTo>
                    <a:pt x="495" y="15"/>
                  </a:lnTo>
                  <a:lnTo>
                    <a:pt x="495" y="15"/>
                  </a:lnTo>
                  <a:lnTo>
                    <a:pt x="495" y="15"/>
                  </a:lnTo>
                  <a:lnTo>
                    <a:pt x="493" y="15"/>
                  </a:lnTo>
                  <a:lnTo>
                    <a:pt x="493" y="17"/>
                  </a:lnTo>
                  <a:lnTo>
                    <a:pt x="495" y="17"/>
                  </a:lnTo>
                  <a:lnTo>
                    <a:pt x="495" y="17"/>
                  </a:lnTo>
                  <a:lnTo>
                    <a:pt x="495" y="18"/>
                  </a:lnTo>
                  <a:lnTo>
                    <a:pt x="495" y="18"/>
                  </a:lnTo>
                  <a:lnTo>
                    <a:pt x="493" y="18"/>
                  </a:lnTo>
                  <a:lnTo>
                    <a:pt x="493" y="18"/>
                  </a:lnTo>
                  <a:lnTo>
                    <a:pt x="493" y="20"/>
                  </a:lnTo>
                  <a:lnTo>
                    <a:pt x="493" y="22"/>
                  </a:lnTo>
                  <a:lnTo>
                    <a:pt x="495" y="22"/>
                  </a:lnTo>
                  <a:lnTo>
                    <a:pt x="497" y="22"/>
                  </a:lnTo>
                  <a:lnTo>
                    <a:pt x="497" y="20"/>
                  </a:lnTo>
                  <a:lnTo>
                    <a:pt x="497" y="20"/>
                  </a:lnTo>
                  <a:lnTo>
                    <a:pt x="497" y="20"/>
                  </a:lnTo>
                  <a:lnTo>
                    <a:pt x="497" y="20"/>
                  </a:lnTo>
                  <a:lnTo>
                    <a:pt x="497" y="20"/>
                  </a:lnTo>
                  <a:lnTo>
                    <a:pt x="497" y="22"/>
                  </a:lnTo>
                  <a:lnTo>
                    <a:pt x="501" y="20"/>
                  </a:lnTo>
                  <a:lnTo>
                    <a:pt x="501" y="20"/>
                  </a:lnTo>
                  <a:lnTo>
                    <a:pt x="501" y="20"/>
                  </a:lnTo>
                  <a:lnTo>
                    <a:pt x="502" y="20"/>
                  </a:lnTo>
                  <a:lnTo>
                    <a:pt x="501" y="22"/>
                  </a:lnTo>
                  <a:lnTo>
                    <a:pt x="501" y="22"/>
                  </a:lnTo>
                  <a:lnTo>
                    <a:pt x="501" y="22"/>
                  </a:lnTo>
                  <a:lnTo>
                    <a:pt x="495" y="22"/>
                  </a:lnTo>
                  <a:lnTo>
                    <a:pt x="495" y="24"/>
                  </a:lnTo>
                  <a:lnTo>
                    <a:pt x="495" y="24"/>
                  </a:lnTo>
                  <a:lnTo>
                    <a:pt x="497" y="26"/>
                  </a:lnTo>
                  <a:lnTo>
                    <a:pt x="497" y="26"/>
                  </a:lnTo>
                  <a:lnTo>
                    <a:pt x="499" y="26"/>
                  </a:lnTo>
                  <a:lnTo>
                    <a:pt x="501" y="26"/>
                  </a:lnTo>
                  <a:lnTo>
                    <a:pt x="501" y="26"/>
                  </a:lnTo>
                  <a:lnTo>
                    <a:pt x="501" y="26"/>
                  </a:lnTo>
                  <a:lnTo>
                    <a:pt x="499" y="27"/>
                  </a:lnTo>
                  <a:lnTo>
                    <a:pt x="499" y="27"/>
                  </a:lnTo>
                  <a:lnTo>
                    <a:pt x="499" y="29"/>
                  </a:lnTo>
                  <a:lnTo>
                    <a:pt x="501" y="31"/>
                  </a:lnTo>
                  <a:lnTo>
                    <a:pt x="501" y="31"/>
                  </a:lnTo>
                  <a:lnTo>
                    <a:pt x="499" y="33"/>
                  </a:lnTo>
                  <a:lnTo>
                    <a:pt x="499" y="31"/>
                  </a:lnTo>
                  <a:lnTo>
                    <a:pt x="499" y="31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27"/>
                  </a:lnTo>
                  <a:lnTo>
                    <a:pt x="497" y="27"/>
                  </a:lnTo>
                  <a:lnTo>
                    <a:pt x="495" y="27"/>
                  </a:lnTo>
                  <a:lnTo>
                    <a:pt x="495" y="26"/>
                  </a:lnTo>
                  <a:lnTo>
                    <a:pt x="493" y="26"/>
                  </a:lnTo>
                  <a:lnTo>
                    <a:pt x="493" y="27"/>
                  </a:lnTo>
                  <a:lnTo>
                    <a:pt x="493" y="29"/>
                  </a:lnTo>
                  <a:lnTo>
                    <a:pt x="493" y="29"/>
                  </a:lnTo>
                  <a:lnTo>
                    <a:pt x="492" y="31"/>
                  </a:lnTo>
                  <a:lnTo>
                    <a:pt x="492" y="29"/>
                  </a:lnTo>
                  <a:lnTo>
                    <a:pt x="490" y="29"/>
                  </a:lnTo>
                  <a:lnTo>
                    <a:pt x="490" y="27"/>
                  </a:lnTo>
                  <a:lnTo>
                    <a:pt x="488" y="29"/>
                  </a:lnTo>
                  <a:lnTo>
                    <a:pt x="488" y="29"/>
                  </a:lnTo>
                  <a:lnTo>
                    <a:pt x="488" y="29"/>
                  </a:lnTo>
                  <a:lnTo>
                    <a:pt x="488" y="29"/>
                  </a:lnTo>
                  <a:lnTo>
                    <a:pt x="486" y="29"/>
                  </a:lnTo>
                  <a:lnTo>
                    <a:pt x="486" y="29"/>
                  </a:lnTo>
                  <a:lnTo>
                    <a:pt x="484" y="31"/>
                  </a:lnTo>
                  <a:lnTo>
                    <a:pt x="484" y="31"/>
                  </a:lnTo>
                  <a:lnTo>
                    <a:pt x="484" y="31"/>
                  </a:lnTo>
                  <a:lnTo>
                    <a:pt x="483" y="33"/>
                  </a:lnTo>
                  <a:lnTo>
                    <a:pt x="481" y="31"/>
                  </a:lnTo>
                  <a:lnTo>
                    <a:pt x="479" y="33"/>
                  </a:lnTo>
                  <a:lnTo>
                    <a:pt x="477" y="33"/>
                  </a:lnTo>
                  <a:lnTo>
                    <a:pt x="475" y="35"/>
                  </a:lnTo>
                  <a:lnTo>
                    <a:pt x="474" y="35"/>
                  </a:lnTo>
                  <a:lnTo>
                    <a:pt x="472" y="33"/>
                  </a:lnTo>
                  <a:lnTo>
                    <a:pt x="472" y="33"/>
                  </a:lnTo>
                  <a:lnTo>
                    <a:pt x="470" y="33"/>
                  </a:lnTo>
                  <a:lnTo>
                    <a:pt x="468" y="31"/>
                  </a:lnTo>
                  <a:lnTo>
                    <a:pt x="468" y="31"/>
                  </a:lnTo>
                  <a:lnTo>
                    <a:pt x="468" y="31"/>
                  </a:lnTo>
                  <a:lnTo>
                    <a:pt x="468" y="31"/>
                  </a:lnTo>
                  <a:lnTo>
                    <a:pt x="466" y="31"/>
                  </a:lnTo>
                  <a:lnTo>
                    <a:pt x="466" y="33"/>
                  </a:lnTo>
                  <a:lnTo>
                    <a:pt x="463" y="33"/>
                  </a:lnTo>
                  <a:lnTo>
                    <a:pt x="461" y="35"/>
                  </a:lnTo>
                  <a:lnTo>
                    <a:pt x="461" y="35"/>
                  </a:lnTo>
                  <a:lnTo>
                    <a:pt x="461" y="35"/>
                  </a:lnTo>
                  <a:lnTo>
                    <a:pt x="461" y="35"/>
                  </a:lnTo>
                  <a:lnTo>
                    <a:pt x="461" y="35"/>
                  </a:lnTo>
                  <a:lnTo>
                    <a:pt x="461" y="35"/>
                  </a:lnTo>
                  <a:lnTo>
                    <a:pt x="463" y="36"/>
                  </a:lnTo>
                  <a:lnTo>
                    <a:pt x="463" y="38"/>
                  </a:lnTo>
                  <a:lnTo>
                    <a:pt x="464" y="36"/>
                  </a:lnTo>
                  <a:lnTo>
                    <a:pt x="463" y="38"/>
                  </a:lnTo>
                  <a:lnTo>
                    <a:pt x="463" y="38"/>
                  </a:lnTo>
                  <a:lnTo>
                    <a:pt x="461" y="38"/>
                  </a:lnTo>
                  <a:lnTo>
                    <a:pt x="459" y="38"/>
                  </a:lnTo>
                  <a:lnTo>
                    <a:pt x="459" y="38"/>
                  </a:lnTo>
                  <a:lnTo>
                    <a:pt x="459" y="38"/>
                  </a:lnTo>
                  <a:lnTo>
                    <a:pt x="459" y="40"/>
                  </a:lnTo>
                  <a:lnTo>
                    <a:pt x="457" y="40"/>
                  </a:lnTo>
                  <a:lnTo>
                    <a:pt x="457" y="40"/>
                  </a:lnTo>
                  <a:lnTo>
                    <a:pt x="457" y="40"/>
                  </a:lnTo>
                  <a:lnTo>
                    <a:pt x="455" y="42"/>
                  </a:lnTo>
                  <a:lnTo>
                    <a:pt x="455" y="42"/>
                  </a:lnTo>
                  <a:lnTo>
                    <a:pt x="454" y="40"/>
                  </a:lnTo>
                  <a:lnTo>
                    <a:pt x="452" y="42"/>
                  </a:lnTo>
                  <a:lnTo>
                    <a:pt x="448" y="44"/>
                  </a:lnTo>
                  <a:lnTo>
                    <a:pt x="450" y="46"/>
                  </a:lnTo>
                  <a:lnTo>
                    <a:pt x="450" y="46"/>
                  </a:lnTo>
                  <a:lnTo>
                    <a:pt x="452" y="44"/>
                  </a:lnTo>
                  <a:lnTo>
                    <a:pt x="452" y="44"/>
                  </a:lnTo>
                  <a:lnTo>
                    <a:pt x="452" y="44"/>
                  </a:lnTo>
                  <a:lnTo>
                    <a:pt x="454" y="44"/>
                  </a:lnTo>
                  <a:lnTo>
                    <a:pt x="454" y="44"/>
                  </a:lnTo>
                  <a:lnTo>
                    <a:pt x="454" y="44"/>
                  </a:lnTo>
                  <a:lnTo>
                    <a:pt x="454" y="44"/>
                  </a:lnTo>
                  <a:lnTo>
                    <a:pt x="454" y="46"/>
                  </a:lnTo>
                  <a:lnTo>
                    <a:pt x="454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52" y="47"/>
                  </a:lnTo>
                  <a:lnTo>
                    <a:pt x="450" y="47"/>
                  </a:lnTo>
                  <a:lnTo>
                    <a:pt x="450" y="47"/>
                  </a:lnTo>
                  <a:lnTo>
                    <a:pt x="448" y="46"/>
                  </a:lnTo>
                  <a:lnTo>
                    <a:pt x="448" y="47"/>
                  </a:lnTo>
                  <a:lnTo>
                    <a:pt x="448" y="47"/>
                  </a:lnTo>
                  <a:lnTo>
                    <a:pt x="448" y="47"/>
                  </a:lnTo>
                  <a:lnTo>
                    <a:pt x="446" y="49"/>
                  </a:lnTo>
                  <a:lnTo>
                    <a:pt x="446" y="49"/>
                  </a:lnTo>
                  <a:lnTo>
                    <a:pt x="446" y="49"/>
                  </a:lnTo>
                  <a:lnTo>
                    <a:pt x="446" y="51"/>
                  </a:lnTo>
                  <a:lnTo>
                    <a:pt x="446" y="53"/>
                  </a:lnTo>
                  <a:lnTo>
                    <a:pt x="446" y="53"/>
                  </a:lnTo>
                  <a:lnTo>
                    <a:pt x="446" y="53"/>
                  </a:lnTo>
                  <a:lnTo>
                    <a:pt x="446" y="53"/>
                  </a:lnTo>
                  <a:lnTo>
                    <a:pt x="446" y="55"/>
                  </a:lnTo>
                  <a:lnTo>
                    <a:pt x="446" y="55"/>
                  </a:lnTo>
                  <a:lnTo>
                    <a:pt x="446" y="55"/>
                  </a:lnTo>
                  <a:lnTo>
                    <a:pt x="446" y="55"/>
                  </a:lnTo>
                  <a:lnTo>
                    <a:pt x="446" y="58"/>
                  </a:lnTo>
                  <a:lnTo>
                    <a:pt x="445" y="58"/>
                  </a:lnTo>
                  <a:lnTo>
                    <a:pt x="445" y="60"/>
                  </a:lnTo>
                  <a:lnTo>
                    <a:pt x="446" y="60"/>
                  </a:lnTo>
                  <a:lnTo>
                    <a:pt x="446" y="62"/>
                  </a:lnTo>
                  <a:lnTo>
                    <a:pt x="446" y="62"/>
                  </a:lnTo>
                  <a:lnTo>
                    <a:pt x="446" y="62"/>
                  </a:lnTo>
                  <a:lnTo>
                    <a:pt x="446" y="60"/>
                  </a:lnTo>
                  <a:lnTo>
                    <a:pt x="448" y="58"/>
                  </a:lnTo>
                  <a:lnTo>
                    <a:pt x="448" y="58"/>
                  </a:lnTo>
                  <a:lnTo>
                    <a:pt x="448" y="58"/>
                  </a:lnTo>
                  <a:lnTo>
                    <a:pt x="448" y="58"/>
                  </a:lnTo>
                  <a:lnTo>
                    <a:pt x="450" y="60"/>
                  </a:lnTo>
                  <a:lnTo>
                    <a:pt x="450" y="60"/>
                  </a:lnTo>
                  <a:lnTo>
                    <a:pt x="450" y="60"/>
                  </a:lnTo>
                  <a:lnTo>
                    <a:pt x="450" y="58"/>
                  </a:lnTo>
                  <a:lnTo>
                    <a:pt x="450" y="58"/>
                  </a:lnTo>
                  <a:lnTo>
                    <a:pt x="450" y="58"/>
                  </a:lnTo>
                  <a:lnTo>
                    <a:pt x="450" y="58"/>
                  </a:lnTo>
                  <a:lnTo>
                    <a:pt x="452" y="60"/>
                  </a:lnTo>
                  <a:lnTo>
                    <a:pt x="452" y="60"/>
                  </a:lnTo>
                  <a:lnTo>
                    <a:pt x="452" y="60"/>
                  </a:lnTo>
                  <a:lnTo>
                    <a:pt x="454" y="60"/>
                  </a:lnTo>
                  <a:lnTo>
                    <a:pt x="454" y="60"/>
                  </a:lnTo>
                  <a:lnTo>
                    <a:pt x="454" y="60"/>
                  </a:lnTo>
                  <a:lnTo>
                    <a:pt x="454" y="62"/>
                  </a:lnTo>
                  <a:lnTo>
                    <a:pt x="452" y="62"/>
                  </a:lnTo>
                  <a:lnTo>
                    <a:pt x="452" y="62"/>
                  </a:lnTo>
                  <a:lnTo>
                    <a:pt x="452" y="62"/>
                  </a:lnTo>
                  <a:lnTo>
                    <a:pt x="452" y="64"/>
                  </a:lnTo>
                  <a:lnTo>
                    <a:pt x="454" y="64"/>
                  </a:lnTo>
                  <a:lnTo>
                    <a:pt x="454" y="64"/>
                  </a:lnTo>
                  <a:lnTo>
                    <a:pt x="454" y="65"/>
                  </a:lnTo>
                  <a:lnTo>
                    <a:pt x="455" y="65"/>
                  </a:lnTo>
                  <a:lnTo>
                    <a:pt x="454" y="65"/>
                  </a:lnTo>
                  <a:lnTo>
                    <a:pt x="454" y="67"/>
                  </a:lnTo>
                  <a:lnTo>
                    <a:pt x="454" y="67"/>
                  </a:lnTo>
                  <a:lnTo>
                    <a:pt x="454" y="67"/>
                  </a:lnTo>
                  <a:lnTo>
                    <a:pt x="454" y="67"/>
                  </a:lnTo>
                  <a:lnTo>
                    <a:pt x="454" y="69"/>
                  </a:lnTo>
                  <a:lnTo>
                    <a:pt x="454" y="71"/>
                  </a:lnTo>
                  <a:lnTo>
                    <a:pt x="455" y="71"/>
                  </a:lnTo>
                  <a:lnTo>
                    <a:pt x="455" y="71"/>
                  </a:lnTo>
                  <a:lnTo>
                    <a:pt x="457" y="71"/>
                  </a:lnTo>
                  <a:lnTo>
                    <a:pt x="457" y="69"/>
                  </a:lnTo>
                  <a:lnTo>
                    <a:pt x="457" y="67"/>
                  </a:lnTo>
                  <a:lnTo>
                    <a:pt x="459" y="67"/>
                  </a:lnTo>
                  <a:lnTo>
                    <a:pt x="461" y="69"/>
                  </a:lnTo>
                  <a:lnTo>
                    <a:pt x="463" y="67"/>
                  </a:lnTo>
                  <a:lnTo>
                    <a:pt x="463" y="67"/>
                  </a:lnTo>
                  <a:lnTo>
                    <a:pt x="464" y="67"/>
                  </a:lnTo>
                  <a:lnTo>
                    <a:pt x="464" y="65"/>
                  </a:lnTo>
                  <a:lnTo>
                    <a:pt x="466" y="65"/>
                  </a:lnTo>
                  <a:lnTo>
                    <a:pt x="466" y="67"/>
                  </a:lnTo>
                  <a:lnTo>
                    <a:pt x="464" y="67"/>
                  </a:lnTo>
                  <a:lnTo>
                    <a:pt x="464" y="69"/>
                  </a:lnTo>
                  <a:lnTo>
                    <a:pt x="464" y="69"/>
                  </a:lnTo>
                  <a:lnTo>
                    <a:pt x="463" y="69"/>
                  </a:lnTo>
                  <a:lnTo>
                    <a:pt x="461" y="71"/>
                  </a:lnTo>
                  <a:lnTo>
                    <a:pt x="461" y="73"/>
                  </a:lnTo>
                  <a:lnTo>
                    <a:pt x="461" y="73"/>
                  </a:lnTo>
                  <a:lnTo>
                    <a:pt x="459" y="73"/>
                  </a:lnTo>
                  <a:lnTo>
                    <a:pt x="459" y="73"/>
                  </a:lnTo>
                  <a:lnTo>
                    <a:pt x="459" y="73"/>
                  </a:lnTo>
                  <a:lnTo>
                    <a:pt x="459" y="74"/>
                  </a:lnTo>
                  <a:lnTo>
                    <a:pt x="457" y="74"/>
                  </a:lnTo>
                  <a:lnTo>
                    <a:pt x="457" y="76"/>
                  </a:lnTo>
                  <a:lnTo>
                    <a:pt x="457" y="78"/>
                  </a:lnTo>
                  <a:lnTo>
                    <a:pt x="457" y="78"/>
                  </a:lnTo>
                  <a:lnTo>
                    <a:pt x="457" y="80"/>
                  </a:lnTo>
                  <a:lnTo>
                    <a:pt x="455" y="82"/>
                  </a:lnTo>
                  <a:lnTo>
                    <a:pt x="457" y="82"/>
                  </a:lnTo>
                  <a:lnTo>
                    <a:pt x="457" y="83"/>
                  </a:lnTo>
                  <a:lnTo>
                    <a:pt x="459" y="83"/>
                  </a:lnTo>
                  <a:lnTo>
                    <a:pt x="459" y="85"/>
                  </a:lnTo>
                  <a:lnTo>
                    <a:pt x="459" y="85"/>
                  </a:lnTo>
                  <a:lnTo>
                    <a:pt x="461" y="85"/>
                  </a:lnTo>
                  <a:lnTo>
                    <a:pt x="461" y="85"/>
                  </a:lnTo>
                  <a:lnTo>
                    <a:pt x="461" y="85"/>
                  </a:lnTo>
                  <a:lnTo>
                    <a:pt x="461" y="83"/>
                  </a:lnTo>
                  <a:lnTo>
                    <a:pt x="461" y="83"/>
                  </a:lnTo>
                  <a:lnTo>
                    <a:pt x="463" y="82"/>
                  </a:lnTo>
                  <a:lnTo>
                    <a:pt x="464" y="82"/>
                  </a:lnTo>
                  <a:lnTo>
                    <a:pt x="463" y="82"/>
                  </a:lnTo>
                  <a:lnTo>
                    <a:pt x="464" y="80"/>
                  </a:lnTo>
                  <a:lnTo>
                    <a:pt x="464" y="80"/>
                  </a:lnTo>
                  <a:lnTo>
                    <a:pt x="464" y="80"/>
                  </a:lnTo>
                  <a:lnTo>
                    <a:pt x="466" y="80"/>
                  </a:lnTo>
                  <a:lnTo>
                    <a:pt x="466" y="80"/>
                  </a:lnTo>
                  <a:lnTo>
                    <a:pt x="468" y="78"/>
                  </a:lnTo>
                  <a:lnTo>
                    <a:pt x="466" y="78"/>
                  </a:lnTo>
                  <a:lnTo>
                    <a:pt x="466" y="76"/>
                  </a:lnTo>
                  <a:lnTo>
                    <a:pt x="468" y="76"/>
                  </a:lnTo>
                  <a:lnTo>
                    <a:pt x="468" y="76"/>
                  </a:lnTo>
                  <a:lnTo>
                    <a:pt x="470" y="78"/>
                  </a:lnTo>
                  <a:lnTo>
                    <a:pt x="470" y="78"/>
                  </a:lnTo>
                  <a:lnTo>
                    <a:pt x="470" y="78"/>
                  </a:lnTo>
                  <a:lnTo>
                    <a:pt x="472" y="78"/>
                  </a:lnTo>
                  <a:lnTo>
                    <a:pt x="472" y="78"/>
                  </a:lnTo>
                  <a:lnTo>
                    <a:pt x="474" y="76"/>
                  </a:lnTo>
                  <a:lnTo>
                    <a:pt x="474" y="74"/>
                  </a:lnTo>
                  <a:lnTo>
                    <a:pt x="474" y="74"/>
                  </a:lnTo>
                  <a:lnTo>
                    <a:pt x="474" y="76"/>
                  </a:lnTo>
                  <a:lnTo>
                    <a:pt x="472" y="82"/>
                  </a:lnTo>
                  <a:lnTo>
                    <a:pt x="470" y="82"/>
                  </a:lnTo>
                  <a:lnTo>
                    <a:pt x="470" y="82"/>
                  </a:lnTo>
                  <a:lnTo>
                    <a:pt x="470" y="82"/>
                  </a:lnTo>
                  <a:lnTo>
                    <a:pt x="468" y="83"/>
                  </a:lnTo>
                  <a:lnTo>
                    <a:pt x="468" y="85"/>
                  </a:lnTo>
                  <a:lnTo>
                    <a:pt x="468" y="85"/>
                  </a:lnTo>
                  <a:lnTo>
                    <a:pt x="470" y="87"/>
                  </a:lnTo>
                  <a:lnTo>
                    <a:pt x="468" y="89"/>
                  </a:lnTo>
                  <a:lnTo>
                    <a:pt x="468" y="89"/>
                  </a:lnTo>
                  <a:lnTo>
                    <a:pt x="468" y="91"/>
                  </a:lnTo>
                  <a:lnTo>
                    <a:pt x="468" y="91"/>
                  </a:lnTo>
                  <a:lnTo>
                    <a:pt x="468" y="91"/>
                  </a:lnTo>
                  <a:lnTo>
                    <a:pt x="468" y="91"/>
                  </a:lnTo>
                  <a:lnTo>
                    <a:pt x="466" y="91"/>
                  </a:lnTo>
                  <a:lnTo>
                    <a:pt x="466" y="91"/>
                  </a:lnTo>
                  <a:lnTo>
                    <a:pt x="466" y="89"/>
                  </a:lnTo>
                  <a:lnTo>
                    <a:pt x="466" y="89"/>
                  </a:lnTo>
                  <a:lnTo>
                    <a:pt x="466" y="89"/>
                  </a:lnTo>
                  <a:lnTo>
                    <a:pt x="466" y="89"/>
                  </a:lnTo>
                  <a:lnTo>
                    <a:pt x="464" y="89"/>
                  </a:lnTo>
                  <a:lnTo>
                    <a:pt x="464" y="89"/>
                  </a:lnTo>
                  <a:lnTo>
                    <a:pt x="463" y="89"/>
                  </a:lnTo>
                  <a:lnTo>
                    <a:pt x="463" y="91"/>
                  </a:lnTo>
                  <a:lnTo>
                    <a:pt x="463" y="91"/>
                  </a:lnTo>
                  <a:lnTo>
                    <a:pt x="464" y="91"/>
                  </a:lnTo>
                  <a:lnTo>
                    <a:pt x="466" y="91"/>
                  </a:lnTo>
                  <a:lnTo>
                    <a:pt x="466" y="92"/>
                  </a:lnTo>
                  <a:lnTo>
                    <a:pt x="466" y="92"/>
                  </a:lnTo>
                  <a:lnTo>
                    <a:pt x="466" y="94"/>
                  </a:lnTo>
                  <a:lnTo>
                    <a:pt x="468" y="94"/>
                  </a:lnTo>
                  <a:lnTo>
                    <a:pt x="470" y="94"/>
                  </a:lnTo>
                  <a:lnTo>
                    <a:pt x="472" y="94"/>
                  </a:lnTo>
                  <a:lnTo>
                    <a:pt x="472" y="94"/>
                  </a:lnTo>
                  <a:lnTo>
                    <a:pt x="474" y="94"/>
                  </a:lnTo>
                  <a:lnTo>
                    <a:pt x="474" y="92"/>
                  </a:lnTo>
                  <a:lnTo>
                    <a:pt x="475" y="92"/>
                  </a:lnTo>
                  <a:lnTo>
                    <a:pt x="475" y="92"/>
                  </a:lnTo>
                  <a:lnTo>
                    <a:pt x="475" y="92"/>
                  </a:lnTo>
                  <a:lnTo>
                    <a:pt x="475" y="92"/>
                  </a:lnTo>
                  <a:lnTo>
                    <a:pt x="475" y="92"/>
                  </a:lnTo>
                  <a:lnTo>
                    <a:pt x="477" y="92"/>
                  </a:lnTo>
                  <a:lnTo>
                    <a:pt x="477" y="92"/>
                  </a:lnTo>
                  <a:lnTo>
                    <a:pt x="477" y="92"/>
                  </a:lnTo>
                  <a:lnTo>
                    <a:pt x="475" y="94"/>
                  </a:lnTo>
                  <a:lnTo>
                    <a:pt x="474" y="94"/>
                  </a:lnTo>
                  <a:lnTo>
                    <a:pt x="474" y="96"/>
                  </a:lnTo>
                  <a:lnTo>
                    <a:pt x="472" y="98"/>
                  </a:lnTo>
                  <a:lnTo>
                    <a:pt x="472" y="98"/>
                  </a:lnTo>
                  <a:lnTo>
                    <a:pt x="472" y="100"/>
                  </a:lnTo>
                  <a:lnTo>
                    <a:pt x="470" y="98"/>
                  </a:lnTo>
                  <a:lnTo>
                    <a:pt x="468" y="98"/>
                  </a:lnTo>
                  <a:lnTo>
                    <a:pt x="468" y="98"/>
                  </a:lnTo>
                  <a:lnTo>
                    <a:pt x="468" y="100"/>
                  </a:lnTo>
                  <a:lnTo>
                    <a:pt x="468" y="100"/>
                  </a:lnTo>
                  <a:lnTo>
                    <a:pt x="468" y="102"/>
                  </a:lnTo>
                  <a:lnTo>
                    <a:pt x="468" y="102"/>
                  </a:lnTo>
                  <a:lnTo>
                    <a:pt x="468" y="102"/>
                  </a:lnTo>
                  <a:lnTo>
                    <a:pt x="466" y="102"/>
                  </a:lnTo>
                  <a:lnTo>
                    <a:pt x="466" y="102"/>
                  </a:lnTo>
                  <a:lnTo>
                    <a:pt x="466" y="103"/>
                  </a:lnTo>
                  <a:lnTo>
                    <a:pt x="466" y="105"/>
                  </a:lnTo>
                  <a:lnTo>
                    <a:pt x="468" y="103"/>
                  </a:lnTo>
                  <a:lnTo>
                    <a:pt x="470" y="105"/>
                  </a:lnTo>
                  <a:lnTo>
                    <a:pt x="470" y="105"/>
                  </a:lnTo>
                  <a:lnTo>
                    <a:pt x="472" y="103"/>
                  </a:lnTo>
                  <a:lnTo>
                    <a:pt x="474" y="102"/>
                  </a:lnTo>
                  <a:lnTo>
                    <a:pt x="475" y="102"/>
                  </a:lnTo>
                  <a:lnTo>
                    <a:pt x="475" y="102"/>
                  </a:lnTo>
                  <a:lnTo>
                    <a:pt x="477" y="100"/>
                  </a:lnTo>
                  <a:lnTo>
                    <a:pt x="477" y="100"/>
                  </a:lnTo>
                  <a:lnTo>
                    <a:pt x="479" y="98"/>
                  </a:lnTo>
                  <a:lnTo>
                    <a:pt x="479" y="98"/>
                  </a:lnTo>
                  <a:lnTo>
                    <a:pt x="479" y="98"/>
                  </a:lnTo>
                  <a:lnTo>
                    <a:pt x="479" y="100"/>
                  </a:lnTo>
                  <a:lnTo>
                    <a:pt x="479" y="102"/>
                  </a:lnTo>
                  <a:lnTo>
                    <a:pt x="479" y="102"/>
                  </a:lnTo>
                  <a:lnTo>
                    <a:pt x="479" y="102"/>
                  </a:lnTo>
                  <a:lnTo>
                    <a:pt x="477" y="103"/>
                  </a:lnTo>
                  <a:lnTo>
                    <a:pt x="477" y="103"/>
                  </a:lnTo>
                  <a:lnTo>
                    <a:pt x="475" y="105"/>
                  </a:lnTo>
                  <a:lnTo>
                    <a:pt x="475" y="105"/>
                  </a:lnTo>
                  <a:lnTo>
                    <a:pt x="474" y="105"/>
                  </a:lnTo>
                  <a:lnTo>
                    <a:pt x="472" y="107"/>
                  </a:lnTo>
                  <a:lnTo>
                    <a:pt x="470" y="109"/>
                  </a:lnTo>
                  <a:lnTo>
                    <a:pt x="470" y="109"/>
                  </a:lnTo>
                  <a:lnTo>
                    <a:pt x="470" y="109"/>
                  </a:lnTo>
                  <a:lnTo>
                    <a:pt x="470" y="109"/>
                  </a:lnTo>
                  <a:lnTo>
                    <a:pt x="470" y="111"/>
                  </a:lnTo>
                  <a:lnTo>
                    <a:pt x="470" y="111"/>
                  </a:lnTo>
                  <a:lnTo>
                    <a:pt x="468" y="111"/>
                  </a:lnTo>
                  <a:lnTo>
                    <a:pt x="468" y="111"/>
                  </a:lnTo>
                  <a:lnTo>
                    <a:pt x="468" y="111"/>
                  </a:lnTo>
                  <a:lnTo>
                    <a:pt x="468" y="112"/>
                  </a:lnTo>
                  <a:lnTo>
                    <a:pt x="468" y="112"/>
                  </a:lnTo>
                  <a:lnTo>
                    <a:pt x="468" y="112"/>
                  </a:lnTo>
                  <a:lnTo>
                    <a:pt x="468" y="112"/>
                  </a:lnTo>
                  <a:lnTo>
                    <a:pt x="466" y="114"/>
                  </a:lnTo>
                  <a:lnTo>
                    <a:pt x="464" y="114"/>
                  </a:lnTo>
                  <a:lnTo>
                    <a:pt x="464" y="114"/>
                  </a:lnTo>
                  <a:lnTo>
                    <a:pt x="466" y="129"/>
                  </a:lnTo>
                  <a:lnTo>
                    <a:pt x="466" y="129"/>
                  </a:lnTo>
                  <a:lnTo>
                    <a:pt x="466" y="129"/>
                  </a:lnTo>
                  <a:lnTo>
                    <a:pt x="468" y="129"/>
                  </a:lnTo>
                  <a:lnTo>
                    <a:pt x="468" y="127"/>
                  </a:lnTo>
                  <a:lnTo>
                    <a:pt x="470" y="127"/>
                  </a:lnTo>
                  <a:lnTo>
                    <a:pt x="470" y="127"/>
                  </a:lnTo>
                  <a:lnTo>
                    <a:pt x="472" y="127"/>
                  </a:lnTo>
                  <a:lnTo>
                    <a:pt x="472" y="125"/>
                  </a:lnTo>
                  <a:lnTo>
                    <a:pt x="472" y="123"/>
                  </a:lnTo>
                  <a:lnTo>
                    <a:pt x="474" y="123"/>
                  </a:lnTo>
                  <a:lnTo>
                    <a:pt x="474" y="123"/>
                  </a:lnTo>
                  <a:lnTo>
                    <a:pt x="475" y="123"/>
                  </a:lnTo>
                  <a:lnTo>
                    <a:pt x="477" y="121"/>
                  </a:lnTo>
                  <a:lnTo>
                    <a:pt x="477" y="121"/>
                  </a:lnTo>
                  <a:lnTo>
                    <a:pt x="477" y="120"/>
                  </a:lnTo>
                  <a:lnTo>
                    <a:pt x="477" y="120"/>
                  </a:lnTo>
                  <a:lnTo>
                    <a:pt x="479" y="118"/>
                  </a:lnTo>
                  <a:lnTo>
                    <a:pt x="479" y="118"/>
                  </a:lnTo>
                  <a:lnTo>
                    <a:pt x="481" y="118"/>
                  </a:lnTo>
                  <a:lnTo>
                    <a:pt x="483" y="118"/>
                  </a:lnTo>
                  <a:lnTo>
                    <a:pt x="484" y="116"/>
                  </a:lnTo>
                  <a:lnTo>
                    <a:pt x="484" y="116"/>
                  </a:lnTo>
                  <a:lnTo>
                    <a:pt x="493" y="114"/>
                  </a:lnTo>
                  <a:lnTo>
                    <a:pt x="493" y="114"/>
                  </a:lnTo>
                  <a:lnTo>
                    <a:pt x="495" y="114"/>
                  </a:lnTo>
                  <a:lnTo>
                    <a:pt x="495" y="112"/>
                  </a:lnTo>
                  <a:lnTo>
                    <a:pt x="495" y="112"/>
                  </a:lnTo>
                  <a:lnTo>
                    <a:pt x="497" y="112"/>
                  </a:lnTo>
                  <a:lnTo>
                    <a:pt x="497" y="112"/>
                  </a:lnTo>
                  <a:lnTo>
                    <a:pt x="499" y="111"/>
                  </a:lnTo>
                  <a:lnTo>
                    <a:pt x="499" y="112"/>
                  </a:lnTo>
                  <a:lnTo>
                    <a:pt x="499" y="112"/>
                  </a:lnTo>
                  <a:lnTo>
                    <a:pt x="499" y="116"/>
                  </a:lnTo>
                  <a:lnTo>
                    <a:pt x="499" y="118"/>
                  </a:lnTo>
                  <a:lnTo>
                    <a:pt x="501" y="118"/>
                  </a:lnTo>
                  <a:lnTo>
                    <a:pt x="501" y="118"/>
                  </a:lnTo>
                  <a:lnTo>
                    <a:pt x="502" y="118"/>
                  </a:lnTo>
                  <a:lnTo>
                    <a:pt x="502" y="116"/>
                  </a:lnTo>
                  <a:lnTo>
                    <a:pt x="504" y="118"/>
                  </a:lnTo>
                  <a:lnTo>
                    <a:pt x="504" y="118"/>
                  </a:lnTo>
                  <a:lnTo>
                    <a:pt x="506" y="120"/>
                  </a:lnTo>
                  <a:lnTo>
                    <a:pt x="504" y="120"/>
                  </a:lnTo>
                  <a:lnTo>
                    <a:pt x="504" y="121"/>
                  </a:lnTo>
                  <a:lnTo>
                    <a:pt x="504" y="121"/>
                  </a:lnTo>
                  <a:lnTo>
                    <a:pt x="502" y="123"/>
                  </a:lnTo>
                  <a:lnTo>
                    <a:pt x="501" y="123"/>
                  </a:lnTo>
                  <a:lnTo>
                    <a:pt x="499" y="127"/>
                  </a:lnTo>
                  <a:lnTo>
                    <a:pt x="499" y="129"/>
                  </a:lnTo>
                  <a:lnTo>
                    <a:pt x="499" y="129"/>
                  </a:lnTo>
                  <a:lnTo>
                    <a:pt x="499" y="130"/>
                  </a:lnTo>
                  <a:lnTo>
                    <a:pt x="501" y="130"/>
                  </a:lnTo>
                  <a:lnTo>
                    <a:pt x="501" y="132"/>
                  </a:lnTo>
                  <a:lnTo>
                    <a:pt x="501" y="132"/>
                  </a:lnTo>
                  <a:lnTo>
                    <a:pt x="501" y="134"/>
                  </a:lnTo>
                  <a:lnTo>
                    <a:pt x="501" y="134"/>
                  </a:lnTo>
                  <a:lnTo>
                    <a:pt x="506" y="134"/>
                  </a:lnTo>
                  <a:lnTo>
                    <a:pt x="508" y="134"/>
                  </a:lnTo>
                  <a:lnTo>
                    <a:pt x="508" y="134"/>
                  </a:lnTo>
                  <a:lnTo>
                    <a:pt x="510" y="132"/>
                  </a:lnTo>
                  <a:lnTo>
                    <a:pt x="510" y="132"/>
                  </a:lnTo>
                  <a:lnTo>
                    <a:pt x="510" y="130"/>
                  </a:lnTo>
                  <a:lnTo>
                    <a:pt x="511" y="130"/>
                  </a:lnTo>
                  <a:lnTo>
                    <a:pt x="511" y="130"/>
                  </a:lnTo>
                  <a:lnTo>
                    <a:pt x="513" y="130"/>
                  </a:lnTo>
                  <a:lnTo>
                    <a:pt x="513" y="130"/>
                  </a:lnTo>
                  <a:lnTo>
                    <a:pt x="513" y="129"/>
                  </a:lnTo>
                  <a:lnTo>
                    <a:pt x="513" y="129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5" y="130"/>
                  </a:lnTo>
                  <a:lnTo>
                    <a:pt x="517" y="130"/>
                  </a:lnTo>
                  <a:lnTo>
                    <a:pt x="517" y="130"/>
                  </a:lnTo>
                  <a:lnTo>
                    <a:pt x="517" y="130"/>
                  </a:lnTo>
                  <a:lnTo>
                    <a:pt x="517" y="130"/>
                  </a:lnTo>
                  <a:lnTo>
                    <a:pt x="519" y="130"/>
                  </a:lnTo>
                  <a:lnTo>
                    <a:pt x="519" y="130"/>
                  </a:lnTo>
                  <a:lnTo>
                    <a:pt x="522" y="129"/>
                  </a:lnTo>
                  <a:lnTo>
                    <a:pt x="524" y="129"/>
                  </a:lnTo>
                  <a:lnTo>
                    <a:pt x="524" y="129"/>
                  </a:lnTo>
                  <a:lnTo>
                    <a:pt x="526" y="130"/>
                  </a:lnTo>
                  <a:lnTo>
                    <a:pt x="528" y="130"/>
                  </a:lnTo>
                  <a:lnTo>
                    <a:pt x="530" y="130"/>
                  </a:lnTo>
                  <a:lnTo>
                    <a:pt x="530" y="132"/>
                  </a:lnTo>
                  <a:lnTo>
                    <a:pt x="530" y="132"/>
                  </a:lnTo>
                  <a:lnTo>
                    <a:pt x="530" y="134"/>
                  </a:lnTo>
                  <a:lnTo>
                    <a:pt x="531" y="134"/>
                  </a:lnTo>
                  <a:lnTo>
                    <a:pt x="531" y="134"/>
                  </a:lnTo>
                  <a:lnTo>
                    <a:pt x="533" y="132"/>
                  </a:lnTo>
                  <a:lnTo>
                    <a:pt x="533" y="132"/>
                  </a:lnTo>
                  <a:lnTo>
                    <a:pt x="533" y="132"/>
                  </a:lnTo>
                  <a:lnTo>
                    <a:pt x="533" y="132"/>
                  </a:lnTo>
                  <a:lnTo>
                    <a:pt x="533" y="130"/>
                  </a:lnTo>
                  <a:lnTo>
                    <a:pt x="535" y="130"/>
                  </a:lnTo>
                  <a:lnTo>
                    <a:pt x="535" y="130"/>
                  </a:lnTo>
                  <a:lnTo>
                    <a:pt x="535" y="132"/>
                  </a:lnTo>
                  <a:lnTo>
                    <a:pt x="535" y="132"/>
                  </a:lnTo>
                  <a:lnTo>
                    <a:pt x="537" y="132"/>
                  </a:lnTo>
                  <a:lnTo>
                    <a:pt x="537" y="132"/>
                  </a:lnTo>
                  <a:lnTo>
                    <a:pt x="537" y="134"/>
                  </a:lnTo>
                  <a:lnTo>
                    <a:pt x="539" y="134"/>
                  </a:lnTo>
                  <a:lnTo>
                    <a:pt x="539" y="134"/>
                  </a:lnTo>
                  <a:lnTo>
                    <a:pt x="540" y="132"/>
                  </a:lnTo>
                  <a:lnTo>
                    <a:pt x="540" y="132"/>
                  </a:lnTo>
                  <a:lnTo>
                    <a:pt x="540" y="132"/>
                  </a:lnTo>
                  <a:lnTo>
                    <a:pt x="542" y="132"/>
                  </a:lnTo>
                  <a:lnTo>
                    <a:pt x="544" y="132"/>
                  </a:lnTo>
                  <a:lnTo>
                    <a:pt x="548" y="130"/>
                  </a:lnTo>
                  <a:lnTo>
                    <a:pt x="549" y="130"/>
                  </a:lnTo>
                  <a:lnTo>
                    <a:pt x="549" y="129"/>
                  </a:lnTo>
                  <a:lnTo>
                    <a:pt x="549" y="129"/>
                  </a:lnTo>
                  <a:lnTo>
                    <a:pt x="549" y="127"/>
                  </a:lnTo>
                  <a:lnTo>
                    <a:pt x="549" y="125"/>
                  </a:lnTo>
                  <a:lnTo>
                    <a:pt x="549" y="125"/>
                  </a:lnTo>
                  <a:lnTo>
                    <a:pt x="551" y="123"/>
                  </a:lnTo>
                  <a:lnTo>
                    <a:pt x="551" y="123"/>
                  </a:lnTo>
                  <a:lnTo>
                    <a:pt x="551" y="123"/>
                  </a:lnTo>
                  <a:lnTo>
                    <a:pt x="553" y="123"/>
                  </a:lnTo>
                  <a:lnTo>
                    <a:pt x="555" y="123"/>
                  </a:lnTo>
                  <a:lnTo>
                    <a:pt x="557" y="125"/>
                  </a:lnTo>
                  <a:lnTo>
                    <a:pt x="557" y="125"/>
                  </a:lnTo>
                  <a:lnTo>
                    <a:pt x="558" y="125"/>
                  </a:lnTo>
                  <a:lnTo>
                    <a:pt x="560" y="123"/>
                  </a:lnTo>
                  <a:lnTo>
                    <a:pt x="560" y="125"/>
                  </a:lnTo>
                  <a:lnTo>
                    <a:pt x="562" y="125"/>
                  </a:lnTo>
                  <a:lnTo>
                    <a:pt x="562" y="125"/>
                  </a:lnTo>
                  <a:lnTo>
                    <a:pt x="564" y="125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69" y="123"/>
                  </a:lnTo>
                  <a:lnTo>
                    <a:pt x="571" y="123"/>
                  </a:lnTo>
                  <a:lnTo>
                    <a:pt x="573" y="127"/>
                  </a:lnTo>
                  <a:lnTo>
                    <a:pt x="573" y="127"/>
                  </a:lnTo>
                  <a:lnTo>
                    <a:pt x="576" y="127"/>
                  </a:lnTo>
                  <a:lnTo>
                    <a:pt x="578" y="125"/>
                  </a:lnTo>
                  <a:lnTo>
                    <a:pt x="580" y="125"/>
                  </a:lnTo>
                  <a:lnTo>
                    <a:pt x="580" y="125"/>
                  </a:lnTo>
                  <a:lnTo>
                    <a:pt x="582" y="125"/>
                  </a:lnTo>
                  <a:lnTo>
                    <a:pt x="582" y="127"/>
                  </a:lnTo>
                  <a:lnTo>
                    <a:pt x="582" y="130"/>
                  </a:lnTo>
                  <a:lnTo>
                    <a:pt x="582" y="130"/>
                  </a:lnTo>
                  <a:lnTo>
                    <a:pt x="582" y="130"/>
                  </a:lnTo>
                  <a:lnTo>
                    <a:pt x="584" y="130"/>
                  </a:lnTo>
                  <a:lnTo>
                    <a:pt x="584" y="132"/>
                  </a:lnTo>
                  <a:lnTo>
                    <a:pt x="582" y="138"/>
                  </a:lnTo>
                  <a:lnTo>
                    <a:pt x="582" y="138"/>
                  </a:lnTo>
                  <a:lnTo>
                    <a:pt x="582" y="139"/>
                  </a:lnTo>
                  <a:lnTo>
                    <a:pt x="582" y="139"/>
                  </a:lnTo>
                  <a:lnTo>
                    <a:pt x="582" y="139"/>
                  </a:lnTo>
                  <a:lnTo>
                    <a:pt x="582" y="139"/>
                  </a:lnTo>
                  <a:lnTo>
                    <a:pt x="582" y="141"/>
                  </a:lnTo>
                  <a:lnTo>
                    <a:pt x="582" y="143"/>
                  </a:lnTo>
                  <a:lnTo>
                    <a:pt x="582" y="143"/>
                  </a:lnTo>
                  <a:lnTo>
                    <a:pt x="584" y="145"/>
                  </a:lnTo>
                  <a:lnTo>
                    <a:pt x="584" y="145"/>
                  </a:lnTo>
                  <a:lnTo>
                    <a:pt x="585" y="145"/>
                  </a:lnTo>
                  <a:lnTo>
                    <a:pt x="585" y="145"/>
                  </a:lnTo>
                  <a:lnTo>
                    <a:pt x="585" y="145"/>
                  </a:lnTo>
                  <a:lnTo>
                    <a:pt x="587" y="143"/>
                  </a:lnTo>
                  <a:lnTo>
                    <a:pt x="587" y="143"/>
                  </a:lnTo>
                  <a:lnTo>
                    <a:pt x="587" y="143"/>
                  </a:lnTo>
                  <a:lnTo>
                    <a:pt x="591" y="145"/>
                  </a:lnTo>
                  <a:lnTo>
                    <a:pt x="595" y="145"/>
                  </a:lnTo>
                  <a:lnTo>
                    <a:pt x="596" y="147"/>
                  </a:lnTo>
                  <a:lnTo>
                    <a:pt x="598" y="148"/>
                  </a:lnTo>
                  <a:lnTo>
                    <a:pt x="600" y="150"/>
                  </a:lnTo>
                  <a:lnTo>
                    <a:pt x="600" y="150"/>
                  </a:lnTo>
                  <a:lnTo>
                    <a:pt x="598" y="154"/>
                  </a:lnTo>
                  <a:lnTo>
                    <a:pt x="596" y="156"/>
                  </a:lnTo>
                  <a:lnTo>
                    <a:pt x="596" y="156"/>
                  </a:lnTo>
                  <a:lnTo>
                    <a:pt x="596" y="156"/>
                  </a:lnTo>
                  <a:lnTo>
                    <a:pt x="596" y="158"/>
                  </a:lnTo>
                  <a:lnTo>
                    <a:pt x="596" y="158"/>
                  </a:lnTo>
                  <a:lnTo>
                    <a:pt x="595" y="161"/>
                  </a:lnTo>
                  <a:lnTo>
                    <a:pt x="595" y="161"/>
                  </a:lnTo>
                  <a:lnTo>
                    <a:pt x="593" y="161"/>
                  </a:lnTo>
                  <a:lnTo>
                    <a:pt x="591" y="161"/>
                  </a:lnTo>
                  <a:lnTo>
                    <a:pt x="591" y="161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89" y="163"/>
                  </a:lnTo>
                  <a:lnTo>
                    <a:pt x="589" y="167"/>
                  </a:lnTo>
                  <a:lnTo>
                    <a:pt x="587" y="168"/>
                  </a:lnTo>
                  <a:lnTo>
                    <a:pt x="585" y="168"/>
                  </a:lnTo>
                  <a:lnTo>
                    <a:pt x="582" y="170"/>
                  </a:lnTo>
                  <a:lnTo>
                    <a:pt x="582" y="170"/>
                  </a:lnTo>
                  <a:lnTo>
                    <a:pt x="578" y="170"/>
                  </a:lnTo>
                  <a:lnTo>
                    <a:pt x="578" y="170"/>
                  </a:lnTo>
                  <a:lnTo>
                    <a:pt x="576" y="172"/>
                  </a:lnTo>
                  <a:lnTo>
                    <a:pt x="575" y="174"/>
                  </a:lnTo>
                  <a:lnTo>
                    <a:pt x="575" y="176"/>
                  </a:lnTo>
                  <a:lnTo>
                    <a:pt x="575" y="176"/>
                  </a:lnTo>
                  <a:lnTo>
                    <a:pt x="573" y="177"/>
                  </a:lnTo>
                  <a:lnTo>
                    <a:pt x="573" y="177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71" y="181"/>
                  </a:lnTo>
                  <a:lnTo>
                    <a:pt x="569" y="185"/>
                  </a:lnTo>
                  <a:lnTo>
                    <a:pt x="569" y="185"/>
                  </a:lnTo>
                  <a:lnTo>
                    <a:pt x="567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4" y="186"/>
                  </a:lnTo>
                  <a:lnTo>
                    <a:pt x="562" y="186"/>
                  </a:lnTo>
                  <a:lnTo>
                    <a:pt x="564" y="188"/>
                  </a:lnTo>
                  <a:lnTo>
                    <a:pt x="564" y="188"/>
                  </a:lnTo>
                  <a:lnTo>
                    <a:pt x="566" y="190"/>
                  </a:lnTo>
                  <a:lnTo>
                    <a:pt x="566" y="192"/>
                  </a:lnTo>
                  <a:lnTo>
                    <a:pt x="567" y="194"/>
                  </a:lnTo>
                  <a:lnTo>
                    <a:pt x="567" y="195"/>
                  </a:lnTo>
                  <a:lnTo>
                    <a:pt x="567" y="197"/>
                  </a:lnTo>
                  <a:lnTo>
                    <a:pt x="569" y="197"/>
                  </a:lnTo>
                  <a:lnTo>
                    <a:pt x="569" y="197"/>
                  </a:lnTo>
                  <a:lnTo>
                    <a:pt x="569" y="197"/>
                  </a:lnTo>
                  <a:lnTo>
                    <a:pt x="569" y="199"/>
                  </a:lnTo>
                  <a:lnTo>
                    <a:pt x="567" y="199"/>
                  </a:lnTo>
                  <a:lnTo>
                    <a:pt x="567" y="201"/>
                  </a:lnTo>
                  <a:lnTo>
                    <a:pt x="567" y="201"/>
                  </a:lnTo>
                  <a:lnTo>
                    <a:pt x="567" y="201"/>
                  </a:lnTo>
                  <a:lnTo>
                    <a:pt x="567" y="203"/>
                  </a:lnTo>
                  <a:lnTo>
                    <a:pt x="567" y="203"/>
                  </a:lnTo>
                  <a:lnTo>
                    <a:pt x="567" y="203"/>
                  </a:lnTo>
                  <a:lnTo>
                    <a:pt x="567" y="204"/>
                  </a:lnTo>
                  <a:lnTo>
                    <a:pt x="567" y="204"/>
                  </a:lnTo>
                  <a:lnTo>
                    <a:pt x="569" y="208"/>
                  </a:lnTo>
                  <a:lnTo>
                    <a:pt x="569" y="210"/>
                  </a:lnTo>
                  <a:lnTo>
                    <a:pt x="569" y="212"/>
                  </a:lnTo>
                  <a:lnTo>
                    <a:pt x="569" y="212"/>
                  </a:lnTo>
                  <a:lnTo>
                    <a:pt x="569" y="214"/>
                  </a:lnTo>
                  <a:lnTo>
                    <a:pt x="567" y="215"/>
                  </a:lnTo>
                  <a:lnTo>
                    <a:pt x="567" y="215"/>
                  </a:lnTo>
                  <a:lnTo>
                    <a:pt x="567" y="217"/>
                  </a:lnTo>
                  <a:lnTo>
                    <a:pt x="567" y="217"/>
                  </a:lnTo>
                  <a:lnTo>
                    <a:pt x="569" y="219"/>
                  </a:lnTo>
                  <a:lnTo>
                    <a:pt x="569" y="219"/>
                  </a:lnTo>
                  <a:lnTo>
                    <a:pt x="569" y="221"/>
                  </a:lnTo>
                  <a:lnTo>
                    <a:pt x="569" y="221"/>
                  </a:lnTo>
                  <a:lnTo>
                    <a:pt x="567" y="223"/>
                  </a:lnTo>
                  <a:lnTo>
                    <a:pt x="567" y="224"/>
                  </a:lnTo>
                  <a:lnTo>
                    <a:pt x="567" y="228"/>
                  </a:lnTo>
                  <a:lnTo>
                    <a:pt x="569" y="230"/>
                  </a:lnTo>
                  <a:lnTo>
                    <a:pt x="571" y="232"/>
                  </a:lnTo>
                  <a:lnTo>
                    <a:pt x="569" y="232"/>
                  </a:lnTo>
                  <a:lnTo>
                    <a:pt x="569" y="233"/>
                  </a:lnTo>
                  <a:lnTo>
                    <a:pt x="567" y="235"/>
                  </a:lnTo>
                  <a:lnTo>
                    <a:pt x="566" y="235"/>
                  </a:lnTo>
                  <a:lnTo>
                    <a:pt x="566" y="235"/>
                  </a:lnTo>
                  <a:lnTo>
                    <a:pt x="566" y="235"/>
                  </a:lnTo>
                  <a:lnTo>
                    <a:pt x="566" y="237"/>
                  </a:lnTo>
                  <a:lnTo>
                    <a:pt x="566" y="237"/>
                  </a:lnTo>
                  <a:lnTo>
                    <a:pt x="566" y="237"/>
                  </a:lnTo>
                  <a:lnTo>
                    <a:pt x="564" y="237"/>
                  </a:lnTo>
                  <a:lnTo>
                    <a:pt x="564" y="237"/>
                  </a:lnTo>
                  <a:lnTo>
                    <a:pt x="562" y="237"/>
                  </a:lnTo>
                  <a:lnTo>
                    <a:pt x="562" y="237"/>
                  </a:lnTo>
                  <a:lnTo>
                    <a:pt x="560" y="239"/>
                  </a:lnTo>
                  <a:lnTo>
                    <a:pt x="558" y="239"/>
                  </a:lnTo>
                  <a:lnTo>
                    <a:pt x="558" y="241"/>
                  </a:lnTo>
                  <a:lnTo>
                    <a:pt x="558" y="241"/>
                  </a:lnTo>
                  <a:lnTo>
                    <a:pt x="558" y="242"/>
                  </a:lnTo>
                  <a:lnTo>
                    <a:pt x="558" y="242"/>
                  </a:lnTo>
                  <a:lnTo>
                    <a:pt x="558" y="246"/>
                  </a:lnTo>
                  <a:lnTo>
                    <a:pt x="558" y="246"/>
                  </a:lnTo>
                  <a:lnTo>
                    <a:pt x="560" y="246"/>
                  </a:lnTo>
                  <a:lnTo>
                    <a:pt x="560" y="246"/>
                  </a:lnTo>
                  <a:lnTo>
                    <a:pt x="562" y="246"/>
                  </a:lnTo>
                  <a:lnTo>
                    <a:pt x="562" y="248"/>
                  </a:lnTo>
                  <a:lnTo>
                    <a:pt x="562" y="248"/>
                  </a:lnTo>
                  <a:lnTo>
                    <a:pt x="564" y="250"/>
                  </a:lnTo>
                  <a:lnTo>
                    <a:pt x="566" y="253"/>
                  </a:lnTo>
                  <a:lnTo>
                    <a:pt x="566" y="255"/>
                  </a:lnTo>
                  <a:lnTo>
                    <a:pt x="566" y="255"/>
                  </a:lnTo>
                  <a:lnTo>
                    <a:pt x="566" y="257"/>
                  </a:lnTo>
                  <a:lnTo>
                    <a:pt x="566" y="257"/>
                  </a:lnTo>
                  <a:lnTo>
                    <a:pt x="564" y="259"/>
                  </a:lnTo>
                  <a:lnTo>
                    <a:pt x="564" y="259"/>
                  </a:lnTo>
                  <a:lnTo>
                    <a:pt x="564" y="259"/>
                  </a:lnTo>
                  <a:lnTo>
                    <a:pt x="564" y="259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2" y="264"/>
                  </a:lnTo>
                  <a:lnTo>
                    <a:pt x="562" y="266"/>
                  </a:lnTo>
                  <a:lnTo>
                    <a:pt x="560" y="266"/>
                  </a:lnTo>
                  <a:lnTo>
                    <a:pt x="560" y="266"/>
                  </a:lnTo>
                  <a:lnTo>
                    <a:pt x="560" y="266"/>
                  </a:lnTo>
                  <a:lnTo>
                    <a:pt x="560" y="268"/>
                  </a:lnTo>
                  <a:lnTo>
                    <a:pt x="560" y="268"/>
                  </a:lnTo>
                  <a:lnTo>
                    <a:pt x="560" y="269"/>
                  </a:lnTo>
                  <a:lnTo>
                    <a:pt x="560" y="269"/>
                  </a:lnTo>
                  <a:lnTo>
                    <a:pt x="560" y="269"/>
                  </a:lnTo>
                  <a:lnTo>
                    <a:pt x="558" y="271"/>
                  </a:lnTo>
                  <a:lnTo>
                    <a:pt x="558" y="271"/>
                  </a:lnTo>
                  <a:lnTo>
                    <a:pt x="560" y="271"/>
                  </a:lnTo>
                  <a:lnTo>
                    <a:pt x="560" y="273"/>
                  </a:lnTo>
                  <a:lnTo>
                    <a:pt x="558" y="273"/>
                  </a:lnTo>
                  <a:lnTo>
                    <a:pt x="558" y="275"/>
                  </a:lnTo>
                  <a:lnTo>
                    <a:pt x="551" y="275"/>
                  </a:lnTo>
                  <a:lnTo>
                    <a:pt x="549" y="275"/>
                  </a:lnTo>
                  <a:lnTo>
                    <a:pt x="548" y="275"/>
                  </a:lnTo>
                  <a:lnTo>
                    <a:pt x="548" y="275"/>
                  </a:lnTo>
                  <a:lnTo>
                    <a:pt x="546" y="275"/>
                  </a:lnTo>
                  <a:lnTo>
                    <a:pt x="544" y="275"/>
                  </a:lnTo>
                  <a:lnTo>
                    <a:pt x="544" y="275"/>
                  </a:lnTo>
                  <a:lnTo>
                    <a:pt x="542" y="275"/>
                  </a:lnTo>
                  <a:lnTo>
                    <a:pt x="531" y="275"/>
                  </a:lnTo>
                  <a:lnTo>
                    <a:pt x="531" y="275"/>
                  </a:lnTo>
                  <a:lnTo>
                    <a:pt x="533" y="275"/>
                  </a:lnTo>
                  <a:lnTo>
                    <a:pt x="535" y="280"/>
                  </a:lnTo>
                  <a:lnTo>
                    <a:pt x="535" y="280"/>
                  </a:lnTo>
                  <a:lnTo>
                    <a:pt x="537" y="284"/>
                  </a:lnTo>
                  <a:lnTo>
                    <a:pt x="537" y="284"/>
                  </a:lnTo>
                  <a:lnTo>
                    <a:pt x="539" y="284"/>
                  </a:lnTo>
                  <a:lnTo>
                    <a:pt x="540" y="286"/>
                  </a:lnTo>
                  <a:lnTo>
                    <a:pt x="540" y="288"/>
                  </a:lnTo>
                  <a:lnTo>
                    <a:pt x="540" y="288"/>
                  </a:lnTo>
                  <a:lnTo>
                    <a:pt x="542" y="288"/>
                  </a:lnTo>
                  <a:lnTo>
                    <a:pt x="544" y="289"/>
                  </a:lnTo>
                  <a:lnTo>
                    <a:pt x="544" y="289"/>
                  </a:lnTo>
                  <a:lnTo>
                    <a:pt x="544" y="291"/>
                  </a:lnTo>
                  <a:lnTo>
                    <a:pt x="544" y="291"/>
                  </a:lnTo>
                  <a:lnTo>
                    <a:pt x="544" y="293"/>
                  </a:lnTo>
                  <a:lnTo>
                    <a:pt x="544" y="293"/>
                  </a:lnTo>
                  <a:lnTo>
                    <a:pt x="544" y="295"/>
                  </a:lnTo>
                  <a:lnTo>
                    <a:pt x="544" y="297"/>
                  </a:lnTo>
                  <a:lnTo>
                    <a:pt x="544" y="297"/>
                  </a:lnTo>
                  <a:lnTo>
                    <a:pt x="546" y="298"/>
                  </a:lnTo>
                  <a:lnTo>
                    <a:pt x="548" y="302"/>
                  </a:lnTo>
                  <a:lnTo>
                    <a:pt x="548" y="302"/>
                  </a:lnTo>
                  <a:lnTo>
                    <a:pt x="546" y="304"/>
                  </a:lnTo>
                  <a:lnTo>
                    <a:pt x="548" y="306"/>
                  </a:lnTo>
                  <a:lnTo>
                    <a:pt x="548" y="306"/>
                  </a:lnTo>
                  <a:lnTo>
                    <a:pt x="549" y="307"/>
                  </a:lnTo>
                  <a:lnTo>
                    <a:pt x="551" y="307"/>
                  </a:lnTo>
                  <a:lnTo>
                    <a:pt x="551" y="307"/>
                  </a:lnTo>
                  <a:lnTo>
                    <a:pt x="553" y="309"/>
                  </a:lnTo>
                  <a:lnTo>
                    <a:pt x="551" y="309"/>
                  </a:lnTo>
                  <a:lnTo>
                    <a:pt x="551" y="311"/>
                  </a:lnTo>
                  <a:lnTo>
                    <a:pt x="551" y="311"/>
                  </a:lnTo>
                  <a:lnTo>
                    <a:pt x="551" y="311"/>
                  </a:lnTo>
                  <a:lnTo>
                    <a:pt x="553" y="313"/>
                  </a:lnTo>
                  <a:lnTo>
                    <a:pt x="553" y="313"/>
                  </a:lnTo>
                  <a:lnTo>
                    <a:pt x="555" y="313"/>
                  </a:lnTo>
                  <a:lnTo>
                    <a:pt x="555" y="311"/>
                  </a:lnTo>
                  <a:lnTo>
                    <a:pt x="557" y="311"/>
                  </a:lnTo>
                  <a:lnTo>
                    <a:pt x="558" y="311"/>
                  </a:lnTo>
                  <a:lnTo>
                    <a:pt x="558" y="313"/>
                  </a:lnTo>
                  <a:lnTo>
                    <a:pt x="560" y="313"/>
                  </a:lnTo>
                  <a:lnTo>
                    <a:pt x="560" y="315"/>
                  </a:lnTo>
                  <a:lnTo>
                    <a:pt x="560" y="315"/>
                  </a:lnTo>
                  <a:lnTo>
                    <a:pt x="560" y="316"/>
                  </a:lnTo>
                  <a:lnTo>
                    <a:pt x="562" y="316"/>
                  </a:lnTo>
                  <a:lnTo>
                    <a:pt x="562" y="318"/>
                  </a:lnTo>
                  <a:lnTo>
                    <a:pt x="560" y="318"/>
                  </a:lnTo>
                  <a:lnTo>
                    <a:pt x="560" y="318"/>
                  </a:lnTo>
                  <a:lnTo>
                    <a:pt x="558" y="322"/>
                  </a:lnTo>
                  <a:lnTo>
                    <a:pt x="558" y="324"/>
                  </a:lnTo>
                  <a:lnTo>
                    <a:pt x="557" y="325"/>
                  </a:lnTo>
                  <a:lnTo>
                    <a:pt x="557" y="325"/>
                  </a:lnTo>
                  <a:lnTo>
                    <a:pt x="557" y="327"/>
                  </a:lnTo>
                  <a:lnTo>
                    <a:pt x="557" y="327"/>
                  </a:lnTo>
                  <a:lnTo>
                    <a:pt x="557" y="327"/>
                  </a:lnTo>
                  <a:lnTo>
                    <a:pt x="557" y="329"/>
                  </a:lnTo>
                  <a:lnTo>
                    <a:pt x="555" y="329"/>
                  </a:lnTo>
                  <a:lnTo>
                    <a:pt x="555" y="329"/>
                  </a:lnTo>
                  <a:lnTo>
                    <a:pt x="553" y="331"/>
                  </a:lnTo>
                  <a:lnTo>
                    <a:pt x="551" y="331"/>
                  </a:lnTo>
                  <a:lnTo>
                    <a:pt x="551" y="331"/>
                  </a:lnTo>
                  <a:lnTo>
                    <a:pt x="551" y="333"/>
                  </a:lnTo>
                  <a:lnTo>
                    <a:pt x="549" y="333"/>
                  </a:lnTo>
                  <a:lnTo>
                    <a:pt x="549" y="333"/>
                  </a:lnTo>
                  <a:lnTo>
                    <a:pt x="549" y="333"/>
                  </a:lnTo>
                  <a:lnTo>
                    <a:pt x="546" y="335"/>
                  </a:lnTo>
                  <a:lnTo>
                    <a:pt x="546" y="336"/>
                  </a:lnTo>
                  <a:lnTo>
                    <a:pt x="546" y="336"/>
                  </a:lnTo>
                  <a:lnTo>
                    <a:pt x="546" y="336"/>
                  </a:lnTo>
                  <a:lnTo>
                    <a:pt x="546" y="340"/>
                  </a:lnTo>
                  <a:lnTo>
                    <a:pt x="546" y="340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4"/>
                  </a:lnTo>
                  <a:lnTo>
                    <a:pt x="546" y="344"/>
                  </a:lnTo>
                  <a:lnTo>
                    <a:pt x="544" y="347"/>
                  </a:lnTo>
                  <a:lnTo>
                    <a:pt x="544" y="351"/>
                  </a:lnTo>
                  <a:lnTo>
                    <a:pt x="542" y="351"/>
                  </a:lnTo>
                  <a:lnTo>
                    <a:pt x="544" y="353"/>
                  </a:lnTo>
                  <a:lnTo>
                    <a:pt x="544" y="353"/>
                  </a:lnTo>
                  <a:lnTo>
                    <a:pt x="542" y="353"/>
                  </a:lnTo>
                  <a:lnTo>
                    <a:pt x="542" y="354"/>
                  </a:lnTo>
                  <a:lnTo>
                    <a:pt x="542" y="354"/>
                  </a:lnTo>
                  <a:lnTo>
                    <a:pt x="544" y="356"/>
                  </a:lnTo>
                  <a:lnTo>
                    <a:pt x="549" y="362"/>
                  </a:lnTo>
                  <a:lnTo>
                    <a:pt x="549" y="362"/>
                  </a:lnTo>
                  <a:lnTo>
                    <a:pt x="549" y="363"/>
                  </a:lnTo>
                  <a:lnTo>
                    <a:pt x="549" y="363"/>
                  </a:lnTo>
                  <a:lnTo>
                    <a:pt x="551" y="363"/>
                  </a:lnTo>
                  <a:lnTo>
                    <a:pt x="551" y="365"/>
                  </a:lnTo>
                  <a:lnTo>
                    <a:pt x="551" y="365"/>
                  </a:lnTo>
                  <a:lnTo>
                    <a:pt x="553" y="371"/>
                  </a:lnTo>
                  <a:lnTo>
                    <a:pt x="555" y="371"/>
                  </a:lnTo>
                  <a:lnTo>
                    <a:pt x="555" y="371"/>
                  </a:lnTo>
                  <a:lnTo>
                    <a:pt x="555" y="371"/>
                  </a:lnTo>
                  <a:lnTo>
                    <a:pt x="557" y="371"/>
                  </a:lnTo>
                  <a:lnTo>
                    <a:pt x="558" y="371"/>
                  </a:lnTo>
                  <a:lnTo>
                    <a:pt x="558" y="369"/>
                  </a:lnTo>
                  <a:lnTo>
                    <a:pt x="558" y="369"/>
                  </a:lnTo>
                  <a:lnTo>
                    <a:pt x="558" y="369"/>
                  </a:lnTo>
                  <a:lnTo>
                    <a:pt x="560" y="369"/>
                  </a:lnTo>
                  <a:lnTo>
                    <a:pt x="562" y="369"/>
                  </a:lnTo>
                  <a:lnTo>
                    <a:pt x="562" y="369"/>
                  </a:lnTo>
                  <a:lnTo>
                    <a:pt x="562" y="371"/>
                  </a:lnTo>
                  <a:lnTo>
                    <a:pt x="562" y="372"/>
                  </a:lnTo>
                  <a:lnTo>
                    <a:pt x="562" y="372"/>
                  </a:lnTo>
                  <a:lnTo>
                    <a:pt x="560" y="374"/>
                  </a:lnTo>
                  <a:lnTo>
                    <a:pt x="560" y="376"/>
                  </a:lnTo>
                  <a:lnTo>
                    <a:pt x="560" y="378"/>
                  </a:lnTo>
                  <a:lnTo>
                    <a:pt x="558" y="380"/>
                  </a:lnTo>
                  <a:lnTo>
                    <a:pt x="558" y="381"/>
                  </a:lnTo>
                  <a:lnTo>
                    <a:pt x="557" y="381"/>
                  </a:lnTo>
                  <a:lnTo>
                    <a:pt x="555" y="380"/>
                  </a:lnTo>
                  <a:lnTo>
                    <a:pt x="553" y="380"/>
                  </a:lnTo>
                  <a:lnTo>
                    <a:pt x="553" y="380"/>
                  </a:lnTo>
                  <a:lnTo>
                    <a:pt x="553" y="381"/>
                  </a:lnTo>
                  <a:lnTo>
                    <a:pt x="553" y="381"/>
                  </a:lnTo>
                  <a:lnTo>
                    <a:pt x="551" y="383"/>
                  </a:lnTo>
                  <a:lnTo>
                    <a:pt x="551" y="383"/>
                  </a:lnTo>
                  <a:lnTo>
                    <a:pt x="551" y="383"/>
                  </a:lnTo>
                  <a:lnTo>
                    <a:pt x="549" y="383"/>
                  </a:lnTo>
                  <a:lnTo>
                    <a:pt x="549" y="383"/>
                  </a:lnTo>
                  <a:lnTo>
                    <a:pt x="549" y="383"/>
                  </a:lnTo>
                  <a:lnTo>
                    <a:pt x="548" y="383"/>
                  </a:lnTo>
                  <a:lnTo>
                    <a:pt x="546" y="383"/>
                  </a:lnTo>
                  <a:lnTo>
                    <a:pt x="546" y="383"/>
                  </a:lnTo>
                  <a:lnTo>
                    <a:pt x="546" y="385"/>
                  </a:lnTo>
                  <a:lnTo>
                    <a:pt x="546" y="385"/>
                  </a:lnTo>
                  <a:lnTo>
                    <a:pt x="546" y="385"/>
                  </a:lnTo>
                  <a:lnTo>
                    <a:pt x="546" y="387"/>
                  </a:lnTo>
                  <a:lnTo>
                    <a:pt x="546" y="389"/>
                  </a:lnTo>
                  <a:lnTo>
                    <a:pt x="544" y="392"/>
                  </a:lnTo>
                  <a:lnTo>
                    <a:pt x="544" y="394"/>
                  </a:lnTo>
                  <a:lnTo>
                    <a:pt x="539" y="398"/>
                  </a:lnTo>
                  <a:lnTo>
                    <a:pt x="539" y="400"/>
                  </a:lnTo>
                  <a:lnTo>
                    <a:pt x="537" y="401"/>
                  </a:lnTo>
                  <a:lnTo>
                    <a:pt x="537" y="405"/>
                  </a:lnTo>
                  <a:lnTo>
                    <a:pt x="537" y="405"/>
                  </a:lnTo>
                  <a:lnTo>
                    <a:pt x="537" y="405"/>
                  </a:lnTo>
                  <a:lnTo>
                    <a:pt x="535" y="407"/>
                  </a:lnTo>
                  <a:lnTo>
                    <a:pt x="535" y="407"/>
                  </a:lnTo>
                  <a:lnTo>
                    <a:pt x="535" y="409"/>
                  </a:lnTo>
                  <a:lnTo>
                    <a:pt x="535" y="409"/>
                  </a:lnTo>
                  <a:lnTo>
                    <a:pt x="535" y="409"/>
                  </a:lnTo>
                  <a:lnTo>
                    <a:pt x="535" y="409"/>
                  </a:lnTo>
                  <a:lnTo>
                    <a:pt x="533" y="409"/>
                  </a:lnTo>
                  <a:lnTo>
                    <a:pt x="533" y="410"/>
                  </a:lnTo>
                  <a:lnTo>
                    <a:pt x="533" y="410"/>
                  </a:lnTo>
                  <a:lnTo>
                    <a:pt x="533" y="410"/>
                  </a:lnTo>
                  <a:lnTo>
                    <a:pt x="533" y="410"/>
                  </a:lnTo>
                  <a:lnTo>
                    <a:pt x="533" y="410"/>
                  </a:lnTo>
                  <a:lnTo>
                    <a:pt x="535" y="412"/>
                  </a:lnTo>
                  <a:lnTo>
                    <a:pt x="535" y="412"/>
                  </a:lnTo>
                  <a:lnTo>
                    <a:pt x="535" y="412"/>
                  </a:lnTo>
                  <a:lnTo>
                    <a:pt x="535" y="412"/>
                  </a:lnTo>
                  <a:lnTo>
                    <a:pt x="535" y="412"/>
                  </a:lnTo>
                  <a:lnTo>
                    <a:pt x="537" y="414"/>
                  </a:lnTo>
                  <a:lnTo>
                    <a:pt x="537" y="414"/>
                  </a:lnTo>
                  <a:lnTo>
                    <a:pt x="537" y="416"/>
                  </a:lnTo>
                  <a:lnTo>
                    <a:pt x="537" y="418"/>
                  </a:lnTo>
                  <a:lnTo>
                    <a:pt x="537" y="418"/>
                  </a:lnTo>
                  <a:lnTo>
                    <a:pt x="537" y="419"/>
                  </a:lnTo>
                  <a:lnTo>
                    <a:pt x="539" y="421"/>
                  </a:lnTo>
                  <a:lnTo>
                    <a:pt x="539" y="427"/>
                  </a:lnTo>
                  <a:lnTo>
                    <a:pt x="539" y="428"/>
                  </a:lnTo>
                  <a:lnTo>
                    <a:pt x="539" y="428"/>
                  </a:lnTo>
                  <a:lnTo>
                    <a:pt x="539" y="430"/>
                  </a:lnTo>
                  <a:lnTo>
                    <a:pt x="539" y="434"/>
                  </a:lnTo>
                  <a:lnTo>
                    <a:pt x="540" y="434"/>
                  </a:lnTo>
                  <a:lnTo>
                    <a:pt x="540" y="434"/>
                  </a:lnTo>
                  <a:lnTo>
                    <a:pt x="542" y="434"/>
                  </a:lnTo>
                  <a:lnTo>
                    <a:pt x="542" y="432"/>
                  </a:lnTo>
                  <a:lnTo>
                    <a:pt x="544" y="432"/>
                  </a:lnTo>
                  <a:lnTo>
                    <a:pt x="555" y="432"/>
                  </a:lnTo>
                  <a:lnTo>
                    <a:pt x="555" y="432"/>
                  </a:lnTo>
                  <a:lnTo>
                    <a:pt x="553" y="432"/>
                  </a:lnTo>
                  <a:lnTo>
                    <a:pt x="555" y="430"/>
                  </a:lnTo>
                  <a:lnTo>
                    <a:pt x="557" y="432"/>
                  </a:lnTo>
                  <a:lnTo>
                    <a:pt x="558" y="432"/>
                  </a:lnTo>
                  <a:lnTo>
                    <a:pt x="562" y="434"/>
                  </a:lnTo>
                  <a:lnTo>
                    <a:pt x="564" y="434"/>
                  </a:lnTo>
                  <a:lnTo>
                    <a:pt x="564" y="434"/>
                  </a:lnTo>
                  <a:lnTo>
                    <a:pt x="562" y="432"/>
                  </a:lnTo>
                  <a:lnTo>
                    <a:pt x="562" y="430"/>
                  </a:lnTo>
                  <a:lnTo>
                    <a:pt x="562" y="430"/>
                  </a:lnTo>
                  <a:lnTo>
                    <a:pt x="564" y="430"/>
                  </a:lnTo>
                  <a:lnTo>
                    <a:pt x="566" y="430"/>
                  </a:lnTo>
                  <a:lnTo>
                    <a:pt x="567" y="427"/>
                  </a:lnTo>
                  <a:lnTo>
                    <a:pt x="567" y="428"/>
                  </a:lnTo>
                  <a:lnTo>
                    <a:pt x="566" y="430"/>
                  </a:lnTo>
                  <a:lnTo>
                    <a:pt x="564" y="430"/>
                  </a:lnTo>
                  <a:lnTo>
                    <a:pt x="564" y="432"/>
                  </a:lnTo>
                  <a:lnTo>
                    <a:pt x="564" y="434"/>
                  </a:lnTo>
                  <a:lnTo>
                    <a:pt x="566" y="434"/>
                  </a:lnTo>
                  <a:lnTo>
                    <a:pt x="566" y="436"/>
                  </a:lnTo>
                  <a:lnTo>
                    <a:pt x="567" y="436"/>
                  </a:lnTo>
                  <a:lnTo>
                    <a:pt x="569" y="437"/>
                  </a:lnTo>
                  <a:lnTo>
                    <a:pt x="571" y="437"/>
                  </a:lnTo>
                  <a:lnTo>
                    <a:pt x="571" y="437"/>
                  </a:lnTo>
                  <a:lnTo>
                    <a:pt x="573" y="439"/>
                  </a:lnTo>
                  <a:lnTo>
                    <a:pt x="585" y="448"/>
                  </a:lnTo>
                  <a:lnTo>
                    <a:pt x="587" y="448"/>
                  </a:lnTo>
                  <a:lnTo>
                    <a:pt x="587" y="452"/>
                  </a:lnTo>
                  <a:lnTo>
                    <a:pt x="589" y="456"/>
                  </a:lnTo>
                  <a:lnTo>
                    <a:pt x="591" y="457"/>
                  </a:lnTo>
                  <a:lnTo>
                    <a:pt x="593" y="457"/>
                  </a:lnTo>
                  <a:lnTo>
                    <a:pt x="593" y="456"/>
                  </a:lnTo>
                  <a:lnTo>
                    <a:pt x="593" y="452"/>
                  </a:lnTo>
                  <a:lnTo>
                    <a:pt x="593" y="452"/>
                  </a:lnTo>
                  <a:lnTo>
                    <a:pt x="595" y="450"/>
                  </a:lnTo>
                  <a:lnTo>
                    <a:pt x="596" y="450"/>
                  </a:lnTo>
                  <a:lnTo>
                    <a:pt x="596" y="450"/>
                  </a:lnTo>
                  <a:lnTo>
                    <a:pt x="598" y="450"/>
                  </a:lnTo>
                  <a:lnTo>
                    <a:pt x="600" y="450"/>
                  </a:lnTo>
                  <a:lnTo>
                    <a:pt x="600" y="450"/>
                  </a:lnTo>
                  <a:lnTo>
                    <a:pt x="598" y="452"/>
                  </a:lnTo>
                  <a:lnTo>
                    <a:pt x="595" y="450"/>
                  </a:lnTo>
                  <a:lnTo>
                    <a:pt x="593" y="452"/>
                  </a:lnTo>
                  <a:lnTo>
                    <a:pt x="593" y="454"/>
                  </a:lnTo>
                  <a:lnTo>
                    <a:pt x="593" y="457"/>
                  </a:lnTo>
                  <a:lnTo>
                    <a:pt x="593" y="457"/>
                  </a:lnTo>
                  <a:lnTo>
                    <a:pt x="593" y="459"/>
                  </a:lnTo>
                  <a:lnTo>
                    <a:pt x="591" y="459"/>
                  </a:lnTo>
                  <a:lnTo>
                    <a:pt x="589" y="459"/>
                  </a:lnTo>
                  <a:lnTo>
                    <a:pt x="589" y="461"/>
                  </a:lnTo>
                  <a:lnTo>
                    <a:pt x="587" y="461"/>
                  </a:lnTo>
                  <a:lnTo>
                    <a:pt x="589" y="463"/>
                  </a:lnTo>
                  <a:lnTo>
                    <a:pt x="589" y="465"/>
                  </a:lnTo>
                  <a:lnTo>
                    <a:pt x="589" y="465"/>
                  </a:lnTo>
                  <a:lnTo>
                    <a:pt x="591" y="468"/>
                  </a:lnTo>
                  <a:lnTo>
                    <a:pt x="591" y="468"/>
                  </a:lnTo>
                  <a:lnTo>
                    <a:pt x="593" y="468"/>
                  </a:lnTo>
                  <a:lnTo>
                    <a:pt x="595" y="468"/>
                  </a:lnTo>
                  <a:lnTo>
                    <a:pt x="596" y="470"/>
                  </a:lnTo>
                  <a:lnTo>
                    <a:pt x="598" y="472"/>
                  </a:lnTo>
                  <a:lnTo>
                    <a:pt x="598" y="474"/>
                  </a:lnTo>
                  <a:lnTo>
                    <a:pt x="598" y="475"/>
                  </a:lnTo>
                  <a:lnTo>
                    <a:pt x="598" y="475"/>
                  </a:lnTo>
                  <a:lnTo>
                    <a:pt x="600" y="475"/>
                  </a:lnTo>
                  <a:lnTo>
                    <a:pt x="600" y="475"/>
                  </a:lnTo>
                  <a:lnTo>
                    <a:pt x="602" y="475"/>
                  </a:lnTo>
                  <a:lnTo>
                    <a:pt x="600" y="477"/>
                  </a:lnTo>
                  <a:lnTo>
                    <a:pt x="600" y="477"/>
                  </a:lnTo>
                  <a:lnTo>
                    <a:pt x="600" y="477"/>
                  </a:lnTo>
                  <a:lnTo>
                    <a:pt x="598" y="477"/>
                  </a:lnTo>
                  <a:lnTo>
                    <a:pt x="598" y="477"/>
                  </a:lnTo>
                  <a:lnTo>
                    <a:pt x="598" y="477"/>
                  </a:lnTo>
                  <a:lnTo>
                    <a:pt x="598" y="475"/>
                  </a:lnTo>
                  <a:lnTo>
                    <a:pt x="596" y="475"/>
                  </a:lnTo>
                  <a:lnTo>
                    <a:pt x="596" y="474"/>
                  </a:lnTo>
                  <a:lnTo>
                    <a:pt x="595" y="474"/>
                  </a:lnTo>
                  <a:lnTo>
                    <a:pt x="595" y="474"/>
                  </a:lnTo>
                  <a:lnTo>
                    <a:pt x="595" y="475"/>
                  </a:lnTo>
                  <a:lnTo>
                    <a:pt x="596" y="475"/>
                  </a:lnTo>
                  <a:lnTo>
                    <a:pt x="596" y="477"/>
                  </a:lnTo>
                  <a:lnTo>
                    <a:pt x="598" y="479"/>
                  </a:lnTo>
                  <a:lnTo>
                    <a:pt x="600" y="483"/>
                  </a:lnTo>
                  <a:lnTo>
                    <a:pt x="600" y="484"/>
                  </a:lnTo>
                  <a:lnTo>
                    <a:pt x="602" y="484"/>
                  </a:lnTo>
                  <a:lnTo>
                    <a:pt x="602" y="486"/>
                  </a:lnTo>
                  <a:lnTo>
                    <a:pt x="602" y="488"/>
                  </a:lnTo>
                  <a:lnTo>
                    <a:pt x="602" y="488"/>
                  </a:lnTo>
                  <a:lnTo>
                    <a:pt x="605" y="490"/>
                  </a:lnTo>
                  <a:lnTo>
                    <a:pt x="605" y="492"/>
                  </a:lnTo>
                  <a:lnTo>
                    <a:pt x="607" y="493"/>
                  </a:lnTo>
                  <a:lnTo>
                    <a:pt x="609" y="495"/>
                  </a:lnTo>
                  <a:lnTo>
                    <a:pt x="611" y="497"/>
                  </a:lnTo>
                  <a:lnTo>
                    <a:pt x="613" y="495"/>
                  </a:lnTo>
                  <a:lnTo>
                    <a:pt x="614" y="495"/>
                  </a:lnTo>
                  <a:lnTo>
                    <a:pt x="614" y="497"/>
                  </a:lnTo>
                  <a:lnTo>
                    <a:pt x="618" y="499"/>
                  </a:lnTo>
                  <a:lnTo>
                    <a:pt x="620" y="501"/>
                  </a:lnTo>
                  <a:lnTo>
                    <a:pt x="620" y="503"/>
                  </a:lnTo>
                  <a:lnTo>
                    <a:pt x="622" y="503"/>
                  </a:lnTo>
                  <a:lnTo>
                    <a:pt x="623" y="503"/>
                  </a:lnTo>
                  <a:lnTo>
                    <a:pt x="625" y="504"/>
                  </a:lnTo>
                  <a:lnTo>
                    <a:pt x="625" y="503"/>
                  </a:lnTo>
                  <a:lnTo>
                    <a:pt x="627" y="504"/>
                  </a:lnTo>
                  <a:lnTo>
                    <a:pt x="629" y="504"/>
                  </a:lnTo>
                  <a:lnTo>
                    <a:pt x="629" y="506"/>
                  </a:lnTo>
                  <a:lnTo>
                    <a:pt x="631" y="506"/>
                  </a:lnTo>
                  <a:lnTo>
                    <a:pt x="632" y="506"/>
                  </a:lnTo>
                  <a:lnTo>
                    <a:pt x="636" y="504"/>
                  </a:lnTo>
                  <a:lnTo>
                    <a:pt x="638" y="504"/>
                  </a:lnTo>
                  <a:lnTo>
                    <a:pt x="638" y="503"/>
                  </a:lnTo>
                  <a:lnTo>
                    <a:pt x="638" y="503"/>
                  </a:lnTo>
                  <a:lnTo>
                    <a:pt x="638" y="503"/>
                  </a:lnTo>
                  <a:lnTo>
                    <a:pt x="638" y="503"/>
                  </a:lnTo>
                  <a:lnTo>
                    <a:pt x="638" y="501"/>
                  </a:lnTo>
                  <a:lnTo>
                    <a:pt x="638" y="501"/>
                  </a:lnTo>
                  <a:lnTo>
                    <a:pt x="638" y="499"/>
                  </a:lnTo>
                  <a:lnTo>
                    <a:pt x="638" y="499"/>
                  </a:lnTo>
                  <a:lnTo>
                    <a:pt x="638" y="497"/>
                  </a:lnTo>
                  <a:lnTo>
                    <a:pt x="638" y="497"/>
                  </a:lnTo>
                  <a:lnTo>
                    <a:pt x="638" y="497"/>
                  </a:lnTo>
                  <a:lnTo>
                    <a:pt x="640" y="495"/>
                  </a:lnTo>
                  <a:lnTo>
                    <a:pt x="640" y="495"/>
                  </a:lnTo>
                  <a:lnTo>
                    <a:pt x="641" y="497"/>
                  </a:lnTo>
                  <a:lnTo>
                    <a:pt x="641" y="497"/>
                  </a:lnTo>
                  <a:lnTo>
                    <a:pt x="641" y="499"/>
                  </a:lnTo>
                  <a:lnTo>
                    <a:pt x="643" y="499"/>
                  </a:lnTo>
                  <a:lnTo>
                    <a:pt x="643" y="495"/>
                  </a:lnTo>
                  <a:lnTo>
                    <a:pt x="643" y="495"/>
                  </a:lnTo>
                  <a:lnTo>
                    <a:pt x="645" y="492"/>
                  </a:lnTo>
                  <a:lnTo>
                    <a:pt x="645" y="492"/>
                  </a:lnTo>
                  <a:lnTo>
                    <a:pt x="645" y="490"/>
                  </a:lnTo>
                  <a:lnTo>
                    <a:pt x="645" y="490"/>
                  </a:lnTo>
                  <a:lnTo>
                    <a:pt x="647" y="490"/>
                  </a:lnTo>
                  <a:lnTo>
                    <a:pt x="647" y="490"/>
                  </a:lnTo>
                  <a:lnTo>
                    <a:pt x="647" y="490"/>
                  </a:lnTo>
                  <a:lnTo>
                    <a:pt x="647" y="488"/>
                  </a:lnTo>
                  <a:lnTo>
                    <a:pt x="649" y="488"/>
                  </a:lnTo>
                  <a:lnTo>
                    <a:pt x="649" y="486"/>
                  </a:lnTo>
                  <a:lnTo>
                    <a:pt x="649" y="484"/>
                  </a:lnTo>
                  <a:lnTo>
                    <a:pt x="650" y="483"/>
                  </a:lnTo>
                  <a:lnTo>
                    <a:pt x="650" y="483"/>
                  </a:lnTo>
                  <a:lnTo>
                    <a:pt x="650" y="481"/>
                  </a:lnTo>
                  <a:lnTo>
                    <a:pt x="652" y="481"/>
                  </a:lnTo>
                  <a:lnTo>
                    <a:pt x="654" y="481"/>
                  </a:lnTo>
                  <a:lnTo>
                    <a:pt x="654" y="481"/>
                  </a:lnTo>
                  <a:lnTo>
                    <a:pt x="658" y="479"/>
                  </a:lnTo>
                  <a:lnTo>
                    <a:pt x="660" y="479"/>
                  </a:lnTo>
                  <a:lnTo>
                    <a:pt x="663" y="477"/>
                  </a:lnTo>
                  <a:lnTo>
                    <a:pt x="665" y="475"/>
                  </a:lnTo>
                  <a:lnTo>
                    <a:pt x="665" y="475"/>
                  </a:lnTo>
                  <a:lnTo>
                    <a:pt x="667" y="475"/>
                  </a:lnTo>
                  <a:lnTo>
                    <a:pt x="672" y="477"/>
                  </a:lnTo>
                  <a:lnTo>
                    <a:pt x="674" y="477"/>
                  </a:lnTo>
                  <a:lnTo>
                    <a:pt x="676" y="475"/>
                  </a:lnTo>
                  <a:lnTo>
                    <a:pt x="678" y="475"/>
                  </a:lnTo>
                  <a:lnTo>
                    <a:pt x="678" y="475"/>
                  </a:lnTo>
                  <a:lnTo>
                    <a:pt x="679" y="474"/>
                  </a:lnTo>
                  <a:lnTo>
                    <a:pt x="681" y="472"/>
                  </a:lnTo>
                  <a:lnTo>
                    <a:pt x="683" y="472"/>
                  </a:lnTo>
                  <a:lnTo>
                    <a:pt x="685" y="468"/>
                  </a:lnTo>
                  <a:lnTo>
                    <a:pt x="685" y="468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8" y="463"/>
                  </a:lnTo>
                  <a:lnTo>
                    <a:pt x="688" y="463"/>
                  </a:lnTo>
                  <a:lnTo>
                    <a:pt x="690" y="463"/>
                  </a:lnTo>
                  <a:lnTo>
                    <a:pt x="699" y="463"/>
                  </a:lnTo>
                  <a:lnTo>
                    <a:pt x="701" y="463"/>
                  </a:lnTo>
                  <a:lnTo>
                    <a:pt x="705" y="463"/>
                  </a:lnTo>
                  <a:lnTo>
                    <a:pt x="706" y="461"/>
                  </a:lnTo>
                  <a:lnTo>
                    <a:pt x="706" y="461"/>
                  </a:lnTo>
                  <a:lnTo>
                    <a:pt x="712" y="463"/>
                  </a:lnTo>
                  <a:lnTo>
                    <a:pt x="716" y="461"/>
                  </a:lnTo>
                  <a:lnTo>
                    <a:pt x="717" y="461"/>
                  </a:lnTo>
                  <a:lnTo>
                    <a:pt x="719" y="461"/>
                  </a:lnTo>
                  <a:lnTo>
                    <a:pt x="723" y="463"/>
                  </a:lnTo>
                  <a:lnTo>
                    <a:pt x="726" y="463"/>
                  </a:lnTo>
                  <a:lnTo>
                    <a:pt x="726" y="461"/>
                  </a:lnTo>
                  <a:lnTo>
                    <a:pt x="728" y="461"/>
                  </a:lnTo>
                  <a:lnTo>
                    <a:pt x="730" y="461"/>
                  </a:lnTo>
                  <a:lnTo>
                    <a:pt x="730" y="463"/>
                  </a:lnTo>
                  <a:lnTo>
                    <a:pt x="732" y="463"/>
                  </a:lnTo>
                  <a:lnTo>
                    <a:pt x="734" y="463"/>
                  </a:lnTo>
                  <a:lnTo>
                    <a:pt x="734" y="463"/>
                  </a:lnTo>
                  <a:lnTo>
                    <a:pt x="735" y="465"/>
                  </a:lnTo>
                  <a:lnTo>
                    <a:pt x="739" y="465"/>
                  </a:lnTo>
                  <a:lnTo>
                    <a:pt x="741" y="463"/>
                  </a:lnTo>
                  <a:lnTo>
                    <a:pt x="743" y="463"/>
                  </a:lnTo>
                  <a:lnTo>
                    <a:pt x="743" y="461"/>
                  </a:lnTo>
                  <a:lnTo>
                    <a:pt x="744" y="461"/>
                  </a:lnTo>
                  <a:lnTo>
                    <a:pt x="748" y="461"/>
                  </a:lnTo>
                  <a:lnTo>
                    <a:pt x="752" y="461"/>
                  </a:lnTo>
                  <a:lnTo>
                    <a:pt x="757" y="461"/>
                  </a:lnTo>
                  <a:lnTo>
                    <a:pt x="761" y="461"/>
                  </a:lnTo>
                  <a:lnTo>
                    <a:pt x="764" y="461"/>
                  </a:lnTo>
                  <a:lnTo>
                    <a:pt x="764" y="461"/>
                  </a:lnTo>
                  <a:lnTo>
                    <a:pt x="766" y="461"/>
                  </a:lnTo>
                  <a:lnTo>
                    <a:pt x="768" y="463"/>
                  </a:lnTo>
                  <a:lnTo>
                    <a:pt x="768" y="465"/>
                  </a:lnTo>
                  <a:lnTo>
                    <a:pt x="768" y="463"/>
                  </a:lnTo>
                  <a:lnTo>
                    <a:pt x="768" y="463"/>
                  </a:lnTo>
                  <a:lnTo>
                    <a:pt x="770" y="463"/>
                  </a:lnTo>
                  <a:lnTo>
                    <a:pt x="770" y="463"/>
                  </a:lnTo>
                  <a:lnTo>
                    <a:pt x="771" y="465"/>
                  </a:lnTo>
                  <a:lnTo>
                    <a:pt x="771" y="465"/>
                  </a:lnTo>
                  <a:lnTo>
                    <a:pt x="773" y="465"/>
                  </a:lnTo>
                  <a:lnTo>
                    <a:pt x="775" y="465"/>
                  </a:lnTo>
                  <a:lnTo>
                    <a:pt x="775" y="465"/>
                  </a:lnTo>
                  <a:lnTo>
                    <a:pt x="777" y="465"/>
                  </a:lnTo>
                  <a:lnTo>
                    <a:pt x="779" y="463"/>
                  </a:lnTo>
                  <a:lnTo>
                    <a:pt x="779" y="463"/>
                  </a:lnTo>
                  <a:lnTo>
                    <a:pt x="779" y="463"/>
                  </a:lnTo>
                  <a:lnTo>
                    <a:pt x="781" y="459"/>
                  </a:lnTo>
                  <a:lnTo>
                    <a:pt x="781" y="457"/>
                  </a:lnTo>
                  <a:lnTo>
                    <a:pt x="782" y="456"/>
                  </a:lnTo>
                  <a:lnTo>
                    <a:pt x="786" y="456"/>
                  </a:lnTo>
                  <a:lnTo>
                    <a:pt x="786" y="456"/>
                  </a:lnTo>
                  <a:lnTo>
                    <a:pt x="788" y="457"/>
                  </a:lnTo>
                  <a:lnTo>
                    <a:pt x="788" y="457"/>
                  </a:lnTo>
                  <a:lnTo>
                    <a:pt x="790" y="456"/>
                  </a:lnTo>
                  <a:lnTo>
                    <a:pt x="791" y="456"/>
                  </a:lnTo>
                  <a:lnTo>
                    <a:pt x="791" y="456"/>
                  </a:lnTo>
                  <a:lnTo>
                    <a:pt x="793" y="456"/>
                  </a:lnTo>
                  <a:lnTo>
                    <a:pt x="795" y="456"/>
                  </a:lnTo>
                  <a:lnTo>
                    <a:pt x="797" y="457"/>
                  </a:lnTo>
                  <a:lnTo>
                    <a:pt x="797" y="459"/>
                  </a:lnTo>
                  <a:lnTo>
                    <a:pt x="799" y="461"/>
                  </a:lnTo>
                  <a:lnTo>
                    <a:pt x="800" y="461"/>
                  </a:lnTo>
                  <a:lnTo>
                    <a:pt x="802" y="463"/>
                  </a:lnTo>
                  <a:lnTo>
                    <a:pt x="802" y="463"/>
                  </a:lnTo>
                  <a:lnTo>
                    <a:pt x="804" y="461"/>
                  </a:lnTo>
                  <a:lnTo>
                    <a:pt x="804" y="461"/>
                  </a:lnTo>
                  <a:lnTo>
                    <a:pt x="806" y="459"/>
                  </a:lnTo>
                  <a:lnTo>
                    <a:pt x="806" y="459"/>
                  </a:lnTo>
                  <a:lnTo>
                    <a:pt x="806" y="459"/>
                  </a:lnTo>
                  <a:lnTo>
                    <a:pt x="806" y="459"/>
                  </a:lnTo>
                  <a:lnTo>
                    <a:pt x="808" y="459"/>
                  </a:lnTo>
                  <a:lnTo>
                    <a:pt x="808" y="457"/>
                  </a:lnTo>
                  <a:lnTo>
                    <a:pt x="808" y="457"/>
                  </a:lnTo>
                  <a:lnTo>
                    <a:pt x="808" y="456"/>
                  </a:lnTo>
                  <a:lnTo>
                    <a:pt x="809" y="456"/>
                  </a:lnTo>
                  <a:lnTo>
                    <a:pt x="809" y="456"/>
                  </a:lnTo>
                  <a:lnTo>
                    <a:pt x="809" y="452"/>
                  </a:lnTo>
                  <a:lnTo>
                    <a:pt x="811" y="452"/>
                  </a:lnTo>
                  <a:lnTo>
                    <a:pt x="813" y="450"/>
                  </a:lnTo>
                  <a:lnTo>
                    <a:pt x="813" y="450"/>
                  </a:lnTo>
                  <a:lnTo>
                    <a:pt x="813" y="450"/>
                  </a:lnTo>
                  <a:lnTo>
                    <a:pt x="815" y="450"/>
                  </a:lnTo>
                  <a:lnTo>
                    <a:pt x="815" y="448"/>
                  </a:lnTo>
                  <a:lnTo>
                    <a:pt x="815" y="448"/>
                  </a:lnTo>
                  <a:lnTo>
                    <a:pt x="815" y="448"/>
                  </a:lnTo>
                  <a:lnTo>
                    <a:pt x="815" y="448"/>
                  </a:lnTo>
                  <a:lnTo>
                    <a:pt x="815" y="447"/>
                  </a:lnTo>
                  <a:lnTo>
                    <a:pt x="815" y="447"/>
                  </a:lnTo>
                  <a:lnTo>
                    <a:pt x="815" y="447"/>
                  </a:lnTo>
                  <a:lnTo>
                    <a:pt x="817" y="445"/>
                  </a:lnTo>
                  <a:lnTo>
                    <a:pt x="817" y="441"/>
                  </a:lnTo>
                  <a:lnTo>
                    <a:pt x="818" y="439"/>
                  </a:lnTo>
                  <a:lnTo>
                    <a:pt x="818" y="437"/>
                  </a:lnTo>
                  <a:lnTo>
                    <a:pt x="818" y="434"/>
                  </a:lnTo>
                  <a:lnTo>
                    <a:pt x="820" y="432"/>
                  </a:lnTo>
                  <a:lnTo>
                    <a:pt x="820" y="430"/>
                  </a:lnTo>
                  <a:lnTo>
                    <a:pt x="824" y="427"/>
                  </a:lnTo>
                  <a:lnTo>
                    <a:pt x="826" y="425"/>
                  </a:lnTo>
                  <a:lnTo>
                    <a:pt x="826" y="425"/>
                  </a:lnTo>
                  <a:lnTo>
                    <a:pt x="826" y="423"/>
                  </a:lnTo>
                  <a:lnTo>
                    <a:pt x="827" y="423"/>
                  </a:lnTo>
                  <a:lnTo>
                    <a:pt x="827" y="423"/>
                  </a:lnTo>
                  <a:lnTo>
                    <a:pt x="827" y="421"/>
                  </a:lnTo>
                  <a:lnTo>
                    <a:pt x="827" y="421"/>
                  </a:lnTo>
                  <a:lnTo>
                    <a:pt x="829" y="421"/>
                  </a:lnTo>
                  <a:lnTo>
                    <a:pt x="831" y="419"/>
                  </a:lnTo>
                  <a:lnTo>
                    <a:pt x="833" y="419"/>
                  </a:lnTo>
                  <a:lnTo>
                    <a:pt x="833" y="419"/>
                  </a:lnTo>
                  <a:lnTo>
                    <a:pt x="835" y="418"/>
                  </a:lnTo>
                  <a:lnTo>
                    <a:pt x="835" y="418"/>
                  </a:lnTo>
                  <a:lnTo>
                    <a:pt x="835" y="418"/>
                  </a:lnTo>
                  <a:lnTo>
                    <a:pt x="835" y="418"/>
                  </a:lnTo>
                  <a:lnTo>
                    <a:pt x="835" y="418"/>
                  </a:lnTo>
                  <a:lnTo>
                    <a:pt x="836" y="418"/>
                  </a:lnTo>
                  <a:lnTo>
                    <a:pt x="836" y="418"/>
                  </a:lnTo>
                  <a:lnTo>
                    <a:pt x="836" y="416"/>
                  </a:lnTo>
                  <a:lnTo>
                    <a:pt x="836" y="416"/>
                  </a:lnTo>
                  <a:lnTo>
                    <a:pt x="836" y="416"/>
                  </a:lnTo>
                  <a:lnTo>
                    <a:pt x="836" y="414"/>
                  </a:lnTo>
                  <a:lnTo>
                    <a:pt x="838" y="414"/>
                  </a:lnTo>
                  <a:lnTo>
                    <a:pt x="838" y="414"/>
                  </a:lnTo>
                  <a:lnTo>
                    <a:pt x="838" y="414"/>
                  </a:lnTo>
                  <a:lnTo>
                    <a:pt x="840" y="414"/>
                  </a:lnTo>
                  <a:lnTo>
                    <a:pt x="842" y="410"/>
                  </a:lnTo>
                  <a:lnTo>
                    <a:pt x="842" y="410"/>
                  </a:lnTo>
                  <a:lnTo>
                    <a:pt x="844" y="410"/>
                  </a:lnTo>
                  <a:lnTo>
                    <a:pt x="846" y="410"/>
                  </a:lnTo>
                  <a:lnTo>
                    <a:pt x="847" y="410"/>
                  </a:lnTo>
                  <a:lnTo>
                    <a:pt x="847" y="410"/>
                  </a:lnTo>
                  <a:lnTo>
                    <a:pt x="847" y="409"/>
                  </a:lnTo>
                  <a:lnTo>
                    <a:pt x="849" y="409"/>
                  </a:lnTo>
                  <a:lnTo>
                    <a:pt x="851" y="410"/>
                  </a:lnTo>
                  <a:lnTo>
                    <a:pt x="851" y="410"/>
                  </a:lnTo>
                  <a:lnTo>
                    <a:pt x="851" y="410"/>
                  </a:lnTo>
                  <a:lnTo>
                    <a:pt x="853" y="410"/>
                  </a:lnTo>
                  <a:lnTo>
                    <a:pt x="853" y="412"/>
                  </a:lnTo>
                  <a:lnTo>
                    <a:pt x="855" y="412"/>
                  </a:lnTo>
                  <a:lnTo>
                    <a:pt x="855" y="410"/>
                  </a:lnTo>
                  <a:lnTo>
                    <a:pt x="855" y="410"/>
                  </a:lnTo>
                  <a:lnTo>
                    <a:pt x="855" y="410"/>
                  </a:lnTo>
                  <a:lnTo>
                    <a:pt x="855" y="409"/>
                  </a:lnTo>
                  <a:lnTo>
                    <a:pt x="856" y="409"/>
                  </a:lnTo>
                  <a:lnTo>
                    <a:pt x="856" y="409"/>
                  </a:lnTo>
                  <a:lnTo>
                    <a:pt x="860" y="409"/>
                  </a:lnTo>
                  <a:lnTo>
                    <a:pt x="862" y="409"/>
                  </a:lnTo>
                  <a:lnTo>
                    <a:pt x="864" y="410"/>
                  </a:lnTo>
                  <a:lnTo>
                    <a:pt x="864" y="410"/>
                  </a:lnTo>
                  <a:lnTo>
                    <a:pt x="865" y="409"/>
                  </a:lnTo>
                  <a:lnTo>
                    <a:pt x="865" y="409"/>
                  </a:lnTo>
                  <a:lnTo>
                    <a:pt x="867" y="409"/>
                  </a:lnTo>
                  <a:lnTo>
                    <a:pt x="869" y="409"/>
                  </a:lnTo>
                  <a:lnTo>
                    <a:pt x="869" y="409"/>
                  </a:lnTo>
                  <a:lnTo>
                    <a:pt x="871" y="409"/>
                  </a:lnTo>
                  <a:lnTo>
                    <a:pt x="873" y="407"/>
                  </a:lnTo>
                  <a:lnTo>
                    <a:pt x="873" y="407"/>
                  </a:lnTo>
                  <a:lnTo>
                    <a:pt x="873" y="407"/>
                  </a:lnTo>
                  <a:lnTo>
                    <a:pt x="873" y="407"/>
                  </a:lnTo>
                  <a:lnTo>
                    <a:pt x="874" y="407"/>
                  </a:lnTo>
                  <a:lnTo>
                    <a:pt x="874" y="407"/>
                  </a:lnTo>
                  <a:lnTo>
                    <a:pt x="874" y="407"/>
                  </a:lnTo>
                  <a:lnTo>
                    <a:pt x="874" y="405"/>
                  </a:lnTo>
                  <a:lnTo>
                    <a:pt x="874" y="405"/>
                  </a:lnTo>
                  <a:lnTo>
                    <a:pt x="874" y="405"/>
                  </a:lnTo>
                  <a:lnTo>
                    <a:pt x="874" y="405"/>
                  </a:lnTo>
                  <a:lnTo>
                    <a:pt x="873" y="405"/>
                  </a:lnTo>
                  <a:lnTo>
                    <a:pt x="871" y="405"/>
                  </a:lnTo>
                  <a:lnTo>
                    <a:pt x="869" y="403"/>
                  </a:lnTo>
                  <a:lnTo>
                    <a:pt x="869" y="403"/>
                  </a:lnTo>
                  <a:lnTo>
                    <a:pt x="867" y="400"/>
                  </a:lnTo>
                  <a:lnTo>
                    <a:pt x="867" y="398"/>
                  </a:lnTo>
                  <a:lnTo>
                    <a:pt x="867" y="398"/>
                  </a:lnTo>
                  <a:lnTo>
                    <a:pt x="869" y="398"/>
                  </a:lnTo>
                  <a:lnTo>
                    <a:pt x="869" y="396"/>
                  </a:lnTo>
                  <a:lnTo>
                    <a:pt x="871" y="394"/>
                  </a:lnTo>
                  <a:lnTo>
                    <a:pt x="873" y="396"/>
                  </a:lnTo>
                  <a:lnTo>
                    <a:pt x="873" y="394"/>
                  </a:lnTo>
                  <a:lnTo>
                    <a:pt x="873" y="392"/>
                  </a:lnTo>
                  <a:lnTo>
                    <a:pt x="873" y="392"/>
                  </a:lnTo>
                  <a:lnTo>
                    <a:pt x="873" y="391"/>
                  </a:lnTo>
                  <a:lnTo>
                    <a:pt x="874" y="385"/>
                  </a:lnTo>
                  <a:lnTo>
                    <a:pt x="874" y="385"/>
                  </a:lnTo>
                  <a:lnTo>
                    <a:pt x="876" y="383"/>
                  </a:lnTo>
                  <a:lnTo>
                    <a:pt x="876" y="383"/>
                  </a:lnTo>
                  <a:lnTo>
                    <a:pt x="878" y="383"/>
                  </a:lnTo>
                  <a:lnTo>
                    <a:pt x="878" y="381"/>
                  </a:lnTo>
                  <a:lnTo>
                    <a:pt x="878" y="378"/>
                  </a:lnTo>
                  <a:lnTo>
                    <a:pt x="878" y="374"/>
                  </a:lnTo>
                  <a:lnTo>
                    <a:pt x="878" y="374"/>
                  </a:lnTo>
                  <a:lnTo>
                    <a:pt x="878" y="372"/>
                  </a:lnTo>
                  <a:lnTo>
                    <a:pt x="880" y="372"/>
                  </a:lnTo>
                  <a:lnTo>
                    <a:pt x="880" y="371"/>
                  </a:lnTo>
                  <a:lnTo>
                    <a:pt x="880" y="371"/>
                  </a:lnTo>
                  <a:lnTo>
                    <a:pt x="882" y="371"/>
                  </a:lnTo>
                  <a:lnTo>
                    <a:pt x="883" y="371"/>
                  </a:lnTo>
                  <a:lnTo>
                    <a:pt x="885" y="371"/>
                  </a:lnTo>
                  <a:lnTo>
                    <a:pt x="885" y="369"/>
                  </a:lnTo>
                  <a:lnTo>
                    <a:pt x="885" y="363"/>
                  </a:lnTo>
                  <a:lnTo>
                    <a:pt x="885" y="362"/>
                  </a:lnTo>
                  <a:lnTo>
                    <a:pt x="887" y="362"/>
                  </a:lnTo>
                  <a:lnTo>
                    <a:pt x="887" y="360"/>
                  </a:lnTo>
                  <a:lnTo>
                    <a:pt x="887" y="360"/>
                  </a:lnTo>
                  <a:lnTo>
                    <a:pt x="889" y="360"/>
                  </a:lnTo>
                  <a:lnTo>
                    <a:pt x="889" y="360"/>
                  </a:lnTo>
                  <a:lnTo>
                    <a:pt x="891" y="358"/>
                  </a:lnTo>
                  <a:lnTo>
                    <a:pt x="891" y="358"/>
                  </a:lnTo>
                  <a:lnTo>
                    <a:pt x="891" y="356"/>
                  </a:lnTo>
                  <a:lnTo>
                    <a:pt x="891" y="356"/>
                  </a:lnTo>
                  <a:lnTo>
                    <a:pt x="892" y="354"/>
                  </a:lnTo>
                  <a:lnTo>
                    <a:pt x="892" y="354"/>
                  </a:lnTo>
                  <a:lnTo>
                    <a:pt x="892" y="353"/>
                  </a:lnTo>
                  <a:lnTo>
                    <a:pt x="894" y="353"/>
                  </a:lnTo>
                  <a:lnTo>
                    <a:pt x="898" y="351"/>
                  </a:lnTo>
                  <a:lnTo>
                    <a:pt x="900" y="349"/>
                  </a:lnTo>
                  <a:lnTo>
                    <a:pt x="902" y="349"/>
                  </a:lnTo>
                  <a:lnTo>
                    <a:pt x="903" y="349"/>
                  </a:lnTo>
                  <a:lnTo>
                    <a:pt x="905" y="349"/>
                  </a:lnTo>
                  <a:lnTo>
                    <a:pt x="907" y="347"/>
                  </a:lnTo>
                  <a:lnTo>
                    <a:pt x="907" y="347"/>
                  </a:lnTo>
                  <a:lnTo>
                    <a:pt x="907" y="347"/>
                  </a:lnTo>
                  <a:lnTo>
                    <a:pt x="907" y="345"/>
                  </a:lnTo>
                  <a:lnTo>
                    <a:pt x="907" y="345"/>
                  </a:lnTo>
                  <a:lnTo>
                    <a:pt x="909" y="344"/>
                  </a:lnTo>
                  <a:lnTo>
                    <a:pt x="909" y="344"/>
                  </a:lnTo>
                  <a:lnTo>
                    <a:pt x="909" y="342"/>
                  </a:lnTo>
                  <a:lnTo>
                    <a:pt x="911" y="342"/>
                  </a:lnTo>
                  <a:lnTo>
                    <a:pt x="912" y="342"/>
                  </a:lnTo>
                  <a:lnTo>
                    <a:pt x="912" y="342"/>
                  </a:lnTo>
                  <a:lnTo>
                    <a:pt x="914" y="342"/>
                  </a:lnTo>
                  <a:lnTo>
                    <a:pt x="914" y="342"/>
                  </a:lnTo>
                  <a:lnTo>
                    <a:pt x="914" y="342"/>
                  </a:lnTo>
                  <a:lnTo>
                    <a:pt x="914" y="340"/>
                  </a:lnTo>
                  <a:lnTo>
                    <a:pt x="914" y="340"/>
                  </a:lnTo>
                  <a:lnTo>
                    <a:pt x="916" y="340"/>
                  </a:lnTo>
                  <a:lnTo>
                    <a:pt x="916" y="338"/>
                  </a:lnTo>
                  <a:lnTo>
                    <a:pt x="916" y="338"/>
                  </a:lnTo>
                  <a:lnTo>
                    <a:pt x="918" y="338"/>
                  </a:lnTo>
                  <a:lnTo>
                    <a:pt x="918" y="338"/>
                  </a:lnTo>
                  <a:lnTo>
                    <a:pt x="918" y="338"/>
                  </a:lnTo>
                  <a:lnTo>
                    <a:pt x="918" y="336"/>
                  </a:lnTo>
                  <a:lnTo>
                    <a:pt x="920" y="336"/>
                  </a:lnTo>
                  <a:lnTo>
                    <a:pt x="920" y="336"/>
                  </a:lnTo>
                  <a:lnTo>
                    <a:pt x="921" y="336"/>
                  </a:lnTo>
                  <a:lnTo>
                    <a:pt x="921" y="336"/>
                  </a:lnTo>
                  <a:lnTo>
                    <a:pt x="921" y="335"/>
                  </a:lnTo>
                  <a:lnTo>
                    <a:pt x="921" y="335"/>
                  </a:lnTo>
                  <a:lnTo>
                    <a:pt x="921" y="333"/>
                  </a:lnTo>
                  <a:lnTo>
                    <a:pt x="921" y="333"/>
                  </a:lnTo>
                  <a:lnTo>
                    <a:pt x="920" y="333"/>
                  </a:lnTo>
                  <a:lnTo>
                    <a:pt x="920" y="333"/>
                  </a:lnTo>
                  <a:lnTo>
                    <a:pt x="920" y="331"/>
                  </a:lnTo>
                  <a:lnTo>
                    <a:pt x="920" y="331"/>
                  </a:lnTo>
                  <a:lnTo>
                    <a:pt x="920" y="331"/>
                  </a:lnTo>
                  <a:lnTo>
                    <a:pt x="918" y="329"/>
                  </a:lnTo>
                  <a:lnTo>
                    <a:pt x="916" y="327"/>
                  </a:lnTo>
                  <a:lnTo>
                    <a:pt x="914" y="327"/>
                  </a:lnTo>
                  <a:lnTo>
                    <a:pt x="911" y="327"/>
                  </a:lnTo>
                  <a:lnTo>
                    <a:pt x="911" y="327"/>
                  </a:lnTo>
                  <a:lnTo>
                    <a:pt x="909" y="325"/>
                  </a:lnTo>
                  <a:lnTo>
                    <a:pt x="907" y="324"/>
                  </a:lnTo>
                  <a:lnTo>
                    <a:pt x="905" y="322"/>
                  </a:lnTo>
                  <a:lnTo>
                    <a:pt x="905" y="322"/>
                  </a:lnTo>
                  <a:lnTo>
                    <a:pt x="903" y="318"/>
                  </a:lnTo>
                  <a:lnTo>
                    <a:pt x="902" y="316"/>
                  </a:lnTo>
                  <a:lnTo>
                    <a:pt x="900" y="313"/>
                  </a:lnTo>
                  <a:lnTo>
                    <a:pt x="900" y="311"/>
                  </a:lnTo>
                  <a:lnTo>
                    <a:pt x="898" y="309"/>
                  </a:lnTo>
                  <a:lnTo>
                    <a:pt x="898" y="307"/>
                  </a:lnTo>
                  <a:lnTo>
                    <a:pt x="900" y="307"/>
                  </a:lnTo>
                  <a:lnTo>
                    <a:pt x="900" y="307"/>
                  </a:lnTo>
                  <a:lnTo>
                    <a:pt x="900" y="306"/>
                  </a:lnTo>
                  <a:lnTo>
                    <a:pt x="898" y="306"/>
                  </a:lnTo>
                  <a:lnTo>
                    <a:pt x="896" y="298"/>
                  </a:lnTo>
                  <a:lnTo>
                    <a:pt x="894" y="293"/>
                  </a:lnTo>
                  <a:lnTo>
                    <a:pt x="894" y="291"/>
                  </a:lnTo>
                  <a:lnTo>
                    <a:pt x="894" y="288"/>
                  </a:lnTo>
                  <a:lnTo>
                    <a:pt x="894" y="286"/>
                  </a:lnTo>
                  <a:lnTo>
                    <a:pt x="894" y="284"/>
                  </a:lnTo>
                  <a:lnTo>
                    <a:pt x="896" y="282"/>
                  </a:lnTo>
                  <a:lnTo>
                    <a:pt x="896" y="280"/>
                  </a:lnTo>
                  <a:lnTo>
                    <a:pt x="896" y="280"/>
                  </a:lnTo>
                  <a:lnTo>
                    <a:pt x="898" y="279"/>
                  </a:lnTo>
                  <a:lnTo>
                    <a:pt x="898" y="279"/>
                  </a:lnTo>
                  <a:lnTo>
                    <a:pt x="900" y="277"/>
                  </a:lnTo>
                  <a:lnTo>
                    <a:pt x="900" y="275"/>
                  </a:lnTo>
                  <a:lnTo>
                    <a:pt x="900" y="275"/>
                  </a:lnTo>
                  <a:lnTo>
                    <a:pt x="900" y="273"/>
                  </a:lnTo>
                  <a:lnTo>
                    <a:pt x="900" y="273"/>
                  </a:lnTo>
                  <a:lnTo>
                    <a:pt x="905" y="264"/>
                  </a:lnTo>
                  <a:lnTo>
                    <a:pt x="909" y="260"/>
                  </a:lnTo>
                  <a:lnTo>
                    <a:pt x="911" y="259"/>
                  </a:lnTo>
                  <a:lnTo>
                    <a:pt x="912" y="253"/>
                  </a:lnTo>
                  <a:lnTo>
                    <a:pt x="914" y="251"/>
                  </a:lnTo>
                  <a:lnTo>
                    <a:pt x="916" y="250"/>
                  </a:lnTo>
                  <a:lnTo>
                    <a:pt x="918" y="250"/>
                  </a:lnTo>
                  <a:lnTo>
                    <a:pt x="921" y="242"/>
                  </a:lnTo>
                  <a:lnTo>
                    <a:pt x="923" y="241"/>
                  </a:lnTo>
                  <a:lnTo>
                    <a:pt x="925" y="237"/>
                  </a:lnTo>
                  <a:lnTo>
                    <a:pt x="927" y="237"/>
                  </a:lnTo>
                  <a:lnTo>
                    <a:pt x="927" y="235"/>
                  </a:lnTo>
                  <a:lnTo>
                    <a:pt x="929" y="235"/>
                  </a:lnTo>
                  <a:lnTo>
                    <a:pt x="932" y="228"/>
                  </a:lnTo>
                  <a:lnTo>
                    <a:pt x="932" y="228"/>
                  </a:lnTo>
                  <a:lnTo>
                    <a:pt x="932" y="226"/>
                  </a:lnTo>
                  <a:lnTo>
                    <a:pt x="934" y="224"/>
                  </a:lnTo>
                  <a:lnTo>
                    <a:pt x="934" y="224"/>
                  </a:lnTo>
                  <a:lnTo>
                    <a:pt x="936" y="223"/>
                  </a:lnTo>
                  <a:lnTo>
                    <a:pt x="936" y="221"/>
                  </a:lnTo>
                  <a:lnTo>
                    <a:pt x="938" y="217"/>
                  </a:lnTo>
                  <a:lnTo>
                    <a:pt x="939" y="215"/>
                  </a:lnTo>
                  <a:lnTo>
                    <a:pt x="939" y="215"/>
                  </a:lnTo>
                  <a:lnTo>
                    <a:pt x="941" y="214"/>
                  </a:lnTo>
                  <a:lnTo>
                    <a:pt x="945" y="212"/>
                  </a:lnTo>
                  <a:lnTo>
                    <a:pt x="947" y="212"/>
                  </a:lnTo>
                  <a:lnTo>
                    <a:pt x="947" y="212"/>
                  </a:lnTo>
                  <a:lnTo>
                    <a:pt x="945" y="215"/>
                  </a:lnTo>
                  <a:lnTo>
                    <a:pt x="943" y="217"/>
                  </a:lnTo>
                  <a:lnTo>
                    <a:pt x="943" y="215"/>
                  </a:lnTo>
                  <a:lnTo>
                    <a:pt x="939" y="215"/>
                  </a:lnTo>
                  <a:lnTo>
                    <a:pt x="941" y="217"/>
                  </a:lnTo>
                  <a:lnTo>
                    <a:pt x="943" y="217"/>
                  </a:lnTo>
                  <a:lnTo>
                    <a:pt x="945" y="217"/>
                  </a:lnTo>
                  <a:lnTo>
                    <a:pt x="945" y="215"/>
                  </a:lnTo>
                  <a:lnTo>
                    <a:pt x="948" y="212"/>
                  </a:lnTo>
                  <a:lnTo>
                    <a:pt x="950" y="210"/>
                  </a:lnTo>
                  <a:lnTo>
                    <a:pt x="952" y="210"/>
                  </a:lnTo>
                  <a:lnTo>
                    <a:pt x="954" y="210"/>
                  </a:lnTo>
                  <a:lnTo>
                    <a:pt x="954" y="208"/>
                  </a:lnTo>
                  <a:lnTo>
                    <a:pt x="954" y="206"/>
                  </a:lnTo>
                  <a:lnTo>
                    <a:pt x="954" y="206"/>
                  </a:lnTo>
                  <a:lnTo>
                    <a:pt x="952" y="206"/>
                  </a:lnTo>
                  <a:lnTo>
                    <a:pt x="952" y="204"/>
                  </a:lnTo>
                  <a:lnTo>
                    <a:pt x="950" y="203"/>
                  </a:lnTo>
                  <a:lnTo>
                    <a:pt x="950" y="203"/>
                  </a:lnTo>
                  <a:lnTo>
                    <a:pt x="948" y="203"/>
                  </a:lnTo>
                  <a:lnTo>
                    <a:pt x="948" y="203"/>
                  </a:lnTo>
                  <a:lnTo>
                    <a:pt x="948" y="203"/>
                  </a:lnTo>
                  <a:lnTo>
                    <a:pt x="948" y="203"/>
                  </a:lnTo>
                  <a:lnTo>
                    <a:pt x="948" y="204"/>
                  </a:lnTo>
                  <a:lnTo>
                    <a:pt x="948" y="204"/>
                  </a:lnTo>
                  <a:lnTo>
                    <a:pt x="947" y="203"/>
                  </a:lnTo>
                  <a:lnTo>
                    <a:pt x="945" y="203"/>
                  </a:lnTo>
                  <a:lnTo>
                    <a:pt x="947" y="201"/>
                  </a:lnTo>
                  <a:lnTo>
                    <a:pt x="952" y="195"/>
                  </a:lnTo>
                  <a:lnTo>
                    <a:pt x="954" y="192"/>
                  </a:lnTo>
                  <a:lnTo>
                    <a:pt x="959" y="186"/>
                  </a:lnTo>
                  <a:lnTo>
                    <a:pt x="961" y="185"/>
                  </a:lnTo>
                  <a:lnTo>
                    <a:pt x="963" y="185"/>
                  </a:lnTo>
                  <a:lnTo>
                    <a:pt x="965" y="183"/>
                  </a:lnTo>
                  <a:lnTo>
                    <a:pt x="968" y="183"/>
                  </a:lnTo>
                  <a:lnTo>
                    <a:pt x="968" y="185"/>
                  </a:lnTo>
                  <a:lnTo>
                    <a:pt x="968" y="185"/>
                  </a:lnTo>
                  <a:lnTo>
                    <a:pt x="970" y="185"/>
                  </a:lnTo>
                  <a:lnTo>
                    <a:pt x="970" y="185"/>
                  </a:lnTo>
                  <a:lnTo>
                    <a:pt x="970" y="183"/>
                  </a:lnTo>
                  <a:lnTo>
                    <a:pt x="970" y="181"/>
                  </a:lnTo>
                  <a:lnTo>
                    <a:pt x="972" y="181"/>
                  </a:lnTo>
                  <a:lnTo>
                    <a:pt x="976" y="181"/>
                  </a:lnTo>
                  <a:lnTo>
                    <a:pt x="988" y="176"/>
                  </a:lnTo>
                  <a:lnTo>
                    <a:pt x="992" y="176"/>
                  </a:lnTo>
                  <a:lnTo>
                    <a:pt x="1001" y="172"/>
                  </a:lnTo>
                  <a:lnTo>
                    <a:pt x="1003" y="172"/>
                  </a:lnTo>
                  <a:lnTo>
                    <a:pt x="1004" y="172"/>
                  </a:lnTo>
                  <a:lnTo>
                    <a:pt x="1004" y="172"/>
                  </a:lnTo>
                  <a:lnTo>
                    <a:pt x="1008" y="172"/>
                  </a:lnTo>
                  <a:lnTo>
                    <a:pt x="1012" y="170"/>
                  </a:lnTo>
                  <a:lnTo>
                    <a:pt x="1013" y="170"/>
                  </a:lnTo>
                  <a:lnTo>
                    <a:pt x="1017" y="168"/>
                  </a:lnTo>
                  <a:lnTo>
                    <a:pt x="1019" y="167"/>
                  </a:lnTo>
                  <a:lnTo>
                    <a:pt x="1021" y="165"/>
                  </a:lnTo>
                  <a:lnTo>
                    <a:pt x="1022" y="161"/>
                  </a:lnTo>
                  <a:lnTo>
                    <a:pt x="1024" y="159"/>
                  </a:lnTo>
                  <a:lnTo>
                    <a:pt x="1026" y="158"/>
                  </a:lnTo>
                  <a:lnTo>
                    <a:pt x="1030" y="156"/>
                  </a:lnTo>
                  <a:lnTo>
                    <a:pt x="1032" y="154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EA376BAA-20E8-6792-716D-962DCEEA0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3363" y="4705351"/>
              <a:ext cx="7938" cy="11113"/>
            </a:xfrm>
            <a:custGeom>
              <a:avLst/>
              <a:gdLst>
                <a:gd name="T0" fmla="*/ 5 w 5"/>
                <a:gd name="T1" fmla="*/ 2 h 7"/>
                <a:gd name="T2" fmla="*/ 5 w 5"/>
                <a:gd name="T3" fmla="*/ 0 h 7"/>
                <a:gd name="T4" fmla="*/ 4 w 5"/>
                <a:gd name="T5" fmla="*/ 0 h 7"/>
                <a:gd name="T6" fmla="*/ 2 w 5"/>
                <a:gd name="T7" fmla="*/ 2 h 7"/>
                <a:gd name="T8" fmla="*/ 2 w 5"/>
                <a:gd name="T9" fmla="*/ 2 h 7"/>
                <a:gd name="T10" fmla="*/ 0 w 5"/>
                <a:gd name="T11" fmla="*/ 4 h 7"/>
                <a:gd name="T12" fmla="*/ 0 w 5"/>
                <a:gd name="T13" fmla="*/ 5 h 7"/>
                <a:gd name="T14" fmla="*/ 2 w 5"/>
                <a:gd name="T15" fmla="*/ 5 h 7"/>
                <a:gd name="T16" fmla="*/ 2 w 5"/>
                <a:gd name="T17" fmla="*/ 7 h 7"/>
                <a:gd name="T18" fmla="*/ 4 w 5"/>
                <a:gd name="T19" fmla="*/ 7 h 7"/>
                <a:gd name="T20" fmla="*/ 5 w 5"/>
                <a:gd name="T21" fmla="*/ 5 h 7"/>
                <a:gd name="T22" fmla="*/ 5 w 5"/>
                <a:gd name="T23" fmla="*/ 5 h 7"/>
                <a:gd name="T24" fmla="*/ 5 w 5"/>
                <a:gd name="T25" fmla="*/ 5 h 7"/>
                <a:gd name="T26" fmla="*/ 5 w 5"/>
                <a:gd name="T27" fmla="*/ 5 h 7"/>
                <a:gd name="T28" fmla="*/ 5 w 5"/>
                <a:gd name="T29" fmla="*/ 4 h 7"/>
                <a:gd name="T30" fmla="*/ 5 w 5"/>
                <a:gd name="T31" fmla="*/ 4 h 7"/>
                <a:gd name="T32" fmla="*/ 5 w 5"/>
                <a:gd name="T33" fmla="*/ 4 h 7"/>
                <a:gd name="T34" fmla="*/ 5 w 5"/>
                <a:gd name="T35" fmla="*/ 2 h 7"/>
                <a:gd name="T36" fmla="*/ 5 w 5"/>
                <a:gd name="T3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7">
                  <a:moveTo>
                    <a:pt x="5" y="2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4" y="7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18513E73-6D85-5AB0-4457-0AC295B9B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1150" y="4381501"/>
              <a:ext cx="252413" cy="163513"/>
            </a:xfrm>
            <a:custGeom>
              <a:avLst/>
              <a:gdLst>
                <a:gd name="T0" fmla="*/ 151 w 159"/>
                <a:gd name="T1" fmla="*/ 14 h 103"/>
                <a:gd name="T2" fmla="*/ 150 w 159"/>
                <a:gd name="T3" fmla="*/ 11 h 103"/>
                <a:gd name="T4" fmla="*/ 148 w 159"/>
                <a:gd name="T5" fmla="*/ 5 h 103"/>
                <a:gd name="T6" fmla="*/ 146 w 159"/>
                <a:gd name="T7" fmla="*/ 0 h 103"/>
                <a:gd name="T8" fmla="*/ 132 w 159"/>
                <a:gd name="T9" fmla="*/ 2 h 103"/>
                <a:gd name="T10" fmla="*/ 132 w 159"/>
                <a:gd name="T11" fmla="*/ 9 h 103"/>
                <a:gd name="T12" fmla="*/ 130 w 159"/>
                <a:gd name="T13" fmla="*/ 12 h 103"/>
                <a:gd name="T14" fmla="*/ 113 w 159"/>
                <a:gd name="T15" fmla="*/ 11 h 103"/>
                <a:gd name="T16" fmla="*/ 108 w 159"/>
                <a:gd name="T17" fmla="*/ 14 h 103"/>
                <a:gd name="T18" fmla="*/ 104 w 159"/>
                <a:gd name="T19" fmla="*/ 16 h 103"/>
                <a:gd name="T20" fmla="*/ 83 w 159"/>
                <a:gd name="T21" fmla="*/ 16 h 103"/>
                <a:gd name="T22" fmla="*/ 76 w 159"/>
                <a:gd name="T23" fmla="*/ 18 h 103"/>
                <a:gd name="T24" fmla="*/ 68 w 159"/>
                <a:gd name="T25" fmla="*/ 27 h 103"/>
                <a:gd name="T26" fmla="*/ 65 w 159"/>
                <a:gd name="T27" fmla="*/ 29 h 103"/>
                <a:gd name="T28" fmla="*/ 59 w 159"/>
                <a:gd name="T29" fmla="*/ 34 h 103"/>
                <a:gd name="T30" fmla="*/ 52 w 159"/>
                <a:gd name="T31" fmla="*/ 31 h 103"/>
                <a:gd name="T32" fmla="*/ 36 w 159"/>
                <a:gd name="T33" fmla="*/ 29 h 103"/>
                <a:gd name="T34" fmla="*/ 21 w 159"/>
                <a:gd name="T35" fmla="*/ 25 h 103"/>
                <a:gd name="T36" fmla="*/ 16 w 159"/>
                <a:gd name="T37" fmla="*/ 29 h 103"/>
                <a:gd name="T38" fmla="*/ 5 w 159"/>
                <a:gd name="T39" fmla="*/ 36 h 103"/>
                <a:gd name="T40" fmla="*/ 2 w 159"/>
                <a:gd name="T41" fmla="*/ 43 h 103"/>
                <a:gd name="T42" fmla="*/ 3 w 159"/>
                <a:gd name="T43" fmla="*/ 47 h 103"/>
                <a:gd name="T44" fmla="*/ 14 w 159"/>
                <a:gd name="T45" fmla="*/ 49 h 103"/>
                <a:gd name="T46" fmla="*/ 7 w 159"/>
                <a:gd name="T47" fmla="*/ 59 h 103"/>
                <a:gd name="T48" fmla="*/ 7 w 159"/>
                <a:gd name="T49" fmla="*/ 63 h 103"/>
                <a:gd name="T50" fmla="*/ 12 w 159"/>
                <a:gd name="T51" fmla="*/ 68 h 103"/>
                <a:gd name="T52" fmla="*/ 18 w 159"/>
                <a:gd name="T53" fmla="*/ 79 h 103"/>
                <a:gd name="T54" fmla="*/ 25 w 159"/>
                <a:gd name="T55" fmla="*/ 90 h 103"/>
                <a:gd name="T56" fmla="*/ 16 w 159"/>
                <a:gd name="T57" fmla="*/ 96 h 103"/>
                <a:gd name="T58" fmla="*/ 12 w 159"/>
                <a:gd name="T59" fmla="*/ 99 h 103"/>
                <a:gd name="T60" fmla="*/ 27 w 159"/>
                <a:gd name="T61" fmla="*/ 103 h 103"/>
                <a:gd name="T62" fmla="*/ 32 w 159"/>
                <a:gd name="T63" fmla="*/ 97 h 103"/>
                <a:gd name="T64" fmla="*/ 38 w 159"/>
                <a:gd name="T65" fmla="*/ 99 h 103"/>
                <a:gd name="T66" fmla="*/ 54 w 159"/>
                <a:gd name="T67" fmla="*/ 97 h 103"/>
                <a:gd name="T68" fmla="*/ 59 w 159"/>
                <a:gd name="T69" fmla="*/ 88 h 103"/>
                <a:gd name="T70" fmla="*/ 63 w 159"/>
                <a:gd name="T71" fmla="*/ 90 h 103"/>
                <a:gd name="T72" fmla="*/ 65 w 159"/>
                <a:gd name="T73" fmla="*/ 96 h 103"/>
                <a:gd name="T74" fmla="*/ 77 w 159"/>
                <a:gd name="T75" fmla="*/ 99 h 103"/>
                <a:gd name="T76" fmla="*/ 85 w 159"/>
                <a:gd name="T77" fmla="*/ 99 h 103"/>
                <a:gd name="T78" fmla="*/ 99 w 159"/>
                <a:gd name="T79" fmla="*/ 99 h 103"/>
                <a:gd name="T80" fmla="*/ 95 w 159"/>
                <a:gd name="T81" fmla="*/ 90 h 103"/>
                <a:gd name="T82" fmla="*/ 101 w 159"/>
                <a:gd name="T83" fmla="*/ 86 h 103"/>
                <a:gd name="T84" fmla="*/ 97 w 159"/>
                <a:gd name="T85" fmla="*/ 86 h 103"/>
                <a:gd name="T86" fmla="*/ 95 w 159"/>
                <a:gd name="T87" fmla="*/ 81 h 103"/>
                <a:gd name="T88" fmla="*/ 104 w 159"/>
                <a:gd name="T89" fmla="*/ 76 h 103"/>
                <a:gd name="T90" fmla="*/ 112 w 159"/>
                <a:gd name="T91" fmla="*/ 76 h 103"/>
                <a:gd name="T92" fmla="*/ 115 w 159"/>
                <a:gd name="T93" fmla="*/ 68 h 103"/>
                <a:gd name="T94" fmla="*/ 117 w 159"/>
                <a:gd name="T95" fmla="*/ 59 h 103"/>
                <a:gd name="T96" fmla="*/ 112 w 159"/>
                <a:gd name="T97" fmla="*/ 50 h 103"/>
                <a:gd name="T98" fmla="*/ 122 w 159"/>
                <a:gd name="T99" fmla="*/ 45 h 103"/>
                <a:gd name="T100" fmla="*/ 132 w 159"/>
                <a:gd name="T101" fmla="*/ 41 h 103"/>
                <a:gd name="T102" fmla="*/ 135 w 159"/>
                <a:gd name="T103" fmla="*/ 36 h 103"/>
                <a:gd name="T104" fmla="*/ 141 w 159"/>
                <a:gd name="T105" fmla="*/ 34 h 103"/>
                <a:gd name="T106" fmla="*/ 146 w 159"/>
                <a:gd name="T107" fmla="*/ 34 h 103"/>
                <a:gd name="T108" fmla="*/ 144 w 159"/>
                <a:gd name="T109" fmla="*/ 27 h 103"/>
                <a:gd name="T110" fmla="*/ 150 w 159"/>
                <a:gd name="T111" fmla="*/ 23 h 103"/>
                <a:gd name="T112" fmla="*/ 155 w 159"/>
                <a:gd name="T113" fmla="*/ 2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03">
                  <a:moveTo>
                    <a:pt x="157" y="23"/>
                  </a:moveTo>
                  <a:lnTo>
                    <a:pt x="155" y="21"/>
                  </a:lnTo>
                  <a:lnTo>
                    <a:pt x="153" y="18"/>
                  </a:lnTo>
                  <a:lnTo>
                    <a:pt x="151" y="18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3" y="14"/>
                  </a:lnTo>
                  <a:lnTo>
                    <a:pt x="153" y="14"/>
                  </a:lnTo>
                  <a:lnTo>
                    <a:pt x="153" y="12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0" y="12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7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8" y="3"/>
                  </a:lnTo>
                  <a:lnTo>
                    <a:pt x="148" y="3"/>
                  </a:lnTo>
                  <a:lnTo>
                    <a:pt x="148" y="2"/>
                  </a:lnTo>
                  <a:lnTo>
                    <a:pt x="150" y="2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1" y="0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37" y="0"/>
                  </a:lnTo>
                  <a:lnTo>
                    <a:pt x="135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7"/>
                  </a:lnTo>
                  <a:lnTo>
                    <a:pt x="132" y="9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3" y="12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0" y="12"/>
                  </a:lnTo>
                  <a:lnTo>
                    <a:pt x="126" y="11"/>
                  </a:lnTo>
                  <a:lnTo>
                    <a:pt x="124" y="11"/>
                  </a:lnTo>
                  <a:lnTo>
                    <a:pt x="122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19" y="11"/>
                  </a:lnTo>
                  <a:lnTo>
                    <a:pt x="115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2" y="14"/>
                  </a:lnTo>
                  <a:lnTo>
                    <a:pt x="112" y="12"/>
                  </a:lnTo>
                  <a:lnTo>
                    <a:pt x="110" y="12"/>
                  </a:lnTo>
                  <a:lnTo>
                    <a:pt x="110" y="14"/>
                  </a:lnTo>
                  <a:lnTo>
                    <a:pt x="108" y="14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6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6"/>
                  </a:lnTo>
                  <a:lnTo>
                    <a:pt x="103" y="16"/>
                  </a:lnTo>
                  <a:lnTo>
                    <a:pt x="101" y="16"/>
                  </a:lnTo>
                  <a:lnTo>
                    <a:pt x="99" y="16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6"/>
                  </a:lnTo>
                  <a:lnTo>
                    <a:pt x="85" y="16"/>
                  </a:lnTo>
                  <a:lnTo>
                    <a:pt x="83" y="16"/>
                  </a:lnTo>
                  <a:lnTo>
                    <a:pt x="81" y="20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4" y="20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2" y="23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0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1" y="31"/>
                  </a:lnTo>
                  <a:lnTo>
                    <a:pt x="61" y="32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0" y="31"/>
                  </a:lnTo>
                  <a:lnTo>
                    <a:pt x="45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6" y="29"/>
                  </a:lnTo>
                  <a:lnTo>
                    <a:pt x="36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0" y="27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9" y="34"/>
                  </a:lnTo>
                  <a:lnTo>
                    <a:pt x="7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3" y="36"/>
                  </a:lnTo>
                  <a:lnTo>
                    <a:pt x="3" y="38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1"/>
                  </a:lnTo>
                  <a:lnTo>
                    <a:pt x="2" y="41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3" y="47"/>
                  </a:lnTo>
                  <a:lnTo>
                    <a:pt x="5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9" y="47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2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2" y="54"/>
                  </a:lnTo>
                  <a:lnTo>
                    <a:pt x="9" y="58"/>
                  </a:lnTo>
                  <a:lnTo>
                    <a:pt x="7" y="58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5"/>
                  </a:lnTo>
                  <a:lnTo>
                    <a:pt x="9" y="65"/>
                  </a:lnTo>
                  <a:lnTo>
                    <a:pt x="11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8"/>
                  </a:lnTo>
                  <a:lnTo>
                    <a:pt x="11" y="72"/>
                  </a:lnTo>
                  <a:lnTo>
                    <a:pt x="11" y="74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6" y="77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21" y="81"/>
                  </a:lnTo>
                  <a:lnTo>
                    <a:pt x="25" y="86"/>
                  </a:lnTo>
                  <a:lnTo>
                    <a:pt x="25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90"/>
                  </a:lnTo>
                  <a:lnTo>
                    <a:pt x="25" y="90"/>
                  </a:lnTo>
                  <a:lnTo>
                    <a:pt x="25" y="92"/>
                  </a:lnTo>
                  <a:lnTo>
                    <a:pt x="21" y="92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1" y="97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4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3" y="103"/>
                  </a:lnTo>
                  <a:lnTo>
                    <a:pt x="23" y="103"/>
                  </a:lnTo>
                  <a:lnTo>
                    <a:pt x="23" y="103"/>
                  </a:lnTo>
                  <a:lnTo>
                    <a:pt x="27" y="103"/>
                  </a:lnTo>
                  <a:lnTo>
                    <a:pt x="27" y="103"/>
                  </a:lnTo>
                  <a:lnTo>
                    <a:pt x="27" y="103"/>
                  </a:lnTo>
                  <a:lnTo>
                    <a:pt x="29" y="101"/>
                  </a:lnTo>
                  <a:lnTo>
                    <a:pt x="30" y="101"/>
                  </a:lnTo>
                  <a:lnTo>
                    <a:pt x="30" y="99"/>
                  </a:lnTo>
                  <a:lnTo>
                    <a:pt x="30" y="99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4" y="97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6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9" y="99"/>
                  </a:lnTo>
                  <a:lnTo>
                    <a:pt x="41" y="99"/>
                  </a:lnTo>
                  <a:lnTo>
                    <a:pt x="43" y="97"/>
                  </a:lnTo>
                  <a:lnTo>
                    <a:pt x="45" y="99"/>
                  </a:lnTo>
                  <a:lnTo>
                    <a:pt x="47" y="99"/>
                  </a:lnTo>
                  <a:lnTo>
                    <a:pt x="48" y="99"/>
                  </a:lnTo>
                  <a:lnTo>
                    <a:pt x="50" y="99"/>
                  </a:lnTo>
                  <a:lnTo>
                    <a:pt x="52" y="99"/>
                  </a:lnTo>
                  <a:lnTo>
                    <a:pt x="54" y="97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4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7" y="90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90"/>
                  </a:lnTo>
                  <a:lnTo>
                    <a:pt x="63" y="90"/>
                  </a:lnTo>
                  <a:lnTo>
                    <a:pt x="63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5" y="94"/>
                  </a:lnTo>
                  <a:lnTo>
                    <a:pt x="65" y="94"/>
                  </a:lnTo>
                  <a:lnTo>
                    <a:pt x="67" y="94"/>
                  </a:lnTo>
                  <a:lnTo>
                    <a:pt x="67" y="94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7" y="96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101"/>
                  </a:lnTo>
                  <a:lnTo>
                    <a:pt x="74" y="101"/>
                  </a:lnTo>
                  <a:lnTo>
                    <a:pt x="76" y="101"/>
                  </a:lnTo>
                  <a:lnTo>
                    <a:pt x="77" y="99"/>
                  </a:lnTo>
                  <a:lnTo>
                    <a:pt x="77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5" y="99"/>
                  </a:lnTo>
                  <a:lnTo>
                    <a:pt x="86" y="99"/>
                  </a:lnTo>
                  <a:lnTo>
                    <a:pt x="90" y="103"/>
                  </a:lnTo>
                  <a:lnTo>
                    <a:pt x="92" y="103"/>
                  </a:lnTo>
                  <a:lnTo>
                    <a:pt x="94" y="103"/>
                  </a:lnTo>
                  <a:lnTo>
                    <a:pt x="95" y="101"/>
                  </a:lnTo>
                  <a:lnTo>
                    <a:pt x="97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99"/>
                  </a:lnTo>
                  <a:lnTo>
                    <a:pt x="101" y="99"/>
                  </a:lnTo>
                  <a:lnTo>
                    <a:pt x="97" y="97"/>
                  </a:lnTo>
                  <a:lnTo>
                    <a:pt x="97" y="96"/>
                  </a:lnTo>
                  <a:lnTo>
                    <a:pt x="97" y="96"/>
                  </a:lnTo>
                  <a:lnTo>
                    <a:pt x="97" y="94"/>
                  </a:lnTo>
                  <a:lnTo>
                    <a:pt x="95" y="92"/>
                  </a:lnTo>
                  <a:lnTo>
                    <a:pt x="95" y="92"/>
                  </a:lnTo>
                  <a:lnTo>
                    <a:pt x="95" y="92"/>
                  </a:lnTo>
                  <a:lnTo>
                    <a:pt x="95" y="90"/>
                  </a:lnTo>
                  <a:lnTo>
                    <a:pt x="95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88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101" y="88"/>
                  </a:lnTo>
                  <a:lnTo>
                    <a:pt x="101" y="86"/>
                  </a:lnTo>
                  <a:lnTo>
                    <a:pt x="99" y="86"/>
                  </a:lnTo>
                  <a:lnTo>
                    <a:pt x="99" y="86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7" y="86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5" y="85"/>
                  </a:lnTo>
                  <a:lnTo>
                    <a:pt x="95" y="83"/>
                  </a:lnTo>
                  <a:lnTo>
                    <a:pt x="95" y="83"/>
                  </a:lnTo>
                  <a:lnTo>
                    <a:pt x="95" y="83"/>
                  </a:lnTo>
                  <a:lnTo>
                    <a:pt x="95" y="83"/>
                  </a:lnTo>
                  <a:lnTo>
                    <a:pt x="95" y="83"/>
                  </a:lnTo>
                  <a:lnTo>
                    <a:pt x="95" y="81"/>
                  </a:lnTo>
                  <a:lnTo>
                    <a:pt x="95" y="81"/>
                  </a:lnTo>
                  <a:lnTo>
                    <a:pt x="97" y="81"/>
                  </a:lnTo>
                  <a:lnTo>
                    <a:pt x="99" y="79"/>
                  </a:lnTo>
                  <a:lnTo>
                    <a:pt x="104" y="77"/>
                  </a:lnTo>
                  <a:lnTo>
                    <a:pt x="104" y="77"/>
                  </a:lnTo>
                  <a:lnTo>
                    <a:pt x="104" y="77"/>
                  </a:lnTo>
                  <a:lnTo>
                    <a:pt x="104" y="77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8" y="76"/>
                  </a:lnTo>
                  <a:lnTo>
                    <a:pt x="108" y="74"/>
                  </a:lnTo>
                  <a:lnTo>
                    <a:pt x="110" y="76"/>
                  </a:lnTo>
                  <a:lnTo>
                    <a:pt x="112" y="76"/>
                  </a:lnTo>
                  <a:lnTo>
                    <a:pt x="113" y="76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5" y="72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5" y="67"/>
                  </a:lnTo>
                  <a:lnTo>
                    <a:pt x="115" y="67"/>
                  </a:lnTo>
                  <a:lnTo>
                    <a:pt x="115" y="65"/>
                  </a:lnTo>
                  <a:lnTo>
                    <a:pt x="115" y="63"/>
                  </a:lnTo>
                  <a:lnTo>
                    <a:pt x="115" y="63"/>
                  </a:lnTo>
                  <a:lnTo>
                    <a:pt x="117" y="61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2" y="56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2" y="50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7"/>
                  </a:lnTo>
                  <a:lnTo>
                    <a:pt x="115" y="47"/>
                  </a:lnTo>
                  <a:lnTo>
                    <a:pt x="115" y="47"/>
                  </a:lnTo>
                  <a:lnTo>
                    <a:pt x="119" y="47"/>
                  </a:lnTo>
                  <a:lnTo>
                    <a:pt x="121" y="47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2" y="43"/>
                  </a:lnTo>
                  <a:lnTo>
                    <a:pt x="124" y="43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8" y="43"/>
                  </a:lnTo>
                  <a:lnTo>
                    <a:pt x="130" y="41"/>
                  </a:lnTo>
                  <a:lnTo>
                    <a:pt x="132" y="41"/>
                  </a:lnTo>
                  <a:lnTo>
                    <a:pt x="132" y="41"/>
                  </a:lnTo>
                  <a:lnTo>
                    <a:pt x="132" y="41"/>
                  </a:lnTo>
                  <a:lnTo>
                    <a:pt x="133" y="41"/>
                  </a:lnTo>
                  <a:lnTo>
                    <a:pt x="133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6"/>
                  </a:lnTo>
                  <a:lnTo>
                    <a:pt x="135" y="34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41" y="34"/>
                  </a:lnTo>
                  <a:lnTo>
                    <a:pt x="141" y="36"/>
                  </a:lnTo>
                  <a:lnTo>
                    <a:pt x="142" y="36"/>
                  </a:lnTo>
                  <a:lnTo>
                    <a:pt x="142" y="36"/>
                  </a:lnTo>
                  <a:lnTo>
                    <a:pt x="142" y="36"/>
                  </a:lnTo>
                  <a:lnTo>
                    <a:pt x="144" y="36"/>
                  </a:lnTo>
                  <a:lnTo>
                    <a:pt x="146" y="36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1"/>
                  </a:lnTo>
                  <a:lnTo>
                    <a:pt x="144" y="31"/>
                  </a:lnTo>
                  <a:lnTo>
                    <a:pt x="144" y="29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48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1" y="23"/>
                  </a:lnTo>
                  <a:lnTo>
                    <a:pt x="151" y="23"/>
                  </a:lnTo>
                  <a:lnTo>
                    <a:pt x="151" y="23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3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9" y="25"/>
                  </a:lnTo>
                  <a:lnTo>
                    <a:pt x="157" y="23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A439DAEF-2D2A-255B-CFE0-DBC0791A7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8963" y="4054476"/>
              <a:ext cx="452438" cy="223838"/>
            </a:xfrm>
            <a:custGeom>
              <a:avLst/>
              <a:gdLst>
                <a:gd name="T0" fmla="*/ 267 w 285"/>
                <a:gd name="T1" fmla="*/ 34 h 141"/>
                <a:gd name="T2" fmla="*/ 260 w 285"/>
                <a:gd name="T3" fmla="*/ 31 h 141"/>
                <a:gd name="T4" fmla="*/ 247 w 285"/>
                <a:gd name="T5" fmla="*/ 18 h 141"/>
                <a:gd name="T6" fmla="*/ 240 w 285"/>
                <a:gd name="T7" fmla="*/ 16 h 141"/>
                <a:gd name="T8" fmla="*/ 229 w 285"/>
                <a:gd name="T9" fmla="*/ 14 h 141"/>
                <a:gd name="T10" fmla="*/ 215 w 285"/>
                <a:gd name="T11" fmla="*/ 16 h 141"/>
                <a:gd name="T12" fmla="*/ 211 w 285"/>
                <a:gd name="T13" fmla="*/ 18 h 141"/>
                <a:gd name="T14" fmla="*/ 202 w 285"/>
                <a:gd name="T15" fmla="*/ 23 h 141"/>
                <a:gd name="T16" fmla="*/ 191 w 285"/>
                <a:gd name="T17" fmla="*/ 16 h 141"/>
                <a:gd name="T18" fmla="*/ 179 w 285"/>
                <a:gd name="T19" fmla="*/ 16 h 141"/>
                <a:gd name="T20" fmla="*/ 171 w 285"/>
                <a:gd name="T21" fmla="*/ 20 h 141"/>
                <a:gd name="T22" fmla="*/ 164 w 285"/>
                <a:gd name="T23" fmla="*/ 23 h 141"/>
                <a:gd name="T24" fmla="*/ 155 w 285"/>
                <a:gd name="T25" fmla="*/ 31 h 141"/>
                <a:gd name="T26" fmla="*/ 144 w 285"/>
                <a:gd name="T27" fmla="*/ 31 h 141"/>
                <a:gd name="T28" fmla="*/ 148 w 285"/>
                <a:gd name="T29" fmla="*/ 25 h 141"/>
                <a:gd name="T30" fmla="*/ 146 w 285"/>
                <a:gd name="T31" fmla="*/ 23 h 141"/>
                <a:gd name="T32" fmla="*/ 143 w 285"/>
                <a:gd name="T33" fmla="*/ 16 h 141"/>
                <a:gd name="T34" fmla="*/ 135 w 285"/>
                <a:gd name="T35" fmla="*/ 13 h 141"/>
                <a:gd name="T36" fmla="*/ 130 w 285"/>
                <a:gd name="T37" fmla="*/ 0 h 141"/>
                <a:gd name="T38" fmla="*/ 119 w 285"/>
                <a:gd name="T39" fmla="*/ 7 h 141"/>
                <a:gd name="T40" fmla="*/ 117 w 285"/>
                <a:gd name="T41" fmla="*/ 13 h 141"/>
                <a:gd name="T42" fmla="*/ 112 w 285"/>
                <a:gd name="T43" fmla="*/ 16 h 141"/>
                <a:gd name="T44" fmla="*/ 105 w 285"/>
                <a:gd name="T45" fmla="*/ 11 h 141"/>
                <a:gd name="T46" fmla="*/ 92 w 285"/>
                <a:gd name="T47" fmla="*/ 9 h 141"/>
                <a:gd name="T48" fmla="*/ 83 w 285"/>
                <a:gd name="T49" fmla="*/ 13 h 141"/>
                <a:gd name="T50" fmla="*/ 67 w 285"/>
                <a:gd name="T51" fmla="*/ 25 h 141"/>
                <a:gd name="T52" fmla="*/ 61 w 285"/>
                <a:gd name="T53" fmla="*/ 43 h 141"/>
                <a:gd name="T54" fmla="*/ 50 w 285"/>
                <a:gd name="T55" fmla="*/ 52 h 141"/>
                <a:gd name="T56" fmla="*/ 32 w 285"/>
                <a:gd name="T57" fmla="*/ 59 h 141"/>
                <a:gd name="T58" fmla="*/ 16 w 285"/>
                <a:gd name="T59" fmla="*/ 58 h 141"/>
                <a:gd name="T60" fmla="*/ 5 w 285"/>
                <a:gd name="T61" fmla="*/ 76 h 141"/>
                <a:gd name="T62" fmla="*/ 2 w 285"/>
                <a:gd name="T63" fmla="*/ 87 h 141"/>
                <a:gd name="T64" fmla="*/ 0 w 285"/>
                <a:gd name="T65" fmla="*/ 96 h 141"/>
                <a:gd name="T66" fmla="*/ 2 w 285"/>
                <a:gd name="T67" fmla="*/ 97 h 141"/>
                <a:gd name="T68" fmla="*/ 5 w 285"/>
                <a:gd name="T69" fmla="*/ 101 h 141"/>
                <a:gd name="T70" fmla="*/ 7 w 285"/>
                <a:gd name="T71" fmla="*/ 112 h 141"/>
                <a:gd name="T72" fmla="*/ 11 w 285"/>
                <a:gd name="T73" fmla="*/ 117 h 141"/>
                <a:gd name="T74" fmla="*/ 20 w 285"/>
                <a:gd name="T75" fmla="*/ 121 h 141"/>
                <a:gd name="T76" fmla="*/ 36 w 285"/>
                <a:gd name="T77" fmla="*/ 134 h 141"/>
                <a:gd name="T78" fmla="*/ 41 w 285"/>
                <a:gd name="T79" fmla="*/ 137 h 141"/>
                <a:gd name="T80" fmla="*/ 85 w 285"/>
                <a:gd name="T81" fmla="*/ 137 h 141"/>
                <a:gd name="T82" fmla="*/ 97 w 285"/>
                <a:gd name="T83" fmla="*/ 134 h 141"/>
                <a:gd name="T84" fmla="*/ 94 w 285"/>
                <a:gd name="T85" fmla="*/ 125 h 141"/>
                <a:gd name="T86" fmla="*/ 106 w 285"/>
                <a:gd name="T87" fmla="*/ 117 h 141"/>
                <a:gd name="T88" fmla="*/ 132 w 285"/>
                <a:gd name="T89" fmla="*/ 114 h 141"/>
                <a:gd name="T90" fmla="*/ 132 w 285"/>
                <a:gd name="T91" fmla="*/ 108 h 141"/>
                <a:gd name="T92" fmla="*/ 144 w 285"/>
                <a:gd name="T93" fmla="*/ 106 h 141"/>
                <a:gd name="T94" fmla="*/ 150 w 285"/>
                <a:gd name="T95" fmla="*/ 110 h 141"/>
                <a:gd name="T96" fmla="*/ 162 w 285"/>
                <a:gd name="T97" fmla="*/ 106 h 141"/>
                <a:gd name="T98" fmla="*/ 166 w 285"/>
                <a:gd name="T99" fmla="*/ 103 h 141"/>
                <a:gd name="T100" fmla="*/ 177 w 285"/>
                <a:gd name="T101" fmla="*/ 97 h 141"/>
                <a:gd name="T102" fmla="*/ 182 w 285"/>
                <a:gd name="T103" fmla="*/ 85 h 141"/>
                <a:gd name="T104" fmla="*/ 199 w 285"/>
                <a:gd name="T105" fmla="*/ 79 h 141"/>
                <a:gd name="T106" fmla="*/ 211 w 285"/>
                <a:gd name="T107" fmla="*/ 85 h 141"/>
                <a:gd name="T108" fmla="*/ 222 w 285"/>
                <a:gd name="T109" fmla="*/ 81 h 141"/>
                <a:gd name="T110" fmla="*/ 233 w 285"/>
                <a:gd name="T111" fmla="*/ 81 h 141"/>
                <a:gd name="T112" fmla="*/ 238 w 285"/>
                <a:gd name="T113" fmla="*/ 90 h 141"/>
                <a:gd name="T114" fmla="*/ 254 w 285"/>
                <a:gd name="T115" fmla="*/ 94 h 141"/>
                <a:gd name="T116" fmla="*/ 265 w 285"/>
                <a:gd name="T117" fmla="*/ 85 h 141"/>
                <a:gd name="T118" fmla="*/ 271 w 285"/>
                <a:gd name="T119" fmla="*/ 72 h 141"/>
                <a:gd name="T120" fmla="*/ 274 w 285"/>
                <a:gd name="T121" fmla="*/ 65 h 141"/>
                <a:gd name="T122" fmla="*/ 276 w 285"/>
                <a:gd name="T123" fmla="*/ 56 h 141"/>
                <a:gd name="T124" fmla="*/ 283 w 285"/>
                <a:gd name="T125" fmla="*/ 4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5" h="141">
                  <a:moveTo>
                    <a:pt x="283" y="40"/>
                  </a:moveTo>
                  <a:lnTo>
                    <a:pt x="280" y="40"/>
                  </a:lnTo>
                  <a:lnTo>
                    <a:pt x="278" y="40"/>
                  </a:lnTo>
                  <a:lnTo>
                    <a:pt x="274" y="36"/>
                  </a:lnTo>
                  <a:lnTo>
                    <a:pt x="274" y="36"/>
                  </a:lnTo>
                  <a:lnTo>
                    <a:pt x="271" y="36"/>
                  </a:lnTo>
                  <a:lnTo>
                    <a:pt x="269" y="36"/>
                  </a:lnTo>
                  <a:lnTo>
                    <a:pt x="267" y="36"/>
                  </a:lnTo>
                  <a:lnTo>
                    <a:pt x="267" y="34"/>
                  </a:lnTo>
                  <a:lnTo>
                    <a:pt x="267" y="34"/>
                  </a:lnTo>
                  <a:lnTo>
                    <a:pt x="267" y="34"/>
                  </a:lnTo>
                  <a:lnTo>
                    <a:pt x="267" y="32"/>
                  </a:lnTo>
                  <a:lnTo>
                    <a:pt x="267" y="32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2"/>
                  </a:lnTo>
                  <a:lnTo>
                    <a:pt x="264" y="32"/>
                  </a:lnTo>
                  <a:lnTo>
                    <a:pt x="260" y="31"/>
                  </a:lnTo>
                  <a:lnTo>
                    <a:pt x="258" y="31"/>
                  </a:lnTo>
                  <a:lnTo>
                    <a:pt x="258" y="29"/>
                  </a:lnTo>
                  <a:lnTo>
                    <a:pt x="258" y="25"/>
                  </a:lnTo>
                  <a:lnTo>
                    <a:pt x="256" y="23"/>
                  </a:lnTo>
                  <a:lnTo>
                    <a:pt x="254" y="22"/>
                  </a:lnTo>
                  <a:lnTo>
                    <a:pt x="251" y="20"/>
                  </a:lnTo>
                  <a:lnTo>
                    <a:pt x="249" y="18"/>
                  </a:lnTo>
                  <a:lnTo>
                    <a:pt x="249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5" y="20"/>
                  </a:lnTo>
                  <a:lnTo>
                    <a:pt x="245" y="20"/>
                  </a:lnTo>
                  <a:lnTo>
                    <a:pt x="245" y="20"/>
                  </a:lnTo>
                  <a:lnTo>
                    <a:pt x="244" y="16"/>
                  </a:lnTo>
                  <a:lnTo>
                    <a:pt x="242" y="16"/>
                  </a:lnTo>
                  <a:lnTo>
                    <a:pt x="242" y="16"/>
                  </a:lnTo>
                  <a:lnTo>
                    <a:pt x="240" y="16"/>
                  </a:lnTo>
                  <a:lnTo>
                    <a:pt x="240" y="16"/>
                  </a:lnTo>
                  <a:lnTo>
                    <a:pt x="240" y="16"/>
                  </a:lnTo>
                  <a:lnTo>
                    <a:pt x="238" y="14"/>
                  </a:lnTo>
                  <a:lnTo>
                    <a:pt x="238" y="14"/>
                  </a:lnTo>
                  <a:lnTo>
                    <a:pt x="238" y="14"/>
                  </a:lnTo>
                  <a:lnTo>
                    <a:pt x="235" y="14"/>
                  </a:lnTo>
                  <a:lnTo>
                    <a:pt x="233" y="14"/>
                  </a:lnTo>
                  <a:lnTo>
                    <a:pt x="233" y="14"/>
                  </a:lnTo>
                  <a:lnTo>
                    <a:pt x="231" y="14"/>
                  </a:lnTo>
                  <a:lnTo>
                    <a:pt x="229" y="14"/>
                  </a:lnTo>
                  <a:lnTo>
                    <a:pt x="229" y="14"/>
                  </a:lnTo>
                  <a:lnTo>
                    <a:pt x="224" y="14"/>
                  </a:lnTo>
                  <a:lnTo>
                    <a:pt x="222" y="13"/>
                  </a:lnTo>
                  <a:lnTo>
                    <a:pt x="220" y="13"/>
                  </a:lnTo>
                  <a:lnTo>
                    <a:pt x="220" y="13"/>
                  </a:lnTo>
                  <a:lnTo>
                    <a:pt x="218" y="14"/>
                  </a:lnTo>
                  <a:lnTo>
                    <a:pt x="217" y="16"/>
                  </a:lnTo>
                  <a:lnTo>
                    <a:pt x="217" y="16"/>
                  </a:lnTo>
                  <a:lnTo>
                    <a:pt x="215" y="16"/>
                  </a:lnTo>
                  <a:lnTo>
                    <a:pt x="215" y="14"/>
                  </a:lnTo>
                  <a:lnTo>
                    <a:pt x="213" y="14"/>
                  </a:lnTo>
                  <a:lnTo>
                    <a:pt x="213" y="14"/>
                  </a:lnTo>
                  <a:lnTo>
                    <a:pt x="211" y="14"/>
                  </a:lnTo>
                  <a:lnTo>
                    <a:pt x="209" y="14"/>
                  </a:lnTo>
                  <a:lnTo>
                    <a:pt x="209" y="16"/>
                  </a:lnTo>
                  <a:lnTo>
                    <a:pt x="209" y="16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20"/>
                  </a:lnTo>
                  <a:lnTo>
                    <a:pt x="209" y="20"/>
                  </a:lnTo>
                  <a:lnTo>
                    <a:pt x="209" y="20"/>
                  </a:lnTo>
                  <a:lnTo>
                    <a:pt x="208" y="20"/>
                  </a:lnTo>
                  <a:lnTo>
                    <a:pt x="208" y="20"/>
                  </a:lnTo>
                  <a:lnTo>
                    <a:pt x="206" y="23"/>
                  </a:lnTo>
                  <a:lnTo>
                    <a:pt x="204" y="23"/>
                  </a:lnTo>
                  <a:lnTo>
                    <a:pt x="204" y="23"/>
                  </a:lnTo>
                  <a:lnTo>
                    <a:pt x="202" y="23"/>
                  </a:lnTo>
                  <a:lnTo>
                    <a:pt x="202" y="23"/>
                  </a:lnTo>
                  <a:lnTo>
                    <a:pt x="200" y="23"/>
                  </a:lnTo>
                  <a:lnTo>
                    <a:pt x="200" y="22"/>
                  </a:lnTo>
                  <a:lnTo>
                    <a:pt x="199" y="22"/>
                  </a:lnTo>
                  <a:lnTo>
                    <a:pt x="199" y="22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89" y="16"/>
                  </a:lnTo>
                  <a:lnTo>
                    <a:pt x="188" y="16"/>
                  </a:lnTo>
                  <a:lnTo>
                    <a:pt x="188" y="16"/>
                  </a:lnTo>
                  <a:lnTo>
                    <a:pt x="188" y="16"/>
                  </a:lnTo>
                  <a:lnTo>
                    <a:pt x="186" y="18"/>
                  </a:lnTo>
                  <a:lnTo>
                    <a:pt x="186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79" y="18"/>
                  </a:lnTo>
                  <a:lnTo>
                    <a:pt x="177" y="18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6" y="23"/>
                  </a:lnTo>
                  <a:lnTo>
                    <a:pt x="166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2" y="25"/>
                  </a:lnTo>
                  <a:lnTo>
                    <a:pt x="162" y="27"/>
                  </a:lnTo>
                  <a:lnTo>
                    <a:pt x="162" y="27"/>
                  </a:lnTo>
                  <a:lnTo>
                    <a:pt x="162" y="27"/>
                  </a:lnTo>
                  <a:lnTo>
                    <a:pt x="161" y="31"/>
                  </a:lnTo>
                  <a:lnTo>
                    <a:pt x="161" y="32"/>
                  </a:lnTo>
                  <a:lnTo>
                    <a:pt x="161" y="32"/>
                  </a:lnTo>
                  <a:lnTo>
                    <a:pt x="159" y="32"/>
                  </a:lnTo>
                  <a:lnTo>
                    <a:pt x="155" y="31"/>
                  </a:lnTo>
                  <a:lnTo>
                    <a:pt x="155" y="29"/>
                  </a:lnTo>
                  <a:lnTo>
                    <a:pt x="153" y="29"/>
                  </a:lnTo>
                  <a:lnTo>
                    <a:pt x="152" y="31"/>
                  </a:lnTo>
                  <a:lnTo>
                    <a:pt x="152" y="31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4" y="31"/>
                  </a:lnTo>
                  <a:lnTo>
                    <a:pt x="144" y="31"/>
                  </a:lnTo>
                  <a:lnTo>
                    <a:pt x="144" y="31"/>
                  </a:lnTo>
                  <a:lnTo>
                    <a:pt x="146" y="27"/>
                  </a:lnTo>
                  <a:lnTo>
                    <a:pt x="148" y="27"/>
                  </a:lnTo>
                  <a:lnTo>
                    <a:pt x="148" y="27"/>
                  </a:lnTo>
                  <a:lnTo>
                    <a:pt x="148" y="27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4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39" y="14"/>
                  </a:lnTo>
                  <a:lnTo>
                    <a:pt x="139" y="14"/>
                  </a:lnTo>
                  <a:lnTo>
                    <a:pt x="139" y="13"/>
                  </a:lnTo>
                  <a:lnTo>
                    <a:pt x="139" y="13"/>
                  </a:lnTo>
                  <a:lnTo>
                    <a:pt x="137" y="13"/>
                  </a:lnTo>
                  <a:lnTo>
                    <a:pt x="135" y="13"/>
                  </a:lnTo>
                  <a:lnTo>
                    <a:pt x="135" y="13"/>
                  </a:lnTo>
                  <a:lnTo>
                    <a:pt x="135" y="11"/>
                  </a:lnTo>
                  <a:lnTo>
                    <a:pt x="133" y="9"/>
                  </a:lnTo>
                  <a:lnTo>
                    <a:pt x="133" y="5"/>
                  </a:lnTo>
                  <a:lnTo>
                    <a:pt x="133" y="3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2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4" y="7"/>
                  </a:lnTo>
                  <a:lnTo>
                    <a:pt x="123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5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9"/>
                  </a:lnTo>
                  <a:lnTo>
                    <a:pt x="105" y="7"/>
                  </a:lnTo>
                  <a:lnTo>
                    <a:pt x="99" y="7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4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0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7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1" y="14"/>
                  </a:lnTo>
                  <a:lnTo>
                    <a:pt x="79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4" y="23"/>
                  </a:lnTo>
                  <a:lnTo>
                    <a:pt x="67" y="25"/>
                  </a:lnTo>
                  <a:lnTo>
                    <a:pt x="65" y="27"/>
                  </a:lnTo>
                  <a:lnTo>
                    <a:pt x="65" y="29"/>
                  </a:lnTo>
                  <a:lnTo>
                    <a:pt x="63" y="31"/>
                  </a:lnTo>
                  <a:lnTo>
                    <a:pt x="63" y="34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1" y="41"/>
                  </a:lnTo>
                  <a:lnTo>
                    <a:pt x="61" y="43"/>
                  </a:lnTo>
                  <a:lnTo>
                    <a:pt x="59" y="45"/>
                  </a:lnTo>
                  <a:lnTo>
                    <a:pt x="58" y="45"/>
                  </a:lnTo>
                  <a:lnTo>
                    <a:pt x="56" y="45"/>
                  </a:lnTo>
                  <a:lnTo>
                    <a:pt x="54" y="45"/>
                  </a:lnTo>
                  <a:lnTo>
                    <a:pt x="52" y="45"/>
                  </a:lnTo>
                  <a:lnTo>
                    <a:pt x="52" y="47"/>
                  </a:lnTo>
                  <a:lnTo>
                    <a:pt x="52" y="49"/>
                  </a:lnTo>
                  <a:lnTo>
                    <a:pt x="52" y="50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5" y="56"/>
                  </a:lnTo>
                  <a:lnTo>
                    <a:pt x="43" y="58"/>
                  </a:lnTo>
                  <a:lnTo>
                    <a:pt x="34" y="61"/>
                  </a:lnTo>
                  <a:lnTo>
                    <a:pt x="32" y="59"/>
                  </a:lnTo>
                  <a:lnTo>
                    <a:pt x="31" y="59"/>
                  </a:lnTo>
                  <a:lnTo>
                    <a:pt x="31" y="58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0" y="58"/>
                  </a:lnTo>
                  <a:lnTo>
                    <a:pt x="18" y="56"/>
                  </a:lnTo>
                  <a:lnTo>
                    <a:pt x="16" y="58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61"/>
                  </a:lnTo>
                  <a:lnTo>
                    <a:pt x="11" y="61"/>
                  </a:lnTo>
                  <a:lnTo>
                    <a:pt x="9" y="63"/>
                  </a:lnTo>
                  <a:lnTo>
                    <a:pt x="9" y="65"/>
                  </a:lnTo>
                  <a:lnTo>
                    <a:pt x="5" y="72"/>
                  </a:lnTo>
                  <a:lnTo>
                    <a:pt x="5" y="74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9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2" y="85"/>
                  </a:lnTo>
                  <a:lnTo>
                    <a:pt x="2" y="87"/>
                  </a:lnTo>
                  <a:lnTo>
                    <a:pt x="0" y="87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3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9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101"/>
                  </a:lnTo>
                  <a:lnTo>
                    <a:pt x="3" y="101"/>
                  </a:lnTo>
                  <a:lnTo>
                    <a:pt x="5" y="101"/>
                  </a:lnTo>
                  <a:lnTo>
                    <a:pt x="5" y="101"/>
                  </a:lnTo>
                  <a:lnTo>
                    <a:pt x="5" y="101"/>
                  </a:lnTo>
                  <a:lnTo>
                    <a:pt x="5" y="101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8"/>
                  </a:lnTo>
                  <a:lnTo>
                    <a:pt x="7" y="110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9" y="112"/>
                  </a:lnTo>
                  <a:lnTo>
                    <a:pt x="9" y="112"/>
                  </a:lnTo>
                  <a:lnTo>
                    <a:pt x="11" y="114"/>
                  </a:lnTo>
                  <a:lnTo>
                    <a:pt x="11" y="114"/>
                  </a:lnTo>
                  <a:lnTo>
                    <a:pt x="11" y="114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1" y="119"/>
                  </a:lnTo>
                  <a:lnTo>
                    <a:pt x="13" y="119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16" y="121"/>
                  </a:lnTo>
                  <a:lnTo>
                    <a:pt x="18" y="121"/>
                  </a:lnTo>
                  <a:lnTo>
                    <a:pt x="20" y="121"/>
                  </a:lnTo>
                  <a:lnTo>
                    <a:pt x="22" y="121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31" y="130"/>
                  </a:lnTo>
                  <a:lnTo>
                    <a:pt x="31" y="130"/>
                  </a:lnTo>
                  <a:lnTo>
                    <a:pt x="32" y="130"/>
                  </a:lnTo>
                  <a:lnTo>
                    <a:pt x="32" y="132"/>
                  </a:lnTo>
                  <a:lnTo>
                    <a:pt x="34" y="132"/>
                  </a:lnTo>
                  <a:lnTo>
                    <a:pt x="36" y="134"/>
                  </a:lnTo>
                  <a:lnTo>
                    <a:pt x="36" y="134"/>
                  </a:lnTo>
                  <a:lnTo>
                    <a:pt x="36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38" y="135"/>
                  </a:lnTo>
                  <a:lnTo>
                    <a:pt x="40" y="135"/>
                  </a:lnTo>
                  <a:lnTo>
                    <a:pt x="40" y="135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3" y="139"/>
                  </a:lnTo>
                  <a:lnTo>
                    <a:pt x="45" y="139"/>
                  </a:lnTo>
                  <a:lnTo>
                    <a:pt x="49" y="141"/>
                  </a:lnTo>
                  <a:lnTo>
                    <a:pt x="52" y="141"/>
                  </a:lnTo>
                  <a:lnTo>
                    <a:pt x="63" y="139"/>
                  </a:lnTo>
                  <a:lnTo>
                    <a:pt x="68" y="141"/>
                  </a:lnTo>
                  <a:lnTo>
                    <a:pt x="70" y="141"/>
                  </a:lnTo>
                  <a:lnTo>
                    <a:pt x="74" y="139"/>
                  </a:lnTo>
                  <a:lnTo>
                    <a:pt x="85" y="137"/>
                  </a:lnTo>
                  <a:lnTo>
                    <a:pt x="87" y="137"/>
                  </a:lnTo>
                  <a:lnTo>
                    <a:pt x="88" y="139"/>
                  </a:lnTo>
                  <a:lnTo>
                    <a:pt x="90" y="139"/>
                  </a:lnTo>
                  <a:lnTo>
                    <a:pt x="92" y="139"/>
                  </a:lnTo>
                  <a:lnTo>
                    <a:pt x="94" y="137"/>
                  </a:lnTo>
                  <a:lnTo>
                    <a:pt x="96" y="135"/>
                  </a:lnTo>
                  <a:lnTo>
                    <a:pt x="96" y="135"/>
                  </a:lnTo>
                  <a:lnTo>
                    <a:pt x="97" y="135"/>
                  </a:lnTo>
                  <a:lnTo>
                    <a:pt x="97" y="134"/>
                  </a:lnTo>
                  <a:lnTo>
                    <a:pt x="97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4" y="130"/>
                  </a:lnTo>
                  <a:lnTo>
                    <a:pt x="94" y="128"/>
                  </a:lnTo>
                  <a:lnTo>
                    <a:pt x="96" y="125"/>
                  </a:lnTo>
                  <a:lnTo>
                    <a:pt x="96" y="125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9" y="119"/>
                  </a:lnTo>
                  <a:lnTo>
                    <a:pt x="99" y="119"/>
                  </a:lnTo>
                  <a:lnTo>
                    <a:pt x="105" y="117"/>
                  </a:lnTo>
                  <a:lnTo>
                    <a:pt x="106" y="117"/>
                  </a:lnTo>
                  <a:lnTo>
                    <a:pt x="106" y="117"/>
                  </a:lnTo>
                  <a:lnTo>
                    <a:pt x="108" y="117"/>
                  </a:lnTo>
                  <a:lnTo>
                    <a:pt x="110" y="117"/>
                  </a:lnTo>
                  <a:lnTo>
                    <a:pt x="112" y="117"/>
                  </a:lnTo>
                  <a:lnTo>
                    <a:pt x="119" y="117"/>
                  </a:lnTo>
                  <a:lnTo>
                    <a:pt x="119" y="117"/>
                  </a:lnTo>
                  <a:lnTo>
                    <a:pt x="123" y="115"/>
                  </a:lnTo>
                  <a:lnTo>
                    <a:pt x="128" y="115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0"/>
                  </a:lnTo>
                  <a:lnTo>
                    <a:pt x="132" y="108"/>
                  </a:lnTo>
                  <a:lnTo>
                    <a:pt x="133" y="106"/>
                  </a:lnTo>
                  <a:lnTo>
                    <a:pt x="133" y="106"/>
                  </a:lnTo>
                  <a:lnTo>
                    <a:pt x="139" y="105"/>
                  </a:lnTo>
                  <a:lnTo>
                    <a:pt x="139" y="105"/>
                  </a:lnTo>
                  <a:lnTo>
                    <a:pt x="139" y="105"/>
                  </a:lnTo>
                  <a:lnTo>
                    <a:pt x="141" y="105"/>
                  </a:lnTo>
                  <a:lnTo>
                    <a:pt x="141" y="106"/>
                  </a:lnTo>
                  <a:lnTo>
                    <a:pt x="143" y="106"/>
                  </a:lnTo>
                  <a:lnTo>
                    <a:pt x="144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8" y="110"/>
                  </a:lnTo>
                  <a:lnTo>
                    <a:pt x="150" y="110"/>
                  </a:lnTo>
                  <a:lnTo>
                    <a:pt x="152" y="112"/>
                  </a:lnTo>
                  <a:lnTo>
                    <a:pt x="153" y="112"/>
                  </a:lnTo>
                  <a:lnTo>
                    <a:pt x="153" y="112"/>
                  </a:lnTo>
                  <a:lnTo>
                    <a:pt x="157" y="110"/>
                  </a:lnTo>
                  <a:lnTo>
                    <a:pt x="157" y="110"/>
                  </a:lnTo>
                  <a:lnTo>
                    <a:pt x="159" y="108"/>
                  </a:lnTo>
                  <a:lnTo>
                    <a:pt x="159" y="108"/>
                  </a:lnTo>
                  <a:lnTo>
                    <a:pt x="161" y="106"/>
                  </a:lnTo>
                  <a:lnTo>
                    <a:pt x="162" y="106"/>
                  </a:lnTo>
                  <a:lnTo>
                    <a:pt x="162" y="106"/>
                  </a:lnTo>
                  <a:lnTo>
                    <a:pt x="162" y="106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4" y="103"/>
                  </a:lnTo>
                  <a:lnTo>
                    <a:pt x="164" y="103"/>
                  </a:lnTo>
                  <a:lnTo>
                    <a:pt x="166" y="103"/>
                  </a:lnTo>
                  <a:lnTo>
                    <a:pt x="166" y="103"/>
                  </a:lnTo>
                  <a:lnTo>
                    <a:pt x="166" y="103"/>
                  </a:lnTo>
                  <a:lnTo>
                    <a:pt x="168" y="101"/>
                  </a:lnTo>
                  <a:lnTo>
                    <a:pt x="170" y="101"/>
                  </a:lnTo>
                  <a:lnTo>
                    <a:pt x="170" y="103"/>
                  </a:lnTo>
                  <a:lnTo>
                    <a:pt x="170" y="103"/>
                  </a:lnTo>
                  <a:lnTo>
                    <a:pt x="171" y="103"/>
                  </a:lnTo>
                  <a:lnTo>
                    <a:pt x="171" y="103"/>
                  </a:lnTo>
                  <a:lnTo>
                    <a:pt x="173" y="101"/>
                  </a:lnTo>
                  <a:lnTo>
                    <a:pt x="175" y="99"/>
                  </a:lnTo>
                  <a:lnTo>
                    <a:pt x="177" y="97"/>
                  </a:lnTo>
                  <a:lnTo>
                    <a:pt x="179" y="90"/>
                  </a:lnTo>
                  <a:lnTo>
                    <a:pt x="179" y="90"/>
                  </a:lnTo>
                  <a:lnTo>
                    <a:pt x="179" y="88"/>
                  </a:lnTo>
                  <a:lnTo>
                    <a:pt x="180" y="87"/>
                  </a:lnTo>
                  <a:lnTo>
                    <a:pt x="180" y="87"/>
                  </a:lnTo>
                  <a:lnTo>
                    <a:pt x="182" y="87"/>
                  </a:lnTo>
                  <a:lnTo>
                    <a:pt x="182" y="85"/>
                  </a:lnTo>
                  <a:lnTo>
                    <a:pt x="182" y="85"/>
                  </a:lnTo>
                  <a:lnTo>
                    <a:pt x="182" y="85"/>
                  </a:lnTo>
                  <a:lnTo>
                    <a:pt x="182" y="85"/>
                  </a:lnTo>
                  <a:lnTo>
                    <a:pt x="182" y="83"/>
                  </a:lnTo>
                  <a:lnTo>
                    <a:pt x="182" y="83"/>
                  </a:lnTo>
                  <a:lnTo>
                    <a:pt x="182" y="83"/>
                  </a:lnTo>
                  <a:lnTo>
                    <a:pt x="182" y="81"/>
                  </a:lnTo>
                  <a:lnTo>
                    <a:pt x="186" y="81"/>
                  </a:lnTo>
                  <a:lnTo>
                    <a:pt x="197" y="79"/>
                  </a:lnTo>
                  <a:lnTo>
                    <a:pt x="197" y="79"/>
                  </a:lnTo>
                  <a:lnTo>
                    <a:pt x="199" y="79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2" y="81"/>
                  </a:lnTo>
                  <a:lnTo>
                    <a:pt x="204" y="83"/>
                  </a:lnTo>
                  <a:lnTo>
                    <a:pt x="206" y="83"/>
                  </a:lnTo>
                  <a:lnTo>
                    <a:pt x="208" y="83"/>
                  </a:lnTo>
                  <a:lnTo>
                    <a:pt x="209" y="83"/>
                  </a:lnTo>
                  <a:lnTo>
                    <a:pt x="211" y="83"/>
                  </a:lnTo>
                  <a:lnTo>
                    <a:pt x="211" y="85"/>
                  </a:lnTo>
                  <a:lnTo>
                    <a:pt x="213" y="85"/>
                  </a:lnTo>
                  <a:lnTo>
                    <a:pt x="217" y="83"/>
                  </a:lnTo>
                  <a:lnTo>
                    <a:pt x="218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5"/>
                  </a:lnTo>
                  <a:lnTo>
                    <a:pt x="222" y="83"/>
                  </a:lnTo>
                  <a:lnTo>
                    <a:pt x="222" y="83"/>
                  </a:lnTo>
                  <a:lnTo>
                    <a:pt x="222" y="81"/>
                  </a:lnTo>
                  <a:lnTo>
                    <a:pt x="222" y="81"/>
                  </a:lnTo>
                  <a:lnTo>
                    <a:pt x="224" y="81"/>
                  </a:lnTo>
                  <a:lnTo>
                    <a:pt x="224" y="81"/>
                  </a:lnTo>
                  <a:lnTo>
                    <a:pt x="226" y="81"/>
                  </a:lnTo>
                  <a:lnTo>
                    <a:pt x="229" y="79"/>
                  </a:lnTo>
                  <a:lnTo>
                    <a:pt x="229" y="79"/>
                  </a:lnTo>
                  <a:lnTo>
                    <a:pt x="231" y="81"/>
                  </a:lnTo>
                  <a:lnTo>
                    <a:pt x="233" y="81"/>
                  </a:lnTo>
                  <a:lnTo>
                    <a:pt x="233" y="81"/>
                  </a:lnTo>
                  <a:lnTo>
                    <a:pt x="233" y="83"/>
                  </a:lnTo>
                  <a:lnTo>
                    <a:pt x="233" y="83"/>
                  </a:lnTo>
                  <a:lnTo>
                    <a:pt x="233" y="85"/>
                  </a:lnTo>
                  <a:lnTo>
                    <a:pt x="235" y="85"/>
                  </a:lnTo>
                  <a:lnTo>
                    <a:pt x="236" y="85"/>
                  </a:lnTo>
                  <a:lnTo>
                    <a:pt x="236" y="85"/>
                  </a:lnTo>
                  <a:lnTo>
                    <a:pt x="238" y="85"/>
                  </a:lnTo>
                  <a:lnTo>
                    <a:pt x="238" y="88"/>
                  </a:lnTo>
                  <a:lnTo>
                    <a:pt x="238" y="90"/>
                  </a:lnTo>
                  <a:lnTo>
                    <a:pt x="242" y="94"/>
                  </a:lnTo>
                  <a:lnTo>
                    <a:pt x="242" y="96"/>
                  </a:lnTo>
                  <a:lnTo>
                    <a:pt x="244" y="96"/>
                  </a:lnTo>
                  <a:lnTo>
                    <a:pt x="245" y="97"/>
                  </a:lnTo>
                  <a:lnTo>
                    <a:pt x="247" y="97"/>
                  </a:lnTo>
                  <a:lnTo>
                    <a:pt x="249" y="96"/>
                  </a:lnTo>
                  <a:lnTo>
                    <a:pt x="251" y="96"/>
                  </a:lnTo>
                  <a:lnTo>
                    <a:pt x="253" y="94"/>
                  </a:lnTo>
                  <a:lnTo>
                    <a:pt x="254" y="94"/>
                  </a:lnTo>
                  <a:lnTo>
                    <a:pt x="256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62" y="94"/>
                  </a:lnTo>
                  <a:lnTo>
                    <a:pt x="262" y="94"/>
                  </a:lnTo>
                  <a:lnTo>
                    <a:pt x="264" y="92"/>
                  </a:lnTo>
                  <a:lnTo>
                    <a:pt x="264" y="92"/>
                  </a:lnTo>
                  <a:lnTo>
                    <a:pt x="264" y="87"/>
                  </a:lnTo>
                  <a:lnTo>
                    <a:pt x="265" y="85"/>
                  </a:lnTo>
                  <a:lnTo>
                    <a:pt x="265" y="83"/>
                  </a:lnTo>
                  <a:lnTo>
                    <a:pt x="264" y="81"/>
                  </a:lnTo>
                  <a:lnTo>
                    <a:pt x="265" y="79"/>
                  </a:lnTo>
                  <a:lnTo>
                    <a:pt x="265" y="78"/>
                  </a:lnTo>
                  <a:lnTo>
                    <a:pt x="269" y="76"/>
                  </a:lnTo>
                  <a:lnTo>
                    <a:pt x="269" y="74"/>
                  </a:lnTo>
                  <a:lnTo>
                    <a:pt x="269" y="74"/>
                  </a:lnTo>
                  <a:lnTo>
                    <a:pt x="269" y="72"/>
                  </a:lnTo>
                  <a:lnTo>
                    <a:pt x="271" y="72"/>
                  </a:lnTo>
                  <a:lnTo>
                    <a:pt x="273" y="72"/>
                  </a:lnTo>
                  <a:lnTo>
                    <a:pt x="273" y="72"/>
                  </a:lnTo>
                  <a:lnTo>
                    <a:pt x="273" y="70"/>
                  </a:lnTo>
                  <a:lnTo>
                    <a:pt x="274" y="69"/>
                  </a:lnTo>
                  <a:lnTo>
                    <a:pt x="274" y="67"/>
                  </a:lnTo>
                  <a:lnTo>
                    <a:pt x="274" y="67"/>
                  </a:lnTo>
                  <a:lnTo>
                    <a:pt x="274" y="65"/>
                  </a:lnTo>
                  <a:lnTo>
                    <a:pt x="274" y="65"/>
                  </a:lnTo>
                  <a:lnTo>
                    <a:pt x="274" y="65"/>
                  </a:lnTo>
                  <a:lnTo>
                    <a:pt x="276" y="63"/>
                  </a:lnTo>
                  <a:lnTo>
                    <a:pt x="276" y="63"/>
                  </a:lnTo>
                  <a:lnTo>
                    <a:pt x="276" y="61"/>
                  </a:lnTo>
                  <a:lnTo>
                    <a:pt x="276" y="59"/>
                  </a:lnTo>
                  <a:lnTo>
                    <a:pt x="276" y="59"/>
                  </a:lnTo>
                  <a:lnTo>
                    <a:pt x="276" y="58"/>
                  </a:lnTo>
                  <a:lnTo>
                    <a:pt x="276" y="58"/>
                  </a:lnTo>
                  <a:lnTo>
                    <a:pt x="276" y="58"/>
                  </a:lnTo>
                  <a:lnTo>
                    <a:pt x="276" y="56"/>
                  </a:lnTo>
                  <a:lnTo>
                    <a:pt x="278" y="56"/>
                  </a:lnTo>
                  <a:lnTo>
                    <a:pt x="278" y="54"/>
                  </a:lnTo>
                  <a:lnTo>
                    <a:pt x="278" y="54"/>
                  </a:lnTo>
                  <a:lnTo>
                    <a:pt x="278" y="54"/>
                  </a:lnTo>
                  <a:lnTo>
                    <a:pt x="278" y="52"/>
                  </a:lnTo>
                  <a:lnTo>
                    <a:pt x="280" y="52"/>
                  </a:lnTo>
                  <a:lnTo>
                    <a:pt x="280" y="49"/>
                  </a:lnTo>
                  <a:lnTo>
                    <a:pt x="282" y="49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5"/>
                  </a:lnTo>
                  <a:lnTo>
                    <a:pt x="283" y="43"/>
                  </a:lnTo>
                  <a:lnTo>
                    <a:pt x="283" y="41"/>
                  </a:lnTo>
                  <a:lnTo>
                    <a:pt x="285" y="41"/>
                  </a:lnTo>
                  <a:lnTo>
                    <a:pt x="283" y="4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5" name="Freeform 124">
              <a:extLst>
                <a:ext uri="{FF2B5EF4-FFF2-40B4-BE49-F238E27FC236}">
                  <a16:creationId xmlns:a16="http://schemas.microsoft.com/office/drawing/2014/main" id="{43AE3718-C881-1127-480A-3BE97B5FA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125" y="4460876"/>
              <a:ext cx="330200" cy="476250"/>
            </a:xfrm>
            <a:custGeom>
              <a:avLst/>
              <a:gdLst>
                <a:gd name="T0" fmla="*/ 195 w 208"/>
                <a:gd name="T1" fmla="*/ 195 h 300"/>
                <a:gd name="T2" fmla="*/ 186 w 208"/>
                <a:gd name="T3" fmla="*/ 192 h 300"/>
                <a:gd name="T4" fmla="*/ 183 w 208"/>
                <a:gd name="T5" fmla="*/ 181 h 300"/>
                <a:gd name="T6" fmla="*/ 177 w 208"/>
                <a:gd name="T7" fmla="*/ 172 h 300"/>
                <a:gd name="T8" fmla="*/ 179 w 208"/>
                <a:gd name="T9" fmla="*/ 154 h 300"/>
                <a:gd name="T10" fmla="*/ 188 w 208"/>
                <a:gd name="T11" fmla="*/ 145 h 300"/>
                <a:gd name="T12" fmla="*/ 193 w 208"/>
                <a:gd name="T13" fmla="*/ 132 h 300"/>
                <a:gd name="T14" fmla="*/ 183 w 208"/>
                <a:gd name="T15" fmla="*/ 118 h 300"/>
                <a:gd name="T16" fmla="*/ 195 w 208"/>
                <a:gd name="T17" fmla="*/ 114 h 300"/>
                <a:gd name="T18" fmla="*/ 175 w 208"/>
                <a:gd name="T19" fmla="*/ 105 h 300"/>
                <a:gd name="T20" fmla="*/ 161 w 208"/>
                <a:gd name="T21" fmla="*/ 112 h 300"/>
                <a:gd name="T22" fmla="*/ 137 w 208"/>
                <a:gd name="T23" fmla="*/ 100 h 300"/>
                <a:gd name="T24" fmla="*/ 132 w 208"/>
                <a:gd name="T25" fmla="*/ 92 h 300"/>
                <a:gd name="T26" fmla="*/ 127 w 208"/>
                <a:gd name="T27" fmla="*/ 83 h 300"/>
                <a:gd name="T28" fmla="*/ 130 w 208"/>
                <a:gd name="T29" fmla="*/ 78 h 300"/>
                <a:gd name="T30" fmla="*/ 121 w 208"/>
                <a:gd name="T31" fmla="*/ 67 h 300"/>
                <a:gd name="T32" fmla="*/ 107 w 208"/>
                <a:gd name="T33" fmla="*/ 60 h 300"/>
                <a:gd name="T34" fmla="*/ 96 w 208"/>
                <a:gd name="T35" fmla="*/ 38 h 300"/>
                <a:gd name="T36" fmla="*/ 94 w 208"/>
                <a:gd name="T37" fmla="*/ 31 h 300"/>
                <a:gd name="T38" fmla="*/ 83 w 208"/>
                <a:gd name="T39" fmla="*/ 18 h 300"/>
                <a:gd name="T40" fmla="*/ 65 w 208"/>
                <a:gd name="T41" fmla="*/ 2 h 300"/>
                <a:gd name="T42" fmla="*/ 40 w 208"/>
                <a:gd name="T43" fmla="*/ 0 h 300"/>
                <a:gd name="T44" fmla="*/ 29 w 208"/>
                <a:gd name="T45" fmla="*/ 8 h 300"/>
                <a:gd name="T46" fmla="*/ 16 w 208"/>
                <a:gd name="T47" fmla="*/ 13 h 300"/>
                <a:gd name="T48" fmla="*/ 7 w 208"/>
                <a:gd name="T49" fmla="*/ 17 h 300"/>
                <a:gd name="T50" fmla="*/ 0 w 208"/>
                <a:gd name="T51" fmla="*/ 24 h 300"/>
                <a:gd name="T52" fmla="*/ 7 w 208"/>
                <a:gd name="T53" fmla="*/ 36 h 300"/>
                <a:gd name="T54" fmla="*/ 9 w 208"/>
                <a:gd name="T55" fmla="*/ 44 h 300"/>
                <a:gd name="T56" fmla="*/ 9 w 208"/>
                <a:gd name="T57" fmla="*/ 51 h 300"/>
                <a:gd name="T58" fmla="*/ 16 w 208"/>
                <a:gd name="T59" fmla="*/ 64 h 300"/>
                <a:gd name="T60" fmla="*/ 22 w 208"/>
                <a:gd name="T61" fmla="*/ 71 h 300"/>
                <a:gd name="T62" fmla="*/ 11 w 208"/>
                <a:gd name="T63" fmla="*/ 74 h 300"/>
                <a:gd name="T64" fmla="*/ 15 w 208"/>
                <a:gd name="T65" fmla="*/ 87 h 300"/>
                <a:gd name="T66" fmla="*/ 13 w 208"/>
                <a:gd name="T67" fmla="*/ 92 h 300"/>
                <a:gd name="T68" fmla="*/ 25 w 208"/>
                <a:gd name="T69" fmla="*/ 91 h 300"/>
                <a:gd name="T70" fmla="*/ 24 w 208"/>
                <a:gd name="T71" fmla="*/ 103 h 300"/>
                <a:gd name="T72" fmla="*/ 15 w 208"/>
                <a:gd name="T73" fmla="*/ 118 h 300"/>
                <a:gd name="T74" fmla="*/ 22 w 208"/>
                <a:gd name="T75" fmla="*/ 134 h 300"/>
                <a:gd name="T76" fmla="*/ 33 w 208"/>
                <a:gd name="T77" fmla="*/ 143 h 300"/>
                <a:gd name="T78" fmla="*/ 38 w 208"/>
                <a:gd name="T79" fmla="*/ 152 h 300"/>
                <a:gd name="T80" fmla="*/ 20 w 208"/>
                <a:gd name="T81" fmla="*/ 154 h 300"/>
                <a:gd name="T82" fmla="*/ 33 w 208"/>
                <a:gd name="T83" fmla="*/ 181 h 300"/>
                <a:gd name="T84" fmla="*/ 25 w 208"/>
                <a:gd name="T85" fmla="*/ 181 h 300"/>
                <a:gd name="T86" fmla="*/ 25 w 208"/>
                <a:gd name="T87" fmla="*/ 195 h 300"/>
                <a:gd name="T88" fmla="*/ 44 w 208"/>
                <a:gd name="T89" fmla="*/ 210 h 300"/>
                <a:gd name="T90" fmla="*/ 56 w 208"/>
                <a:gd name="T91" fmla="*/ 217 h 300"/>
                <a:gd name="T92" fmla="*/ 71 w 208"/>
                <a:gd name="T93" fmla="*/ 235 h 300"/>
                <a:gd name="T94" fmla="*/ 60 w 208"/>
                <a:gd name="T95" fmla="*/ 242 h 300"/>
                <a:gd name="T96" fmla="*/ 65 w 208"/>
                <a:gd name="T97" fmla="*/ 257 h 300"/>
                <a:gd name="T98" fmla="*/ 69 w 208"/>
                <a:gd name="T99" fmla="*/ 266 h 300"/>
                <a:gd name="T100" fmla="*/ 87 w 208"/>
                <a:gd name="T101" fmla="*/ 286 h 300"/>
                <a:gd name="T102" fmla="*/ 89 w 208"/>
                <a:gd name="T103" fmla="*/ 300 h 300"/>
                <a:gd name="T104" fmla="*/ 96 w 208"/>
                <a:gd name="T105" fmla="*/ 291 h 300"/>
                <a:gd name="T106" fmla="*/ 114 w 208"/>
                <a:gd name="T107" fmla="*/ 277 h 300"/>
                <a:gd name="T108" fmla="*/ 123 w 208"/>
                <a:gd name="T109" fmla="*/ 280 h 300"/>
                <a:gd name="T110" fmla="*/ 132 w 208"/>
                <a:gd name="T111" fmla="*/ 273 h 300"/>
                <a:gd name="T112" fmla="*/ 150 w 208"/>
                <a:gd name="T113" fmla="*/ 270 h 300"/>
                <a:gd name="T114" fmla="*/ 172 w 208"/>
                <a:gd name="T115" fmla="*/ 266 h 300"/>
                <a:gd name="T116" fmla="*/ 184 w 208"/>
                <a:gd name="T117" fmla="*/ 262 h 300"/>
                <a:gd name="T118" fmla="*/ 183 w 208"/>
                <a:gd name="T119" fmla="*/ 241 h 300"/>
                <a:gd name="T120" fmla="*/ 183 w 208"/>
                <a:gd name="T121" fmla="*/ 233 h 300"/>
                <a:gd name="T122" fmla="*/ 195 w 208"/>
                <a:gd name="T123" fmla="*/ 228 h 300"/>
                <a:gd name="T124" fmla="*/ 204 w 208"/>
                <a:gd name="T125" fmla="*/ 217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" h="300">
                  <a:moveTo>
                    <a:pt x="208" y="210"/>
                  </a:moveTo>
                  <a:lnTo>
                    <a:pt x="208" y="208"/>
                  </a:lnTo>
                  <a:lnTo>
                    <a:pt x="206" y="208"/>
                  </a:lnTo>
                  <a:lnTo>
                    <a:pt x="204" y="208"/>
                  </a:lnTo>
                  <a:lnTo>
                    <a:pt x="204" y="206"/>
                  </a:lnTo>
                  <a:lnTo>
                    <a:pt x="202" y="206"/>
                  </a:lnTo>
                  <a:lnTo>
                    <a:pt x="201" y="204"/>
                  </a:lnTo>
                  <a:lnTo>
                    <a:pt x="201" y="203"/>
                  </a:lnTo>
                  <a:lnTo>
                    <a:pt x="201" y="203"/>
                  </a:lnTo>
                  <a:lnTo>
                    <a:pt x="201" y="203"/>
                  </a:lnTo>
                  <a:lnTo>
                    <a:pt x="199" y="201"/>
                  </a:lnTo>
                  <a:lnTo>
                    <a:pt x="199" y="201"/>
                  </a:lnTo>
                  <a:lnTo>
                    <a:pt x="199" y="199"/>
                  </a:lnTo>
                  <a:lnTo>
                    <a:pt x="195" y="195"/>
                  </a:lnTo>
                  <a:lnTo>
                    <a:pt x="195" y="195"/>
                  </a:lnTo>
                  <a:lnTo>
                    <a:pt x="195" y="195"/>
                  </a:lnTo>
                  <a:lnTo>
                    <a:pt x="193" y="195"/>
                  </a:lnTo>
                  <a:lnTo>
                    <a:pt x="193" y="195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2" y="195"/>
                  </a:lnTo>
                  <a:lnTo>
                    <a:pt x="192" y="194"/>
                  </a:lnTo>
                  <a:lnTo>
                    <a:pt x="192" y="194"/>
                  </a:lnTo>
                  <a:lnTo>
                    <a:pt x="190" y="194"/>
                  </a:lnTo>
                  <a:lnTo>
                    <a:pt x="190" y="194"/>
                  </a:lnTo>
                  <a:lnTo>
                    <a:pt x="190" y="194"/>
                  </a:lnTo>
                  <a:lnTo>
                    <a:pt x="188" y="192"/>
                  </a:lnTo>
                  <a:lnTo>
                    <a:pt x="188" y="192"/>
                  </a:lnTo>
                  <a:lnTo>
                    <a:pt x="188" y="192"/>
                  </a:lnTo>
                  <a:lnTo>
                    <a:pt x="186" y="192"/>
                  </a:lnTo>
                  <a:lnTo>
                    <a:pt x="184" y="190"/>
                  </a:lnTo>
                  <a:lnTo>
                    <a:pt x="184" y="190"/>
                  </a:lnTo>
                  <a:lnTo>
                    <a:pt x="184" y="188"/>
                  </a:lnTo>
                  <a:lnTo>
                    <a:pt x="183" y="185"/>
                  </a:lnTo>
                  <a:lnTo>
                    <a:pt x="183" y="185"/>
                  </a:lnTo>
                  <a:lnTo>
                    <a:pt x="183" y="183"/>
                  </a:lnTo>
                  <a:lnTo>
                    <a:pt x="183" y="183"/>
                  </a:lnTo>
                  <a:lnTo>
                    <a:pt x="183" y="183"/>
                  </a:lnTo>
                  <a:lnTo>
                    <a:pt x="183" y="183"/>
                  </a:lnTo>
                  <a:lnTo>
                    <a:pt x="183" y="183"/>
                  </a:lnTo>
                  <a:lnTo>
                    <a:pt x="183" y="183"/>
                  </a:lnTo>
                  <a:lnTo>
                    <a:pt x="183" y="183"/>
                  </a:lnTo>
                  <a:lnTo>
                    <a:pt x="183" y="181"/>
                  </a:lnTo>
                  <a:lnTo>
                    <a:pt x="183" y="181"/>
                  </a:lnTo>
                  <a:lnTo>
                    <a:pt x="183" y="181"/>
                  </a:lnTo>
                  <a:lnTo>
                    <a:pt x="183" y="181"/>
                  </a:lnTo>
                  <a:lnTo>
                    <a:pt x="183" y="181"/>
                  </a:lnTo>
                  <a:lnTo>
                    <a:pt x="183" y="181"/>
                  </a:lnTo>
                  <a:lnTo>
                    <a:pt x="183" y="181"/>
                  </a:lnTo>
                  <a:lnTo>
                    <a:pt x="183" y="181"/>
                  </a:lnTo>
                  <a:lnTo>
                    <a:pt x="183" y="179"/>
                  </a:lnTo>
                  <a:lnTo>
                    <a:pt x="183" y="179"/>
                  </a:lnTo>
                  <a:lnTo>
                    <a:pt x="183" y="177"/>
                  </a:lnTo>
                  <a:lnTo>
                    <a:pt x="181" y="177"/>
                  </a:lnTo>
                  <a:lnTo>
                    <a:pt x="181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79" y="174"/>
                  </a:lnTo>
                  <a:lnTo>
                    <a:pt x="179" y="174"/>
                  </a:lnTo>
                  <a:lnTo>
                    <a:pt x="177" y="172"/>
                  </a:lnTo>
                  <a:lnTo>
                    <a:pt x="177" y="172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8"/>
                  </a:lnTo>
                  <a:lnTo>
                    <a:pt x="175" y="167"/>
                  </a:lnTo>
                  <a:lnTo>
                    <a:pt x="177" y="165"/>
                  </a:lnTo>
                  <a:lnTo>
                    <a:pt x="177" y="163"/>
                  </a:lnTo>
                  <a:lnTo>
                    <a:pt x="177" y="161"/>
                  </a:lnTo>
                  <a:lnTo>
                    <a:pt x="177" y="159"/>
                  </a:lnTo>
                  <a:lnTo>
                    <a:pt x="177" y="159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79" y="152"/>
                  </a:lnTo>
                  <a:lnTo>
                    <a:pt x="181" y="152"/>
                  </a:lnTo>
                  <a:lnTo>
                    <a:pt x="183" y="152"/>
                  </a:lnTo>
                  <a:lnTo>
                    <a:pt x="183" y="152"/>
                  </a:lnTo>
                  <a:lnTo>
                    <a:pt x="184" y="152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6" y="148"/>
                  </a:lnTo>
                  <a:lnTo>
                    <a:pt x="186" y="148"/>
                  </a:lnTo>
                  <a:lnTo>
                    <a:pt x="188" y="148"/>
                  </a:lnTo>
                  <a:lnTo>
                    <a:pt x="188" y="148"/>
                  </a:lnTo>
                  <a:lnTo>
                    <a:pt x="188" y="148"/>
                  </a:lnTo>
                  <a:lnTo>
                    <a:pt x="188" y="147"/>
                  </a:lnTo>
                  <a:lnTo>
                    <a:pt x="188" y="145"/>
                  </a:lnTo>
                  <a:lnTo>
                    <a:pt x="188" y="145"/>
                  </a:lnTo>
                  <a:lnTo>
                    <a:pt x="188" y="145"/>
                  </a:lnTo>
                  <a:lnTo>
                    <a:pt x="190" y="143"/>
                  </a:lnTo>
                  <a:lnTo>
                    <a:pt x="190" y="143"/>
                  </a:lnTo>
                  <a:lnTo>
                    <a:pt x="188" y="141"/>
                  </a:lnTo>
                  <a:lnTo>
                    <a:pt x="188" y="141"/>
                  </a:lnTo>
                  <a:lnTo>
                    <a:pt x="190" y="141"/>
                  </a:lnTo>
                  <a:lnTo>
                    <a:pt x="190" y="141"/>
                  </a:lnTo>
                  <a:lnTo>
                    <a:pt x="190" y="139"/>
                  </a:lnTo>
                  <a:lnTo>
                    <a:pt x="190" y="139"/>
                  </a:lnTo>
                  <a:lnTo>
                    <a:pt x="192" y="138"/>
                  </a:lnTo>
                  <a:lnTo>
                    <a:pt x="193" y="138"/>
                  </a:lnTo>
                  <a:lnTo>
                    <a:pt x="193" y="138"/>
                  </a:lnTo>
                  <a:lnTo>
                    <a:pt x="193" y="136"/>
                  </a:lnTo>
                  <a:lnTo>
                    <a:pt x="193" y="132"/>
                  </a:lnTo>
                  <a:lnTo>
                    <a:pt x="193" y="132"/>
                  </a:lnTo>
                  <a:lnTo>
                    <a:pt x="192" y="132"/>
                  </a:lnTo>
                  <a:lnTo>
                    <a:pt x="190" y="132"/>
                  </a:lnTo>
                  <a:lnTo>
                    <a:pt x="188" y="130"/>
                  </a:lnTo>
                  <a:lnTo>
                    <a:pt x="186" y="129"/>
                  </a:lnTo>
                  <a:lnTo>
                    <a:pt x="184" y="127"/>
                  </a:lnTo>
                  <a:lnTo>
                    <a:pt x="184" y="125"/>
                  </a:lnTo>
                  <a:lnTo>
                    <a:pt x="184" y="125"/>
                  </a:lnTo>
                  <a:lnTo>
                    <a:pt x="184" y="123"/>
                  </a:lnTo>
                  <a:lnTo>
                    <a:pt x="184" y="123"/>
                  </a:lnTo>
                  <a:lnTo>
                    <a:pt x="184" y="123"/>
                  </a:lnTo>
                  <a:lnTo>
                    <a:pt x="183" y="121"/>
                  </a:lnTo>
                  <a:lnTo>
                    <a:pt x="183" y="121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83" y="118"/>
                  </a:lnTo>
                  <a:lnTo>
                    <a:pt x="183" y="118"/>
                  </a:lnTo>
                  <a:lnTo>
                    <a:pt x="184" y="118"/>
                  </a:lnTo>
                  <a:lnTo>
                    <a:pt x="186" y="118"/>
                  </a:lnTo>
                  <a:lnTo>
                    <a:pt x="186" y="118"/>
                  </a:lnTo>
                  <a:lnTo>
                    <a:pt x="186" y="118"/>
                  </a:lnTo>
                  <a:lnTo>
                    <a:pt x="186" y="116"/>
                  </a:lnTo>
                  <a:lnTo>
                    <a:pt x="186" y="114"/>
                  </a:lnTo>
                  <a:lnTo>
                    <a:pt x="188" y="114"/>
                  </a:lnTo>
                  <a:lnTo>
                    <a:pt x="188" y="114"/>
                  </a:lnTo>
                  <a:lnTo>
                    <a:pt x="190" y="114"/>
                  </a:lnTo>
                  <a:lnTo>
                    <a:pt x="190" y="114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5" y="116"/>
                  </a:lnTo>
                  <a:lnTo>
                    <a:pt x="195" y="114"/>
                  </a:lnTo>
                  <a:lnTo>
                    <a:pt x="197" y="114"/>
                  </a:lnTo>
                  <a:lnTo>
                    <a:pt x="197" y="112"/>
                  </a:lnTo>
                  <a:lnTo>
                    <a:pt x="195" y="111"/>
                  </a:lnTo>
                  <a:lnTo>
                    <a:pt x="193" y="109"/>
                  </a:lnTo>
                  <a:lnTo>
                    <a:pt x="190" y="109"/>
                  </a:lnTo>
                  <a:lnTo>
                    <a:pt x="188" y="109"/>
                  </a:lnTo>
                  <a:lnTo>
                    <a:pt x="186" y="107"/>
                  </a:lnTo>
                  <a:lnTo>
                    <a:pt x="183" y="103"/>
                  </a:lnTo>
                  <a:lnTo>
                    <a:pt x="183" y="102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79" y="103"/>
                  </a:lnTo>
                  <a:lnTo>
                    <a:pt x="177" y="105"/>
                  </a:lnTo>
                  <a:lnTo>
                    <a:pt x="177" y="105"/>
                  </a:lnTo>
                  <a:lnTo>
                    <a:pt x="175" y="105"/>
                  </a:lnTo>
                  <a:lnTo>
                    <a:pt x="174" y="107"/>
                  </a:lnTo>
                  <a:lnTo>
                    <a:pt x="174" y="107"/>
                  </a:lnTo>
                  <a:lnTo>
                    <a:pt x="168" y="118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5" y="118"/>
                  </a:lnTo>
                  <a:lnTo>
                    <a:pt x="165" y="118"/>
                  </a:lnTo>
                  <a:lnTo>
                    <a:pt x="163" y="118"/>
                  </a:lnTo>
                  <a:lnTo>
                    <a:pt x="163" y="114"/>
                  </a:lnTo>
                  <a:lnTo>
                    <a:pt x="163" y="114"/>
                  </a:lnTo>
                  <a:lnTo>
                    <a:pt x="161" y="114"/>
                  </a:lnTo>
                  <a:lnTo>
                    <a:pt x="161" y="114"/>
                  </a:lnTo>
                  <a:lnTo>
                    <a:pt x="161" y="112"/>
                  </a:lnTo>
                  <a:lnTo>
                    <a:pt x="161" y="112"/>
                  </a:lnTo>
                  <a:lnTo>
                    <a:pt x="161" y="112"/>
                  </a:lnTo>
                  <a:lnTo>
                    <a:pt x="161" y="111"/>
                  </a:lnTo>
                  <a:lnTo>
                    <a:pt x="159" y="109"/>
                  </a:lnTo>
                  <a:lnTo>
                    <a:pt x="159" y="107"/>
                  </a:lnTo>
                  <a:lnTo>
                    <a:pt x="157" y="107"/>
                  </a:lnTo>
                  <a:lnTo>
                    <a:pt x="152" y="105"/>
                  </a:lnTo>
                  <a:lnTo>
                    <a:pt x="152" y="105"/>
                  </a:lnTo>
                  <a:lnTo>
                    <a:pt x="150" y="105"/>
                  </a:lnTo>
                  <a:lnTo>
                    <a:pt x="148" y="105"/>
                  </a:lnTo>
                  <a:lnTo>
                    <a:pt x="146" y="107"/>
                  </a:lnTo>
                  <a:lnTo>
                    <a:pt x="145" y="107"/>
                  </a:lnTo>
                  <a:lnTo>
                    <a:pt x="141" y="105"/>
                  </a:lnTo>
                  <a:lnTo>
                    <a:pt x="139" y="103"/>
                  </a:lnTo>
                  <a:lnTo>
                    <a:pt x="139" y="102"/>
                  </a:lnTo>
                  <a:lnTo>
                    <a:pt x="139" y="102"/>
                  </a:lnTo>
                  <a:lnTo>
                    <a:pt x="137" y="100"/>
                  </a:lnTo>
                  <a:lnTo>
                    <a:pt x="137" y="100"/>
                  </a:lnTo>
                  <a:lnTo>
                    <a:pt x="136" y="98"/>
                  </a:lnTo>
                  <a:lnTo>
                    <a:pt x="134" y="100"/>
                  </a:lnTo>
                  <a:lnTo>
                    <a:pt x="128" y="98"/>
                  </a:lnTo>
                  <a:lnTo>
                    <a:pt x="128" y="98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5" y="94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4" y="92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89"/>
                  </a:lnTo>
                  <a:lnTo>
                    <a:pt x="134" y="89"/>
                  </a:lnTo>
                  <a:lnTo>
                    <a:pt x="132" y="87"/>
                  </a:lnTo>
                  <a:lnTo>
                    <a:pt x="132" y="87"/>
                  </a:lnTo>
                  <a:lnTo>
                    <a:pt x="128" y="87"/>
                  </a:lnTo>
                  <a:lnTo>
                    <a:pt x="128" y="85"/>
                  </a:lnTo>
                  <a:lnTo>
                    <a:pt x="128" y="85"/>
                  </a:lnTo>
                  <a:lnTo>
                    <a:pt x="128" y="85"/>
                  </a:lnTo>
                  <a:lnTo>
                    <a:pt x="128" y="83"/>
                  </a:lnTo>
                  <a:lnTo>
                    <a:pt x="127" y="83"/>
                  </a:lnTo>
                  <a:lnTo>
                    <a:pt x="127" y="83"/>
                  </a:lnTo>
                  <a:lnTo>
                    <a:pt x="127" y="83"/>
                  </a:lnTo>
                  <a:lnTo>
                    <a:pt x="127" y="83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30" y="82"/>
                  </a:lnTo>
                  <a:lnTo>
                    <a:pt x="130" y="82"/>
                  </a:lnTo>
                  <a:lnTo>
                    <a:pt x="130" y="80"/>
                  </a:lnTo>
                  <a:lnTo>
                    <a:pt x="130" y="80"/>
                  </a:lnTo>
                  <a:lnTo>
                    <a:pt x="130" y="80"/>
                  </a:lnTo>
                  <a:lnTo>
                    <a:pt x="130" y="78"/>
                  </a:lnTo>
                  <a:lnTo>
                    <a:pt x="130" y="78"/>
                  </a:lnTo>
                  <a:lnTo>
                    <a:pt x="130" y="78"/>
                  </a:lnTo>
                  <a:lnTo>
                    <a:pt x="130" y="78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4" y="73"/>
                  </a:lnTo>
                  <a:lnTo>
                    <a:pt x="132" y="73"/>
                  </a:lnTo>
                  <a:lnTo>
                    <a:pt x="132" y="71"/>
                  </a:lnTo>
                  <a:lnTo>
                    <a:pt x="130" y="71"/>
                  </a:lnTo>
                  <a:lnTo>
                    <a:pt x="128" y="69"/>
                  </a:lnTo>
                  <a:lnTo>
                    <a:pt x="123" y="67"/>
                  </a:lnTo>
                  <a:lnTo>
                    <a:pt x="121" y="67"/>
                  </a:lnTo>
                  <a:lnTo>
                    <a:pt x="121" y="67"/>
                  </a:lnTo>
                  <a:lnTo>
                    <a:pt x="119" y="65"/>
                  </a:lnTo>
                  <a:lnTo>
                    <a:pt x="118" y="65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09" y="60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5" y="56"/>
                  </a:lnTo>
                  <a:lnTo>
                    <a:pt x="101" y="55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8" y="51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6" y="49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6" y="40"/>
                  </a:lnTo>
                  <a:lnTo>
                    <a:pt x="96" y="38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2" y="31"/>
                  </a:lnTo>
                  <a:lnTo>
                    <a:pt x="92" y="29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6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89" y="24"/>
                  </a:lnTo>
                  <a:lnTo>
                    <a:pt x="89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5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0" y="17"/>
                  </a:lnTo>
                  <a:lnTo>
                    <a:pt x="80" y="15"/>
                  </a:lnTo>
                  <a:lnTo>
                    <a:pt x="78" y="15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4" y="9"/>
                  </a:lnTo>
                  <a:lnTo>
                    <a:pt x="74" y="8"/>
                  </a:lnTo>
                  <a:lnTo>
                    <a:pt x="71" y="4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2" y="2"/>
                  </a:lnTo>
                  <a:lnTo>
                    <a:pt x="60" y="2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4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0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11"/>
                  </a:lnTo>
                  <a:lnTo>
                    <a:pt x="11" y="13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7" y="15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6" y="35"/>
                  </a:lnTo>
                  <a:lnTo>
                    <a:pt x="7" y="35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6" y="38"/>
                  </a:lnTo>
                  <a:lnTo>
                    <a:pt x="4" y="38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11" y="44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9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7" y="49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3"/>
                  </a:lnTo>
                  <a:lnTo>
                    <a:pt x="11" y="53"/>
                  </a:lnTo>
                  <a:lnTo>
                    <a:pt x="9" y="55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5" y="62"/>
                  </a:lnTo>
                  <a:lnTo>
                    <a:pt x="16" y="64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29" y="71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0" y="73"/>
                  </a:lnTo>
                  <a:lnTo>
                    <a:pt x="18" y="73"/>
                  </a:lnTo>
                  <a:lnTo>
                    <a:pt x="18" y="71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5" y="69"/>
                  </a:lnTo>
                  <a:lnTo>
                    <a:pt x="15" y="71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1" y="73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8"/>
                  </a:lnTo>
                  <a:lnTo>
                    <a:pt x="13" y="80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3" y="87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7" y="89"/>
                  </a:lnTo>
                  <a:lnTo>
                    <a:pt x="7" y="91"/>
                  </a:lnTo>
                  <a:lnTo>
                    <a:pt x="9" y="92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3" y="92"/>
                  </a:lnTo>
                  <a:lnTo>
                    <a:pt x="16" y="89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91"/>
                  </a:lnTo>
                  <a:lnTo>
                    <a:pt x="18" y="91"/>
                  </a:lnTo>
                  <a:lnTo>
                    <a:pt x="20" y="89"/>
                  </a:lnTo>
                  <a:lnTo>
                    <a:pt x="20" y="89"/>
                  </a:lnTo>
                  <a:lnTo>
                    <a:pt x="22" y="91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4"/>
                  </a:lnTo>
                  <a:lnTo>
                    <a:pt x="25" y="102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5"/>
                  </a:lnTo>
                  <a:lnTo>
                    <a:pt x="22" y="105"/>
                  </a:lnTo>
                  <a:lnTo>
                    <a:pt x="22" y="107"/>
                  </a:lnTo>
                  <a:lnTo>
                    <a:pt x="22" y="109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6"/>
                  </a:lnTo>
                  <a:lnTo>
                    <a:pt x="1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6" y="121"/>
                  </a:lnTo>
                  <a:lnTo>
                    <a:pt x="15" y="123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7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32"/>
                  </a:lnTo>
                  <a:lnTo>
                    <a:pt x="16" y="132"/>
                  </a:lnTo>
                  <a:lnTo>
                    <a:pt x="16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22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5" y="138"/>
                  </a:lnTo>
                  <a:lnTo>
                    <a:pt x="25" y="139"/>
                  </a:lnTo>
                  <a:lnTo>
                    <a:pt x="27" y="139"/>
                  </a:lnTo>
                  <a:lnTo>
                    <a:pt x="27" y="141"/>
                  </a:lnTo>
                  <a:lnTo>
                    <a:pt x="29" y="143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3" y="143"/>
                  </a:lnTo>
                  <a:lnTo>
                    <a:pt x="33" y="145"/>
                  </a:lnTo>
                  <a:lnTo>
                    <a:pt x="33" y="145"/>
                  </a:lnTo>
                  <a:lnTo>
                    <a:pt x="33" y="145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8" y="150"/>
                  </a:lnTo>
                  <a:lnTo>
                    <a:pt x="38" y="150"/>
                  </a:lnTo>
                  <a:lnTo>
                    <a:pt x="38" y="148"/>
                  </a:lnTo>
                  <a:lnTo>
                    <a:pt x="38" y="148"/>
                  </a:lnTo>
                  <a:lnTo>
                    <a:pt x="38" y="150"/>
                  </a:lnTo>
                  <a:lnTo>
                    <a:pt x="40" y="150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6" y="154"/>
                  </a:lnTo>
                  <a:lnTo>
                    <a:pt x="34" y="156"/>
                  </a:lnTo>
                  <a:lnTo>
                    <a:pt x="34" y="156"/>
                  </a:lnTo>
                  <a:lnTo>
                    <a:pt x="31" y="154"/>
                  </a:lnTo>
                  <a:lnTo>
                    <a:pt x="27" y="156"/>
                  </a:lnTo>
                  <a:lnTo>
                    <a:pt x="27" y="156"/>
                  </a:lnTo>
                  <a:lnTo>
                    <a:pt x="27" y="156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2" y="152"/>
                  </a:lnTo>
                  <a:lnTo>
                    <a:pt x="22" y="152"/>
                  </a:lnTo>
                  <a:lnTo>
                    <a:pt x="20" y="154"/>
                  </a:lnTo>
                  <a:lnTo>
                    <a:pt x="20" y="154"/>
                  </a:lnTo>
                  <a:lnTo>
                    <a:pt x="20" y="154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2" y="158"/>
                  </a:lnTo>
                  <a:lnTo>
                    <a:pt x="24" y="159"/>
                  </a:lnTo>
                  <a:lnTo>
                    <a:pt x="27" y="165"/>
                  </a:lnTo>
                  <a:lnTo>
                    <a:pt x="31" y="170"/>
                  </a:lnTo>
                  <a:lnTo>
                    <a:pt x="33" y="172"/>
                  </a:lnTo>
                  <a:lnTo>
                    <a:pt x="34" y="176"/>
                  </a:lnTo>
                  <a:lnTo>
                    <a:pt x="34" y="177"/>
                  </a:lnTo>
                  <a:lnTo>
                    <a:pt x="33" y="179"/>
                  </a:lnTo>
                  <a:lnTo>
                    <a:pt x="33" y="179"/>
                  </a:lnTo>
                  <a:lnTo>
                    <a:pt x="33" y="181"/>
                  </a:lnTo>
                  <a:lnTo>
                    <a:pt x="33" y="181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1" y="183"/>
                  </a:lnTo>
                  <a:lnTo>
                    <a:pt x="31" y="183"/>
                  </a:lnTo>
                  <a:lnTo>
                    <a:pt x="29" y="185"/>
                  </a:lnTo>
                  <a:lnTo>
                    <a:pt x="29" y="185"/>
                  </a:lnTo>
                  <a:lnTo>
                    <a:pt x="29" y="185"/>
                  </a:lnTo>
                  <a:lnTo>
                    <a:pt x="27" y="183"/>
                  </a:lnTo>
                  <a:lnTo>
                    <a:pt x="27" y="183"/>
                  </a:lnTo>
                  <a:lnTo>
                    <a:pt x="27" y="181"/>
                  </a:lnTo>
                  <a:lnTo>
                    <a:pt x="25" y="181"/>
                  </a:lnTo>
                  <a:lnTo>
                    <a:pt x="25" y="181"/>
                  </a:lnTo>
                  <a:lnTo>
                    <a:pt x="24" y="181"/>
                  </a:lnTo>
                  <a:lnTo>
                    <a:pt x="24" y="181"/>
                  </a:lnTo>
                  <a:lnTo>
                    <a:pt x="24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0" y="183"/>
                  </a:lnTo>
                  <a:lnTo>
                    <a:pt x="20" y="185"/>
                  </a:lnTo>
                  <a:lnTo>
                    <a:pt x="20" y="186"/>
                  </a:lnTo>
                  <a:lnTo>
                    <a:pt x="18" y="186"/>
                  </a:lnTo>
                  <a:lnTo>
                    <a:pt x="16" y="186"/>
                  </a:lnTo>
                  <a:lnTo>
                    <a:pt x="16" y="190"/>
                  </a:lnTo>
                  <a:lnTo>
                    <a:pt x="18" y="192"/>
                  </a:lnTo>
                  <a:lnTo>
                    <a:pt x="20" y="192"/>
                  </a:lnTo>
                  <a:lnTo>
                    <a:pt x="25" y="195"/>
                  </a:lnTo>
                  <a:lnTo>
                    <a:pt x="27" y="195"/>
                  </a:lnTo>
                  <a:lnTo>
                    <a:pt x="29" y="199"/>
                  </a:lnTo>
                  <a:lnTo>
                    <a:pt x="33" y="203"/>
                  </a:lnTo>
                  <a:lnTo>
                    <a:pt x="33" y="203"/>
                  </a:lnTo>
                  <a:lnTo>
                    <a:pt x="33" y="204"/>
                  </a:lnTo>
                  <a:lnTo>
                    <a:pt x="34" y="206"/>
                  </a:lnTo>
                  <a:lnTo>
                    <a:pt x="36" y="206"/>
                  </a:lnTo>
                  <a:lnTo>
                    <a:pt x="36" y="208"/>
                  </a:lnTo>
                  <a:lnTo>
                    <a:pt x="38" y="210"/>
                  </a:lnTo>
                  <a:lnTo>
                    <a:pt x="38" y="210"/>
                  </a:lnTo>
                  <a:lnTo>
                    <a:pt x="40" y="210"/>
                  </a:lnTo>
                  <a:lnTo>
                    <a:pt x="42" y="212"/>
                  </a:lnTo>
                  <a:lnTo>
                    <a:pt x="44" y="212"/>
                  </a:lnTo>
                  <a:lnTo>
                    <a:pt x="44" y="212"/>
                  </a:lnTo>
                  <a:lnTo>
                    <a:pt x="44" y="210"/>
                  </a:lnTo>
                  <a:lnTo>
                    <a:pt x="44" y="210"/>
                  </a:lnTo>
                  <a:lnTo>
                    <a:pt x="45" y="214"/>
                  </a:lnTo>
                  <a:lnTo>
                    <a:pt x="47" y="215"/>
                  </a:lnTo>
                  <a:lnTo>
                    <a:pt x="47" y="215"/>
                  </a:lnTo>
                  <a:lnTo>
                    <a:pt x="49" y="215"/>
                  </a:lnTo>
                  <a:lnTo>
                    <a:pt x="51" y="215"/>
                  </a:lnTo>
                  <a:lnTo>
                    <a:pt x="53" y="215"/>
                  </a:lnTo>
                  <a:lnTo>
                    <a:pt x="53" y="215"/>
                  </a:lnTo>
                  <a:lnTo>
                    <a:pt x="54" y="214"/>
                  </a:lnTo>
                  <a:lnTo>
                    <a:pt x="54" y="214"/>
                  </a:lnTo>
                  <a:lnTo>
                    <a:pt x="54" y="214"/>
                  </a:lnTo>
                  <a:lnTo>
                    <a:pt x="56" y="215"/>
                  </a:lnTo>
                  <a:lnTo>
                    <a:pt x="56" y="215"/>
                  </a:lnTo>
                  <a:lnTo>
                    <a:pt x="56" y="215"/>
                  </a:lnTo>
                  <a:lnTo>
                    <a:pt x="56" y="217"/>
                  </a:lnTo>
                  <a:lnTo>
                    <a:pt x="60" y="219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9" y="224"/>
                  </a:lnTo>
                  <a:lnTo>
                    <a:pt x="69" y="224"/>
                  </a:lnTo>
                  <a:lnTo>
                    <a:pt x="72" y="226"/>
                  </a:lnTo>
                  <a:lnTo>
                    <a:pt x="76" y="228"/>
                  </a:lnTo>
                  <a:lnTo>
                    <a:pt x="76" y="230"/>
                  </a:lnTo>
                  <a:lnTo>
                    <a:pt x="76" y="232"/>
                  </a:lnTo>
                  <a:lnTo>
                    <a:pt x="76" y="233"/>
                  </a:lnTo>
                  <a:lnTo>
                    <a:pt x="72" y="235"/>
                  </a:lnTo>
                  <a:lnTo>
                    <a:pt x="71" y="235"/>
                  </a:lnTo>
                  <a:lnTo>
                    <a:pt x="69" y="235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9"/>
                  </a:lnTo>
                  <a:lnTo>
                    <a:pt x="67" y="239"/>
                  </a:lnTo>
                  <a:lnTo>
                    <a:pt x="65" y="239"/>
                  </a:lnTo>
                  <a:lnTo>
                    <a:pt x="63" y="239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9"/>
                  </a:lnTo>
                  <a:lnTo>
                    <a:pt x="60" y="239"/>
                  </a:lnTo>
                  <a:lnTo>
                    <a:pt x="60" y="239"/>
                  </a:lnTo>
                  <a:lnTo>
                    <a:pt x="60" y="241"/>
                  </a:lnTo>
                  <a:lnTo>
                    <a:pt x="60" y="242"/>
                  </a:lnTo>
                  <a:lnTo>
                    <a:pt x="60" y="242"/>
                  </a:lnTo>
                  <a:lnTo>
                    <a:pt x="63" y="244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2" y="250"/>
                  </a:lnTo>
                  <a:lnTo>
                    <a:pt x="62" y="250"/>
                  </a:lnTo>
                  <a:lnTo>
                    <a:pt x="62" y="251"/>
                  </a:lnTo>
                  <a:lnTo>
                    <a:pt x="62" y="251"/>
                  </a:lnTo>
                  <a:lnTo>
                    <a:pt x="62" y="253"/>
                  </a:lnTo>
                  <a:lnTo>
                    <a:pt x="63" y="253"/>
                  </a:lnTo>
                  <a:lnTo>
                    <a:pt x="65" y="255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9" y="260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71" y="268"/>
                  </a:lnTo>
                  <a:lnTo>
                    <a:pt x="71" y="268"/>
                  </a:lnTo>
                  <a:lnTo>
                    <a:pt x="71" y="268"/>
                  </a:lnTo>
                  <a:lnTo>
                    <a:pt x="74" y="268"/>
                  </a:lnTo>
                  <a:lnTo>
                    <a:pt x="76" y="268"/>
                  </a:lnTo>
                  <a:lnTo>
                    <a:pt x="81" y="273"/>
                  </a:lnTo>
                  <a:lnTo>
                    <a:pt x="81" y="273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5" y="280"/>
                  </a:lnTo>
                  <a:lnTo>
                    <a:pt x="85" y="282"/>
                  </a:lnTo>
                  <a:lnTo>
                    <a:pt x="87" y="282"/>
                  </a:lnTo>
                  <a:lnTo>
                    <a:pt x="87" y="284"/>
                  </a:lnTo>
                  <a:lnTo>
                    <a:pt x="87" y="286"/>
                  </a:lnTo>
                  <a:lnTo>
                    <a:pt x="89" y="289"/>
                  </a:lnTo>
                  <a:lnTo>
                    <a:pt x="89" y="291"/>
                  </a:lnTo>
                  <a:lnTo>
                    <a:pt x="89" y="293"/>
                  </a:lnTo>
                  <a:lnTo>
                    <a:pt x="89" y="293"/>
                  </a:lnTo>
                  <a:lnTo>
                    <a:pt x="89" y="295"/>
                  </a:lnTo>
                  <a:lnTo>
                    <a:pt x="87" y="295"/>
                  </a:lnTo>
                  <a:lnTo>
                    <a:pt x="87" y="295"/>
                  </a:lnTo>
                  <a:lnTo>
                    <a:pt x="87" y="295"/>
                  </a:lnTo>
                  <a:lnTo>
                    <a:pt x="87" y="297"/>
                  </a:lnTo>
                  <a:lnTo>
                    <a:pt x="87" y="297"/>
                  </a:lnTo>
                  <a:lnTo>
                    <a:pt x="87" y="298"/>
                  </a:lnTo>
                  <a:lnTo>
                    <a:pt x="87" y="298"/>
                  </a:lnTo>
                  <a:lnTo>
                    <a:pt x="89" y="300"/>
                  </a:lnTo>
                  <a:lnTo>
                    <a:pt x="89" y="300"/>
                  </a:lnTo>
                  <a:lnTo>
                    <a:pt x="89" y="300"/>
                  </a:lnTo>
                  <a:lnTo>
                    <a:pt x="90" y="300"/>
                  </a:lnTo>
                  <a:lnTo>
                    <a:pt x="90" y="298"/>
                  </a:lnTo>
                  <a:lnTo>
                    <a:pt x="90" y="298"/>
                  </a:lnTo>
                  <a:lnTo>
                    <a:pt x="90" y="298"/>
                  </a:lnTo>
                  <a:lnTo>
                    <a:pt x="92" y="300"/>
                  </a:lnTo>
                  <a:lnTo>
                    <a:pt x="92" y="300"/>
                  </a:lnTo>
                  <a:lnTo>
                    <a:pt x="94" y="300"/>
                  </a:lnTo>
                  <a:lnTo>
                    <a:pt x="94" y="298"/>
                  </a:lnTo>
                  <a:lnTo>
                    <a:pt x="94" y="298"/>
                  </a:lnTo>
                  <a:lnTo>
                    <a:pt x="96" y="297"/>
                  </a:lnTo>
                  <a:lnTo>
                    <a:pt x="96" y="297"/>
                  </a:lnTo>
                  <a:lnTo>
                    <a:pt x="96" y="297"/>
                  </a:lnTo>
                  <a:lnTo>
                    <a:pt x="96" y="295"/>
                  </a:lnTo>
                  <a:lnTo>
                    <a:pt x="96" y="293"/>
                  </a:lnTo>
                  <a:lnTo>
                    <a:pt x="96" y="291"/>
                  </a:lnTo>
                  <a:lnTo>
                    <a:pt x="96" y="289"/>
                  </a:lnTo>
                  <a:lnTo>
                    <a:pt x="96" y="288"/>
                  </a:lnTo>
                  <a:lnTo>
                    <a:pt x="96" y="286"/>
                  </a:lnTo>
                  <a:lnTo>
                    <a:pt x="98" y="284"/>
                  </a:lnTo>
                  <a:lnTo>
                    <a:pt x="100" y="284"/>
                  </a:lnTo>
                  <a:lnTo>
                    <a:pt x="103" y="282"/>
                  </a:lnTo>
                  <a:lnTo>
                    <a:pt x="107" y="280"/>
                  </a:lnTo>
                  <a:lnTo>
                    <a:pt x="109" y="280"/>
                  </a:lnTo>
                  <a:lnTo>
                    <a:pt x="110" y="280"/>
                  </a:lnTo>
                  <a:lnTo>
                    <a:pt x="110" y="279"/>
                  </a:lnTo>
                  <a:lnTo>
                    <a:pt x="112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8" y="279"/>
                  </a:lnTo>
                  <a:lnTo>
                    <a:pt x="119" y="280"/>
                  </a:lnTo>
                  <a:lnTo>
                    <a:pt x="119" y="282"/>
                  </a:lnTo>
                  <a:lnTo>
                    <a:pt x="119" y="282"/>
                  </a:lnTo>
                  <a:lnTo>
                    <a:pt x="119" y="282"/>
                  </a:lnTo>
                  <a:lnTo>
                    <a:pt x="121" y="284"/>
                  </a:lnTo>
                  <a:lnTo>
                    <a:pt x="121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2"/>
                  </a:lnTo>
                  <a:lnTo>
                    <a:pt x="123" y="282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3" y="280"/>
                  </a:lnTo>
                  <a:lnTo>
                    <a:pt x="127" y="275"/>
                  </a:lnTo>
                  <a:lnTo>
                    <a:pt x="127" y="275"/>
                  </a:lnTo>
                  <a:lnTo>
                    <a:pt x="127" y="275"/>
                  </a:lnTo>
                  <a:lnTo>
                    <a:pt x="128" y="275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0" y="273"/>
                  </a:lnTo>
                  <a:lnTo>
                    <a:pt x="130" y="273"/>
                  </a:lnTo>
                  <a:lnTo>
                    <a:pt x="130" y="273"/>
                  </a:lnTo>
                  <a:lnTo>
                    <a:pt x="132" y="273"/>
                  </a:lnTo>
                  <a:lnTo>
                    <a:pt x="132" y="273"/>
                  </a:lnTo>
                  <a:lnTo>
                    <a:pt x="132" y="273"/>
                  </a:lnTo>
                  <a:lnTo>
                    <a:pt x="132" y="273"/>
                  </a:lnTo>
                  <a:lnTo>
                    <a:pt x="134" y="273"/>
                  </a:lnTo>
                  <a:lnTo>
                    <a:pt x="134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7" y="273"/>
                  </a:lnTo>
                  <a:lnTo>
                    <a:pt x="139" y="273"/>
                  </a:lnTo>
                  <a:lnTo>
                    <a:pt x="141" y="273"/>
                  </a:lnTo>
                  <a:lnTo>
                    <a:pt x="143" y="273"/>
                  </a:lnTo>
                  <a:lnTo>
                    <a:pt x="143" y="273"/>
                  </a:lnTo>
                  <a:lnTo>
                    <a:pt x="143" y="273"/>
                  </a:lnTo>
                  <a:lnTo>
                    <a:pt x="145" y="273"/>
                  </a:lnTo>
                  <a:lnTo>
                    <a:pt x="145" y="271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2" y="270"/>
                  </a:lnTo>
                  <a:lnTo>
                    <a:pt x="152" y="270"/>
                  </a:lnTo>
                  <a:lnTo>
                    <a:pt x="154" y="268"/>
                  </a:lnTo>
                  <a:lnTo>
                    <a:pt x="155" y="268"/>
                  </a:lnTo>
                  <a:lnTo>
                    <a:pt x="155" y="268"/>
                  </a:lnTo>
                  <a:lnTo>
                    <a:pt x="159" y="270"/>
                  </a:lnTo>
                  <a:lnTo>
                    <a:pt x="159" y="270"/>
                  </a:lnTo>
                  <a:lnTo>
                    <a:pt x="161" y="270"/>
                  </a:lnTo>
                  <a:lnTo>
                    <a:pt x="161" y="270"/>
                  </a:lnTo>
                  <a:lnTo>
                    <a:pt x="163" y="270"/>
                  </a:lnTo>
                  <a:lnTo>
                    <a:pt x="170" y="266"/>
                  </a:lnTo>
                  <a:lnTo>
                    <a:pt x="172" y="264"/>
                  </a:lnTo>
                  <a:lnTo>
                    <a:pt x="172" y="264"/>
                  </a:lnTo>
                  <a:lnTo>
                    <a:pt x="172" y="266"/>
                  </a:lnTo>
                  <a:lnTo>
                    <a:pt x="172" y="266"/>
                  </a:lnTo>
                  <a:lnTo>
                    <a:pt x="172" y="266"/>
                  </a:lnTo>
                  <a:lnTo>
                    <a:pt x="174" y="268"/>
                  </a:lnTo>
                  <a:lnTo>
                    <a:pt x="174" y="268"/>
                  </a:lnTo>
                  <a:lnTo>
                    <a:pt x="175" y="268"/>
                  </a:lnTo>
                  <a:lnTo>
                    <a:pt x="175" y="270"/>
                  </a:lnTo>
                  <a:lnTo>
                    <a:pt x="177" y="268"/>
                  </a:lnTo>
                  <a:lnTo>
                    <a:pt x="179" y="268"/>
                  </a:lnTo>
                  <a:lnTo>
                    <a:pt x="179" y="268"/>
                  </a:lnTo>
                  <a:lnTo>
                    <a:pt x="181" y="268"/>
                  </a:lnTo>
                  <a:lnTo>
                    <a:pt x="181" y="264"/>
                  </a:lnTo>
                  <a:lnTo>
                    <a:pt x="183" y="264"/>
                  </a:lnTo>
                  <a:lnTo>
                    <a:pt x="183" y="262"/>
                  </a:lnTo>
                  <a:lnTo>
                    <a:pt x="183" y="262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4" y="259"/>
                  </a:lnTo>
                  <a:lnTo>
                    <a:pt x="186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83" y="253"/>
                  </a:lnTo>
                  <a:lnTo>
                    <a:pt x="181" y="251"/>
                  </a:lnTo>
                  <a:lnTo>
                    <a:pt x="179" y="251"/>
                  </a:lnTo>
                  <a:lnTo>
                    <a:pt x="181" y="250"/>
                  </a:lnTo>
                  <a:lnTo>
                    <a:pt x="181" y="248"/>
                  </a:lnTo>
                  <a:lnTo>
                    <a:pt x="181" y="246"/>
                  </a:lnTo>
                  <a:lnTo>
                    <a:pt x="181" y="244"/>
                  </a:lnTo>
                  <a:lnTo>
                    <a:pt x="181" y="244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3" y="239"/>
                  </a:lnTo>
                  <a:lnTo>
                    <a:pt x="181" y="239"/>
                  </a:lnTo>
                  <a:lnTo>
                    <a:pt x="181" y="235"/>
                  </a:lnTo>
                  <a:lnTo>
                    <a:pt x="181" y="235"/>
                  </a:lnTo>
                  <a:lnTo>
                    <a:pt x="181" y="235"/>
                  </a:lnTo>
                  <a:lnTo>
                    <a:pt x="181" y="235"/>
                  </a:lnTo>
                  <a:lnTo>
                    <a:pt x="181" y="233"/>
                  </a:lnTo>
                  <a:lnTo>
                    <a:pt x="181" y="233"/>
                  </a:lnTo>
                  <a:lnTo>
                    <a:pt x="183" y="233"/>
                  </a:lnTo>
                  <a:lnTo>
                    <a:pt x="183" y="233"/>
                  </a:lnTo>
                  <a:lnTo>
                    <a:pt x="183" y="232"/>
                  </a:lnTo>
                  <a:lnTo>
                    <a:pt x="184" y="232"/>
                  </a:lnTo>
                  <a:lnTo>
                    <a:pt x="184" y="232"/>
                  </a:lnTo>
                  <a:lnTo>
                    <a:pt x="186" y="232"/>
                  </a:lnTo>
                  <a:lnTo>
                    <a:pt x="186" y="232"/>
                  </a:lnTo>
                  <a:lnTo>
                    <a:pt x="186" y="232"/>
                  </a:lnTo>
                  <a:lnTo>
                    <a:pt x="186" y="230"/>
                  </a:lnTo>
                  <a:lnTo>
                    <a:pt x="186" y="230"/>
                  </a:lnTo>
                  <a:lnTo>
                    <a:pt x="188" y="230"/>
                  </a:lnTo>
                  <a:lnTo>
                    <a:pt x="192" y="232"/>
                  </a:lnTo>
                  <a:lnTo>
                    <a:pt x="193" y="230"/>
                  </a:lnTo>
                  <a:lnTo>
                    <a:pt x="195" y="230"/>
                  </a:lnTo>
                  <a:lnTo>
                    <a:pt x="195" y="230"/>
                  </a:lnTo>
                  <a:lnTo>
                    <a:pt x="195" y="230"/>
                  </a:lnTo>
                  <a:lnTo>
                    <a:pt x="195" y="228"/>
                  </a:lnTo>
                  <a:lnTo>
                    <a:pt x="197" y="224"/>
                  </a:lnTo>
                  <a:lnTo>
                    <a:pt x="197" y="224"/>
                  </a:lnTo>
                  <a:lnTo>
                    <a:pt x="197" y="224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201" y="223"/>
                  </a:lnTo>
                  <a:lnTo>
                    <a:pt x="201" y="223"/>
                  </a:lnTo>
                  <a:lnTo>
                    <a:pt x="201" y="223"/>
                  </a:lnTo>
                  <a:lnTo>
                    <a:pt x="201" y="223"/>
                  </a:lnTo>
                  <a:lnTo>
                    <a:pt x="201" y="221"/>
                  </a:lnTo>
                  <a:lnTo>
                    <a:pt x="202" y="219"/>
                  </a:lnTo>
                  <a:lnTo>
                    <a:pt x="202" y="219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6" y="217"/>
                  </a:lnTo>
                  <a:lnTo>
                    <a:pt x="206" y="215"/>
                  </a:lnTo>
                  <a:lnTo>
                    <a:pt x="208" y="212"/>
                  </a:lnTo>
                  <a:lnTo>
                    <a:pt x="208" y="210"/>
                  </a:lnTo>
                  <a:lnTo>
                    <a:pt x="208" y="21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9718926A-CD54-7C55-054C-D8FFC0A8AF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26450" y="280988"/>
              <a:ext cx="3362325" cy="4725988"/>
            </a:xfrm>
            <a:custGeom>
              <a:avLst/>
              <a:gdLst>
                <a:gd name="T0" fmla="*/ 1526 w 2118"/>
                <a:gd name="T1" fmla="*/ 419 h 2977"/>
                <a:gd name="T2" fmla="*/ 96 w 2118"/>
                <a:gd name="T3" fmla="*/ 1918 h 2977"/>
                <a:gd name="T4" fmla="*/ 155 w 2118"/>
                <a:gd name="T5" fmla="*/ 1972 h 2977"/>
                <a:gd name="T6" fmla="*/ 1636 w 2118"/>
                <a:gd name="T7" fmla="*/ 29 h 2977"/>
                <a:gd name="T8" fmla="*/ 1721 w 2118"/>
                <a:gd name="T9" fmla="*/ 92 h 2977"/>
                <a:gd name="T10" fmla="*/ 1755 w 2118"/>
                <a:gd name="T11" fmla="*/ 168 h 2977"/>
                <a:gd name="T12" fmla="*/ 1842 w 2118"/>
                <a:gd name="T13" fmla="*/ 188 h 2977"/>
                <a:gd name="T14" fmla="*/ 1864 w 2118"/>
                <a:gd name="T15" fmla="*/ 126 h 2977"/>
                <a:gd name="T16" fmla="*/ 2043 w 2118"/>
                <a:gd name="T17" fmla="*/ 276 h 2977"/>
                <a:gd name="T18" fmla="*/ 1672 w 2118"/>
                <a:gd name="T19" fmla="*/ 77 h 2977"/>
                <a:gd name="T20" fmla="*/ 825 w 2118"/>
                <a:gd name="T21" fmla="*/ 912 h 2977"/>
                <a:gd name="T22" fmla="*/ 2118 w 2118"/>
                <a:gd name="T23" fmla="*/ 307 h 2977"/>
                <a:gd name="T24" fmla="*/ 1978 w 2118"/>
                <a:gd name="T25" fmla="*/ 478 h 2977"/>
                <a:gd name="T26" fmla="*/ 1770 w 2118"/>
                <a:gd name="T27" fmla="*/ 497 h 2977"/>
                <a:gd name="T28" fmla="*/ 1728 w 2118"/>
                <a:gd name="T29" fmla="*/ 413 h 2977"/>
                <a:gd name="T30" fmla="*/ 1465 w 2118"/>
                <a:gd name="T31" fmla="*/ 569 h 2977"/>
                <a:gd name="T32" fmla="*/ 1304 w 2118"/>
                <a:gd name="T33" fmla="*/ 670 h 2977"/>
                <a:gd name="T34" fmla="*/ 1239 w 2118"/>
                <a:gd name="T35" fmla="*/ 543 h 2977"/>
                <a:gd name="T36" fmla="*/ 1223 w 2118"/>
                <a:gd name="T37" fmla="*/ 805 h 2977"/>
                <a:gd name="T38" fmla="*/ 1042 w 2118"/>
                <a:gd name="T39" fmla="*/ 959 h 2977"/>
                <a:gd name="T40" fmla="*/ 856 w 2118"/>
                <a:gd name="T41" fmla="*/ 934 h 2977"/>
                <a:gd name="T42" fmla="*/ 816 w 2118"/>
                <a:gd name="T43" fmla="*/ 1013 h 2977"/>
                <a:gd name="T44" fmla="*/ 739 w 2118"/>
                <a:gd name="T45" fmla="*/ 878 h 2977"/>
                <a:gd name="T46" fmla="*/ 703 w 2118"/>
                <a:gd name="T47" fmla="*/ 760 h 2977"/>
                <a:gd name="T48" fmla="*/ 614 w 2118"/>
                <a:gd name="T49" fmla="*/ 661 h 2977"/>
                <a:gd name="T50" fmla="*/ 806 w 2118"/>
                <a:gd name="T51" fmla="*/ 758 h 2977"/>
                <a:gd name="T52" fmla="*/ 1049 w 2118"/>
                <a:gd name="T53" fmla="*/ 576 h 2977"/>
                <a:gd name="T54" fmla="*/ 881 w 2118"/>
                <a:gd name="T55" fmla="*/ 435 h 2977"/>
                <a:gd name="T56" fmla="*/ 686 w 2118"/>
                <a:gd name="T57" fmla="*/ 381 h 2977"/>
                <a:gd name="T58" fmla="*/ 630 w 2118"/>
                <a:gd name="T59" fmla="*/ 318 h 2977"/>
                <a:gd name="T60" fmla="*/ 545 w 2118"/>
                <a:gd name="T61" fmla="*/ 338 h 2977"/>
                <a:gd name="T62" fmla="*/ 509 w 2118"/>
                <a:gd name="T63" fmla="*/ 849 h 2977"/>
                <a:gd name="T64" fmla="*/ 585 w 2118"/>
                <a:gd name="T65" fmla="*/ 1203 h 2977"/>
                <a:gd name="T66" fmla="*/ 453 w 2118"/>
                <a:gd name="T67" fmla="*/ 1414 h 2977"/>
                <a:gd name="T68" fmla="*/ 421 w 2118"/>
                <a:gd name="T69" fmla="*/ 1501 h 2977"/>
                <a:gd name="T70" fmla="*/ 408 w 2118"/>
                <a:gd name="T71" fmla="*/ 1770 h 2977"/>
                <a:gd name="T72" fmla="*/ 555 w 2118"/>
                <a:gd name="T73" fmla="*/ 1878 h 2977"/>
                <a:gd name="T74" fmla="*/ 639 w 2118"/>
                <a:gd name="T75" fmla="*/ 2046 h 2977"/>
                <a:gd name="T76" fmla="*/ 598 w 2118"/>
                <a:gd name="T77" fmla="*/ 2137 h 2977"/>
                <a:gd name="T78" fmla="*/ 726 w 2118"/>
                <a:gd name="T79" fmla="*/ 2189 h 2977"/>
                <a:gd name="T80" fmla="*/ 795 w 2118"/>
                <a:gd name="T81" fmla="*/ 2310 h 2977"/>
                <a:gd name="T82" fmla="*/ 977 w 2118"/>
                <a:gd name="T83" fmla="*/ 2359 h 2977"/>
                <a:gd name="T84" fmla="*/ 1017 w 2118"/>
                <a:gd name="T85" fmla="*/ 2483 h 2977"/>
                <a:gd name="T86" fmla="*/ 964 w 2118"/>
                <a:gd name="T87" fmla="*/ 2561 h 2977"/>
                <a:gd name="T88" fmla="*/ 914 w 2118"/>
                <a:gd name="T89" fmla="*/ 2612 h 2977"/>
                <a:gd name="T90" fmla="*/ 903 w 2118"/>
                <a:gd name="T91" fmla="*/ 2680 h 2977"/>
                <a:gd name="T92" fmla="*/ 856 w 2118"/>
                <a:gd name="T93" fmla="*/ 2691 h 2977"/>
                <a:gd name="T94" fmla="*/ 961 w 2118"/>
                <a:gd name="T95" fmla="*/ 2769 h 2977"/>
                <a:gd name="T96" fmla="*/ 1217 w 2118"/>
                <a:gd name="T97" fmla="*/ 2884 h 2977"/>
                <a:gd name="T98" fmla="*/ 1380 w 2118"/>
                <a:gd name="T99" fmla="*/ 2953 h 2977"/>
                <a:gd name="T100" fmla="*/ 1400 w 2118"/>
                <a:gd name="T101" fmla="*/ 2812 h 2977"/>
                <a:gd name="T102" fmla="*/ 1373 w 2118"/>
                <a:gd name="T103" fmla="*/ 2727 h 2977"/>
                <a:gd name="T104" fmla="*/ 1401 w 2118"/>
                <a:gd name="T105" fmla="*/ 2664 h 2977"/>
                <a:gd name="T106" fmla="*/ 1459 w 2118"/>
                <a:gd name="T107" fmla="*/ 2648 h 2977"/>
                <a:gd name="T108" fmla="*/ 1459 w 2118"/>
                <a:gd name="T109" fmla="*/ 2595 h 2977"/>
                <a:gd name="T110" fmla="*/ 1429 w 2118"/>
                <a:gd name="T111" fmla="*/ 2344 h 2977"/>
                <a:gd name="T112" fmla="*/ 1591 w 2118"/>
                <a:gd name="T113" fmla="*/ 2220 h 2977"/>
                <a:gd name="T114" fmla="*/ 1726 w 2118"/>
                <a:gd name="T115" fmla="*/ 2259 h 2977"/>
                <a:gd name="T116" fmla="*/ 1867 w 2118"/>
                <a:gd name="T117" fmla="*/ 2263 h 2977"/>
                <a:gd name="T118" fmla="*/ 2019 w 2118"/>
                <a:gd name="T119" fmla="*/ 2287 h 2977"/>
                <a:gd name="T120" fmla="*/ 2057 w 2118"/>
                <a:gd name="T121" fmla="*/ 2135 h 2977"/>
                <a:gd name="T122" fmla="*/ 2084 w 2118"/>
                <a:gd name="T123" fmla="*/ 2026 h 2977"/>
                <a:gd name="T124" fmla="*/ 813 w 2118"/>
                <a:gd name="T125" fmla="*/ 928 h 2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8" h="2977">
                  <a:moveTo>
                    <a:pt x="1513" y="428"/>
                  </a:moveTo>
                  <a:lnTo>
                    <a:pt x="1512" y="430"/>
                  </a:lnTo>
                  <a:lnTo>
                    <a:pt x="1510" y="430"/>
                  </a:lnTo>
                  <a:lnTo>
                    <a:pt x="1510" y="431"/>
                  </a:lnTo>
                  <a:lnTo>
                    <a:pt x="1510" y="431"/>
                  </a:lnTo>
                  <a:lnTo>
                    <a:pt x="1512" y="430"/>
                  </a:lnTo>
                  <a:lnTo>
                    <a:pt x="1513" y="428"/>
                  </a:lnTo>
                  <a:lnTo>
                    <a:pt x="1513" y="426"/>
                  </a:lnTo>
                  <a:lnTo>
                    <a:pt x="1513" y="428"/>
                  </a:lnTo>
                  <a:lnTo>
                    <a:pt x="1513" y="428"/>
                  </a:lnTo>
                  <a:close/>
                  <a:moveTo>
                    <a:pt x="1434" y="415"/>
                  </a:moveTo>
                  <a:lnTo>
                    <a:pt x="1434" y="415"/>
                  </a:lnTo>
                  <a:lnTo>
                    <a:pt x="1434" y="415"/>
                  </a:lnTo>
                  <a:lnTo>
                    <a:pt x="1434" y="413"/>
                  </a:lnTo>
                  <a:lnTo>
                    <a:pt x="1436" y="415"/>
                  </a:lnTo>
                  <a:lnTo>
                    <a:pt x="1434" y="417"/>
                  </a:lnTo>
                  <a:lnTo>
                    <a:pt x="1434" y="419"/>
                  </a:lnTo>
                  <a:lnTo>
                    <a:pt x="1434" y="421"/>
                  </a:lnTo>
                  <a:lnTo>
                    <a:pt x="1434" y="424"/>
                  </a:lnTo>
                  <a:lnTo>
                    <a:pt x="1432" y="426"/>
                  </a:lnTo>
                  <a:lnTo>
                    <a:pt x="1432" y="428"/>
                  </a:lnTo>
                  <a:lnTo>
                    <a:pt x="1434" y="430"/>
                  </a:lnTo>
                  <a:lnTo>
                    <a:pt x="1434" y="430"/>
                  </a:lnTo>
                  <a:lnTo>
                    <a:pt x="1436" y="428"/>
                  </a:lnTo>
                  <a:lnTo>
                    <a:pt x="1436" y="428"/>
                  </a:lnTo>
                  <a:lnTo>
                    <a:pt x="1438" y="428"/>
                  </a:lnTo>
                  <a:lnTo>
                    <a:pt x="1438" y="430"/>
                  </a:lnTo>
                  <a:lnTo>
                    <a:pt x="1439" y="430"/>
                  </a:lnTo>
                  <a:lnTo>
                    <a:pt x="1438" y="430"/>
                  </a:lnTo>
                  <a:lnTo>
                    <a:pt x="1436" y="431"/>
                  </a:lnTo>
                  <a:lnTo>
                    <a:pt x="1438" y="435"/>
                  </a:lnTo>
                  <a:lnTo>
                    <a:pt x="1439" y="435"/>
                  </a:lnTo>
                  <a:lnTo>
                    <a:pt x="1439" y="435"/>
                  </a:lnTo>
                  <a:lnTo>
                    <a:pt x="1441" y="439"/>
                  </a:lnTo>
                  <a:lnTo>
                    <a:pt x="1441" y="439"/>
                  </a:lnTo>
                  <a:lnTo>
                    <a:pt x="1443" y="441"/>
                  </a:lnTo>
                  <a:lnTo>
                    <a:pt x="1448" y="444"/>
                  </a:lnTo>
                  <a:lnTo>
                    <a:pt x="1450" y="450"/>
                  </a:lnTo>
                  <a:lnTo>
                    <a:pt x="1452" y="451"/>
                  </a:lnTo>
                  <a:lnTo>
                    <a:pt x="1456" y="451"/>
                  </a:lnTo>
                  <a:lnTo>
                    <a:pt x="1457" y="450"/>
                  </a:lnTo>
                  <a:lnTo>
                    <a:pt x="1457" y="448"/>
                  </a:lnTo>
                  <a:lnTo>
                    <a:pt x="1457" y="448"/>
                  </a:lnTo>
                  <a:lnTo>
                    <a:pt x="1459" y="448"/>
                  </a:lnTo>
                  <a:lnTo>
                    <a:pt x="1459" y="448"/>
                  </a:lnTo>
                  <a:lnTo>
                    <a:pt x="1459" y="450"/>
                  </a:lnTo>
                  <a:lnTo>
                    <a:pt x="1461" y="450"/>
                  </a:lnTo>
                  <a:lnTo>
                    <a:pt x="1461" y="451"/>
                  </a:lnTo>
                  <a:lnTo>
                    <a:pt x="1461" y="451"/>
                  </a:lnTo>
                  <a:lnTo>
                    <a:pt x="1485" y="444"/>
                  </a:lnTo>
                  <a:lnTo>
                    <a:pt x="1488" y="441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94" y="441"/>
                  </a:lnTo>
                  <a:lnTo>
                    <a:pt x="1499" y="437"/>
                  </a:lnTo>
                  <a:lnTo>
                    <a:pt x="1503" y="431"/>
                  </a:lnTo>
                  <a:lnTo>
                    <a:pt x="1504" y="431"/>
                  </a:lnTo>
                  <a:lnTo>
                    <a:pt x="1506" y="430"/>
                  </a:lnTo>
                  <a:lnTo>
                    <a:pt x="1508" y="430"/>
                  </a:lnTo>
                  <a:lnTo>
                    <a:pt x="1513" y="419"/>
                  </a:lnTo>
                  <a:lnTo>
                    <a:pt x="1517" y="415"/>
                  </a:lnTo>
                  <a:lnTo>
                    <a:pt x="1517" y="413"/>
                  </a:lnTo>
                  <a:lnTo>
                    <a:pt x="1517" y="412"/>
                  </a:lnTo>
                  <a:lnTo>
                    <a:pt x="1517" y="412"/>
                  </a:lnTo>
                  <a:lnTo>
                    <a:pt x="1515" y="412"/>
                  </a:lnTo>
                  <a:lnTo>
                    <a:pt x="1515" y="410"/>
                  </a:lnTo>
                  <a:lnTo>
                    <a:pt x="1521" y="403"/>
                  </a:lnTo>
                  <a:lnTo>
                    <a:pt x="1521" y="403"/>
                  </a:lnTo>
                  <a:lnTo>
                    <a:pt x="1522" y="401"/>
                  </a:lnTo>
                  <a:lnTo>
                    <a:pt x="1530" y="394"/>
                  </a:lnTo>
                  <a:lnTo>
                    <a:pt x="1531" y="392"/>
                  </a:lnTo>
                  <a:lnTo>
                    <a:pt x="1533" y="392"/>
                  </a:lnTo>
                  <a:lnTo>
                    <a:pt x="1533" y="392"/>
                  </a:lnTo>
                  <a:lnTo>
                    <a:pt x="1533" y="394"/>
                  </a:lnTo>
                  <a:lnTo>
                    <a:pt x="1531" y="399"/>
                  </a:lnTo>
                  <a:lnTo>
                    <a:pt x="1530" y="404"/>
                  </a:lnTo>
                  <a:lnTo>
                    <a:pt x="1528" y="408"/>
                  </a:lnTo>
                  <a:lnTo>
                    <a:pt x="1530" y="412"/>
                  </a:lnTo>
                  <a:lnTo>
                    <a:pt x="1528" y="412"/>
                  </a:lnTo>
                  <a:lnTo>
                    <a:pt x="1528" y="413"/>
                  </a:lnTo>
                  <a:lnTo>
                    <a:pt x="1528" y="413"/>
                  </a:lnTo>
                  <a:lnTo>
                    <a:pt x="1531" y="412"/>
                  </a:lnTo>
                  <a:lnTo>
                    <a:pt x="1535" y="406"/>
                  </a:lnTo>
                  <a:lnTo>
                    <a:pt x="1537" y="399"/>
                  </a:lnTo>
                  <a:lnTo>
                    <a:pt x="1539" y="392"/>
                  </a:lnTo>
                  <a:lnTo>
                    <a:pt x="1535" y="386"/>
                  </a:lnTo>
                  <a:lnTo>
                    <a:pt x="1533" y="381"/>
                  </a:lnTo>
                  <a:lnTo>
                    <a:pt x="1530" y="377"/>
                  </a:lnTo>
                  <a:lnTo>
                    <a:pt x="1522" y="372"/>
                  </a:lnTo>
                  <a:lnTo>
                    <a:pt x="1506" y="357"/>
                  </a:lnTo>
                  <a:lnTo>
                    <a:pt x="1486" y="341"/>
                  </a:lnTo>
                  <a:lnTo>
                    <a:pt x="1475" y="341"/>
                  </a:lnTo>
                  <a:lnTo>
                    <a:pt x="1468" y="341"/>
                  </a:lnTo>
                  <a:lnTo>
                    <a:pt x="1463" y="345"/>
                  </a:lnTo>
                  <a:lnTo>
                    <a:pt x="1450" y="354"/>
                  </a:lnTo>
                  <a:lnTo>
                    <a:pt x="1448" y="359"/>
                  </a:lnTo>
                  <a:lnTo>
                    <a:pt x="1445" y="361"/>
                  </a:lnTo>
                  <a:lnTo>
                    <a:pt x="1443" y="363"/>
                  </a:lnTo>
                  <a:lnTo>
                    <a:pt x="1443" y="366"/>
                  </a:lnTo>
                  <a:lnTo>
                    <a:pt x="1439" y="372"/>
                  </a:lnTo>
                  <a:lnTo>
                    <a:pt x="1438" y="375"/>
                  </a:lnTo>
                  <a:lnTo>
                    <a:pt x="1436" y="377"/>
                  </a:lnTo>
                  <a:lnTo>
                    <a:pt x="1436" y="383"/>
                  </a:lnTo>
                  <a:lnTo>
                    <a:pt x="1436" y="386"/>
                  </a:lnTo>
                  <a:lnTo>
                    <a:pt x="1436" y="388"/>
                  </a:lnTo>
                  <a:lnTo>
                    <a:pt x="1436" y="390"/>
                  </a:lnTo>
                  <a:lnTo>
                    <a:pt x="1436" y="394"/>
                  </a:lnTo>
                  <a:lnTo>
                    <a:pt x="1436" y="395"/>
                  </a:lnTo>
                  <a:lnTo>
                    <a:pt x="1436" y="397"/>
                  </a:lnTo>
                  <a:lnTo>
                    <a:pt x="1434" y="401"/>
                  </a:lnTo>
                  <a:lnTo>
                    <a:pt x="1432" y="404"/>
                  </a:lnTo>
                  <a:lnTo>
                    <a:pt x="1432" y="404"/>
                  </a:lnTo>
                  <a:lnTo>
                    <a:pt x="1432" y="404"/>
                  </a:lnTo>
                  <a:lnTo>
                    <a:pt x="1432" y="406"/>
                  </a:lnTo>
                  <a:lnTo>
                    <a:pt x="1434" y="406"/>
                  </a:lnTo>
                  <a:lnTo>
                    <a:pt x="1434" y="408"/>
                  </a:lnTo>
                  <a:lnTo>
                    <a:pt x="1434" y="412"/>
                  </a:lnTo>
                  <a:lnTo>
                    <a:pt x="1432" y="412"/>
                  </a:lnTo>
                  <a:lnTo>
                    <a:pt x="1432" y="413"/>
                  </a:lnTo>
                  <a:lnTo>
                    <a:pt x="1432" y="413"/>
                  </a:lnTo>
                  <a:lnTo>
                    <a:pt x="1432" y="413"/>
                  </a:lnTo>
                  <a:lnTo>
                    <a:pt x="1432" y="413"/>
                  </a:lnTo>
                  <a:lnTo>
                    <a:pt x="1434" y="415"/>
                  </a:lnTo>
                  <a:close/>
                  <a:moveTo>
                    <a:pt x="1526" y="421"/>
                  </a:moveTo>
                  <a:lnTo>
                    <a:pt x="1524" y="421"/>
                  </a:lnTo>
                  <a:lnTo>
                    <a:pt x="1522" y="422"/>
                  </a:lnTo>
                  <a:lnTo>
                    <a:pt x="1522" y="424"/>
                  </a:lnTo>
                  <a:lnTo>
                    <a:pt x="1526" y="422"/>
                  </a:lnTo>
                  <a:lnTo>
                    <a:pt x="1528" y="421"/>
                  </a:lnTo>
                  <a:lnTo>
                    <a:pt x="1528" y="419"/>
                  </a:lnTo>
                  <a:lnTo>
                    <a:pt x="1526" y="419"/>
                  </a:lnTo>
                  <a:lnTo>
                    <a:pt x="1526" y="419"/>
                  </a:lnTo>
                  <a:lnTo>
                    <a:pt x="1526" y="421"/>
                  </a:lnTo>
                  <a:close/>
                  <a:moveTo>
                    <a:pt x="1501" y="439"/>
                  </a:moveTo>
                  <a:lnTo>
                    <a:pt x="1499" y="441"/>
                  </a:lnTo>
                  <a:lnTo>
                    <a:pt x="1497" y="442"/>
                  </a:lnTo>
                  <a:lnTo>
                    <a:pt x="1497" y="444"/>
                  </a:lnTo>
                  <a:lnTo>
                    <a:pt x="1499" y="442"/>
                  </a:lnTo>
                  <a:lnTo>
                    <a:pt x="1501" y="441"/>
                  </a:lnTo>
                  <a:lnTo>
                    <a:pt x="1503" y="439"/>
                  </a:lnTo>
                  <a:lnTo>
                    <a:pt x="1503" y="439"/>
                  </a:lnTo>
                  <a:lnTo>
                    <a:pt x="1501" y="439"/>
                  </a:lnTo>
                  <a:lnTo>
                    <a:pt x="1501" y="439"/>
                  </a:lnTo>
                  <a:close/>
                  <a:moveTo>
                    <a:pt x="1564" y="498"/>
                  </a:moveTo>
                  <a:lnTo>
                    <a:pt x="1566" y="498"/>
                  </a:lnTo>
                  <a:lnTo>
                    <a:pt x="1568" y="497"/>
                  </a:lnTo>
                  <a:lnTo>
                    <a:pt x="1569" y="497"/>
                  </a:lnTo>
                  <a:lnTo>
                    <a:pt x="1573" y="493"/>
                  </a:lnTo>
                  <a:lnTo>
                    <a:pt x="1577" y="493"/>
                  </a:lnTo>
                  <a:lnTo>
                    <a:pt x="1580" y="489"/>
                  </a:lnTo>
                  <a:lnTo>
                    <a:pt x="1595" y="486"/>
                  </a:lnTo>
                  <a:lnTo>
                    <a:pt x="1596" y="484"/>
                  </a:lnTo>
                  <a:lnTo>
                    <a:pt x="1587" y="484"/>
                  </a:lnTo>
                  <a:lnTo>
                    <a:pt x="1580" y="482"/>
                  </a:lnTo>
                  <a:lnTo>
                    <a:pt x="1566" y="493"/>
                  </a:lnTo>
                  <a:lnTo>
                    <a:pt x="1564" y="497"/>
                  </a:lnTo>
                  <a:lnTo>
                    <a:pt x="1562" y="497"/>
                  </a:lnTo>
                  <a:lnTo>
                    <a:pt x="1562" y="498"/>
                  </a:lnTo>
                  <a:lnTo>
                    <a:pt x="1562" y="498"/>
                  </a:lnTo>
                  <a:lnTo>
                    <a:pt x="1564" y="498"/>
                  </a:lnTo>
                  <a:lnTo>
                    <a:pt x="1564" y="498"/>
                  </a:lnTo>
                  <a:close/>
                  <a:moveTo>
                    <a:pt x="1463" y="455"/>
                  </a:moveTo>
                  <a:lnTo>
                    <a:pt x="1461" y="455"/>
                  </a:lnTo>
                  <a:lnTo>
                    <a:pt x="1461" y="457"/>
                  </a:lnTo>
                  <a:lnTo>
                    <a:pt x="1477" y="460"/>
                  </a:lnTo>
                  <a:lnTo>
                    <a:pt x="1479" y="460"/>
                  </a:lnTo>
                  <a:lnTo>
                    <a:pt x="1475" y="459"/>
                  </a:lnTo>
                  <a:lnTo>
                    <a:pt x="1474" y="459"/>
                  </a:lnTo>
                  <a:lnTo>
                    <a:pt x="1463" y="455"/>
                  </a:lnTo>
                  <a:close/>
                  <a:moveTo>
                    <a:pt x="372" y="1466"/>
                  </a:moveTo>
                  <a:lnTo>
                    <a:pt x="372" y="1465"/>
                  </a:lnTo>
                  <a:lnTo>
                    <a:pt x="372" y="1465"/>
                  </a:lnTo>
                  <a:lnTo>
                    <a:pt x="370" y="1463"/>
                  </a:lnTo>
                  <a:lnTo>
                    <a:pt x="370" y="1463"/>
                  </a:lnTo>
                  <a:lnTo>
                    <a:pt x="370" y="1461"/>
                  </a:lnTo>
                  <a:lnTo>
                    <a:pt x="369" y="1459"/>
                  </a:lnTo>
                  <a:lnTo>
                    <a:pt x="369" y="1459"/>
                  </a:lnTo>
                  <a:lnTo>
                    <a:pt x="369" y="1461"/>
                  </a:lnTo>
                  <a:lnTo>
                    <a:pt x="369" y="1465"/>
                  </a:lnTo>
                  <a:lnTo>
                    <a:pt x="369" y="1465"/>
                  </a:lnTo>
                  <a:lnTo>
                    <a:pt x="369" y="1465"/>
                  </a:lnTo>
                  <a:lnTo>
                    <a:pt x="370" y="1466"/>
                  </a:lnTo>
                  <a:lnTo>
                    <a:pt x="370" y="1468"/>
                  </a:lnTo>
                  <a:lnTo>
                    <a:pt x="370" y="1468"/>
                  </a:lnTo>
                  <a:lnTo>
                    <a:pt x="372" y="1468"/>
                  </a:lnTo>
                  <a:lnTo>
                    <a:pt x="372" y="1468"/>
                  </a:lnTo>
                  <a:lnTo>
                    <a:pt x="372" y="1466"/>
                  </a:lnTo>
                  <a:lnTo>
                    <a:pt x="372" y="1466"/>
                  </a:lnTo>
                  <a:lnTo>
                    <a:pt x="372" y="1466"/>
                  </a:lnTo>
                  <a:close/>
                  <a:moveTo>
                    <a:pt x="722" y="365"/>
                  </a:moveTo>
                  <a:lnTo>
                    <a:pt x="741" y="366"/>
                  </a:lnTo>
                  <a:lnTo>
                    <a:pt x="742" y="365"/>
                  </a:lnTo>
                  <a:lnTo>
                    <a:pt x="731" y="356"/>
                  </a:lnTo>
                  <a:lnTo>
                    <a:pt x="728" y="357"/>
                  </a:lnTo>
                  <a:lnTo>
                    <a:pt x="722" y="357"/>
                  </a:lnTo>
                  <a:lnTo>
                    <a:pt x="721" y="359"/>
                  </a:lnTo>
                  <a:lnTo>
                    <a:pt x="721" y="359"/>
                  </a:lnTo>
                  <a:lnTo>
                    <a:pt x="721" y="361"/>
                  </a:lnTo>
                  <a:lnTo>
                    <a:pt x="721" y="363"/>
                  </a:lnTo>
                  <a:lnTo>
                    <a:pt x="722" y="365"/>
                  </a:lnTo>
                  <a:close/>
                  <a:moveTo>
                    <a:pt x="1145" y="719"/>
                  </a:moveTo>
                  <a:lnTo>
                    <a:pt x="1150" y="722"/>
                  </a:lnTo>
                  <a:lnTo>
                    <a:pt x="1154" y="724"/>
                  </a:lnTo>
                  <a:lnTo>
                    <a:pt x="1156" y="724"/>
                  </a:lnTo>
                  <a:lnTo>
                    <a:pt x="1156" y="722"/>
                  </a:lnTo>
                  <a:lnTo>
                    <a:pt x="1156" y="719"/>
                  </a:lnTo>
                  <a:lnTo>
                    <a:pt x="1156" y="717"/>
                  </a:lnTo>
                  <a:lnTo>
                    <a:pt x="1154" y="713"/>
                  </a:lnTo>
                  <a:lnTo>
                    <a:pt x="1154" y="711"/>
                  </a:lnTo>
                  <a:lnTo>
                    <a:pt x="1150" y="710"/>
                  </a:lnTo>
                  <a:lnTo>
                    <a:pt x="1149" y="710"/>
                  </a:lnTo>
                  <a:lnTo>
                    <a:pt x="1147" y="710"/>
                  </a:lnTo>
                  <a:lnTo>
                    <a:pt x="1145" y="710"/>
                  </a:lnTo>
                  <a:lnTo>
                    <a:pt x="1143" y="713"/>
                  </a:lnTo>
                  <a:lnTo>
                    <a:pt x="1143" y="715"/>
                  </a:lnTo>
                  <a:lnTo>
                    <a:pt x="1145" y="719"/>
                  </a:lnTo>
                  <a:close/>
                  <a:moveTo>
                    <a:pt x="163" y="1947"/>
                  </a:moveTo>
                  <a:lnTo>
                    <a:pt x="161" y="1945"/>
                  </a:lnTo>
                  <a:lnTo>
                    <a:pt x="161" y="1945"/>
                  </a:lnTo>
                  <a:lnTo>
                    <a:pt x="157" y="1943"/>
                  </a:lnTo>
                  <a:lnTo>
                    <a:pt x="157" y="1943"/>
                  </a:lnTo>
                  <a:lnTo>
                    <a:pt x="159" y="1942"/>
                  </a:lnTo>
                  <a:lnTo>
                    <a:pt x="157" y="1942"/>
                  </a:lnTo>
                  <a:lnTo>
                    <a:pt x="157" y="1942"/>
                  </a:lnTo>
                  <a:lnTo>
                    <a:pt x="157" y="1940"/>
                  </a:lnTo>
                  <a:lnTo>
                    <a:pt x="157" y="1940"/>
                  </a:lnTo>
                  <a:lnTo>
                    <a:pt x="155" y="1940"/>
                  </a:lnTo>
                  <a:lnTo>
                    <a:pt x="154" y="1940"/>
                  </a:lnTo>
                  <a:lnTo>
                    <a:pt x="152" y="1940"/>
                  </a:lnTo>
                  <a:lnTo>
                    <a:pt x="152" y="1938"/>
                  </a:lnTo>
                  <a:lnTo>
                    <a:pt x="152" y="1936"/>
                  </a:lnTo>
                  <a:lnTo>
                    <a:pt x="150" y="1933"/>
                  </a:lnTo>
                  <a:lnTo>
                    <a:pt x="150" y="1931"/>
                  </a:lnTo>
                  <a:lnTo>
                    <a:pt x="150" y="1931"/>
                  </a:lnTo>
                  <a:lnTo>
                    <a:pt x="148" y="1931"/>
                  </a:lnTo>
                  <a:lnTo>
                    <a:pt x="148" y="1929"/>
                  </a:lnTo>
                  <a:lnTo>
                    <a:pt x="143" y="1931"/>
                  </a:lnTo>
                  <a:lnTo>
                    <a:pt x="134" y="1929"/>
                  </a:lnTo>
                  <a:lnTo>
                    <a:pt x="134" y="1929"/>
                  </a:lnTo>
                  <a:lnTo>
                    <a:pt x="128" y="1931"/>
                  </a:lnTo>
                  <a:lnTo>
                    <a:pt x="127" y="1933"/>
                  </a:lnTo>
                  <a:lnTo>
                    <a:pt x="127" y="1933"/>
                  </a:lnTo>
                  <a:lnTo>
                    <a:pt x="125" y="1933"/>
                  </a:lnTo>
                  <a:lnTo>
                    <a:pt x="125" y="1933"/>
                  </a:lnTo>
                  <a:lnTo>
                    <a:pt x="123" y="1933"/>
                  </a:lnTo>
                  <a:lnTo>
                    <a:pt x="121" y="1933"/>
                  </a:lnTo>
                  <a:lnTo>
                    <a:pt x="121" y="1931"/>
                  </a:lnTo>
                  <a:lnTo>
                    <a:pt x="121" y="1929"/>
                  </a:lnTo>
                  <a:lnTo>
                    <a:pt x="121" y="1929"/>
                  </a:lnTo>
                  <a:lnTo>
                    <a:pt x="121" y="1927"/>
                  </a:lnTo>
                  <a:lnTo>
                    <a:pt x="119" y="1927"/>
                  </a:lnTo>
                  <a:lnTo>
                    <a:pt x="117" y="1929"/>
                  </a:lnTo>
                  <a:lnTo>
                    <a:pt x="117" y="1929"/>
                  </a:lnTo>
                  <a:lnTo>
                    <a:pt x="117" y="1929"/>
                  </a:lnTo>
                  <a:lnTo>
                    <a:pt x="116" y="1927"/>
                  </a:lnTo>
                  <a:lnTo>
                    <a:pt x="114" y="1927"/>
                  </a:lnTo>
                  <a:lnTo>
                    <a:pt x="114" y="1927"/>
                  </a:lnTo>
                  <a:lnTo>
                    <a:pt x="112" y="1925"/>
                  </a:lnTo>
                  <a:lnTo>
                    <a:pt x="108" y="1925"/>
                  </a:lnTo>
                  <a:lnTo>
                    <a:pt x="107" y="1923"/>
                  </a:lnTo>
                  <a:lnTo>
                    <a:pt x="107" y="1923"/>
                  </a:lnTo>
                  <a:lnTo>
                    <a:pt x="103" y="1920"/>
                  </a:lnTo>
                  <a:lnTo>
                    <a:pt x="101" y="1918"/>
                  </a:lnTo>
                  <a:lnTo>
                    <a:pt x="96" y="1918"/>
                  </a:lnTo>
                  <a:lnTo>
                    <a:pt x="94" y="1918"/>
                  </a:lnTo>
                  <a:lnTo>
                    <a:pt x="90" y="1913"/>
                  </a:lnTo>
                  <a:lnTo>
                    <a:pt x="89" y="1911"/>
                  </a:lnTo>
                  <a:lnTo>
                    <a:pt x="89" y="1911"/>
                  </a:lnTo>
                  <a:lnTo>
                    <a:pt x="83" y="1914"/>
                  </a:lnTo>
                  <a:lnTo>
                    <a:pt x="85" y="1914"/>
                  </a:lnTo>
                  <a:lnTo>
                    <a:pt x="85" y="1916"/>
                  </a:lnTo>
                  <a:lnTo>
                    <a:pt x="85" y="1916"/>
                  </a:lnTo>
                  <a:lnTo>
                    <a:pt x="83" y="1918"/>
                  </a:lnTo>
                  <a:lnTo>
                    <a:pt x="83" y="1918"/>
                  </a:lnTo>
                  <a:lnTo>
                    <a:pt x="83" y="1918"/>
                  </a:lnTo>
                  <a:lnTo>
                    <a:pt x="83" y="1918"/>
                  </a:lnTo>
                  <a:lnTo>
                    <a:pt x="81" y="1918"/>
                  </a:lnTo>
                  <a:lnTo>
                    <a:pt x="81" y="1918"/>
                  </a:lnTo>
                  <a:lnTo>
                    <a:pt x="81" y="1918"/>
                  </a:lnTo>
                  <a:lnTo>
                    <a:pt x="81" y="1916"/>
                  </a:lnTo>
                  <a:lnTo>
                    <a:pt x="80" y="1918"/>
                  </a:lnTo>
                  <a:lnTo>
                    <a:pt x="80" y="1918"/>
                  </a:lnTo>
                  <a:lnTo>
                    <a:pt x="80" y="1918"/>
                  </a:lnTo>
                  <a:lnTo>
                    <a:pt x="80" y="1922"/>
                  </a:lnTo>
                  <a:lnTo>
                    <a:pt x="80" y="1922"/>
                  </a:lnTo>
                  <a:lnTo>
                    <a:pt x="80" y="1923"/>
                  </a:lnTo>
                  <a:lnTo>
                    <a:pt x="80" y="1923"/>
                  </a:lnTo>
                  <a:lnTo>
                    <a:pt x="80" y="1923"/>
                  </a:lnTo>
                  <a:lnTo>
                    <a:pt x="81" y="1934"/>
                  </a:lnTo>
                  <a:lnTo>
                    <a:pt x="83" y="1938"/>
                  </a:lnTo>
                  <a:lnTo>
                    <a:pt x="83" y="1940"/>
                  </a:lnTo>
                  <a:lnTo>
                    <a:pt x="81" y="1942"/>
                  </a:lnTo>
                  <a:lnTo>
                    <a:pt x="80" y="1942"/>
                  </a:lnTo>
                  <a:lnTo>
                    <a:pt x="76" y="1943"/>
                  </a:lnTo>
                  <a:lnTo>
                    <a:pt x="76" y="1943"/>
                  </a:lnTo>
                  <a:lnTo>
                    <a:pt x="76" y="1943"/>
                  </a:lnTo>
                  <a:lnTo>
                    <a:pt x="74" y="1945"/>
                  </a:lnTo>
                  <a:lnTo>
                    <a:pt x="74" y="1945"/>
                  </a:lnTo>
                  <a:lnTo>
                    <a:pt x="74" y="1943"/>
                  </a:lnTo>
                  <a:lnTo>
                    <a:pt x="74" y="1943"/>
                  </a:lnTo>
                  <a:lnTo>
                    <a:pt x="74" y="1943"/>
                  </a:lnTo>
                  <a:lnTo>
                    <a:pt x="72" y="1943"/>
                  </a:lnTo>
                  <a:lnTo>
                    <a:pt x="72" y="1943"/>
                  </a:lnTo>
                  <a:lnTo>
                    <a:pt x="69" y="1945"/>
                  </a:lnTo>
                  <a:lnTo>
                    <a:pt x="63" y="1943"/>
                  </a:lnTo>
                  <a:lnTo>
                    <a:pt x="62" y="1942"/>
                  </a:lnTo>
                  <a:lnTo>
                    <a:pt x="58" y="1940"/>
                  </a:lnTo>
                  <a:lnTo>
                    <a:pt x="49" y="1942"/>
                  </a:lnTo>
                  <a:lnTo>
                    <a:pt x="49" y="1942"/>
                  </a:lnTo>
                  <a:lnTo>
                    <a:pt x="49" y="1940"/>
                  </a:lnTo>
                  <a:lnTo>
                    <a:pt x="47" y="1940"/>
                  </a:lnTo>
                  <a:lnTo>
                    <a:pt x="47" y="1940"/>
                  </a:lnTo>
                  <a:lnTo>
                    <a:pt x="47" y="1938"/>
                  </a:lnTo>
                  <a:lnTo>
                    <a:pt x="47" y="1938"/>
                  </a:lnTo>
                  <a:lnTo>
                    <a:pt x="47" y="1938"/>
                  </a:lnTo>
                  <a:lnTo>
                    <a:pt x="47" y="1938"/>
                  </a:lnTo>
                  <a:lnTo>
                    <a:pt x="49" y="1938"/>
                  </a:lnTo>
                  <a:lnTo>
                    <a:pt x="54" y="1931"/>
                  </a:lnTo>
                  <a:lnTo>
                    <a:pt x="60" y="1925"/>
                  </a:lnTo>
                  <a:lnTo>
                    <a:pt x="62" y="1923"/>
                  </a:lnTo>
                  <a:lnTo>
                    <a:pt x="62" y="1922"/>
                  </a:lnTo>
                  <a:lnTo>
                    <a:pt x="63" y="1920"/>
                  </a:lnTo>
                  <a:lnTo>
                    <a:pt x="63" y="1920"/>
                  </a:lnTo>
                  <a:lnTo>
                    <a:pt x="65" y="1920"/>
                  </a:lnTo>
                  <a:lnTo>
                    <a:pt x="65" y="1918"/>
                  </a:lnTo>
                  <a:lnTo>
                    <a:pt x="65" y="1918"/>
                  </a:lnTo>
                  <a:lnTo>
                    <a:pt x="65" y="1918"/>
                  </a:lnTo>
                  <a:lnTo>
                    <a:pt x="65" y="1916"/>
                  </a:lnTo>
                  <a:lnTo>
                    <a:pt x="65" y="1916"/>
                  </a:lnTo>
                  <a:lnTo>
                    <a:pt x="65" y="1916"/>
                  </a:lnTo>
                  <a:lnTo>
                    <a:pt x="67" y="1916"/>
                  </a:lnTo>
                  <a:lnTo>
                    <a:pt x="67" y="1914"/>
                  </a:lnTo>
                  <a:lnTo>
                    <a:pt x="67" y="1914"/>
                  </a:lnTo>
                  <a:lnTo>
                    <a:pt x="67" y="1914"/>
                  </a:lnTo>
                  <a:lnTo>
                    <a:pt x="67" y="1914"/>
                  </a:lnTo>
                  <a:lnTo>
                    <a:pt x="69" y="1913"/>
                  </a:lnTo>
                  <a:lnTo>
                    <a:pt x="71" y="1913"/>
                  </a:lnTo>
                  <a:lnTo>
                    <a:pt x="71" y="1913"/>
                  </a:lnTo>
                  <a:lnTo>
                    <a:pt x="71" y="1913"/>
                  </a:lnTo>
                  <a:lnTo>
                    <a:pt x="67" y="1911"/>
                  </a:lnTo>
                  <a:lnTo>
                    <a:pt x="62" y="1920"/>
                  </a:lnTo>
                  <a:lnTo>
                    <a:pt x="62" y="1920"/>
                  </a:lnTo>
                  <a:lnTo>
                    <a:pt x="52" y="1931"/>
                  </a:lnTo>
                  <a:lnTo>
                    <a:pt x="45" y="1938"/>
                  </a:lnTo>
                  <a:lnTo>
                    <a:pt x="42" y="1940"/>
                  </a:lnTo>
                  <a:lnTo>
                    <a:pt x="38" y="1940"/>
                  </a:lnTo>
                  <a:lnTo>
                    <a:pt x="31" y="1940"/>
                  </a:lnTo>
                  <a:lnTo>
                    <a:pt x="27" y="1940"/>
                  </a:lnTo>
                  <a:lnTo>
                    <a:pt x="24" y="1940"/>
                  </a:lnTo>
                  <a:lnTo>
                    <a:pt x="22" y="1940"/>
                  </a:lnTo>
                  <a:lnTo>
                    <a:pt x="22" y="1940"/>
                  </a:lnTo>
                  <a:lnTo>
                    <a:pt x="20" y="1938"/>
                  </a:lnTo>
                  <a:lnTo>
                    <a:pt x="20" y="1938"/>
                  </a:lnTo>
                  <a:lnTo>
                    <a:pt x="18" y="1940"/>
                  </a:lnTo>
                  <a:lnTo>
                    <a:pt x="18" y="1942"/>
                  </a:lnTo>
                  <a:lnTo>
                    <a:pt x="16" y="1943"/>
                  </a:lnTo>
                  <a:lnTo>
                    <a:pt x="16" y="1945"/>
                  </a:lnTo>
                  <a:lnTo>
                    <a:pt x="16" y="1947"/>
                  </a:lnTo>
                  <a:lnTo>
                    <a:pt x="16" y="1947"/>
                  </a:lnTo>
                  <a:lnTo>
                    <a:pt x="18" y="1952"/>
                  </a:lnTo>
                  <a:lnTo>
                    <a:pt x="18" y="1954"/>
                  </a:lnTo>
                  <a:lnTo>
                    <a:pt x="18" y="1956"/>
                  </a:lnTo>
                  <a:lnTo>
                    <a:pt x="18" y="1956"/>
                  </a:lnTo>
                  <a:lnTo>
                    <a:pt x="16" y="1960"/>
                  </a:lnTo>
                  <a:lnTo>
                    <a:pt x="16" y="1961"/>
                  </a:lnTo>
                  <a:lnTo>
                    <a:pt x="16" y="1961"/>
                  </a:lnTo>
                  <a:lnTo>
                    <a:pt x="15" y="1963"/>
                  </a:lnTo>
                  <a:lnTo>
                    <a:pt x="15" y="1963"/>
                  </a:lnTo>
                  <a:lnTo>
                    <a:pt x="16" y="1965"/>
                  </a:lnTo>
                  <a:lnTo>
                    <a:pt x="15" y="1965"/>
                  </a:lnTo>
                  <a:lnTo>
                    <a:pt x="15" y="1965"/>
                  </a:lnTo>
                  <a:lnTo>
                    <a:pt x="15" y="1965"/>
                  </a:lnTo>
                  <a:lnTo>
                    <a:pt x="15" y="1965"/>
                  </a:lnTo>
                  <a:lnTo>
                    <a:pt x="15" y="1965"/>
                  </a:lnTo>
                  <a:lnTo>
                    <a:pt x="13" y="1970"/>
                  </a:lnTo>
                  <a:lnTo>
                    <a:pt x="7" y="1978"/>
                  </a:lnTo>
                  <a:lnTo>
                    <a:pt x="2" y="1981"/>
                  </a:lnTo>
                  <a:lnTo>
                    <a:pt x="2" y="1983"/>
                  </a:lnTo>
                  <a:lnTo>
                    <a:pt x="0" y="1983"/>
                  </a:lnTo>
                  <a:lnTo>
                    <a:pt x="0" y="1983"/>
                  </a:lnTo>
                  <a:lnTo>
                    <a:pt x="2" y="1983"/>
                  </a:lnTo>
                  <a:lnTo>
                    <a:pt x="4" y="1985"/>
                  </a:lnTo>
                  <a:lnTo>
                    <a:pt x="9" y="1985"/>
                  </a:lnTo>
                  <a:lnTo>
                    <a:pt x="18" y="1985"/>
                  </a:lnTo>
                  <a:lnTo>
                    <a:pt x="38" y="1987"/>
                  </a:lnTo>
                  <a:lnTo>
                    <a:pt x="67" y="1989"/>
                  </a:lnTo>
                  <a:lnTo>
                    <a:pt x="85" y="1989"/>
                  </a:lnTo>
                  <a:lnTo>
                    <a:pt x="107" y="1990"/>
                  </a:lnTo>
                  <a:lnTo>
                    <a:pt x="134" y="1992"/>
                  </a:lnTo>
                  <a:lnTo>
                    <a:pt x="146" y="1992"/>
                  </a:lnTo>
                  <a:lnTo>
                    <a:pt x="155" y="1992"/>
                  </a:lnTo>
                  <a:lnTo>
                    <a:pt x="159" y="1992"/>
                  </a:lnTo>
                  <a:lnTo>
                    <a:pt x="155" y="1987"/>
                  </a:lnTo>
                  <a:lnTo>
                    <a:pt x="155" y="1983"/>
                  </a:lnTo>
                  <a:lnTo>
                    <a:pt x="154" y="1979"/>
                  </a:lnTo>
                  <a:lnTo>
                    <a:pt x="155" y="1972"/>
                  </a:lnTo>
                  <a:lnTo>
                    <a:pt x="155" y="1969"/>
                  </a:lnTo>
                  <a:lnTo>
                    <a:pt x="155" y="1967"/>
                  </a:lnTo>
                  <a:lnTo>
                    <a:pt x="155" y="1967"/>
                  </a:lnTo>
                  <a:lnTo>
                    <a:pt x="155" y="1965"/>
                  </a:lnTo>
                  <a:lnTo>
                    <a:pt x="155" y="1963"/>
                  </a:lnTo>
                  <a:lnTo>
                    <a:pt x="155" y="1963"/>
                  </a:lnTo>
                  <a:lnTo>
                    <a:pt x="157" y="1961"/>
                  </a:lnTo>
                  <a:lnTo>
                    <a:pt x="157" y="1961"/>
                  </a:lnTo>
                  <a:lnTo>
                    <a:pt x="157" y="1961"/>
                  </a:lnTo>
                  <a:lnTo>
                    <a:pt x="157" y="1960"/>
                  </a:lnTo>
                  <a:lnTo>
                    <a:pt x="157" y="1960"/>
                  </a:lnTo>
                  <a:lnTo>
                    <a:pt x="157" y="1960"/>
                  </a:lnTo>
                  <a:lnTo>
                    <a:pt x="157" y="1960"/>
                  </a:lnTo>
                  <a:lnTo>
                    <a:pt x="157" y="1960"/>
                  </a:lnTo>
                  <a:lnTo>
                    <a:pt x="159" y="1958"/>
                  </a:lnTo>
                  <a:lnTo>
                    <a:pt x="159" y="1958"/>
                  </a:lnTo>
                  <a:lnTo>
                    <a:pt x="161" y="1958"/>
                  </a:lnTo>
                  <a:lnTo>
                    <a:pt x="161" y="1956"/>
                  </a:lnTo>
                  <a:lnTo>
                    <a:pt x="163" y="1954"/>
                  </a:lnTo>
                  <a:lnTo>
                    <a:pt x="163" y="1954"/>
                  </a:lnTo>
                  <a:lnTo>
                    <a:pt x="163" y="1952"/>
                  </a:lnTo>
                  <a:lnTo>
                    <a:pt x="163" y="1951"/>
                  </a:lnTo>
                  <a:lnTo>
                    <a:pt x="163" y="1947"/>
                  </a:lnTo>
                  <a:close/>
                  <a:moveTo>
                    <a:pt x="1878" y="191"/>
                  </a:moveTo>
                  <a:lnTo>
                    <a:pt x="1882" y="195"/>
                  </a:lnTo>
                  <a:lnTo>
                    <a:pt x="1884" y="195"/>
                  </a:lnTo>
                  <a:lnTo>
                    <a:pt x="1884" y="193"/>
                  </a:lnTo>
                  <a:lnTo>
                    <a:pt x="1882" y="191"/>
                  </a:lnTo>
                  <a:lnTo>
                    <a:pt x="1878" y="188"/>
                  </a:lnTo>
                  <a:lnTo>
                    <a:pt x="1876" y="189"/>
                  </a:lnTo>
                  <a:lnTo>
                    <a:pt x="1875" y="188"/>
                  </a:lnTo>
                  <a:lnTo>
                    <a:pt x="1875" y="186"/>
                  </a:lnTo>
                  <a:lnTo>
                    <a:pt x="1873" y="186"/>
                  </a:lnTo>
                  <a:lnTo>
                    <a:pt x="1871" y="184"/>
                  </a:lnTo>
                  <a:lnTo>
                    <a:pt x="1866" y="180"/>
                  </a:lnTo>
                  <a:lnTo>
                    <a:pt x="1866" y="184"/>
                  </a:lnTo>
                  <a:lnTo>
                    <a:pt x="1867" y="186"/>
                  </a:lnTo>
                  <a:lnTo>
                    <a:pt x="1869" y="188"/>
                  </a:lnTo>
                  <a:lnTo>
                    <a:pt x="1869" y="188"/>
                  </a:lnTo>
                  <a:lnTo>
                    <a:pt x="1867" y="188"/>
                  </a:lnTo>
                  <a:lnTo>
                    <a:pt x="1867" y="188"/>
                  </a:lnTo>
                  <a:lnTo>
                    <a:pt x="1869" y="191"/>
                  </a:lnTo>
                  <a:lnTo>
                    <a:pt x="1876" y="197"/>
                  </a:lnTo>
                  <a:lnTo>
                    <a:pt x="1880" y="197"/>
                  </a:lnTo>
                  <a:lnTo>
                    <a:pt x="1878" y="195"/>
                  </a:lnTo>
                  <a:lnTo>
                    <a:pt x="1875" y="193"/>
                  </a:lnTo>
                  <a:lnTo>
                    <a:pt x="1875" y="189"/>
                  </a:lnTo>
                  <a:lnTo>
                    <a:pt x="1875" y="191"/>
                  </a:lnTo>
                  <a:lnTo>
                    <a:pt x="1878" y="191"/>
                  </a:lnTo>
                  <a:close/>
                  <a:moveTo>
                    <a:pt x="1983" y="383"/>
                  </a:moveTo>
                  <a:lnTo>
                    <a:pt x="1983" y="381"/>
                  </a:lnTo>
                  <a:lnTo>
                    <a:pt x="1979" y="377"/>
                  </a:lnTo>
                  <a:lnTo>
                    <a:pt x="1963" y="366"/>
                  </a:lnTo>
                  <a:lnTo>
                    <a:pt x="1961" y="365"/>
                  </a:lnTo>
                  <a:lnTo>
                    <a:pt x="1961" y="366"/>
                  </a:lnTo>
                  <a:lnTo>
                    <a:pt x="1961" y="368"/>
                  </a:lnTo>
                  <a:lnTo>
                    <a:pt x="1976" y="379"/>
                  </a:lnTo>
                  <a:lnTo>
                    <a:pt x="1978" y="381"/>
                  </a:lnTo>
                  <a:lnTo>
                    <a:pt x="1979" y="386"/>
                  </a:lnTo>
                  <a:lnTo>
                    <a:pt x="1979" y="386"/>
                  </a:lnTo>
                  <a:lnTo>
                    <a:pt x="1981" y="390"/>
                  </a:lnTo>
                  <a:lnTo>
                    <a:pt x="1981" y="390"/>
                  </a:lnTo>
                  <a:lnTo>
                    <a:pt x="1983" y="390"/>
                  </a:lnTo>
                  <a:lnTo>
                    <a:pt x="1983" y="392"/>
                  </a:lnTo>
                  <a:lnTo>
                    <a:pt x="1985" y="392"/>
                  </a:lnTo>
                  <a:lnTo>
                    <a:pt x="1985" y="394"/>
                  </a:lnTo>
                  <a:lnTo>
                    <a:pt x="1985" y="392"/>
                  </a:lnTo>
                  <a:lnTo>
                    <a:pt x="1985" y="392"/>
                  </a:lnTo>
                  <a:lnTo>
                    <a:pt x="1985" y="388"/>
                  </a:lnTo>
                  <a:lnTo>
                    <a:pt x="1985" y="386"/>
                  </a:lnTo>
                  <a:lnTo>
                    <a:pt x="1983" y="385"/>
                  </a:lnTo>
                  <a:lnTo>
                    <a:pt x="1981" y="383"/>
                  </a:lnTo>
                  <a:lnTo>
                    <a:pt x="1981" y="383"/>
                  </a:lnTo>
                  <a:lnTo>
                    <a:pt x="1983" y="383"/>
                  </a:lnTo>
                  <a:close/>
                  <a:moveTo>
                    <a:pt x="1690" y="77"/>
                  </a:moveTo>
                  <a:lnTo>
                    <a:pt x="1690" y="77"/>
                  </a:lnTo>
                  <a:lnTo>
                    <a:pt x="1692" y="77"/>
                  </a:lnTo>
                  <a:lnTo>
                    <a:pt x="1692" y="77"/>
                  </a:lnTo>
                  <a:lnTo>
                    <a:pt x="1692" y="77"/>
                  </a:lnTo>
                  <a:lnTo>
                    <a:pt x="1690" y="76"/>
                  </a:lnTo>
                  <a:lnTo>
                    <a:pt x="1685" y="67"/>
                  </a:lnTo>
                  <a:lnTo>
                    <a:pt x="1683" y="65"/>
                  </a:lnTo>
                  <a:lnTo>
                    <a:pt x="1683" y="67"/>
                  </a:lnTo>
                  <a:lnTo>
                    <a:pt x="1681" y="67"/>
                  </a:lnTo>
                  <a:lnTo>
                    <a:pt x="1681" y="65"/>
                  </a:lnTo>
                  <a:lnTo>
                    <a:pt x="1680" y="67"/>
                  </a:lnTo>
                  <a:lnTo>
                    <a:pt x="1681" y="67"/>
                  </a:lnTo>
                  <a:lnTo>
                    <a:pt x="1683" y="68"/>
                  </a:lnTo>
                  <a:lnTo>
                    <a:pt x="1683" y="68"/>
                  </a:lnTo>
                  <a:lnTo>
                    <a:pt x="1683" y="72"/>
                  </a:lnTo>
                  <a:lnTo>
                    <a:pt x="1685" y="74"/>
                  </a:lnTo>
                  <a:lnTo>
                    <a:pt x="1690" y="77"/>
                  </a:lnTo>
                  <a:close/>
                  <a:moveTo>
                    <a:pt x="1593" y="3"/>
                  </a:moveTo>
                  <a:lnTo>
                    <a:pt x="1593" y="5"/>
                  </a:lnTo>
                  <a:lnTo>
                    <a:pt x="1595" y="7"/>
                  </a:lnTo>
                  <a:lnTo>
                    <a:pt x="1595" y="7"/>
                  </a:lnTo>
                  <a:lnTo>
                    <a:pt x="1595" y="7"/>
                  </a:lnTo>
                  <a:lnTo>
                    <a:pt x="1596" y="9"/>
                  </a:lnTo>
                  <a:lnTo>
                    <a:pt x="1596" y="11"/>
                  </a:lnTo>
                  <a:lnTo>
                    <a:pt x="1595" y="11"/>
                  </a:lnTo>
                  <a:lnTo>
                    <a:pt x="1595" y="12"/>
                  </a:lnTo>
                  <a:lnTo>
                    <a:pt x="1598" y="20"/>
                  </a:lnTo>
                  <a:lnTo>
                    <a:pt x="1598" y="21"/>
                  </a:lnTo>
                  <a:lnTo>
                    <a:pt x="1598" y="23"/>
                  </a:lnTo>
                  <a:lnTo>
                    <a:pt x="1600" y="25"/>
                  </a:lnTo>
                  <a:lnTo>
                    <a:pt x="1600" y="27"/>
                  </a:lnTo>
                  <a:lnTo>
                    <a:pt x="1600" y="29"/>
                  </a:lnTo>
                  <a:lnTo>
                    <a:pt x="1598" y="30"/>
                  </a:lnTo>
                  <a:lnTo>
                    <a:pt x="1598" y="32"/>
                  </a:lnTo>
                  <a:lnTo>
                    <a:pt x="1600" y="34"/>
                  </a:lnTo>
                  <a:lnTo>
                    <a:pt x="1602" y="38"/>
                  </a:lnTo>
                  <a:lnTo>
                    <a:pt x="1606" y="40"/>
                  </a:lnTo>
                  <a:lnTo>
                    <a:pt x="1607" y="40"/>
                  </a:lnTo>
                  <a:lnTo>
                    <a:pt x="1611" y="45"/>
                  </a:lnTo>
                  <a:lnTo>
                    <a:pt x="1613" y="47"/>
                  </a:lnTo>
                  <a:lnTo>
                    <a:pt x="1613" y="49"/>
                  </a:lnTo>
                  <a:lnTo>
                    <a:pt x="1613" y="49"/>
                  </a:lnTo>
                  <a:lnTo>
                    <a:pt x="1615" y="50"/>
                  </a:lnTo>
                  <a:lnTo>
                    <a:pt x="1615" y="50"/>
                  </a:lnTo>
                  <a:lnTo>
                    <a:pt x="1618" y="49"/>
                  </a:lnTo>
                  <a:lnTo>
                    <a:pt x="1620" y="47"/>
                  </a:lnTo>
                  <a:lnTo>
                    <a:pt x="1625" y="47"/>
                  </a:lnTo>
                  <a:lnTo>
                    <a:pt x="1629" y="45"/>
                  </a:lnTo>
                  <a:lnTo>
                    <a:pt x="1636" y="47"/>
                  </a:lnTo>
                  <a:lnTo>
                    <a:pt x="1634" y="45"/>
                  </a:lnTo>
                  <a:lnTo>
                    <a:pt x="1633" y="43"/>
                  </a:lnTo>
                  <a:lnTo>
                    <a:pt x="1631" y="40"/>
                  </a:lnTo>
                  <a:lnTo>
                    <a:pt x="1629" y="36"/>
                  </a:lnTo>
                  <a:lnTo>
                    <a:pt x="1631" y="36"/>
                  </a:lnTo>
                  <a:lnTo>
                    <a:pt x="1633" y="34"/>
                  </a:lnTo>
                  <a:lnTo>
                    <a:pt x="1634" y="30"/>
                  </a:lnTo>
                  <a:lnTo>
                    <a:pt x="1636" y="29"/>
                  </a:lnTo>
                  <a:lnTo>
                    <a:pt x="1636" y="32"/>
                  </a:lnTo>
                  <a:lnTo>
                    <a:pt x="1634" y="38"/>
                  </a:lnTo>
                  <a:lnTo>
                    <a:pt x="1636" y="41"/>
                  </a:lnTo>
                  <a:lnTo>
                    <a:pt x="1638" y="45"/>
                  </a:lnTo>
                  <a:lnTo>
                    <a:pt x="1642" y="47"/>
                  </a:lnTo>
                  <a:lnTo>
                    <a:pt x="1643" y="47"/>
                  </a:lnTo>
                  <a:lnTo>
                    <a:pt x="1642" y="45"/>
                  </a:lnTo>
                  <a:lnTo>
                    <a:pt x="1642" y="43"/>
                  </a:lnTo>
                  <a:lnTo>
                    <a:pt x="1642" y="41"/>
                  </a:lnTo>
                  <a:lnTo>
                    <a:pt x="1640" y="38"/>
                  </a:lnTo>
                  <a:lnTo>
                    <a:pt x="1642" y="36"/>
                  </a:lnTo>
                  <a:lnTo>
                    <a:pt x="1645" y="34"/>
                  </a:lnTo>
                  <a:lnTo>
                    <a:pt x="1647" y="32"/>
                  </a:lnTo>
                  <a:lnTo>
                    <a:pt x="1647" y="29"/>
                  </a:lnTo>
                  <a:lnTo>
                    <a:pt x="1647" y="25"/>
                  </a:lnTo>
                  <a:lnTo>
                    <a:pt x="1649" y="23"/>
                  </a:lnTo>
                  <a:lnTo>
                    <a:pt x="1649" y="21"/>
                  </a:lnTo>
                  <a:lnTo>
                    <a:pt x="1651" y="23"/>
                  </a:lnTo>
                  <a:lnTo>
                    <a:pt x="1651" y="29"/>
                  </a:lnTo>
                  <a:lnTo>
                    <a:pt x="1651" y="30"/>
                  </a:lnTo>
                  <a:lnTo>
                    <a:pt x="1654" y="34"/>
                  </a:lnTo>
                  <a:lnTo>
                    <a:pt x="1654" y="36"/>
                  </a:lnTo>
                  <a:lnTo>
                    <a:pt x="1654" y="40"/>
                  </a:lnTo>
                  <a:lnTo>
                    <a:pt x="1654" y="41"/>
                  </a:lnTo>
                  <a:lnTo>
                    <a:pt x="1652" y="45"/>
                  </a:lnTo>
                  <a:lnTo>
                    <a:pt x="1652" y="49"/>
                  </a:lnTo>
                  <a:lnTo>
                    <a:pt x="1654" y="49"/>
                  </a:lnTo>
                  <a:lnTo>
                    <a:pt x="1656" y="45"/>
                  </a:lnTo>
                  <a:lnTo>
                    <a:pt x="1658" y="45"/>
                  </a:lnTo>
                  <a:lnTo>
                    <a:pt x="1660" y="49"/>
                  </a:lnTo>
                  <a:lnTo>
                    <a:pt x="1660" y="52"/>
                  </a:lnTo>
                  <a:lnTo>
                    <a:pt x="1660" y="54"/>
                  </a:lnTo>
                  <a:lnTo>
                    <a:pt x="1663" y="54"/>
                  </a:lnTo>
                  <a:lnTo>
                    <a:pt x="1661" y="49"/>
                  </a:lnTo>
                  <a:lnTo>
                    <a:pt x="1663" y="49"/>
                  </a:lnTo>
                  <a:lnTo>
                    <a:pt x="1665" y="50"/>
                  </a:lnTo>
                  <a:lnTo>
                    <a:pt x="1665" y="52"/>
                  </a:lnTo>
                  <a:lnTo>
                    <a:pt x="1665" y="54"/>
                  </a:lnTo>
                  <a:lnTo>
                    <a:pt x="1665" y="56"/>
                  </a:lnTo>
                  <a:lnTo>
                    <a:pt x="1665" y="58"/>
                  </a:lnTo>
                  <a:lnTo>
                    <a:pt x="1667" y="59"/>
                  </a:lnTo>
                  <a:lnTo>
                    <a:pt x="1667" y="59"/>
                  </a:lnTo>
                  <a:lnTo>
                    <a:pt x="1669" y="58"/>
                  </a:lnTo>
                  <a:lnTo>
                    <a:pt x="1669" y="58"/>
                  </a:lnTo>
                  <a:lnTo>
                    <a:pt x="1671" y="58"/>
                  </a:lnTo>
                  <a:lnTo>
                    <a:pt x="1671" y="56"/>
                  </a:lnTo>
                  <a:lnTo>
                    <a:pt x="1671" y="54"/>
                  </a:lnTo>
                  <a:lnTo>
                    <a:pt x="1671" y="52"/>
                  </a:lnTo>
                  <a:lnTo>
                    <a:pt x="1672" y="52"/>
                  </a:lnTo>
                  <a:lnTo>
                    <a:pt x="1672" y="52"/>
                  </a:lnTo>
                  <a:lnTo>
                    <a:pt x="1674" y="52"/>
                  </a:lnTo>
                  <a:lnTo>
                    <a:pt x="1674" y="50"/>
                  </a:lnTo>
                  <a:lnTo>
                    <a:pt x="1674" y="49"/>
                  </a:lnTo>
                  <a:lnTo>
                    <a:pt x="1674" y="47"/>
                  </a:lnTo>
                  <a:lnTo>
                    <a:pt x="1672" y="45"/>
                  </a:lnTo>
                  <a:lnTo>
                    <a:pt x="1672" y="45"/>
                  </a:lnTo>
                  <a:lnTo>
                    <a:pt x="1674" y="43"/>
                  </a:lnTo>
                  <a:lnTo>
                    <a:pt x="1674" y="43"/>
                  </a:lnTo>
                  <a:lnTo>
                    <a:pt x="1676" y="43"/>
                  </a:lnTo>
                  <a:lnTo>
                    <a:pt x="1674" y="45"/>
                  </a:lnTo>
                  <a:lnTo>
                    <a:pt x="1676" y="49"/>
                  </a:lnTo>
                  <a:lnTo>
                    <a:pt x="1678" y="50"/>
                  </a:lnTo>
                  <a:lnTo>
                    <a:pt x="1678" y="54"/>
                  </a:lnTo>
                  <a:lnTo>
                    <a:pt x="1678" y="56"/>
                  </a:lnTo>
                  <a:lnTo>
                    <a:pt x="1680" y="54"/>
                  </a:lnTo>
                  <a:lnTo>
                    <a:pt x="1680" y="52"/>
                  </a:lnTo>
                  <a:lnTo>
                    <a:pt x="1680" y="49"/>
                  </a:lnTo>
                  <a:lnTo>
                    <a:pt x="1681" y="45"/>
                  </a:lnTo>
                  <a:lnTo>
                    <a:pt x="1683" y="41"/>
                  </a:lnTo>
                  <a:lnTo>
                    <a:pt x="1690" y="32"/>
                  </a:lnTo>
                  <a:lnTo>
                    <a:pt x="1690" y="32"/>
                  </a:lnTo>
                  <a:lnTo>
                    <a:pt x="1694" y="36"/>
                  </a:lnTo>
                  <a:lnTo>
                    <a:pt x="1690" y="41"/>
                  </a:lnTo>
                  <a:lnTo>
                    <a:pt x="1689" y="43"/>
                  </a:lnTo>
                  <a:lnTo>
                    <a:pt x="1689" y="45"/>
                  </a:lnTo>
                  <a:lnTo>
                    <a:pt x="1689" y="45"/>
                  </a:lnTo>
                  <a:lnTo>
                    <a:pt x="1689" y="47"/>
                  </a:lnTo>
                  <a:lnTo>
                    <a:pt x="1689" y="47"/>
                  </a:lnTo>
                  <a:lnTo>
                    <a:pt x="1687" y="49"/>
                  </a:lnTo>
                  <a:lnTo>
                    <a:pt x="1685" y="50"/>
                  </a:lnTo>
                  <a:lnTo>
                    <a:pt x="1685" y="50"/>
                  </a:lnTo>
                  <a:lnTo>
                    <a:pt x="1689" y="59"/>
                  </a:lnTo>
                  <a:lnTo>
                    <a:pt x="1690" y="65"/>
                  </a:lnTo>
                  <a:lnTo>
                    <a:pt x="1690" y="65"/>
                  </a:lnTo>
                  <a:lnTo>
                    <a:pt x="1690" y="68"/>
                  </a:lnTo>
                  <a:lnTo>
                    <a:pt x="1690" y="68"/>
                  </a:lnTo>
                  <a:lnTo>
                    <a:pt x="1692" y="72"/>
                  </a:lnTo>
                  <a:lnTo>
                    <a:pt x="1696" y="74"/>
                  </a:lnTo>
                  <a:lnTo>
                    <a:pt x="1699" y="72"/>
                  </a:lnTo>
                  <a:lnTo>
                    <a:pt x="1699" y="65"/>
                  </a:lnTo>
                  <a:lnTo>
                    <a:pt x="1699" y="61"/>
                  </a:lnTo>
                  <a:lnTo>
                    <a:pt x="1701" y="59"/>
                  </a:lnTo>
                  <a:lnTo>
                    <a:pt x="1714" y="54"/>
                  </a:lnTo>
                  <a:lnTo>
                    <a:pt x="1716" y="49"/>
                  </a:lnTo>
                  <a:lnTo>
                    <a:pt x="1717" y="49"/>
                  </a:lnTo>
                  <a:lnTo>
                    <a:pt x="1719" y="49"/>
                  </a:lnTo>
                  <a:lnTo>
                    <a:pt x="1719" y="49"/>
                  </a:lnTo>
                  <a:lnTo>
                    <a:pt x="1719" y="54"/>
                  </a:lnTo>
                  <a:lnTo>
                    <a:pt x="1717" y="56"/>
                  </a:lnTo>
                  <a:lnTo>
                    <a:pt x="1708" y="58"/>
                  </a:lnTo>
                  <a:lnTo>
                    <a:pt x="1707" y="59"/>
                  </a:lnTo>
                  <a:lnTo>
                    <a:pt x="1705" y="63"/>
                  </a:lnTo>
                  <a:lnTo>
                    <a:pt x="1705" y="67"/>
                  </a:lnTo>
                  <a:lnTo>
                    <a:pt x="1703" y="70"/>
                  </a:lnTo>
                  <a:lnTo>
                    <a:pt x="1701" y="74"/>
                  </a:lnTo>
                  <a:lnTo>
                    <a:pt x="1701" y="76"/>
                  </a:lnTo>
                  <a:lnTo>
                    <a:pt x="1694" y="79"/>
                  </a:lnTo>
                  <a:lnTo>
                    <a:pt x="1696" y="81"/>
                  </a:lnTo>
                  <a:lnTo>
                    <a:pt x="1698" y="86"/>
                  </a:lnTo>
                  <a:lnTo>
                    <a:pt x="1699" y="88"/>
                  </a:lnTo>
                  <a:lnTo>
                    <a:pt x="1699" y="88"/>
                  </a:lnTo>
                  <a:lnTo>
                    <a:pt x="1701" y="90"/>
                  </a:lnTo>
                  <a:lnTo>
                    <a:pt x="1703" y="88"/>
                  </a:lnTo>
                  <a:lnTo>
                    <a:pt x="1705" y="88"/>
                  </a:lnTo>
                  <a:lnTo>
                    <a:pt x="1707" y="90"/>
                  </a:lnTo>
                  <a:lnTo>
                    <a:pt x="1708" y="90"/>
                  </a:lnTo>
                  <a:lnTo>
                    <a:pt x="1708" y="92"/>
                  </a:lnTo>
                  <a:lnTo>
                    <a:pt x="1708" y="92"/>
                  </a:lnTo>
                  <a:lnTo>
                    <a:pt x="1708" y="94"/>
                  </a:lnTo>
                  <a:lnTo>
                    <a:pt x="1708" y="94"/>
                  </a:lnTo>
                  <a:lnTo>
                    <a:pt x="1712" y="97"/>
                  </a:lnTo>
                  <a:lnTo>
                    <a:pt x="1714" y="97"/>
                  </a:lnTo>
                  <a:lnTo>
                    <a:pt x="1714" y="96"/>
                  </a:lnTo>
                  <a:lnTo>
                    <a:pt x="1714" y="92"/>
                  </a:lnTo>
                  <a:lnTo>
                    <a:pt x="1714" y="90"/>
                  </a:lnTo>
                  <a:lnTo>
                    <a:pt x="1712" y="88"/>
                  </a:lnTo>
                  <a:lnTo>
                    <a:pt x="1716" y="88"/>
                  </a:lnTo>
                  <a:lnTo>
                    <a:pt x="1716" y="90"/>
                  </a:lnTo>
                  <a:lnTo>
                    <a:pt x="1717" y="92"/>
                  </a:lnTo>
                  <a:lnTo>
                    <a:pt x="1717" y="94"/>
                  </a:lnTo>
                  <a:lnTo>
                    <a:pt x="1719" y="94"/>
                  </a:lnTo>
                  <a:lnTo>
                    <a:pt x="1721" y="92"/>
                  </a:lnTo>
                  <a:lnTo>
                    <a:pt x="1721" y="90"/>
                  </a:lnTo>
                  <a:lnTo>
                    <a:pt x="1723" y="86"/>
                  </a:lnTo>
                  <a:lnTo>
                    <a:pt x="1725" y="85"/>
                  </a:lnTo>
                  <a:lnTo>
                    <a:pt x="1725" y="85"/>
                  </a:lnTo>
                  <a:lnTo>
                    <a:pt x="1726" y="85"/>
                  </a:lnTo>
                  <a:lnTo>
                    <a:pt x="1730" y="88"/>
                  </a:lnTo>
                  <a:lnTo>
                    <a:pt x="1730" y="88"/>
                  </a:lnTo>
                  <a:lnTo>
                    <a:pt x="1728" y="88"/>
                  </a:lnTo>
                  <a:lnTo>
                    <a:pt x="1726" y="88"/>
                  </a:lnTo>
                  <a:lnTo>
                    <a:pt x="1725" y="88"/>
                  </a:lnTo>
                  <a:lnTo>
                    <a:pt x="1726" y="92"/>
                  </a:lnTo>
                  <a:lnTo>
                    <a:pt x="1725" y="92"/>
                  </a:lnTo>
                  <a:lnTo>
                    <a:pt x="1725" y="92"/>
                  </a:lnTo>
                  <a:lnTo>
                    <a:pt x="1723" y="94"/>
                  </a:lnTo>
                  <a:lnTo>
                    <a:pt x="1723" y="96"/>
                  </a:lnTo>
                  <a:lnTo>
                    <a:pt x="1723" y="96"/>
                  </a:lnTo>
                  <a:lnTo>
                    <a:pt x="1721" y="96"/>
                  </a:lnTo>
                  <a:lnTo>
                    <a:pt x="1723" y="99"/>
                  </a:lnTo>
                  <a:lnTo>
                    <a:pt x="1725" y="99"/>
                  </a:lnTo>
                  <a:lnTo>
                    <a:pt x="1730" y="101"/>
                  </a:lnTo>
                  <a:lnTo>
                    <a:pt x="1730" y="101"/>
                  </a:lnTo>
                  <a:lnTo>
                    <a:pt x="1732" y="99"/>
                  </a:lnTo>
                  <a:lnTo>
                    <a:pt x="1734" y="99"/>
                  </a:lnTo>
                  <a:lnTo>
                    <a:pt x="1734" y="99"/>
                  </a:lnTo>
                  <a:lnTo>
                    <a:pt x="1734" y="101"/>
                  </a:lnTo>
                  <a:lnTo>
                    <a:pt x="1734" y="103"/>
                  </a:lnTo>
                  <a:lnTo>
                    <a:pt x="1734" y="103"/>
                  </a:lnTo>
                  <a:lnTo>
                    <a:pt x="1726" y="106"/>
                  </a:lnTo>
                  <a:lnTo>
                    <a:pt x="1723" y="105"/>
                  </a:lnTo>
                  <a:lnTo>
                    <a:pt x="1719" y="105"/>
                  </a:lnTo>
                  <a:lnTo>
                    <a:pt x="1717" y="105"/>
                  </a:lnTo>
                  <a:lnTo>
                    <a:pt x="1719" y="101"/>
                  </a:lnTo>
                  <a:lnTo>
                    <a:pt x="1721" y="101"/>
                  </a:lnTo>
                  <a:lnTo>
                    <a:pt x="1726" y="103"/>
                  </a:lnTo>
                  <a:lnTo>
                    <a:pt x="1723" y="99"/>
                  </a:lnTo>
                  <a:lnTo>
                    <a:pt x="1719" y="99"/>
                  </a:lnTo>
                  <a:lnTo>
                    <a:pt x="1712" y="101"/>
                  </a:lnTo>
                  <a:lnTo>
                    <a:pt x="1714" y="105"/>
                  </a:lnTo>
                  <a:lnTo>
                    <a:pt x="1719" y="112"/>
                  </a:lnTo>
                  <a:lnTo>
                    <a:pt x="1717" y="112"/>
                  </a:lnTo>
                  <a:lnTo>
                    <a:pt x="1712" y="108"/>
                  </a:lnTo>
                  <a:lnTo>
                    <a:pt x="1712" y="108"/>
                  </a:lnTo>
                  <a:lnTo>
                    <a:pt x="1710" y="108"/>
                  </a:lnTo>
                  <a:lnTo>
                    <a:pt x="1708" y="108"/>
                  </a:lnTo>
                  <a:lnTo>
                    <a:pt x="1707" y="106"/>
                  </a:lnTo>
                  <a:lnTo>
                    <a:pt x="1707" y="106"/>
                  </a:lnTo>
                  <a:lnTo>
                    <a:pt x="1705" y="106"/>
                  </a:lnTo>
                  <a:lnTo>
                    <a:pt x="1707" y="108"/>
                  </a:lnTo>
                  <a:lnTo>
                    <a:pt x="1701" y="108"/>
                  </a:lnTo>
                  <a:lnTo>
                    <a:pt x="1699" y="108"/>
                  </a:lnTo>
                  <a:lnTo>
                    <a:pt x="1698" y="106"/>
                  </a:lnTo>
                  <a:lnTo>
                    <a:pt x="1698" y="108"/>
                  </a:lnTo>
                  <a:lnTo>
                    <a:pt x="1698" y="110"/>
                  </a:lnTo>
                  <a:lnTo>
                    <a:pt x="1699" y="114"/>
                  </a:lnTo>
                  <a:lnTo>
                    <a:pt x="1707" y="121"/>
                  </a:lnTo>
                  <a:lnTo>
                    <a:pt x="1708" y="126"/>
                  </a:lnTo>
                  <a:lnTo>
                    <a:pt x="1708" y="128"/>
                  </a:lnTo>
                  <a:lnTo>
                    <a:pt x="1708" y="130"/>
                  </a:lnTo>
                  <a:lnTo>
                    <a:pt x="1708" y="132"/>
                  </a:lnTo>
                  <a:lnTo>
                    <a:pt x="1707" y="135"/>
                  </a:lnTo>
                  <a:lnTo>
                    <a:pt x="1707" y="137"/>
                  </a:lnTo>
                  <a:lnTo>
                    <a:pt x="1707" y="141"/>
                  </a:lnTo>
                  <a:lnTo>
                    <a:pt x="1707" y="142"/>
                  </a:lnTo>
                  <a:lnTo>
                    <a:pt x="1708" y="144"/>
                  </a:lnTo>
                  <a:lnTo>
                    <a:pt x="1707" y="146"/>
                  </a:lnTo>
                  <a:lnTo>
                    <a:pt x="1707" y="146"/>
                  </a:lnTo>
                  <a:lnTo>
                    <a:pt x="1705" y="144"/>
                  </a:lnTo>
                  <a:lnTo>
                    <a:pt x="1701" y="139"/>
                  </a:lnTo>
                  <a:lnTo>
                    <a:pt x="1701" y="139"/>
                  </a:lnTo>
                  <a:lnTo>
                    <a:pt x="1699" y="139"/>
                  </a:lnTo>
                  <a:lnTo>
                    <a:pt x="1699" y="139"/>
                  </a:lnTo>
                  <a:lnTo>
                    <a:pt x="1699" y="141"/>
                  </a:lnTo>
                  <a:lnTo>
                    <a:pt x="1698" y="141"/>
                  </a:lnTo>
                  <a:lnTo>
                    <a:pt x="1698" y="141"/>
                  </a:lnTo>
                  <a:lnTo>
                    <a:pt x="1698" y="141"/>
                  </a:lnTo>
                  <a:lnTo>
                    <a:pt x="1687" y="141"/>
                  </a:lnTo>
                  <a:lnTo>
                    <a:pt x="1690" y="142"/>
                  </a:lnTo>
                  <a:lnTo>
                    <a:pt x="1692" y="144"/>
                  </a:lnTo>
                  <a:lnTo>
                    <a:pt x="1696" y="148"/>
                  </a:lnTo>
                  <a:lnTo>
                    <a:pt x="1698" y="148"/>
                  </a:lnTo>
                  <a:lnTo>
                    <a:pt x="1699" y="152"/>
                  </a:lnTo>
                  <a:lnTo>
                    <a:pt x="1699" y="150"/>
                  </a:lnTo>
                  <a:lnTo>
                    <a:pt x="1699" y="148"/>
                  </a:lnTo>
                  <a:lnTo>
                    <a:pt x="1699" y="144"/>
                  </a:lnTo>
                  <a:lnTo>
                    <a:pt x="1699" y="142"/>
                  </a:lnTo>
                  <a:lnTo>
                    <a:pt x="1701" y="144"/>
                  </a:lnTo>
                  <a:lnTo>
                    <a:pt x="1701" y="144"/>
                  </a:lnTo>
                  <a:lnTo>
                    <a:pt x="1701" y="146"/>
                  </a:lnTo>
                  <a:lnTo>
                    <a:pt x="1701" y="146"/>
                  </a:lnTo>
                  <a:lnTo>
                    <a:pt x="1705" y="146"/>
                  </a:lnTo>
                  <a:lnTo>
                    <a:pt x="1705" y="148"/>
                  </a:lnTo>
                  <a:lnTo>
                    <a:pt x="1708" y="152"/>
                  </a:lnTo>
                  <a:lnTo>
                    <a:pt x="1708" y="152"/>
                  </a:lnTo>
                  <a:lnTo>
                    <a:pt x="1710" y="152"/>
                  </a:lnTo>
                  <a:lnTo>
                    <a:pt x="1712" y="150"/>
                  </a:lnTo>
                  <a:lnTo>
                    <a:pt x="1714" y="152"/>
                  </a:lnTo>
                  <a:lnTo>
                    <a:pt x="1716" y="153"/>
                  </a:lnTo>
                  <a:lnTo>
                    <a:pt x="1716" y="153"/>
                  </a:lnTo>
                  <a:lnTo>
                    <a:pt x="1717" y="153"/>
                  </a:lnTo>
                  <a:lnTo>
                    <a:pt x="1714" y="150"/>
                  </a:lnTo>
                  <a:lnTo>
                    <a:pt x="1714" y="150"/>
                  </a:lnTo>
                  <a:lnTo>
                    <a:pt x="1714" y="148"/>
                  </a:lnTo>
                  <a:lnTo>
                    <a:pt x="1716" y="148"/>
                  </a:lnTo>
                  <a:lnTo>
                    <a:pt x="1723" y="159"/>
                  </a:lnTo>
                  <a:lnTo>
                    <a:pt x="1725" y="159"/>
                  </a:lnTo>
                  <a:lnTo>
                    <a:pt x="1726" y="161"/>
                  </a:lnTo>
                  <a:lnTo>
                    <a:pt x="1730" y="159"/>
                  </a:lnTo>
                  <a:lnTo>
                    <a:pt x="1730" y="159"/>
                  </a:lnTo>
                  <a:lnTo>
                    <a:pt x="1732" y="161"/>
                  </a:lnTo>
                  <a:lnTo>
                    <a:pt x="1734" y="162"/>
                  </a:lnTo>
                  <a:lnTo>
                    <a:pt x="1736" y="162"/>
                  </a:lnTo>
                  <a:lnTo>
                    <a:pt x="1737" y="161"/>
                  </a:lnTo>
                  <a:lnTo>
                    <a:pt x="1736" y="159"/>
                  </a:lnTo>
                  <a:lnTo>
                    <a:pt x="1736" y="157"/>
                  </a:lnTo>
                  <a:lnTo>
                    <a:pt x="1736" y="155"/>
                  </a:lnTo>
                  <a:lnTo>
                    <a:pt x="1737" y="155"/>
                  </a:lnTo>
                  <a:lnTo>
                    <a:pt x="1737" y="155"/>
                  </a:lnTo>
                  <a:lnTo>
                    <a:pt x="1745" y="164"/>
                  </a:lnTo>
                  <a:lnTo>
                    <a:pt x="1746" y="164"/>
                  </a:lnTo>
                  <a:lnTo>
                    <a:pt x="1748" y="166"/>
                  </a:lnTo>
                  <a:lnTo>
                    <a:pt x="1750" y="166"/>
                  </a:lnTo>
                  <a:lnTo>
                    <a:pt x="1750" y="170"/>
                  </a:lnTo>
                  <a:lnTo>
                    <a:pt x="1752" y="171"/>
                  </a:lnTo>
                  <a:lnTo>
                    <a:pt x="1754" y="173"/>
                  </a:lnTo>
                  <a:lnTo>
                    <a:pt x="1761" y="175"/>
                  </a:lnTo>
                  <a:lnTo>
                    <a:pt x="1759" y="171"/>
                  </a:lnTo>
                  <a:lnTo>
                    <a:pt x="1757" y="170"/>
                  </a:lnTo>
                  <a:lnTo>
                    <a:pt x="1755" y="170"/>
                  </a:lnTo>
                  <a:lnTo>
                    <a:pt x="1754" y="168"/>
                  </a:lnTo>
                  <a:lnTo>
                    <a:pt x="1754" y="168"/>
                  </a:lnTo>
                  <a:lnTo>
                    <a:pt x="1754" y="168"/>
                  </a:lnTo>
                  <a:lnTo>
                    <a:pt x="1755" y="168"/>
                  </a:lnTo>
                  <a:lnTo>
                    <a:pt x="1746" y="161"/>
                  </a:lnTo>
                  <a:lnTo>
                    <a:pt x="1746" y="159"/>
                  </a:lnTo>
                  <a:lnTo>
                    <a:pt x="1746" y="157"/>
                  </a:lnTo>
                  <a:lnTo>
                    <a:pt x="1746" y="153"/>
                  </a:lnTo>
                  <a:lnTo>
                    <a:pt x="1748" y="153"/>
                  </a:lnTo>
                  <a:lnTo>
                    <a:pt x="1750" y="155"/>
                  </a:lnTo>
                  <a:lnTo>
                    <a:pt x="1750" y="153"/>
                  </a:lnTo>
                  <a:lnTo>
                    <a:pt x="1748" y="150"/>
                  </a:lnTo>
                  <a:lnTo>
                    <a:pt x="1748" y="148"/>
                  </a:lnTo>
                  <a:lnTo>
                    <a:pt x="1748" y="150"/>
                  </a:lnTo>
                  <a:lnTo>
                    <a:pt x="1750" y="152"/>
                  </a:lnTo>
                  <a:lnTo>
                    <a:pt x="1752" y="155"/>
                  </a:lnTo>
                  <a:lnTo>
                    <a:pt x="1757" y="157"/>
                  </a:lnTo>
                  <a:lnTo>
                    <a:pt x="1757" y="159"/>
                  </a:lnTo>
                  <a:lnTo>
                    <a:pt x="1759" y="161"/>
                  </a:lnTo>
                  <a:lnTo>
                    <a:pt x="1757" y="162"/>
                  </a:lnTo>
                  <a:lnTo>
                    <a:pt x="1757" y="164"/>
                  </a:lnTo>
                  <a:lnTo>
                    <a:pt x="1759" y="166"/>
                  </a:lnTo>
                  <a:lnTo>
                    <a:pt x="1759" y="168"/>
                  </a:lnTo>
                  <a:lnTo>
                    <a:pt x="1761" y="170"/>
                  </a:lnTo>
                  <a:lnTo>
                    <a:pt x="1761" y="171"/>
                  </a:lnTo>
                  <a:lnTo>
                    <a:pt x="1763" y="171"/>
                  </a:lnTo>
                  <a:lnTo>
                    <a:pt x="1766" y="173"/>
                  </a:lnTo>
                  <a:lnTo>
                    <a:pt x="1766" y="173"/>
                  </a:lnTo>
                  <a:lnTo>
                    <a:pt x="1768" y="175"/>
                  </a:lnTo>
                  <a:lnTo>
                    <a:pt x="1768" y="175"/>
                  </a:lnTo>
                  <a:lnTo>
                    <a:pt x="1768" y="177"/>
                  </a:lnTo>
                  <a:lnTo>
                    <a:pt x="1772" y="177"/>
                  </a:lnTo>
                  <a:lnTo>
                    <a:pt x="1772" y="177"/>
                  </a:lnTo>
                  <a:lnTo>
                    <a:pt x="1772" y="177"/>
                  </a:lnTo>
                  <a:lnTo>
                    <a:pt x="1772" y="179"/>
                  </a:lnTo>
                  <a:lnTo>
                    <a:pt x="1772" y="179"/>
                  </a:lnTo>
                  <a:lnTo>
                    <a:pt x="1775" y="182"/>
                  </a:lnTo>
                  <a:lnTo>
                    <a:pt x="1777" y="186"/>
                  </a:lnTo>
                  <a:lnTo>
                    <a:pt x="1781" y="189"/>
                  </a:lnTo>
                  <a:lnTo>
                    <a:pt x="1782" y="188"/>
                  </a:lnTo>
                  <a:lnTo>
                    <a:pt x="1782" y="184"/>
                  </a:lnTo>
                  <a:lnTo>
                    <a:pt x="1784" y="184"/>
                  </a:lnTo>
                  <a:lnTo>
                    <a:pt x="1786" y="184"/>
                  </a:lnTo>
                  <a:lnTo>
                    <a:pt x="1786" y="182"/>
                  </a:lnTo>
                  <a:lnTo>
                    <a:pt x="1786" y="180"/>
                  </a:lnTo>
                  <a:lnTo>
                    <a:pt x="1786" y="180"/>
                  </a:lnTo>
                  <a:lnTo>
                    <a:pt x="1788" y="180"/>
                  </a:lnTo>
                  <a:lnTo>
                    <a:pt x="1786" y="179"/>
                  </a:lnTo>
                  <a:lnTo>
                    <a:pt x="1784" y="173"/>
                  </a:lnTo>
                  <a:lnTo>
                    <a:pt x="1784" y="171"/>
                  </a:lnTo>
                  <a:lnTo>
                    <a:pt x="1784" y="170"/>
                  </a:lnTo>
                  <a:lnTo>
                    <a:pt x="1786" y="170"/>
                  </a:lnTo>
                  <a:lnTo>
                    <a:pt x="1786" y="168"/>
                  </a:lnTo>
                  <a:lnTo>
                    <a:pt x="1790" y="170"/>
                  </a:lnTo>
                  <a:lnTo>
                    <a:pt x="1792" y="168"/>
                  </a:lnTo>
                  <a:lnTo>
                    <a:pt x="1793" y="168"/>
                  </a:lnTo>
                  <a:lnTo>
                    <a:pt x="1793" y="170"/>
                  </a:lnTo>
                  <a:lnTo>
                    <a:pt x="1795" y="173"/>
                  </a:lnTo>
                  <a:lnTo>
                    <a:pt x="1797" y="173"/>
                  </a:lnTo>
                  <a:lnTo>
                    <a:pt x="1795" y="170"/>
                  </a:lnTo>
                  <a:lnTo>
                    <a:pt x="1793" y="168"/>
                  </a:lnTo>
                  <a:lnTo>
                    <a:pt x="1792" y="166"/>
                  </a:lnTo>
                  <a:lnTo>
                    <a:pt x="1790" y="166"/>
                  </a:lnTo>
                  <a:lnTo>
                    <a:pt x="1790" y="164"/>
                  </a:lnTo>
                  <a:lnTo>
                    <a:pt x="1793" y="161"/>
                  </a:lnTo>
                  <a:lnTo>
                    <a:pt x="1793" y="159"/>
                  </a:lnTo>
                  <a:lnTo>
                    <a:pt x="1793" y="159"/>
                  </a:lnTo>
                  <a:lnTo>
                    <a:pt x="1795" y="161"/>
                  </a:lnTo>
                  <a:lnTo>
                    <a:pt x="1797" y="162"/>
                  </a:lnTo>
                  <a:lnTo>
                    <a:pt x="1797" y="164"/>
                  </a:lnTo>
                  <a:lnTo>
                    <a:pt x="1806" y="168"/>
                  </a:lnTo>
                  <a:lnTo>
                    <a:pt x="1808" y="171"/>
                  </a:lnTo>
                  <a:lnTo>
                    <a:pt x="1810" y="175"/>
                  </a:lnTo>
                  <a:lnTo>
                    <a:pt x="1810" y="170"/>
                  </a:lnTo>
                  <a:lnTo>
                    <a:pt x="1808" y="168"/>
                  </a:lnTo>
                  <a:lnTo>
                    <a:pt x="1806" y="164"/>
                  </a:lnTo>
                  <a:lnTo>
                    <a:pt x="1802" y="164"/>
                  </a:lnTo>
                  <a:lnTo>
                    <a:pt x="1802" y="164"/>
                  </a:lnTo>
                  <a:lnTo>
                    <a:pt x="1802" y="162"/>
                  </a:lnTo>
                  <a:lnTo>
                    <a:pt x="1804" y="161"/>
                  </a:lnTo>
                  <a:lnTo>
                    <a:pt x="1806" y="164"/>
                  </a:lnTo>
                  <a:lnTo>
                    <a:pt x="1810" y="166"/>
                  </a:lnTo>
                  <a:lnTo>
                    <a:pt x="1810" y="168"/>
                  </a:lnTo>
                  <a:lnTo>
                    <a:pt x="1811" y="171"/>
                  </a:lnTo>
                  <a:lnTo>
                    <a:pt x="1813" y="175"/>
                  </a:lnTo>
                  <a:lnTo>
                    <a:pt x="1811" y="177"/>
                  </a:lnTo>
                  <a:lnTo>
                    <a:pt x="1810" y="177"/>
                  </a:lnTo>
                  <a:lnTo>
                    <a:pt x="1808" y="175"/>
                  </a:lnTo>
                  <a:lnTo>
                    <a:pt x="1810" y="179"/>
                  </a:lnTo>
                  <a:lnTo>
                    <a:pt x="1808" y="179"/>
                  </a:lnTo>
                  <a:lnTo>
                    <a:pt x="1806" y="177"/>
                  </a:lnTo>
                  <a:lnTo>
                    <a:pt x="1804" y="177"/>
                  </a:lnTo>
                  <a:lnTo>
                    <a:pt x="1802" y="175"/>
                  </a:lnTo>
                  <a:lnTo>
                    <a:pt x="1804" y="177"/>
                  </a:lnTo>
                  <a:lnTo>
                    <a:pt x="1808" y="180"/>
                  </a:lnTo>
                  <a:lnTo>
                    <a:pt x="1810" y="180"/>
                  </a:lnTo>
                  <a:lnTo>
                    <a:pt x="1813" y="180"/>
                  </a:lnTo>
                  <a:lnTo>
                    <a:pt x="1815" y="180"/>
                  </a:lnTo>
                  <a:lnTo>
                    <a:pt x="1815" y="182"/>
                  </a:lnTo>
                  <a:lnTo>
                    <a:pt x="1815" y="182"/>
                  </a:lnTo>
                  <a:lnTo>
                    <a:pt x="1817" y="184"/>
                  </a:lnTo>
                  <a:lnTo>
                    <a:pt x="1817" y="184"/>
                  </a:lnTo>
                  <a:lnTo>
                    <a:pt x="1817" y="184"/>
                  </a:lnTo>
                  <a:lnTo>
                    <a:pt x="1819" y="182"/>
                  </a:lnTo>
                  <a:lnTo>
                    <a:pt x="1820" y="182"/>
                  </a:lnTo>
                  <a:lnTo>
                    <a:pt x="1820" y="182"/>
                  </a:lnTo>
                  <a:lnTo>
                    <a:pt x="1822" y="184"/>
                  </a:lnTo>
                  <a:lnTo>
                    <a:pt x="1824" y="186"/>
                  </a:lnTo>
                  <a:lnTo>
                    <a:pt x="1824" y="184"/>
                  </a:lnTo>
                  <a:lnTo>
                    <a:pt x="1822" y="179"/>
                  </a:lnTo>
                  <a:lnTo>
                    <a:pt x="1815" y="175"/>
                  </a:lnTo>
                  <a:lnTo>
                    <a:pt x="1813" y="168"/>
                  </a:lnTo>
                  <a:lnTo>
                    <a:pt x="1815" y="170"/>
                  </a:lnTo>
                  <a:lnTo>
                    <a:pt x="1819" y="171"/>
                  </a:lnTo>
                  <a:lnTo>
                    <a:pt x="1820" y="173"/>
                  </a:lnTo>
                  <a:lnTo>
                    <a:pt x="1824" y="179"/>
                  </a:lnTo>
                  <a:lnTo>
                    <a:pt x="1829" y="182"/>
                  </a:lnTo>
                  <a:lnTo>
                    <a:pt x="1831" y="182"/>
                  </a:lnTo>
                  <a:lnTo>
                    <a:pt x="1831" y="180"/>
                  </a:lnTo>
                  <a:lnTo>
                    <a:pt x="1831" y="177"/>
                  </a:lnTo>
                  <a:lnTo>
                    <a:pt x="1824" y="175"/>
                  </a:lnTo>
                  <a:lnTo>
                    <a:pt x="1828" y="171"/>
                  </a:lnTo>
                  <a:lnTo>
                    <a:pt x="1831" y="173"/>
                  </a:lnTo>
                  <a:lnTo>
                    <a:pt x="1837" y="180"/>
                  </a:lnTo>
                  <a:lnTo>
                    <a:pt x="1840" y="182"/>
                  </a:lnTo>
                  <a:lnTo>
                    <a:pt x="1844" y="182"/>
                  </a:lnTo>
                  <a:lnTo>
                    <a:pt x="1847" y="182"/>
                  </a:lnTo>
                  <a:lnTo>
                    <a:pt x="1849" y="182"/>
                  </a:lnTo>
                  <a:lnTo>
                    <a:pt x="1851" y="186"/>
                  </a:lnTo>
                  <a:lnTo>
                    <a:pt x="1849" y="186"/>
                  </a:lnTo>
                  <a:lnTo>
                    <a:pt x="1847" y="186"/>
                  </a:lnTo>
                  <a:lnTo>
                    <a:pt x="1847" y="186"/>
                  </a:lnTo>
                  <a:lnTo>
                    <a:pt x="1846" y="186"/>
                  </a:lnTo>
                  <a:lnTo>
                    <a:pt x="1846" y="186"/>
                  </a:lnTo>
                  <a:lnTo>
                    <a:pt x="1847" y="188"/>
                  </a:lnTo>
                  <a:lnTo>
                    <a:pt x="1842" y="188"/>
                  </a:lnTo>
                  <a:lnTo>
                    <a:pt x="1846" y="189"/>
                  </a:lnTo>
                  <a:lnTo>
                    <a:pt x="1847" y="189"/>
                  </a:lnTo>
                  <a:lnTo>
                    <a:pt x="1849" y="189"/>
                  </a:lnTo>
                  <a:lnTo>
                    <a:pt x="1853" y="186"/>
                  </a:lnTo>
                  <a:lnTo>
                    <a:pt x="1855" y="186"/>
                  </a:lnTo>
                  <a:lnTo>
                    <a:pt x="1855" y="184"/>
                  </a:lnTo>
                  <a:lnTo>
                    <a:pt x="1855" y="184"/>
                  </a:lnTo>
                  <a:lnTo>
                    <a:pt x="1855" y="182"/>
                  </a:lnTo>
                  <a:lnTo>
                    <a:pt x="1851" y="180"/>
                  </a:lnTo>
                  <a:lnTo>
                    <a:pt x="1846" y="179"/>
                  </a:lnTo>
                  <a:lnTo>
                    <a:pt x="1846" y="177"/>
                  </a:lnTo>
                  <a:lnTo>
                    <a:pt x="1847" y="175"/>
                  </a:lnTo>
                  <a:lnTo>
                    <a:pt x="1849" y="175"/>
                  </a:lnTo>
                  <a:lnTo>
                    <a:pt x="1847" y="171"/>
                  </a:lnTo>
                  <a:lnTo>
                    <a:pt x="1844" y="170"/>
                  </a:lnTo>
                  <a:lnTo>
                    <a:pt x="1838" y="170"/>
                  </a:lnTo>
                  <a:lnTo>
                    <a:pt x="1840" y="171"/>
                  </a:lnTo>
                  <a:lnTo>
                    <a:pt x="1842" y="171"/>
                  </a:lnTo>
                  <a:lnTo>
                    <a:pt x="1842" y="173"/>
                  </a:lnTo>
                  <a:lnTo>
                    <a:pt x="1842" y="175"/>
                  </a:lnTo>
                  <a:lnTo>
                    <a:pt x="1840" y="175"/>
                  </a:lnTo>
                  <a:lnTo>
                    <a:pt x="1837" y="175"/>
                  </a:lnTo>
                  <a:lnTo>
                    <a:pt x="1835" y="173"/>
                  </a:lnTo>
                  <a:lnTo>
                    <a:pt x="1833" y="171"/>
                  </a:lnTo>
                  <a:lnTo>
                    <a:pt x="1835" y="171"/>
                  </a:lnTo>
                  <a:lnTo>
                    <a:pt x="1837" y="171"/>
                  </a:lnTo>
                  <a:lnTo>
                    <a:pt x="1837" y="170"/>
                  </a:lnTo>
                  <a:lnTo>
                    <a:pt x="1835" y="168"/>
                  </a:lnTo>
                  <a:lnTo>
                    <a:pt x="1833" y="168"/>
                  </a:lnTo>
                  <a:lnTo>
                    <a:pt x="1833" y="166"/>
                  </a:lnTo>
                  <a:lnTo>
                    <a:pt x="1838" y="166"/>
                  </a:lnTo>
                  <a:lnTo>
                    <a:pt x="1838" y="164"/>
                  </a:lnTo>
                  <a:lnTo>
                    <a:pt x="1837" y="164"/>
                  </a:lnTo>
                  <a:lnTo>
                    <a:pt x="1835" y="164"/>
                  </a:lnTo>
                  <a:lnTo>
                    <a:pt x="1835" y="164"/>
                  </a:lnTo>
                  <a:lnTo>
                    <a:pt x="1833" y="162"/>
                  </a:lnTo>
                  <a:lnTo>
                    <a:pt x="1833" y="161"/>
                  </a:lnTo>
                  <a:lnTo>
                    <a:pt x="1833" y="161"/>
                  </a:lnTo>
                  <a:lnTo>
                    <a:pt x="1835" y="161"/>
                  </a:lnTo>
                  <a:lnTo>
                    <a:pt x="1837" y="161"/>
                  </a:lnTo>
                  <a:lnTo>
                    <a:pt x="1838" y="162"/>
                  </a:lnTo>
                  <a:lnTo>
                    <a:pt x="1844" y="164"/>
                  </a:lnTo>
                  <a:lnTo>
                    <a:pt x="1844" y="164"/>
                  </a:lnTo>
                  <a:lnTo>
                    <a:pt x="1844" y="162"/>
                  </a:lnTo>
                  <a:lnTo>
                    <a:pt x="1846" y="161"/>
                  </a:lnTo>
                  <a:lnTo>
                    <a:pt x="1846" y="161"/>
                  </a:lnTo>
                  <a:lnTo>
                    <a:pt x="1846" y="159"/>
                  </a:lnTo>
                  <a:lnTo>
                    <a:pt x="1849" y="159"/>
                  </a:lnTo>
                  <a:lnTo>
                    <a:pt x="1851" y="159"/>
                  </a:lnTo>
                  <a:lnTo>
                    <a:pt x="1851" y="161"/>
                  </a:lnTo>
                  <a:lnTo>
                    <a:pt x="1851" y="162"/>
                  </a:lnTo>
                  <a:lnTo>
                    <a:pt x="1849" y="162"/>
                  </a:lnTo>
                  <a:lnTo>
                    <a:pt x="1847" y="162"/>
                  </a:lnTo>
                  <a:lnTo>
                    <a:pt x="1847" y="166"/>
                  </a:lnTo>
                  <a:lnTo>
                    <a:pt x="1847" y="168"/>
                  </a:lnTo>
                  <a:lnTo>
                    <a:pt x="1849" y="171"/>
                  </a:lnTo>
                  <a:lnTo>
                    <a:pt x="1851" y="175"/>
                  </a:lnTo>
                  <a:lnTo>
                    <a:pt x="1855" y="177"/>
                  </a:lnTo>
                  <a:lnTo>
                    <a:pt x="1858" y="177"/>
                  </a:lnTo>
                  <a:lnTo>
                    <a:pt x="1855" y="175"/>
                  </a:lnTo>
                  <a:lnTo>
                    <a:pt x="1853" y="173"/>
                  </a:lnTo>
                  <a:lnTo>
                    <a:pt x="1853" y="171"/>
                  </a:lnTo>
                  <a:lnTo>
                    <a:pt x="1855" y="171"/>
                  </a:lnTo>
                  <a:lnTo>
                    <a:pt x="1858" y="175"/>
                  </a:lnTo>
                  <a:lnTo>
                    <a:pt x="1873" y="182"/>
                  </a:lnTo>
                  <a:lnTo>
                    <a:pt x="1887" y="188"/>
                  </a:lnTo>
                  <a:lnTo>
                    <a:pt x="1889" y="188"/>
                  </a:lnTo>
                  <a:lnTo>
                    <a:pt x="1889" y="186"/>
                  </a:lnTo>
                  <a:lnTo>
                    <a:pt x="1887" y="184"/>
                  </a:lnTo>
                  <a:lnTo>
                    <a:pt x="1884" y="182"/>
                  </a:lnTo>
                  <a:lnTo>
                    <a:pt x="1882" y="180"/>
                  </a:lnTo>
                  <a:lnTo>
                    <a:pt x="1880" y="179"/>
                  </a:lnTo>
                  <a:lnTo>
                    <a:pt x="1880" y="179"/>
                  </a:lnTo>
                  <a:lnTo>
                    <a:pt x="1880" y="177"/>
                  </a:lnTo>
                  <a:lnTo>
                    <a:pt x="1880" y="177"/>
                  </a:lnTo>
                  <a:lnTo>
                    <a:pt x="1880" y="177"/>
                  </a:lnTo>
                  <a:lnTo>
                    <a:pt x="1880" y="175"/>
                  </a:lnTo>
                  <a:lnTo>
                    <a:pt x="1878" y="175"/>
                  </a:lnTo>
                  <a:lnTo>
                    <a:pt x="1876" y="177"/>
                  </a:lnTo>
                  <a:lnTo>
                    <a:pt x="1875" y="179"/>
                  </a:lnTo>
                  <a:lnTo>
                    <a:pt x="1866" y="175"/>
                  </a:lnTo>
                  <a:lnTo>
                    <a:pt x="1864" y="173"/>
                  </a:lnTo>
                  <a:lnTo>
                    <a:pt x="1862" y="171"/>
                  </a:lnTo>
                  <a:lnTo>
                    <a:pt x="1860" y="170"/>
                  </a:lnTo>
                  <a:lnTo>
                    <a:pt x="1860" y="168"/>
                  </a:lnTo>
                  <a:lnTo>
                    <a:pt x="1860" y="166"/>
                  </a:lnTo>
                  <a:lnTo>
                    <a:pt x="1862" y="166"/>
                  </a:lnTo>
                  <a:lnTo>
                    <a:pt x="1864" y="166"/>
                  </a:lnTo>
                  <a:lnTo>
                    <a:pt x="1867" y="171"/>
                  </a:lnTo>
                  <a:lnTo>
                    <a:pt x="1871" y="173"/>
                  </a:lnTo>
                  <a:lnTo>
                    <a:pt x="1871" y="173"/>
                  </a:lnTo>
                  <a:lnTo>
                    <a:pt x="1873" y="171"/>
                  </a:lnTo>
                  <a:lnTo>
                    <a:pt x="1873" y="171"/>
                  </a:lnTo>
                  <a:lnTo>
                    <a:pt x="1875" y="170"/>
                  </a:lnTo>
                  <a:lnTo>
                    <a:pt x="1876" y="171"/>
                  </a:lnTo>
                  <a:lnTo>
                    <a:pt x="1885" y="177"/>
                  </a:lnTo>
                  <a:lnTo>
                    <a:pt x="1894" y="180"/>
                  </a:lnTo>
                  <a:lnTo>
                    <a:pt x="1894" y="180"/>
                  </a:lnTo>
                  <a:lnTo>
                    <a:pt x="1894" y="179"/>
                  </a:lnTo>
                  <a:lnTo>
                    <a:pt x="1893" y="179"/>
                  </a:lnTo>
                  <a:lnTo>
                    <a:pt x="1893" y="179"/>
                  </a:lnTo>
                  <a:lnTo>
                    <a:pt x="1893" y="179"/>
                  </a:lnTo>
                  <a:lnTo>
                    <a:pt x="1893" y="177"/>
                  </a:lnTo>
                  <a:lnTo>
                    <a:pt x="1894" y="177"/>
                  </a:lnTo>
                  <a:lnTo>
                    <a:pt x="1896" y="177"/>
                  </a:lnTo>
                  <a:lnTo>
                    <a:pt x="1896" y="175"/>
                  </a:lnTo>
                  <a:lnTo>
                    <a:pt x="1896" y="171"/>
                  </a:lnTo>
                  <a:lnTo>
                    <a:pt x="1896" y="171"/>
                  </a:lnTo>
                  <a:lnTo>
                    <a:pt x="1898" y="170"/>
                  </a:lnTo>
                  <a:lnTo>
                    <a:pt x="1900" y="166"/>
                  </a:lnTo>
                  <a:lnTo>
                    <a:pt x="1898" y="164"/>
                  </a:lnTo>
                  <a:lnTo>
                    <a:pt x="1896" y="162"/>
                  </a:lnTo>
                  <a:lnTo>
                    <a:pt x="1894" y="161"/>
                  </a:lnTo>
                  <a:lnTo>
                    <a:pt x="1896" y="159"/>
                  </a:lnTo>
                  <a:lnTo>
                    <a:pt x="1896" y="161"/>
                  </a:lnTo>
                  <a:lnTo>
                    <a:pt x="1898" y="162"/>
                  </a:lnTo>
                  <a:lnTo>
                    <a:pt x="1900" y="162"/>
                  </a:lnTo>
                  <a:lnTo>
                    <a:pt x="1905" y="162"/>
                  </a:lnTo>
                  <a:lnTo>
                    <a:pt x="1896" y="153"/>
                  </a:lnTo>
                  <a:lnTo>
                    <a:pt x="1896" y="148"/>
                  </a:lnTo>
                  <a:lnTo>
                    <a:pt x="1887" y="150"/>
                  </a:lnTo>
                  <a:lnTo>
                    <a:pt x="1885" y="148"/>
                  </a:lnTo>
                  <a:lnTo>
                    <a:pt x="1884" y="146"/>
                  </a:lnTo>
                  <a:lnTo>
                    <a:pt x="1878" y="142"/>
                  </a:lnTo>
                  <a:lnTo>
                    <a:pt x="1876" y="142"/>
                  </a:lnTo>
                  <a:lnTo>
                    <a:pt x="1875" y="141"/>
                  </a:lnTo>
                  <a:lnTo>
                    <a:pt x="1871" y="137"/>
                  </a:lnTo>
                  <a:lnTo>
                    <a:pt x="1869" y="135"/>
                  </a:lnTo>
                  <a:lnTo>
                    <a:pt x="1869" y="133"/>
                  </a:lnTo>
                  <a:lnTo>
                    <a:pt x="1867" y="130"/>
                  </a:lnTo>
                  <a:lnTo>
                    <a:pt x="1866" y="128"/>
                  </a:lnTo>
                  <a:lnTo>
                    <a:pt x="1864" y="126"/>
                  </a:lnTo>
                  <a:lnTo>
                    <a:pt x="1862" y="126"/>
                  </a:lnTo>
                  <a:lnTo>
                    <a:pt x="1855" y="119"/>
                  </a:lnTo>
                  <a:lnTo>
                    <a:pt x="1851" y="112"/>
                  </a:lnTo>
                  <a:lnTo>
                    <a:pt x="1840" y="97"/>
                  </a:lnTo>
                  <a:lnTo>
                    <a:pt x="1828" y="81"/>
                  </a:lnTo>
                  <a:lnTo>
                    <a:pt x="1826" y="77"/>
                  </a:lnTo>
                  <a:lnTo>
                    <a:pt x="1826" y="74"/>
                  </a:lnTo>
                  <a:lnTo>
                    <a:pt x="1826" y="72"/>
                  </a:lnTo>
                  <a:lnTo>
                    <a:pt x="1824" y="63"/>
                  </a:lnTo>
                  <a:lnTo>
                    <a:pt x="1824" y="61"/>
                  </a:lnTo>
                  <a:lnTo>
                    <a:pt x="1822" y="58"/>
                  </a:lnTo>
                  <a:lnTo>
                    <a:pt x="1819" y="54"/>
                  </a:lnTo>
                  <a:lnTo>
                    <a:pt x="1817" y="50"/>
                  </a:lnTo>
                  <a:lnTo>
                    <a:pt x="1813" y="41"/>
                  </a:lnTo>
                  <a:lnTo>
                    <a:pt x="1813" y="38"/>
                  </a:lnTo>
                  <a:lnTo>
                    <a:pt x="1810" y="34"/>
                  </a:lnTo>
                  <a:lnTo>
                    <a:pt x="1806" y="25"/>
                  </a:lnTo>
                  <a:lnTo>
                    <a:pt x="1804" y="14"/>
                  </a:lnTo>
                  <a:lnTo>
                    <a:pt x="1801" y="3"/>
                  </a:lnTo>
                  <a:lnTo>
                    <a:pt x="1799" y="0"/>
                  </a:lnTo>
                  <a:lnTo>
                    <a:pt x="1593" y="0"/>
                  </a:lnTo>
                  <a:lnTo>
                    <a:pt x="1593" y="2"/>
                  </a:lnTo>
                  <a:lnTo>
                    <a:pt x="1593" y="3"/>
                  </a:lnTo>
                  <a:close/>
                  <a:moveTo>
                    <a:pt x="1945" y="236"/>
                  </a:moveTo>
                  <a:lnTo>
                    <a:pt x="1947" y="236"/>
                  </a:lnTo>
                  <a:lnTo>
                    <a:pt x="1947" y="236"/>
                  </a:lnTo>
                  <a:lnTo>
                    <a:pt x="1947" y="238"/>
                  </a:lnTo>
                  <a:lnTo>
                    <a:pt x="1945" y="240"/>
                  </a:lnTo>
                  <a:lnTo>
                    <a:pt x="1945" y="242"/>
                  </a:lnTo>
                  <a:lnTo>
                    <a:pt x="1947" y="242"/>
                  </a:lnTo>
                  <a:lnTo>
                    <a:pt x="1949" y="244"/>
                  </a:lnTo>
                  <a:lnTo>
                    <a:pt x="1949" y="244"/>
                  </a:lnTo>
                  <a:lnTo>
                    <a:pt x="1949" y="245"/>
                  </a:lnTo>
                  <a:lnTo>
                    <a:pt x="1949" y="245"/>
                  </a:lnTo>
                  <a:lnTo>
                    <a:pt x="1950" y="245"/>
                  </a:lnTo>
                  <a:lnTo>
                    <a:pt x="1950" y="244"/>
                  </a:lnTo>
                  <a:lnTo>
                    <a:pt x="1950" y="244"/>
                  </a:lnTo>
                  <a:lnTo>
                    <a:pt x="1952" y="244"/>
                  </a:lnTo>
                  <a:lnTo>
                    <a:pt x="1952" y="245"/>
                  </a:lnTo>
                  <a:lnTo>
                    <a:pt x="1952" y="247"/>
                  </a:lnTo>
                  <a:lnTo>
                    <a:pt x="1952" y="249"/>
                  </a:lnTo>
                  <a:lnTo>
                    <a:pt x="1952" y="249"/>
                  </a:lnTo>
                  <a:lnTo>
                    <a:pt x="1952" y="249"/>
                  </a:lnTo>
                  <a:lnTo>
                    <a:pt x="1952" y="249"/>
                  </a:lnTo>
                  <a:lnTo>
                    <a:pt x="1954" y="251"/>
                  </a:lnTo>
                  <a:lnTo>
                    <a:pt x="1950" y="251"/>
                  </a:lnTo>
                  <a:lnTo>
                    <a:pt x="1950" y="251"/>
                  </a:lnTo>
                  <a:lnTo>
                    <a:pt x="1950" y="253"/>
                  </a:lnTo>
                  <a:lnTo>
                    <a:pt x="1952" y="253"/>
                  </a:lnTo>
                  <a:lnTo>
                    <a:pt x="1952" y="254"/>
                  </a:lnTo>
                  <a:lnTo>
                    <a:pt x="1950" y="260"/>
                  </a:lnTo>
                  <a:lnTo>
                    <a:pt x="1958" y="271"/>
                  </a:lnTo>
                  <a:lnTo>
                    <a:pt x="1967" y="282"/>
                  </a:lnTo>
                  <a:lnTo>
                    <a:pt x="1970" y="285"/>
                  </a:lnTo>
                  <a:lnTo>
                    <a:pt x="1970" y="287"/>
                  </a:lnTo>
                  <a:lnTo>
                    <a:pt x="1970" y="287"/>
                  </a:lnTo>
                  <a:lnTo>
                    <a:pt x="1972" y="289"/>
                  </a:lnTo>
                  <a:lnTo>
                    <a:pt x="1972" y="289"/>
                  </a:lnTo>
                  <a:lnTo>
                    <a:pt x="1974" y="289"/>
                  </a:lnTo>
                  <a:lnTo>
                    <a:pt x="1974" y="291"/>
                  </a:lnTo>
                  <a:lnTo>
                    <a:pt x="1976" y="292"/>
                  </a:lnTo>
                  <a:lnTo>
                    <a:pt x="1978" y="291"/>
                  </a:lnTo>
                  <a:lnTo>
                    <a:pt x="1979" y="289"/>
                  </a:lnTo>
                  <a:lnTo>
                    <a:pt x="1976" y="285"/>
                  </a:lnTo>
                  <a:lnTo>
                    <a:pt x="1972" y="283"/>
                  </a:lnTo>
                  <a:lnTo>
                    <a:pt x="1972" y="283"/>
                  </a:lnTo>
                  <a:lnTo>
                    <a:pt x="1970" y="282"/>
                  </a:lnTo>
                  <a:lnTo>
                    <a:pt x="1970" y="280"/>
                  </a:lnTo>
                  <a:lnTo>
                    <a:pt x="1978" y="282"/>
                  </a:lnTo>
                  <a:lnTo>
                    <a:pt x="1981" y="283"/>
                  </a:lnTo>
                  <a:lnTo>
                    <a:pt x="1983" y="283"/>
                  </a:lnTo>
                  <a:lnTo>
                    <a:pt x="1985" y="285"/>
                  </a:lnTo>
                  <a:lnTo>
                    <a:pt x="1987" y="287"/>
                  </a:lnTo>
                  <a:lnTo>
                    <a:pt x="1988" y="287"/>
                  </a:lnTo>
                  <a:lnTo>
                    <a:pt x="1990" y="287"/>
                  </a:lnTo>
                  <a:lnTo>
                    <a:pt x="1992" y="287"/>
                  </a:lnTo>
                  <a:lnTo>
                    <a:pt x="1994" y="287"/>
                  </a:lnTo>
                  <a:lnTo>
                    <a:pt x="1997" y="291"/>
                  </a:lnTo>
                  <a:lnTo>
                    <a:pt x="2003" y="298"/>
                  </a:lnTo>
                  <a:lnTo>
                    <a:pt x="2005" y="300"/>
                  </a:lnTo>
                  <a:lnTo>
                    <a:pt x="2005" y="301"/>
                  </a:lnTo>
                  <a:lnTo>
                    <a:pt x="2003" y="303"/>
                  </a:lnTo>
                  <a:lnTo>
                    <a:pt x="2001" y="303"/>
                  </a:lnTo>
                  <a:lnTo>
                    <a:pt x="1999" y="303"/>
                  </a:lnTo>
                  <a:lnTo>
                    <a:pt x="1999" y="305"/>
                  </a:lnTo>
                  <a:lnTo>
                    <a:pt x="1999" y="307"/>
                  </a:lnTo>
                  <a:lnTo>
                    <a:pt x="2001" y="309"/>
                  </a:lnTo>
                  <a:lnTo>
                    <a:pt x="2001" y="310"/>
                  </a:lnTo>
                  <a:lnTo>
                    <a:pt x="2001" y="312"/>
                  </a:lnTo>
                  <a:lnTo>
                    <a:pt x="2012" y="316"/>
                  </a:lnTo>
                  <a:lnTo>
                    <a:pt x="2015" y="314"/>
                  </a:lnTo>
                  <a:lnTo>
                    <a:pt x="2017" y="316"/>
                  </a:lnTo>
                  <a:lnTo>
                    <a:pt x="2017" y="316"/>
                  </a:lnTo>
                  <a:lnTo>
                    <a:pt x="2017" y="318"/>
                  </a:lnTo>
                  <a:lnTo>
                    <a:pt x="2019" y="319"/>
                  </a:lnTo>
                  <a:lnTo>
                    <a:pt x="2019" y="319"/>
                  </a:lnTo>
                  <a:lnTo>
                    <a:pt x="2019" y="318"/>
                  </a:lnTo>
                  <a:lnTo>
                    <a:pt x="2019" y="316"/>
                  </a:lnTo>
                  <a:lnTo>
                    <a:pt x="2021" y="312"/>
                  </a:lnTo>
                  <a:lnTo>
                    <a:pt x="2023" y="312"/>
                  </a:lnTo>
                  <a:lnTo>
                    <a:pt x="2024" y="310"/>
                  </a:lnTo>
                  <a:lnTo>
                    <a:pt x="2028" y="312"/>
                  </a:lnTo>
                  <a:lnTo>
                    <a:pt x="2033" y="316"/>
                  </a:lnTo>
                  <a:lnTo>
                    <a:pt x="2035" y="316"/>
                  </a:lnTo>
                  <a:lnTo>
                    <a:pt x="2041" y="312"/>
                  </a:lnTo>
                  <a:lnTo>
                    <a:pt x="2041" y="310"/>
                  </a:lnTo>
                  <a:lnTo>
                    <a:pt x="2041" y="310"/>
                  </a:lnTo>
                  <a:lnTo>
                    <a:pt x="2046" y="310"/>
                  </a:lnTo>
                  <a:lnTo>
                    <a:pt x="2046" y="309"/>
                  </a:lnTo>
                  <a:lnTo>
                    <a:pt x="2044" y="307"/>
                  </a:lnTo>
                  <a:lnTo>
                    <a:pt x="2044" y="305"/>
                  </a:lnTo>
                  <a:lnTo>
                    <a:pt x="2046" y="303"/>
                  </a:lnTo>
                  <a:lnTo>
                    <a:pt x="2048" y="301"/>
                  </a:lnTo>
                  <a:lnTo>
                    <a:pt x="2048" y="300"/>
                  </a:lnTo>
                  <a:lnTo>
                    <a:pt x="2050" y="300"/>
                  </a:lnTo>
                  <a:lnTo>
                    <a:pt x="2050" y="300"/>
                  </a:lnTo>
                  <a:lnTo>
                    <a:pt x="2050" y="300"/>
                  </a:lnTo>
                  <a:lnTo>
                    <a:pt x="2050" y="298"/>
                  </a:lnTo>
                  <a:lnTo>
                    <a:pt x="2050" y="298"/>
                  </a:lnTo>
                  <a:lnTo>
                    <a:pt x="2050" y="296"/>
                  </a:lnTo>
                  <a:lnTo>
                    <a:pt x="2050" y="296"/>
                  </a:lnTo>
                  <a:lnTo>
                    <a:pt x="2048" y="294"/>
                  </a:lnTo>
                  <a:lnTo>
                    <a:pt x="2048" y="294"/>
                  </a:lnTo>
                  <a:lnTo>
                    <a:pt x="2048" y="292"/>
                  </a:lnTo>
                  <a:lnTo>
                    <a:pt x="2046" y="291"/>
                  </a:lnTo>
                  <a:lnTo>
                    <a:pt x="2046" y="291"/>
                  </a:lnTo>
                  <a:lnTo>
                    <a:pt x="2046" y="289"/>
                  </a:lnTo>
                  <a:lnTo>
                    <a:pt x="2046" y="285"/>
                  </a:lnTo>
                  <a:lnTo>
                    <a:pt x="2046" y="283"/>
                  </a:lnTo>
                  <a:lnTo>
                    <a:pt x="2046" y="282"/>
                  </a:lnTo>
                  <a:lnTo>
                    <a:pt x="2044" y="278"/>
                  </a:lnTo>
                  <a:lnTo>
                    <a:pt x="2043" y="276"/>
                  </a:lnTo>
                  <a:lnTo>
                    <a:pt x="2039" y="278"/>
                  </a:lnTo>
                  <a:lnTo>
                    <a:pt x="2039" y="276"/>
                  </a:lnTo>
                  <a:lnTo>
                    <a:pt x="2028" y="262"/>
                  </a:lnTo>
                  <a:lnTo>
                    <a:pt x="2026" y="260"/>
                  </a:lnTo>
                  <a:lnTo>
                    <a:pt x="2026" y="260"/>
                  </a:lnTo>
                  <a:lnTo>
                    <a:pt x="2024" y="256"/>
                  </a:lnTo>
                  <a:lnTo>
                    <a:pt x="2023" y="256"/>
                  </a:lnTo>
                  <a:lnTo>
                    <a:pt x="2021" y="256"/>
                  </a:lnTo>
                  <a:lnTo>
                    <a:pt x="2019" y="256"/>
                  </a:lnTo>
                  <a:lnTo>
                    <a:pt x="2015" y="253"/>
                  </a:lnTo>
                  <a:lnTo>
                    <a:pt x="2012" y="253"/>
                  </a:lnTo>
                  <a:lnTo>
                    <a:pt x="2012" y="251"/>
                  </a:lnTo>
                  <a:lnTo>
                    <a:pt x="2012" y="249"/>
                  </a:lnTo>
                  <a:lnTo>
                    <a:pt x="2012" y="247"/>
                  </a:lnTo>
                  <a:lnTo>
                    <a:pt x="2012" y="245"/>
                  </a:lnTo>
                  <a:lnTo>
                    <a:pt x="2010" y="245"/>
                  </a:lnTo>
                  <a:lnTo>
                    <a:pt x="2010" y="245"/>
                  </a:lnTo>
                  <a:lnTo>
                    <a:pt x="2008" y="245"/>
                  </a:lnTo>
                  <a:lnTo>
                    <a:pt x="2005" y="242"/>
                  </a:lnTo>
                  <a:lnTo>
                    <a:pt x="2001" y="242"/>
                  </a:lnTo>
                  <a:lnTo>
                    <a:pt x="1999" y="240"/>
                  </a:lnTo>
                  <a:lnTo>
                    <a:pt x="1999" y="238"/>
                  </a:lnTo>
                  <a:lnTo>
                    <a:pt x="1999" y="233"/>
                  </a:lnTo>
                  <a:lnTo>
                    <a:pt x="1999" y="231"/>
                  </a:lnTo>
                  <a:lnTo>
                    <a:pt x="1997" y="231"/>
                  </a:lnTo>
                  <a:lnTo>
                    <a:pt x="1996" y="229"/>
                  </a:lnTo>
                  <a:lnTo>
                    <a:pt x="1994" y="229"/>
                  </a:lnTo>
                  <a:lnTo>
                    <a:pt x="1990" y="218"/>
                  </a:lnTo>
                  <a:lnTo>
                    <a:pt x="1988" y="217"/>
                  </a:lnTo>
                  <a:lnTo>
                    <a:pt x="1979" y="207"/>
                  </a:lnTo>
                  <a:lnTo>
                    <a:pt x="1976" y="206"/>
                  </a:lnTo>
                  <a:lnTo>
                    <a:pt x="1976" y="206"/>
                  </a:lnTo>
                  <a:lnTo>
                    <a:pt x="1976" y="204"/>
                  </a:lnTo>
                  <a:lnTo>
                    <a:pt x="1974" y="202"/>
                  </a:lnTo>
                  <a:lnTo>
                    <a:pt x="1974" y="200"/>
                  </a:lnTo>
                  <a:lnTo>
                    <a:pt x="1972" y="202"/>
                  </a:lnTo>
                  <a:lnTo>
                    <a:pt x="1968" y="206"/>
                  </a:lnTo>
                  <a:lnTo>
                    <a:pt x="1967" y="206"/>
                  </a:lnTo>
                  <a:lnTo>
                    <a:pt x="1961" y="206"/>
                  </a:lnTo>
                  <a:lnTo>
                    <a:pt x="1959" y="207"/>
                  </a:lnTo>
                  <a:lnTo>
                    <a:pt x="1959" y="207"/>
                  </a:lnTo>
                  <a:lnTo>
                    <a:pt x="1959" y="209"/>
                  </a:lnTo>
                  <a:lnTo>
                    <a:pt x="1959" y="209"/>
                  </a:lnTo>
                  <a:lnTo>
                    <a:pt x="1959" y="209"/>
                  </a:lnTo>
                  <a:lnTo>
                    <a:pt x="1959" y="211"/>
                  </a:lnTo>
                  <a:lnTo>
                    <a:pt x="1959" y="211"/>
                  </a:lnTo>
                  <a:lnTo>
                    <a:pt x="1961" y="211"/>
                  </a:lnTo>
                  <a:lnTo>
                    <a:pt x="1961" y="213"/>
                  </a:lnTo>
                  <a:lnTo>
                    <a:pt x="1961" y="213"/>
                  </a:lnTo>
                  <a:lnTo>
                    <a:pt x="1959" y="215"/>
                  </a:lnTo>
                  <a:lnTo>
                    <a:pt x="1959" y="217"/>
                  </a:lnTo>
                  <a:lnTo>
                    <a:pt x="1959" y="217"/>
                  </a:lnTo>
                  <a:lnTo>
                    <a:pt x="1956" y="218"/>
                  </a:lnTo>
                  <a:lnTo>
                    <a:pt x="1956" y="218"/>
                  </a:lnTo>
                  <a:lnTo>
                    <a:pt x="1954" y="220"/>
                  </a:lnTo>
                  <a:lnTo>
                    <a:pt x="1954" y="222"/>
                  </a:lnTo>
                  <a:lnTo>
                    <a:pt x="1950" y="220"/>
                  </a:lnTo>
                  <a:lnTo>
                    <a:pt x="1949" y="220"/>
                  </a:lnTo>
                  <a:lnTo>
                    <a:pt x="1947" y="222"/>
                  </a:lnTo>
                  <a:lnTo>
                    <a:pt x="1949" y="222"/>
                  </a:lnTo>
                  <a:lnTo>
                    <a:pt x="1956" y="227"/>
                  </a:lnTo>
                  <a:lnTo>
                    <a:pt x="1956" y="227"/>
                  </a:lnTo>
                  <a:lnTo>
                    <a:pt x="1958" y="229"/>
                  </a:lnTo>
                  <a:lnTo>
                    <a:pt x="1961" y="233"/>
                  </a:lnTo>
                  <a:lnTo>
                    <a:pt x="1961" y="233"/>
                  </a:lnTo>
                  <a:lnTo>
                    <a:pt x="1963" y="235"/>
                  </a:lnTo>
                  <a:lnTo>
                    <a:pt x="1963" y="238"/>
                  </a:lnTo>
                  <a:lnTo>
                    <a:pt x="1963" y="238"/>
                  </a:lnTo>
                  <a:lnTo>
                    <a:pt x="1947" y="231"/>
                  </a:lnTo>
                  <a:lnTo>
                    <a:pt x="1943" y="231"/>
                  </a:lnTo>
                  <a:lnTo>
                    <a:pt x="1943" y="233"/>
                  </a:lnTo>
                  <a:lnTo>
                    <a:pt x="1943" y="236"/>
                  </a:lnTo>
                  <a:lnTo>
                    <a:pt x="1945" y="236"/>
                  </a:lnTo>
                  <a:close/>
                  <a:moveTo>
                    <a:pt x="1755" y="412"/>
                  </a:moveTo>
                  <a:lnTo>
                    <a:pt x="1755" y="412"/>
                  </a:lnTo>
                  <a:lnTo>
                    <a:pt x="1754" y="413"/>
                  </a:lnTo>
                  <a:lnTo>
                    <a:pt x="1754" y="413"/>
                  </a:lnTo>
                  <a:lnTo>
                    <a:pt x="1752" y="417"/>
                  </a:lnTo>
                  <a:lnTo>
                    <a:pt x="1752" y="417"/>
                  </a:lnTo>
                  <a:lnTo>
                    <a:pt x="1752" y="419"/>
                  </a:lnTo>
                  <a:lnTo>
                    <a:pt x="1752" y="419"/>
                  </a:lnTo>
                  <a:lnTo>
                    <a:pt x="1752" y="421"/>
                  </a:lnTo>
                  <a:lnTo>
                    <a:pt x="1754" y="421"/>
                  </a:lnTo>
                  <a:lnTo>
                    <a:pt x="1755" y="419"/>
                  </a:lnTo>
                  <a:lnTo>
                    <a:pt x="1757" y="419"/>
                  </a:lnTo>
                  <a:lnTo>
                    <a:pt x="1757" y="417"/>
                  </a:lnTo>
                  <a:lnTo>
                    <a:pt x="1757" y="413"/>
                  </a:lnTo>
                  <a:lnTo>
                    <a:pt x="1757" y="413"/>
                  </a:lnTo>
                  <a:lnTo>
                    <a:pt x="1755" y="412"/>
                  </a:lnTo>
                  <a:close/>
                  <a:moveTo>
                    <a:pt x="1795" y="422"/>
                  </a:moveTo>
                  <a:lnTo>
                    <a:pt x="1792" y="421"/>
                  </a:lnTo>
                  <a:lnTo>
                    <a:pt x="1790" y="421"/>
                  </a:lnTo>
                  <a:lnTo>
                    <a:pt x="1784" y="424"/>
                  </a:lnTo>
                  <a:lnTo>
                    <a:pt x="1784" y="424"/>
                  </a:lnTo>
                  <a:lnTo>
                    <a:pt x="1784" y="426"/>
                  </a:lnTo>
                  <a:lnTo>
                    <a:pt x="1786" y="426"/>
                  </a:lnTo>
                  <a:lnTo>
                    <a:pt x="1792" y="424"/>
                  </a:lnTo>
                  <a:lnTo>
                    <a:pt x="1797" y="426"/>
                  </a:lnTo>
                  <a:lnTo>
                    <a:pt x="1797" y="424"/>
                  </a:lnTo>
                  <a:lnTo>
                    <a:pt x="1795" y="422"/>
                  </a:lnTo>
                  <a:close/>
                  <a:moveTo>
                    <a:pt x="1683" y="88"/>
                  </a:moveTo>
                  <a:lnTo>
                    <a:pt x="1683" y="88"/>
                  </a:lnTo>
                  <a:lnTo>
                    <a:pt x="1681" y="86"/>
                  </a:lnTo>
                  <a:lnTo>
                    <a:pt x="1681" y="83"/>
                  </a:lnTo>
                  <a:lnTo>
                    <a:pt x="1683" y="81"/>
                  </a:lnTo>
                  <a:lnTo>
                    <a:pt x="1681" y="81"/>
                  </a:lnTo>
                  <a:lnTo>
                    <a:pt x="1680" y="79"/>
                  </a:lnTo>
                  <a:lnTo>
                    <a:pt x="1680" y="79"/>
                  </a:lnTo>
                  <a:lnTo>
                    <a:pt x="1678" y="79"/>
                  </a:lnTo>
                  <a:lnTo>
                    <a:pt x="1678" y="81"/>
                  </a:lnTo>
                  <a:lnTo>
                    <a:pt x="1676" y="81"/>
                  </a:lnTo>
                  <a:lnTo>
                    <a:pt x="1676" y="83"/>
                  </a:lnTo>
                  <a:lnTo>
                    <a:pt x="1678" y="81"/>
                  </a:lnTo>
                  <a:lnTo>
                    <a:pt x="1680" y="83"/>
                  </a:lnTo>
                  <a:lnTo>
                    <a:pt x="1680" y="83"/>
                  </a:lnTo>
                  <a:lnTo>
                    <a:pt x="1678" y="85"/>
                  </a:lnTo>
                  <a:lnTo>
                    <a:pt x="1676" y="85"/>
                  </a:lnTo>
                  <a:lnTo>
                    <a:pt x="1661" y="72"/>
                  </a:lnTo>
                  <a:lnTo>
                    <a:pt x="1661" y="70"/>
                  </a:lnTo>
                  <a:lnTo>
                    <a:pt x="1663" y="70"/>
                  </a:lnTo>
                  <a:lnTo>
                    <a:pt x="1665" y="70"/>
                  </a:lnTo>
                  <a:lnTo>
                    <a:pt x="1667" y="68"/>
                  </a:lnTo>
                  <a:lnTo>
                    <a:pt x="1665" y="67"/>
                  </a:lnTo>
                  <a:lnTo>
                    <a:pt x="1661" y="63"/>
                  </a:lnTo>
                  <a:lnTo>
                    <a:pt x="1660" y="63"/>
                  </a:lnTo>
                  <a:lnTo>
                    <a:pt x="1661" y="63"/>
                  </a:lnTo>
                  <a:lnTo>
                    <a:pt x="1663" y="63"/>
                  </a:lnTo>
                  <a:lnTo>
                    <a:pt x="1665" y="67"/>
                  </a:lnTo>
                  <a:lnTo>
                    <a:pt x="1667" y="68"/>
                  </a:lnTo>
                  <a:lnTo>
                    <a:pt x="1667" y="72"/>
                  </a:lnTo>
                  <a:lnTo>
                    <a:pt x="1669" y="74"/>
                  </a:lnTo>
                  <a:lnTo>
                    <a:pt x="1672" y="77"/>
                  </a:lnTo>
                  <a:lnTo>
                    <a:pt x="1674" y="77"/>
                  </a:lnTo>
                  <a:lnTo>
                    <a:pt x="1672" y="76"/>
                  </a:lnTo>
                  <a:lnTo>
                    <a:pt x="1672" y="74"/>
                  </a:lnTo>
                  <a:lnTo>
                    <a:pt x="1671" y="72"/>
                  </a:lnTo>
                  <a:lnTo>
                    <a:pt x="1671" y="72"/>
                  </a:lnTo>
                  <a:lnTo>
                    <a:pt x="1669" y="70"/>
                  </a:lnTo>
                  <a:lnTo>
                    <a:pt x="1669" y="65"/>
                  </a:lnTo>
                  <a:lnTo>
                    <a:pt x="1667" y="65"/>
                  </a:lnTo>
                  <a:lnTo>
                    <a:pt x="1667" y="63"/>
                  </a:lnTo>
                  <a:lnTo>
                    <a:pt x="1660" y="58"/>
                  </a:lnTo>
                  <a:lnTo>
                    <a:pt x="1658" y="58"/>
                  </a:lnTo>
                  <a:lnTo>
                    <a:pt x="1656" y="59"/>
                  </a:lnTo>
                  <a:lnTo>
                    <a:pt x="1656" y="61"/>
                  </a:lnTo>
                  <a:lnTo>
                    <a:pt x="1658" y="63"/>
                  </a:lnTo>
                  <a:lnTo>
                    <a:pt x="1660" y="67"/>
                  </a:lnTo>
                  <a:lnTo>
                    <a:pt x="1658" y="67"/>
                  </a:lnTo>
                  <a:lnTo>
                    <a:pt x="1658" y="67"/>
                  </a:lnTo>
                  <a:lnTo>
                    <a:pt x="1656" y="63"/>
                  </a:lnTo>
                  <a:lnTo>
                    <a:pt x="1654" y="61"/>
                  </a:lnTo>
                  <a:lnTo>
                    <a:pt x="1649" y="61"/>
                  </a:lnTo>
                  <a:lnTo>
                    <a:pt x="1647" y="61"/>
                  </a:lnTo>
                  <a:lnTo>
                    <a:pt x="1647" y="63"/>
                  </a:lnTo>
                  <a:lnTo>
                    <a:pt x="1645" y="63"/>
                  </a:lnTo>
                  <a:lnTo>
                    <a:pt x="1643" y="63"/>
                  </a:lnTo>
                  <a:lnTo>
                    <a:pt x="1642" y="63"/>
                  </a:lnTo>
                  <a:lnTo>
                    <a:pt x="1642" y="65"/>
                  </a:lnTo>
                  <a:lnTo>
                    <a:pt x="1634" y="67"/>
                  </a:lnTo>
                  <a:lnTo>
                    <a:pt x="1634" y="68"/>
                  </a:lnTo>
                  <a:lnTo>
                    <a:pt x="1633" y="68"/>
                  </a:lnTo>
                  <a:lnTo>
                    <a:pt x="1633" y="74"/>
                  </a:lnTo>
                  <a:lnTo>
                    <a:pt x="1634" y="76"/>
                  </a:lnTo>
                  <a:lnTo>
                    <a:pt x="1634" y="79"/>
                  </a:lnTo>
                  <a:lnTo>
                    <a:pt x="1640" y="83"/>
                  </a:lnTo>
                  <a:lnTo>
                    <a:pt x="1645" y="85"/>
                  </a:lnTo>
                  <a:lnTo>
                    <a:pt x="1647" y="83"/>
                  </a:lnTo>
                  <a:lnTo>
                    <a:pt x="1651" y="83"/>
                  </a:lnTo>
                  <a:lnTo>
                    <a:pt x="1652" y="85"/>
                  </a:lnTo>
                  <a:lnTo>
                    <a:pt x="1654" y="86"/>
                  </a:lnTo>
                  <a:lnTo>
                    <a:pt x="1656" y="88"/>
                  </a:lnTo>
                  <a:lnTo>
                    <a:pt x="1656" y="90"/>
                  </a:lnTo>
                  <a:lnTo>
                    <a:pt x="1656" y="92"/>
                  </a:lnTo>
                  <a:lnTo>
                    <a:pt x="1660" y="94"/>
                  </a:lnTo>
                  <a:lnTo>
                    <a:pt x="1661" y="96"/>
                  </a:lnTo>
                  <a:lnTo>
                    <a:pt x="1661" y="97"/>
                  </a:lnTo>
                  <a:lnTo>
                    <a:pt x="1661" y="99"/>
                  </a:lnTo>
                  <a:lnTo>
                    <a:pt x="1661" y="101"/>
                  </a:lnTo>
                  <a:lnTo>
                    <a:pt x="1661" y="103"/>
                  </a:lnTo>
                  <a:lnTo>
                    <a:pt x="1663" y="105"/>
                  </a:lnTo>
                  <a:lnTo>
                    <a:pt x="1661" y="106"/>
                  </a:lnTo>
                  <a:lnTo>
                    <a:pt x="1669" y="112"/>
                  </a:lnTo>
                  <a:lnTo>
                    <a:pt x="1671" y="112"/>
                  </a:lnTo>
                  <a:lnTo>
                    <a:pt x="1671" y="114"/>
                  </a:lnTo>
                  <a:lnTo>
                    <a:pt x="1671" y="117"/>
                  </a:lnTo>
                  <a:lnTo>
                    <a:pt x="1672" y="121"/>
                  </a:lnTo>
                  <a:lnTo>
                    <a:pt x="1672" y="123"/>
                  </a:lnTo>
                  <a:lnTo>
                    <a:pt x="1672" y="126"/>
                  </a:lnTo>
                  <a:lnTo>
                    <a:pt x="1676" y="126"/>
                  </a:lnTo>
                  <a:lnTo>
                    <a:pt x="1678" y="124"/>
                  </a:lnTo>
                  <a:lnTo>
                    <a:pt x="1680" y="123"/>
                  </a:lnTo>
                  <a:lnTo>
                    <a:pt x="1678" y="119"/>
                  </a:lnTo>
                  <a:lnTo>
                    <a:pt x="1676" y="119"/>
                  </a:lnTo>
                  <a:lnTo>
                    <a:pt x="1674" y="115"/>
                  </a:lnTo>
                  <a:lnTo>
                    <a:pt x="1674" y="110"/>
                  </a:lnTo>
                  <a:lnTo>
                    <a:pt x="1676" y="108"/>
                  </a:lnTo>
                  <a:lnTo>
                    <a:pt x="1676" y="106"/>
                  </a:lnTo>
                  <a:lnTo>
                    <a:pt x="1678" y="108"/>
                  </a:lnTo>
                  <a:lnTo>
                    <a:pt x="1678" y="108"/>
                  </a:lnTo>
                  <a:lnTo>
                    <a:pt x="1680" y="108"/>
                  </a:lnTo>
                  <a:lnTo>
                    <a:pt x="1680" y="106"/>
                  </a:lnTo>
                  <a:lnTo>
                    <a:pt x="1680" y="106"/>
                  </a:lnTo>
                  <a:lnTo>
                    <a:pt x="1680" y="105"/>
                  </a:lnTo>
                  <a:lnTo>
                    <a:pt x="1680" y="105"/>
                  </a:lnTo>
                  <a:lnTo>
                    <a:pt x="1680" y="103"/>
                  </a:lnTo>
                  <a:lnTo>
                    <a:pt x="1680" y="101"/>
                  </a:lnTo>
                  <a:lnTo>
                    <a:pt x="1681" y="99"/>
                  </a:lnTo>
                  <a:lnTo>
                    <a:pt x="1683" y="97"/>
                  </a:lnTo>
                  <a:lnTo>
                    <a:pt x="1683" y="96"/>
                  </a:lnTo>
                  <a:lnTo>
                    <a:pt x="1683" y="92"/>
                  </a:lnTo>
                  <a:lnTo>
                    <a:pt x="1683" y="92"/>
                  </a:lnTo>
                  <a:lnTo>
                    <a:pt x="1683" y="90"/>
                  </a:lnTo>
                  <a:lnTo>
                    <a:pt x="1683" y="88"/>
                  </a:lnTo>
                  <a:close/>
                  <a:moveTo>
                    <a:pt x="1768" y="422"/>
                  </a:moveTo>
                  <a:lnTo>
                    <a:pt x="1768" y="422"/>
                  </a:lnTo>
                  <a:lnTo>
                    <a:pt x="1768" y="422"/>
                  </a:lnTo>
                  <a:lnTo>
                    <a:pt x="1768" y="424"/>
                  </a:lnTo>
                  <a:lnTo>
                    <a:pt x="1770" y="426"/>
                  </a:lnTo>
                  <a:lnTo>
                    <a:pt x="1772" y="426"/>
                  </a:lnTo>
                  <a:lnTo>
                    <a:pt x="1773" y="426"/>
                  </a:lnTo>
                  <a:lnTo>
                    <a:pt x="1773" y="424"/>
                  </a:lnTo>
                  <a:lnTo>
                    <a:pt x="1773" y="422"/>
                  </a:lnTo>
                  <a:lnTo>
                    <a:pt x="1772" y="422"/>
                  </a:lnTo>
                  <a:lnTo>
                    <a:pt x="1768" y="422"/>
                  </a:lnTo>
                  <a:close/>
                  <a:moveTo>
                    <a:pt x="1732" y="515"/>
                  </a:moveTo>
                  <a:lnTo>
                    <a:pt x="1732" y="516"/>
                  </a:lnTo>
                  <a:lnTo>
                    <a:pt x="1732" y="516"/>
                  </a:lnTo>
                  <a:lnTo>
                    <a:pt x="1734" y="518"/>
                  </a:lnTo>
                  <a:lnTo>
                    <a:pt x="1737" y="515"/>
                  </a:lnTo>
                  <a:lnTo>
                    <a:pt x="1739" y="515"/>
                  </a:lnTo>
                  <a:lnTo>
                    <a:pt x="1739" y="513"/>
                  </a:lnTo>
                  <a:lnTo>
                    <a:pt x="1739" y="511"/>
                  </a:lnTo>
                  <a:lnTo>
                    <a:pt x="1739" y="509"/>
                  </a:lnTo>
                  <a:lnTo>
                    <a:pt x="1739" y="509"/>
                  </a:lnTo>
                  <a:lnTo>
                    <a:pt x="1739" y="507"/>
                  </a:lnTo>
                  <a:lnTo>
                    <a:pt x="1737" y="507"/>
                  </a:lnTo>
                  <a:lnTo>
                    <a:pt x="1737" y="507"/>
                  </a:lnTo>
                  <a:lnTo>
                    <a:pt x="1737" y="507"/>
                  </a:lnTo>
                  <a:lnTo>
                    <a:pt x="1739" y="507"/>
                  </a:lnTo>
                  <a:lnTo>
                    <a:pt x="1739" y="506"/>
                  </a:lnTo>
                  <a:lnTo>
                    <a:pt x="1739" y="506"/>
                  </a:lnTo>
                  <a:lnTo>
                    <a:pt x="1737" y="506"/>
                  </a:lnTo>
                  <a:lnTo>
                    <a:pt x="1734" y="509"/>
                  </a:lnTo>
                  <a:lnTo>
                    <a:pt x="1734" y="511"/>
                  </a:lnTo>
                  <a:lnTo>
                    <a:pt x="1732" y="513"/>
                  </a:lnTo>
                  <a:lnTo>
                    <a:pt x="1732" y="515"/>
                  </a:lnTo>
                  <a:lnTo>
                    <a:pt x="1732" y="515"/>
                  </a:lnTo>
                  <a:lnTo>
                    <a:pt x="1732" y="515"/>
                  </a:lnTo>
                  <a:close/>
                  <a:moveTo>
                    <a:pt x="815" y="999"/>
                  </a:moveTo>
                  <a:lnTo>
                    <a:pt x="816" y="1000"/>
                  </a:lnTo>
                  <a:lnTo>
                    <a:pt x="818" y="1004"/>
                  </a:lnTo>
                  <a:lnTo>
                    <a:pt x="820" y="1006"/>
                  </a:lnTo>
                  <a:lnTo>
                    <a:pt x="822" y="1004"/>
                  </a:lnTo>
                  <a:lnTo>
                    <a:pt x="824" y="1004"/>
                  </a:lnTo>
                  <a:lnTo>
                    <a:pt x="824" y="1002"/>
                  </a:lnTo>
                  <a:lnTo>
                    <a:pt x="824" y="1000"/>
                  </a:lnTo>
                  <a:lnTo>
                    <a:pt x="820" y="999"/>
                  </a:lnTo>
                  <a:lnTo>
                    <a:pt x="818" y="997"/>
                  </a:lnTo>
                  <a:lnTo>
                    <a:pt x="816" y="995"/>
                  </a:lnTo>
                  <a:lnTo>
                    <a:pt x="816" y="995"/>
                  </a:lnTo>
                  <a:lnTo>
                    <a:pt x="815" y="997"/>
                  </a:lnTo>
                  <a:lnTo>
                    <a:pt x="815" y="999"/>
                  </a:lnTo>
                  <a:lnTo>
                    <a:pt x="815" y="999"/>
                  </a:lnTo>
                  <a:close/>
                  <a:moveTo>
                    <a:pt x="825" y="912"/>
                  </a:moveTo>
                  <a:lnTo>
                    <a:pt x="825" y="912"/>
                  </a:lnTo>
                  <a:lnTo>
                    <a:pt x="825" y="912"/>
                  </a:lnTo>
                  <a:lnTo>
                    <a:pt x="825" y="912"/>
                  </a:lnTo>
                  <a:lnTo>
                    <a:pt x="829" y="910"/>
                  </a:lnTo>
                  <a:lnTo>
                    <a:pt x="831" y="910"/>
                  </a:lnTo>
                  <a:lnTo>
                    <a:pt x="833" y="910"/>
                  </a:lnTo>
                  <a:lnTo>
                    <a:pt x="834" y="908"/>
                  </a:lnTo>
                  <a:lnTo>
                    <a:pt x="834" y="908"/>
                  </a:lnTo>
                  <a:lnTo>
                    <a:pt x="833" y="908"/>
                  </a:lnTo>
                  <a:lnTo>
                    <a:pt x="831" y="908"/>
                  </a:lnTo>
                  <a:lnTo>
                    <a:pt x="825" y="908"/>
                  </a:lnTo>
                  <a:lnTo>
                    <a:pt x="824" y="908"/>
                  </a:lnTo>
                  <a:lnTo>
                    <a:pt x="824" y="908"/>
                  </a:lnTo>
                  <a:lnTo>
                    <a:pt x="824" y="907"/>
                  </a:lnTo>
                  <a:lnTo>
                    <a:pt x="824" y="907"/>
                  </a:lnTo>
                  <a:lnTo>
                    <a:pt x="822" y="907"/>
                  </a:lnTo>
                  <a:lnTo>
                    <a:pt x="822" y="905"/>
                  </a:lnTo>
                  <a:lnTo>
                    <a:pt x="822" y="905"/>
                  </a:lnTo>
                  <a:lnTo>
                    <a:pt x="820" y="905"/>
                  </a:lnTo>
                  <a:lnTo>
                    <a:pt x="822" y="905"/>
                  </a:lnTo>
                  <a:lnTo>
                    <a:pt x="820" y="905"/>
                  </a:lnTo>
                  <a:lnTo>
                    <a:pt x="820" y="905"/>
                  </a:lnTo>
                  <a:lnTo>
                    <a:pt x="818" y="905"/>
                  </a:lnTo>
                  <a:lnTo>
                    <a:pt x="818" y="907"/>
                  </a:lnTo>
                  <a:lnTo>
                    <a:pt x="818" y="908"/>
                  </a:lnTo>
                  <a:lnTo>
                    <a:pt x="818" y="910"/>
                  </a:lnTo>
                  <a:lnTo>
                    <a:pt x="822" y="912"/>
                  </a:lnTo>
                  <a:lnTo>
                    <a:pt x="824" y="912"/>
                  </a:lnTo>
                  <a:lnTo>
                    <a:pt x="824" y="912"/>
                  </a:lnTo>
                  <a:lnTo>
                    <a:pt x="825" y="912"/>
                  </a:lnTo>
                  <a:close/>
                  <a:moveTo>
                    <a:pt x="816" y="925"/>
                  </a:moveTo>
                  <a:lnTo>
                    <a:pt x="818" y="925"/>
                  </a:lnTo>
                  <a:lnTo>
                    <a:pt x="820" y="925"/>
                  </a:lnTo>
                  <a:lnTo>
                    <a:pt x="822" y="925"/>
                  </a:lnTo>
                  <a:lnTo>
                    <a:pt x="822" y="923"/>
                  </a:lnTo>
                  <a:lnTo>
                    <a:pt x="822" y="923"/>
                  </a:lnTo>
                  <a:lnTo>
                    <a:pt x="822" y="921"/>
                  </a:lnTo>
                  <a:lnTo>
                    <a:pt x="822" y="921"/>
                  </a:lnTo>
                  <a:lnTo>
                    <a:pt x="822" y="921"/>
                  </a:lnTo>
                  <a:lnTo>
                    <a:pt x="822" y="921"/>
                  </a:lnTo>
                  <a:lnTo>
                    <a:pt x="820" y="921"/>
                  </a:lnTo>
                  <a:lnTo>
                    <a:pt x="820" y="921"/>
                  </a:lnTo>
                  <a:lnTo>
                    <a:pt x="820" y="921"/>
                  </a:lnTo>
                  <a:lnTo>
                    <a:pt x="818" y="921"/>
                  </a:lnTo>
                  <a:lnTo>
                    <a:pt x="816" y="921"/>
                  </a:lnTo>
                  <a:lnTo>
                    <a:pt x="816" y="923"/>
                  </a:lnTo>
                  <a:lnTo>
                    <a:pt x="816" y="923"/>
                  </a:lnTo>
                  <a:lnTo>
                    <a:pt x="816" y="925"/>
                  </a:lnTo>
                  <a:lnTo>
                    <a:pt x="816" y="925"/>
                  </a:lnTo>
                  <a:close/>
                  <a:moveTo>
                    <a:pt x="1015" y="963"/>
                  </a:moveTo>
                  <a:lnTo>
                    <a:pt x="1013" y="964"/>
                  </a:lnTo>
                  <a:lnTo>
                    <a:pt x="1013" y="964"/>
                  </a:lnTo>
                  <a:lnTo>
                    <a:pt x="1013" y="964"/>
                  </a:lnTo>
                  <a:lnTo>
                    <a:pt x="1015" y="964"/>
                  </a:lnTo>
                  <a:lnTo>
                    <a:pt x="1015" y="964"/>
                  </a:lnTo>
                  <a:lnTo>
                    <a:pt x="1017" y="966"/>
                  </a:lnTo>
                  <a:lnTo>
                    <a:pt x="1019" y="966"/>
                  </a:lnTo>
                  <a:lnTo>
                    <a:pt x="1022" y="968"/>
                  </a:lnTo>
                  <a:lnTo>
                    <a:pt x="1024" y="968"/>
                  </a:lnTo>
                  <a:lnTo>
                    <a:pt x="1026" y="968"/>
                  </a:lnTo>
                  <a:lnTo>
                    <a:pt x="1028" y="970"/>
                  </a:lnTo>
                  <a:lnTo>
                    <a:pt x="1028" y="972"/>
                  </a:lnTo>
                  <a:lnTo>
                    <a:pt x="1029" y="975"/>
                  </a:lnTo>
                  <a:lnTo>
                    <a:pt x="1031" y="977"/>
                  </a:lnTo>
                  <a:lnTo>
                    <a:pt x="1038" y="977"/>
                  </a:lnTo>
                  <a:lnTo>
                    <a:pt x="1044" y="979"/>
                  </a:lnTo>
                  <a:lnTo>
                    <a:pt x="1044" y="977"/>
                  </a:lnTo>
                  <a:lnTo>
                    <a:pt x="1044" y="977"/>
                  </a:lnTo>
                  <a:lnTo>
                    <a:pt x="1044" y="977"/>
                  </a:lnTo>
                  <a:lnTo>
                    <a:pt x="1044" y="977"/>
                  </a:lnTo>
                  <a:lnTo>
                    <a:pt x="1044" y="975"/>
                  </a:lnTo>
                  <a:lnTo>
                    <a:pt x="1044" y="973"/>
                  </a:lnTo>
                  <a:lnTo>
                    <a:pt x="1044" y="973"/>
                  </a:lnTo>
                  <a:lnTo>
                    <a:pt x="1042" y="972"/>
                  </a:lnTo>
                  <a:lnTo>
                    <a:pt x="1038" y="972"/>
                  </a:lnTo>
                  <a:lnTo>
                    <a:pt x="1037" y="970"/>
                  </a:lnTo>
                  <a:lnTo>
                    <a:pt x="1035" y="968"/>
                  </a:lnTo>
                  <a:lnTo>
                    <a:pt x="1035" y="964"/>
                  </a:lnTo>
                  <a:lnTo>
                    <a:pt x="1035" y="964"/>
                  </a:lnTo>
                  <a:lnTo>
                    <a:pt x="1033" y="963"/>
                  </a:lnTo>
                  <a:lnTo>
                    <a:pt x="1031" y="961"/>
                  </a:lnTo>
                  <a:lnTo>
                    <a:pt x="1029" y="961"/>
                  </a:lnTo>
                  <a:lnTo>
                    <a:pt x="1026" y="963"/>
                  </a:lnTo>
                  <a:lnTo>
                    <a:pt x="1024" y="963"/>
                  </a:lnTo>
                  <a:lnTo>
                    <a:pt x="1022" y="961"/>
                  </a:lnTo>
                  <a:lnTo>
                    <a:pt x="1022" y="961"/>
                  </a:lnTo>
                  <a:lnTo>
                    <a:pt x="1020" y="961"/>
                  </a:lnTo>
                  <a:lnTo>
                    <a:pt x="1017" y="961"/>
                  </a:lnTo>
                  <a:lnTo>
                    <a:pt x="1015" y="963"/>
                  </a:lnTo>
                  <a:close/>
                  <a:moveTo>
                    <a:pt x="639" y="663"/>
                  </a:moveTo>
                  <a:lnTo>
                    <a:pt x="639" y="663"/>
                  </a:lnTo>
                  <a:lnTo>
                    <a:pt x="638" y="663"/>
                  </a:lnTo>
                  <a:lnTo>
                    <a:pt x="638" y="664"/>
                  </a:lnTo>
                  <a:lnTo>
                    <a:pt x="638" y="666"/>
                  </a:lnTo>
                  <a:lnTo>
                    <a:pt x="639" y="666"/>
                  </a:lnTo>
                  <a:lnTo>
                    <a:pt x="639" y="666"/>
                  </a:lnTo>
                  <a:lnTo>
                    <a:pt x="641" y="668"/>
                  </a:lnTo>
                  <a:lnTo>
                    <a:pt x="641" y="666"/>
                  </a:lnTo>
                  <a:lnTo>
                    <a:pt x="641" y="666"/>
                  </a:lnTo>
                  <a:lnTo>
                    <a:pt x="641" y="664"/>
                  </a:lnTo>
                  <a:lnTo>
                    <a:pt x="639" y="663"/>
                  </a:lnTo>
                  <a:close/>
                  <a:moveTo>
                    <a:pt x="2086" y="2019"/>
                  </a:moveTo>
                  <a:lnTo>
                    <a:pt x="2088" y="2017"/>
                  </a:lnTo>
                  <a:lnTo>
                    <a:pt x="2088" y="2017"/>
                  </a:lnTo>
                  <a:lnTo>
                    <a:pt x="2089" y="2016"/>
                  </a:lnTo>
                  <a:lnTo>
                    <a:pt x="2093" y="2017"/>
                  </a:lnTo>
                  <a:lnTo>
                    <a:pt x="2095" y="2017"/>
                  </a:lnTo>
                  <a:lnTo>
                    <a:pt x="2097" y="2021"/>
                  </a:lnTo>
                  <a:lnTo>
                    <a:pt x="2097" y="2021"/>
                  </a:lnTo>
                  <a:lnTo>
                    <a:pt x="2100" y="2023"/>
                  </a:lnTo>
                  <a:lnTo>
                    <a:pt x="2100" y="2025"/>
                  </a:lnTo>
                  <a:lnTo>
                    <a:pt x="2100" y="2026"/>
                  </a:lnTo>
                  <a:lnTo>
                    <a:pt x="2102" y="2026"/>
                  </a:lnTo>
                  <a:lnTo>
                    <a:pt x="2102" y="2026"/>
                  </a:lnTo>
                  <a:lnTo>
                    <a:pt x="2104" y="2025"/>
                  </a:lnTo>
                  <a:lnTo>
                    <a:pt x="2104" y="2025"/>
                  </a:lnTo>
                  <a:lnTo>
                    <a:pt x="2104" y="2023"/>
                  </a:lnTo>
                  <a:lnTo>
                    <a:pt x="2109" y="2023"/>
                  </a:lnTo>
                  <a:lnTo>
                    <a:pt x="2109" y="2023"/>
                  </a:lnTo>
                  <a:lnTo>
                    <a:pt x="2109" y="2023"/>
                  </a:lnTo>
                  <a:lnTo>
                    <a:pt x="2111" y="2023"/>
                  </a:lnTo>
                  <a:lnTo>
                    <a:pt x="2111" y="2021"/>
                  </a:lnTo>
                  <a:lnTo>
                    <a:pt x="2113" y="2021"/>
                  </a:lnTo>
                  <a:lnTo>
                    <a:pt x="2113" y="2023"/>
                  </a:lnTo>
                  <a:lnTo>
                    <a:pt x="2113" y="2023"/>
                  </a:lnTo>
                  <a:lnTo>
                    <a:pt x="2115" y="2025"/>
                  </a:lnTo>
                  <a:lnTo>
                    <a:pt x="2115" y="2025"/>
                  </a:lnTo>
                  <a:lnTo>
                    <a:pt x="2115" y="2026"/>
                  </a:lnTo>
                  <a:lnTo>
                    <a:pt x="2115" y="2026"/>
                  </a:lnTo>
                  <a:lnTo>
                    <a:pt x="2117" y="2026"/>
                  </a:lnTo>
                  <a:lnTo>
                    <a:pt x="2118" y="2026"/>
                  </a:lnTo>
                  <a:lnTo>
                    <a:pt x="2118" y="307"/>
                  </a:lnTo>
                  <a:lnTo>
                    <a:pt x="2111" y="305"/>
                  </a:lnTo>
                  <a:lnTo>
                    <a:pt x="2093" y="301"/>
                  </a:lnTo>
                  <a:lnTo>
                    <a:pt x="2091" y="300"/>
                  </a:lnTo>
                  <a:lnTo>
                    <a:pt x="2089" y="298"/>
                  </a:lnTo>
                  <a:lnTo>
                    <a:pt x="2088" y="296"/>
                  </a:lnTo>
                  <a:lnTo>
                    <a:pt x="2080" y="296"/>
                  </a:lnTo>
                  <a:lnTo>
                    <a:pt x="2080" y="294"/>
                  </a:lnTo>
                  <a:lnTo>
                    <a:pt x="2079" y="294"/>
                  </a:lnTo>
                  <a:lnTo>
                    <a:pt x="2079" y="291"/>
                  </a:lnTo>
                  <a:lnTo>
                    <a:pt x="2079" y="291"/>
                  </a:lnTo>
                  <a:lnTo>
                    <a:pt x="2077" y="291"/>
                  </a:lnTo>
                  <a:lnTo>
                    <a:pt x="2075" y="292"/>
                  </a:lnTo>
                  <a:lnTo>
                    <a:pt x="2075" y="294"/>
                  </a:lnTo>
                  <a:lnTo>
                    <a:pt x="2073" y="292"/>
                  </a:lnTo>
                  <a:lnTo>
                    <a:pt x="2071" y="291"/>
                  </a:lnTo>
                  <a:lnTo>
                    <a:pt x="2070" y="291"/>
                  </a:lnTo>
                  <a:lnTo>
                    <a:pt x="2061" y="292"/>
                  </a:lnTo>
                  <a:lnTo>
                    <a:pt x="2059" y="294"/>
                  </a:lnTo>
                  <a:lnTo>
                    <a:pt x="2059" y="296"/>
                  </a:lnTo>
                  <a:lnTo>
                    <a:pt x="2057" y="300"/>
                  </a:lnTo>
                  <a:lnTo>
                    <a:pt x="2057" y="301"/>
                  </a:lnTo>
                  <a:lnTo>
                    <a:pt x="2057" y="305"/>
                  </a:lnTo>
                  <a:lnTo>
                    <a:pt x="2059" y="307"/>
                  </a:lnTo>
                  <a:lnTo>
                    <a:pt x="2059" y="309"/>
                  </a:lnTo>
                  <a:lnTo>
                    <a:pt x="2059" y="310"/>
                  </a:lnTo>
                  <a:lnTo>
                    <a:pt x="2057" y="310"/>
                  </a:lnTo>
                  <a:lnTo>
                    <a:pt x="2057" y="309"/>
                  </a:lnTo>
                  <a:lnTo>
                    <a:pt x="2055" y="309"/>
                  </a:lnTo>
                  <a:lnTo>
                    <a:pt x="2055" y="310"/>
                  </a:lnTo>
                  <a:lnTo>
                    <a:pt x="2055" y="312"/>
                  </a:lnTo>
                  <a:lnTo>
                    <a:pt x="2055" y="314"/>
                  </a:lnTo>
                  <a:lnTo>
                    <a:pt x="2055" y="316"/>
                  </a:lnTo>
                  <a:lnTo>
                    <a:pt x="2057" y="318"/>
                  </a:lnTo>
                  <a:lnTo>
                    <a:pt x="2055" y="318"/>
                  </a:lnTo>
                  <a:lnTo>
                    <a:pt x="2033" y="319"/>
                  </a:lnTo>
                  <a:lnTo>
                    <a:pt x="2032" y="321"/>
                  </a:lnTo>
                  <a:lnTo>
                    <a:pt x="2030" y="325"/>
                  </a:lnTo>
                  <a:lnTo>
                    <a:pt x="2030" y="327"/>
                  </a:lnTo>
                  <a:lnTo>
                    <a:pt x="2030" y="329"/>
                  </a:lnTo>
                  <a:lnTo>
                    <a:pt x="2030" y="332"/>
                  </a:lnTo>
                  <a:lnTo>
                    <a:pt x="2030" y="334"/>
                  </a:lnTo>
                  <a:lnTo>
                    <a:pt x="2032" y="334"/>
                  </a:lnTo>
                  <a:lnTo>
                    <a:pt x="2033" y="336"/>
                  </a:lnTo>
                  <a:lnTo>
                    <a:pt x="2033" y="336"/>
                  </a:lnTo>
                  <a:lnTo>
                    <a:pt x="2033" y="338"/>
                  </a:lnTo>
                  <a:lnTo>
                    <a:pt x="2033" y="338"/>
                  </a:lnTo>
                  <a:lnTo>
                    <a:pt x="2033" y="339"/>
                  </a:lnTo>
                  <a:lnTo>
                    <a:pt x="2033" y="339"/>
                  </a:lnTo>
                  <a:lnTo>
                    <a:pt x="2035" y="343"/>
                  </a:lnTo>
                  <a:lnTo>
                    <a:pt x="2039" y="350"/>
                  </a:lnTo>
                  <a:lnTo>
                    <a:pt x="2039" y="350"/>
                  </a:lnTo>
                  <a:lnTo>
                    <a:pt x="2043" y="356"/>
                  </a:lnTo>
                  <a:lnTo>
                    <a:pt x="2044" y="357"/>
                  </a:lnTo>
                  <a:lnTo>
                    <a:pt x="2044" y="359"/>
                  </a:lnTo>
                  <a:lnTo>
                    <a:pt x="2044" y="361"/>
                  </a:lnTo>
                  <a:lnTo>
                    <a:pt x="2044" y="363"/>
                  </a:lnTo>
                  <a:lnTo>
                    <a:pt x="2044" y="363"/>
                  </a:lnTo>
                  <a:lnTo>
                    <a:pt x="2046" y="366"/>
                  </a:lnTo>
                  <a:lnTo>
                    <a:pt x="2048" y="366"/>
                  </a:lnTo>
                  <a:lnTo>
                    <a:pt x="2050" y="370"/>
                  </a:lnTo>
                  <a:lnTo>
                    <a:pt x="2052" y="372"/>
                  </a:lnTo>
                  <a:lnTo>
                    <a:pt x="2052" y="375"/>
                  </a:lnTo>
                  <a:lnTo>
                    <a:pt x="2052" y="377"/>
                  </a:lnTo>
                  <a:lnTo>
                    <a:pt x="2052" y="379"/>
                  </a:lnTo>
                  <a:lnTo>
                    <a:pt x="2052" y="388"/>
                  </a:lnTo>
                  <a:lnTo>
                    <a:pt x="2052" y="390"/>
                  </a:lnTo>
                  <a:lnTo>
                    <a:pt x="2052" y="394"/>
                  </a:lnTo>
                  <a:lnTo>
                    <a:pt x="2052" y="395"/>
                  </a:lnTo>
                  <a:lnTo>
                    <a:pt x="2053" y="397"/>
                  </a:lnTo>
                  <a:lnTo>
                    <a:pt x="2055" y="399"/>
                  </a:lnTo>
                  <a:lnTo>
                    <a:pt x="2059" y="399"/>
                  </a:lnTo>
                  <a:lnTo>
                    <a:pt x="2061" y="397"/>
                  </a:lnTo>
                  <a:lnTo>
                    <a:pt x="2059" y="397"/>
                  </a:lnTo>
                  <a:lnTo>
                    <a:pt x="2059" y="395"/>
                  </a:lnTo>
                  <a:lnTo>
                    <a:pt x="2059" y="395"/>
                  </a:lnTo>
                  <a:lnTo>
                    <a:pt x="2059" y="394"/>
                  </a:lnTo>
                  <a:lnTo>
                    <a:pt x="2059" y="392"/>
                  </a:lnTo>
                  <a:lnTo>
                    <a:pt x="2059" y="390"/>
                  </a:lnTo>
                  <a:lnTo>
                    <a:pt x="2059" y="390"/>
                  </a:lnTo>
                  <a:lnTo>
                    <a:pt x="2062" y="388"/>
                  </a:lnTo>
                  <a:lnTo>
                    <a:pt x="2064" y="392"/>
                  </a:lnTo>
                  <a:lnTo>
                    <a:pt x="2068" y="397"/>
                  </a:lnTo>
                  <a:lnTo>
                    <a:pt x="2070" y="403"/>
                  </a:lnTo>
                  <a:lnTo>
                    <a:pt x="2070" y="404"/>
                  </a:lnTo>
                  <a:lnTo>
                    <a:pt x="2070" y="408"/>
                  </a:lnTo>
                  <a:lnTo>
                    <a:pt x="2070" y="410"/>
                  </a:lnTo>
                  <a:lnTo>
                    <a:pt x="2070" y="412"/>
                  </a:lnTo>
                  <a:lnTo>
                    <a:pt x="2070" y="413"/>
                  </a:lnTo>
                  <a:lnTo>
                    <a:pt x="2070" y="415"/>
                  </a:lnTo>
                  <a:lnTo>
                    <a:pt x="2070" y="419"/>
                  </a:lnTo>
                  <a:lnTo>
                    <a:pt x="2070" y="421"/>
                  </a:lnTo>
                  <a:lnTo>
                    <a:pt x="2068" y="424"/>
                  </a:lnTo>
                  <a:lnTo>
                    <a:pt x="2070" y="424"/>
                  </a:lnTo>
                  <a:lnTo>
                    <a:pt x="2070" y="426"/>
                  </a:lnTo>
                  <a:lnTo>
                    <a:pt x="2070" y="426"/>
                  </a:lnTo>
                  <a:lnTo>
                    <a:pt x="2071" y="426"/>
                  </a:lnTo>
                  <a:lnTo>
                    <a:pt x="2066" y="428"/>
                  </a:lnTo>
                  <a:lnTo>
                    <a:pt x="2064" y="428"/>
                  </a:lnTo>
                  <a:lnTo>
                    <a:pt x="2061" y="431"/>
                  </a:lnTo>
                  <a:lnTo>
                    <a:pt x="2061" y="431"/>
                  </a:lnTo>
                  <a:lnTo>
                    <a:pt x="2059" y="437"/>
                  </a:lnTo>
                  <a:lnTo>
                    <a:pt x="2057" y="439"/>
                  </a:lnTo>
                  <a:lnTo>
                    <a:pt x="2050" y="450"/>
                  </a:lnTo>
                  <a:lnTo>
                    <a:pt x="2046" y="451"/>
                  </a:lnTo>
                  <a:lnTo>
                    <a:pt x="2026" y="457"/>
                  </a:lnTo>
                  <a:lnTo>
                    <a:pt x="2024" y="457"/>
                  </a:lnTo>
                  <a:lnTo>
                    <a:pt x="2019" y="453"/>
                  </a:lnTo>
                  <a:lnTo>
                    <a:pt x="2019" y="453"/>
                  </a:lnTo>
                  <a:lnTo>
                    <a:pt x="2014" y="457"/>
                  </a:lnTo>
                  <a:lnTo>
                    <a:pt x="2012" y="460"/>
                  </a:lnTo>
                  <a:lnTo>
                    <a:pt x="2010" y="464"/>
                  </a:lnTo>
                  <a:lnTo>
                    <a:pt x="2012" y="466"/>
                  </a:lnTo>
                  <a:lnTo>
                    <a:pt x="2012" y="466"/>
                  </a:lnTo>
                  <a:lnTo>
                    <a:pt x="2014" y="468"/>
                  </a:lnTo>
                  <a:lnTo>
                    <a:pt x="2015" y="471"/>
                  </a:lnTo>
                  <a:lnTo>
                    <a:pt x="2019" y="478"/>
                  </a:lnTo>
                  <a:lnTo>
                    <a:pt x="2021" y="480"/>
                  </a:lnTo>
                  <a:lnTo>
                    <a:pt x="2021" y="486"/>
                  </a:lnTo>
                  <a:lnTo>
                    <a:pt x="2021" y="487"/>
                  </a:lnTo>
                  <a:lnTo>
                    <a:pt x="2021" y="487"/>
                  </a:lnTo>
                  <a:lnTo>
                    <a:pt x="2017" y="495"/>
                  </a:lnTo>
                  <a:lnTo>
                    <a:pt x="2015" y="498"/>
                  </a:lnTo>
                  <a:lnTo>
                    <a:pt x="2006" y="506"/>
                  </a:lnTo>
                  <a:lnTo>
                    <a:pt x="1992" y="500"/>
                  </a:lnTo>
                  <a:lnTo>
                    <a:pt x="1978" y="497"/>
                  </a:lnTo>
                  <a:lnTo>
                    <a:pt x="1978" y="495"/>
                  </a:lnTo>
                  <a:lnTo>
                    <a:pt x="1976" y="491"/>
                  </a:lnTo>
                  <a:lnTo>
                    <a:pt x="1976" y="487"/>
                  </a:lnTo>
                  <a:lnTo>
                    <a:pt x="1976" y="486"/>
                  </a:lnTo>
                  <a:lnTo>
                    <a:pt x="1978" y="482"/>
                  </a:lnTo>
                  <a:lnTo>
                    <a:pt x="1978" y="480"/>
                  </a:lnTo>
                  <a:lnTo>
                    <a:pt x="1978" y="478"/>
                  </a:lnTo>
                  <a:lnTo>
                    <a:pt x="1979" y="478"/>
                  </a:lnTo>
                  <a:lnTo>
                    <a:pt x="1978" y="477"/>
                  </a:lnTo>
                  <a:lnTo>
                    <a:pt x="1978" y="475"/>
                  </a:lnTo>
                  <a:lnTo>
                    <a:pt x="1978" y="475"/>
                  </a:lnTo>
                  <a:lnTo>
                    <a:pt x="1976" y="473"/>
                  </a:lnTo>
                  <a:lnTo>
                    <a:pt x="1976" y="471"/>
                  </a:lnTo>
                  <a:lnTo>
                    <a:pt x="1976" y="469"/>
                  </a:lnTo>
                  <a:lnTo>
                    <a:pt x="1976" y="468"/>
                  </a:lnTo>
                  <a:lnTo>
                    <a:pt x="1976" y="466"/>
                  </a:lnTo>
                  <a:lnTo>
                    <a:pt x="1976" y="466"/>
                  </a:lnTo>
                  <a:lnTo>
                    <a:pt x="1978" y="464"/>
                  </a:lnTo>
                  <a:lnTo>
                    <a:pt x="1979" y="464"/>
                  </a:lnTo>
                  <a:lnTo>
                    <a:pt x="1979" y="462"/>
                  </a:lnTo>
                  <a:lnTo>
                    <a:pt x="1979" y="459"/>
                  </a:lnTo>
                  <a:lnTo>
                    <a:pt x="1981" y="457"/>
                  </a:lnTo>
                  <a:lnTo>
                    <a:pt x="1983" y="455"/>
                  </a:lnTo>
                  <a:lnTo>
                    <a:pt x="1985" y="453"/>
                  </a:lnTo>
                  <a:lnTo>
                    <a:pt x="1987" y="453"/>
                  </a:lnTo>
                  <a:lnTo>
                    <a:pt x="1990" y="455"/>
                  </a:lnTo>
                  <a:lnTo>
                    <a:pt x="1992" y="455"/>
                  </a:lnTo>
                  <a:lnTo>
                    <a:pt x="1994" y="453"/>
                  </a:lnTo>
                  <a:lnTo>
                    <a:pt x="1994" y="448"/>
                  </a:lnTo>
                  <a:lnTo>
                    <a:pt x="1994" y="446"/>
                  </a:lnTo>
                  <a:lnTo>
                    <a:pt x="1978" y="428"/>
                  </a:lnTo>
                  <a:lnTo>
                    <a:pt x="1970" y="422"/>
                  </a:lnTo>
                  <a:lnTo>
                    <a:pt x="1967" y="422"/>
                  </a:lnTo>
                  <a:lnTo>
                    <a:pt x="1968" y="421"/>
                  </a:lnTo>
                  <a:lnTo>
                    <a:pt x="1970" y="419"/>
                  </a:lnTo>
                  <a:lnTo>
                    <a:pt x="1979" y="417"/>
                  </a:lnTo>
                  <a:lnTo>
                    <a:pt x="1979" y="415"/>
                  </a:lnTo>
                  <a:lnTo>
                    <a:pt x="1981" y="415"/>
                  </a:lnTo>
                  <a:lnTo>
                    <a:pt x="1983" y="415"/>
                  </a:lnTo>
                  <a:lnTo>
                    <a:pt x="1985" y="415"/>
                  </a:lnTo>
                  <a:lnTo>
                    <a:pt x="1983" y="413"/>
                  </a:lnTo>
                  <a:lnTo>
                    <a:pt x="1983" y="413"/>
                  </a:lnTo>
                  <a:lnTo>
                    <a:pt x="1967" y="413"/>
                  </a:lnTo>
                  <a:lnTo>
                    <a:pt x="1952" y="421"/>
                  </a:lnTo>
                  <a:lnTo>
                    <a:pt x="1938" y="426"/>
                  </a:lnTo>
                  <a:lnTo>
                    <a:pt x="1936" y="428"/>
                  </a:lnTo>
                  <a:lnTo>
                    <a:pt x="1936" y="428"/>
                  </a:lnTo>
                  <a:lnTo>
                    <a:pt x="1936" y="430"/>
                  </a:lnTo>
                  <a:lnTo>
                    <a:pt x="1936" y="431"/>
                  </a:lnTo>
                  <a:lnTo>
                    <a:pt x="1936" y="431"/>
                  </a:lnTo>
                  <a:lnTo>
                    <a:pt x="1936" y="433"/>
                  </a:lnTo>
                  <a:lnTo>
                    <a:pt x="1936" y="433"/>
                  </a:lnTo>
                  <a:lnTo>
                    <a:pt x="1936" y="435"/>
                  </a:lnTo>
                  <a:lnTo>
                    <a:pt x="1936" y="435"/>
                  </a:lnTo>
                  <a:lnTo>
                    <a:pt x="1936" y="435"/>
                  </a:lnTo>
                  <a:lnTo>
                    <a:pt x="1936" y="437"/>
                  </a:lnTo>
                  <a:lnTo>
                    <a:pt x="1936" y="437"/>
                  </a:lnTo>
                  <a:lnTo>
                    <a:pt x="1936" y="437"/>
                  </a:lnTo>
                  <a:lnTo>
                    <a:pt x="1936" y="437"/>
                  </a:lnTo>
                  <a:lnTo>
                    <a:pt x="1938" y="439"/>
                  </a:lnTo>
                  <a:lnTo>
                    <a:pt x="1938" y="439"/>
                  </a:lnTo>
                  <a:lnTo>
                    <a:pt x="1938" y="439"/>
                  </a:lnTo>
                  <a:lnTo>
                    <a:pt x="1936" y="441"/>
                  </a:lnTo>
                  <a:lnTo>
                    <a:pt x="1936" y="441"/>
                  </a:lnTo>
                  <a:lnTo>
                    <a:pt x="1936" y="442"/>
                  </a:lnTo>
                  <a:lnTo>
                    <a:pt x="1938" y="442"/>
                  </a:lnTo>
                  <a:lnTo>
                    <a:pt x="1938" y="444"/>
                  </a:lnTo>
                  <a:lnTo>
                    <a:pt x="1941" y="444"/>
                  </a:lnTo>
                  <a:lnTo>
                    <a:pt x="1941" y="444"/>
                  </a:lnTo>
                  <a:lnTo>
                    <a:pt x="1943" y="446"/>
                  </a:lnTo>
                  <a:lnTo>
                    <a:pt x="1945" y="446"/>
                  </a:lnTo>
                  <a:lnTo>
                    <a:pt x="1943" y="450"/>
                  </a:lnTo>
                  <a:lnTo>
                    <a:pt x="1943" y="451"/>
                  </a:lnTo>
                  <a:lnTo>
                    <a:pt x="1940" y="450"/>
                  </a:lnTo>
                  <a:lnTo>
                    <a:pt x="1941" y="448"/>
                  </a:lnTo>
                  <a:lnTo>
                    <a:pt x="1940" y="446"/>
                  </a:lnTo>
                  <a:lnTo>
                    <a:pt x="1936" y="444"/>
                  </a:lnTo>
                  <a:lnTo>
                    <a:pt x="1936" y="444"/>
                  </a:lnTo>
                  <a:lnTo>
                    <a:pt x="1936" y="442"/>
                  </a:lnTo>
                  <a:lnTo>
                    <a:pt x="1934" y="439"/>
                  </a:lnTo>
                  <a:lnTo>
                    <a:pt x="1932" y="437"/>
                  </a:lnTo>
                  <a:lnTo>
                    <a:pt x="1932" y="437"/>
                  </a:lnTo>
                  <a:lnTo>
                    <a:pt x="1932" y="437"/>
                  </a:lnTo>
                  <a:lnTo>
                    <a:pt x="1932" y="435"/>
                  </a:lnTo>
                  <a:lnTo>
                    <a:pt x="1934" y="431"/>
                  </a:lnTo>
                  <a:lnTo>
                    <a:pt x="1934" y="430"/>
                  </a:lnTo>
                  <a:lnTo>
                    <a:pt x="1934" y="428"/>
                  </a:lnTo>
                  <a:lnTo>
                    <a:pt x="1931" y="430"/>
                  </a:lnTo>
                  <a:lnTo>
                    <a:pt x="1922" y="433"/>
                  </a:lnTo>
                  <a:lnTo>
                    <a:pt x="1920" y="435"/>
                  </a:lnTo>
                  <a:lnTo>
                    <a:pt x="1920" y="437"/>
                  </a:lnTo>
                  <a:lnTo>
                    <a:pt x="1920" y="439"/>
                  </a:lnTo>
                  <a:lnTo>
                    <a:pt x="1922" y="441"/>
                  </a:lnTo>
                  <a:lnTo>
                    <a:pt x="1922" y="441"/>
                  </a:lnTo>
                  <a:lnTo>
                    <a:pt x="1922" y="442"/>
                  </a:lnTo>
                  <a:lnTo>
                    <a:pt x="1920" y="448"/>
                  </a:lnTo>
                  <a:lnTo>
                    <a:pt x="1903" y="450"/>
                  </a:lnTo>
                  <a:lnTo>
                    <a:pt x="1902" y="451"/>
                  </a:lnTo>
                  <a:lnTo>
                    <a:pt x="1900" y="455"/>
                  </a:lnTo>
                  <a:lnTo>
                    <a:pt x="1900" y="457"/>
                  </a:lnTo>
                  <a:lnTo>
                    <a:pt x="1896" y="460"/>
                  </a:lnTo>
                  <a:lnTo>
                    <a:pt x="1894" y="462"/>
                  </a:lnTo>
                  <a:lnTo>
                    <a:pt x="1893" y="469"/>
                  </a:lnTo>
                  <a:lnTo>
                    <a:pt x="1893" y="471"/>
                  </a:lnTo>
                  <a:lnTo>
                    <a:pt x="1889" y="473"/>
                  </a:lnTo>
                  <a:lnTo>
                    <a:pt x="1876" y="477"/>
                  </a:lnTo>
                  <a:lnTo>
                    <a:pt x="1866" y="473"/>
                  </a:lnTo>
                  <a:lnTo>
                    <a:pt x="1857" y="464"/>
                  </a:lnTo>
                  <a:lnTo>
                    <a:pt x="1857" y="464"/>
                  </a:lnTo>
                  <a:lnTo>
                    <a:pt x="1855" y="464"/>
                  </a:lnTo>
                  <a:lnTo>
                    <a:pt x="1853" y="464"/>
                  </a:lnTo>
                  <a:lnTo>
                    <a:pt x="1851" y="464"/>
                  </a:lnTo>
                  <a:lnTo>
                    <a:pt x="1847" y="469"/>
                  </a:lnTo>
                  <a:lnTo>
                    <a:pt x="1847" y="471"/>
                  </a:lnTo>
                  <a:lnTo>
                    <a:pt x="1849" y="466"/>
                  </a:lnTo>
                  <a:lnTo>
                    <a:pt x="1847" y="466"/>
                  </a:lnTo>
                  <a:lnTo>
                    <a:pt x="1833" y="466"/>
                  </a:lnTo>
                  <a:lnTo>
                    <a:pt x="1829" y="466"/>
                  </a:lnTo>
                  <a:lnTo>
                    <a:pt x="1824" y="462"/>
                  </a:lnTo>
                  <a:lnTo>
                    <a:pt x="1822" y="460"/>
                  </a:lnTo>
                  <a:lnTo>
                    <a:pt x="1820" y="462"/>
                  </a:lnTo>
                  <a:lnTo>
                    <a:pt x="1811" y="469"/>
                  </a:lnTo>
                  <a:lnTo>
                    <a:pt x="1808" y="473"/>
                  </a:lnTo>
                  <a:lnTo>
                    <a:pt x="1802" y="473"/>
                  </a:lnTo>
                  <a:lnTo>
                    <a:pt x="1797" y="473"/>
                  </a:lnTo>
                  <a:lnTo>
                    <a:pt x="1792" y="475"/>
                  </a:lnTo>
                  <a:lnTo>
                    <a:pt x="1784" y="480"/>
                  </a:lnTo>
                  <a:lnTo>
                    <a:pt x="1782" y="480"/>
                  </a:lnTo>
                  <a:lnTo>
                    <a:pt x="1782" y="480"/>
                  </a:lnTo>
                  <a:lnTo>
                    <a:pt x="1782" y="482"/>
                  </a:lnTo>
                  <a:lnTo>
                    <a:pt x="1782" y="482"/>
                  </a:lnTo>
                  <a:lnTo>
                    <a:pt x="1782" y="484"/>
                  </a:lnTo>
                  <a:lnTo>
                    <a:pt x="1777" y="486"/>
                  </a:lnTo>
                  <a:lnTo>
                    <a:pt x="1777" y="486"/>
                  </a:lnTo>
                  <a:lnTo>
                    <a:pt x="1775" y="489"/>
                  </a:lnTo>
                  <a:lnTo>
                    <a:pt x="1775" y="491"/>
                  </a:lnTo>
                  <a:lnTo>
                    <a:pt x="1773" y="491"/>
                  </a:lnTo>
                  <a:lnTo>
                    <a:pt x="1772" y="491"/>
                  </a:lnTo>
                  <a:lnTo>
                    <a:pt x="1770" y="497"/>
                  </a:lnTo>
                  <a:lnTo>
                    <a:pt x="1768" y="498"/>
                  </a:lnTo>
                  <a:lnTo>
                    <a:pt x="1768" y="500"/>
                  </a:lnTo>
                  <a:lnTo>
                    <a:pt x="1768" y="504"/>
                  </a:lnTo>
                  <a:lnTo>
                    <a:pt x="1768" y="506"/>
                  </a:lnTo>
                  <a:lnTo>
                    <a:pt x="1768" y="507"/>
                  </a:lnTo>
                  <a:lnTo>
                    <a:pt x="1764" y="507"/>
                  </a:lnTo>
                  <a:lnTo>
                    <a:pt x="1766" y="509"/>
                  </a:lnTo>
                  <a:lnTo>
                    <a:pt x="1768" y="511"/>
                  </a:lnTo>
                  <a:lnTo>
                    <a:pt x="1768" y="513"/>
                  </a:lnTo>
                  <a:lnTo>
                    <a:pt x="1768" y="516"/>
                  </a:lnTo>
                  <a:lnTo>
                    <a:pt x="1768" y="518"/>
                  </a:lnTo>
                  <a:lnTo>
                    <a:pt x="1766" y="520"/>
                  </a:lnTo>
                  <a:lnTo>
                    <a:pt x="1766" y="522"/>
                  </a:lnTo>
                  <a:lnTo>
                    <a:pt x="1766" y="524"/>
                  </a:lnTo>
                  <a:lnTo>
                    <a:pt x="1766" y="525"/>
                  </a:lnTo>
                  <a:lnTo>
                    <a:pt x="1764" y="527"/>
                  </a:lnTo>
                  <a:lnTo>
                    <a:pt x="1764" y="527"/>
                  </a:lnTo>
                  <a:lnTo>
                    <a:pt x="1759" y="527"/>
                  </a:lnTo>
                  <a:lnTo>
                    <a:pt x="1757" y="527"/>
                  </a:lnTo>
                  <a:lnTo>
                    <a:pt x="1755" y="524"/>
                  </a:lnTo>
                  <a:lnTo>
                    <a:pt x="1750" y="511"/>
                  </a:lnTo>
                  <a:lnTo>
                    <a:pt x="1750" y="509"/>
                  </a:lnTo>
                  <a:lnTo>
                    <a:pt x="1748" y="507"/>
                  </a:lnTo>
                  <a:lnTo>
                    <a:pt x="1746" y="509"/>
                  </a:lnTo>
                  <a:lnTo>
                    <a:pt x="1734" y="522"/>
                  </a:lnTo>
                  <a:lnTo>
                    <a:pt x="1732" y="522"/>
                  </a:lnTo>
                  <a:lnTo>
                    <a:pt x="1732" y="518"/>
                  </a:lnTo>
                  <a:lnTo>
                    <a:pt x="1730" y="515"/>
                  </a:lnTo>
                  <a:lnTo>
                    <a:pt x="1732" y="513"/>
                  </a:lnTo>
                  <a:lnTo>
                    <a:pt x="1734" y="507"/>
                  </a:lnTo>
                  <a:lnTo>
                    <a:pt x="1732" y="507"/>
                  </a:lnTo>
                  <a:lnTo>
                    <a:pt x="1730" y="509"/>
                  </a:lnTo>
                  <a:lnTo>
                    <a:pt x="1726" y="516"/>
                  </a:lnTo>
                  <a:lnTo>
                    <a:pt x="1725" y="520"/>
                  </a:lnTo>
                  <a:lnTo>
                    <a:pt x="1721" y="520"/>
                  </a:lnTo>
                  <a:lnTo>
                    <a:pt x="1717" y="520"/>
                  </a:lnTo>
                  <a:lnTo>
                    <a:pt x="1716" y="520"/>
                  </a:lnTo>
                  <a:lnTo>
                    <a:pt x="1714" y="518"/>
                  </a:lnTo>
                  <a:lnTo>
                    <a:pt x="1712" y="516"/>
                  </a:lnTo>
                  <a:lnTo>
                    <a:pt x="1696" y="515"/>
                  </a:lnTo>
                  <a:lnTo>
                    <a:pt x="1690" y="518"/>
                  </a:lnTo>
                  <a:lnTo>
                    <a:pt x="1689" y="518"/>
                  </a:lnTo>
                  <a:lnTo>
                    <a:pt x="1685" y="516"/>
                  </a:lnTo>
                  <a:lnTo>
                    <a:pt x="1683" y="515"/>
                  </a:lnTo>
                  <a:lnTo>
                    <a:pt x="1683" y="511"/>
                  </a:lnTo>
                  <a:lnTo>
                    <a:pt x="1687" y="506"/>
                  </a:lnTo>
                  <a:lnTo>
                    <a:pt x="1689" y="504"/>
                  </a:lnTo>
                  <a:lnTo>
                    <a:pt x="1689" y="504"/>
                  </a:lnTo>
                  <a:lnTo>
                    <a:pt x="1689" y="504"/>
                  </a:lnTo>
                  <a:lnTo>
                    <a:pt x="1690" y="504"/>
                  </a:lnTo>
                  <a:lnTo>
                    <a:pt x="1690" y="504"/>
                  </a:lnTo>
                  <a:lnTo>
                    <a:pt x="1692" y="502"/>
                  </a:lnTo>
                  <a:lnTo>
                    <a:pt x="1694" y="500"/>
                  </a:lnTo>
                  <a:lnTo>
                    <a:pt x="1694" y="500"/>
                  </a:lnTo>
                  <a:lnTo>
                    <a:pt x="1699" y="502"/>
                  </a:lnTo>
                  <a:lnTo>
                    <a:pt x="1703" y="506"/>
                  </a:lnTo>
                  <a:lnTo>
                    <a:pt x="1705" y="506"/>
                  </a:lnTo>
                  <a:lnTo>
                    <a:pt x="1707" y="504"/>
                  </a:lnTo>
                  <a:lnTo>
                    <a:pt x="1705" y="502"/>
                  </a:lnTo>
                  <a:lnTo>
                    <a:pt x="1705" y="500"/>
                  </a:lnTo>
                  <a:lnTo>
                    <a:pt x="1705" y="500"/>
                  </a:lnTo>
                  <a:lnTo>
                    <a:pt x="1703" y="498"/>
                  </a:lnTo>
                  <a:lnTo>
                    <a:pt x="1701" y="497"/>
                  </a:lnTo>
                  <a:lnTo>
                    <a:pt x="1703" y="495"/>
                  </a:lnTo>
                  <a:lnTo>
                    <a:pt x="1705" y="495"/>
                  </a:lnTo>
                  <a:lnTo>
                    <a:pt x="1708" y="500"/>
                  </a:lnTo>
                  <a:lnTo>
                    <a:pt x="1712" y="504"/>
                  </a:lnTo>
                  <a:lnTo>
                    <a:pt x="1712" y="504"/>
                  </a:lnTo>
                  <a:lnTo>
                    <a:pt x="1714" y="504"/>
                  </a:lnTo>
                  <a:lnTo>
                    <a:pt x="1714" y="500"/>
                  </a:lnTo>
                  <a:lnTo>
                    <a:pt x="1716" y="498"/>
                  </a:lnTo>
                  <a:lnTo>
                    <a:pt x="1717" y="498"/>
                  </a:lnTo>
                  <a:lnTo>
                    <a:pt x="1719" y="498"/>
                  </a:lnTo>
                  <a:lnTo>
                    <a:pt x="1719" y="495"/>
                  </a:lnTo>
                  <a:lnTo>
                    <a:pt x="1719" y="495"/>
                  </a:lnTo>
                  <a:lnTo>
                    <a:pt x="1719" y="491"/>
                  </a:lnTo>
                  <a:lnTo>
                    <a:pt x="1719" y="491"/>
                  </a:lnTo>
                  <a:lnTo>
                    <a:pt x="1719" y="487"/>
                  </a:lnTo>
                  <a:lnTo>
                    <a:pt x="1717" y="484"/>
                  </a:lnTo>
                  <a:lnTo>
                    <a:pt x="1717" y="482"/>
                  </a:lnTo>
                  <a:lnTo>
                    <a:pt x="1717" y="480"/>
                  </a:lnTo>
                  <a:lnTo>
                    <a:pt x="1716" y="478"/>
                  </a:lnTo>
                  <a:lnTo>
                    <a:pt x="1714" y="473"/>
                  </a:lnTo>
                  <a:lnTo>
                    <a:pt x="1712" y="471"/>
                  </a:lnTo>
                  <a:lnTo>
                    <a:pt x="1710" y="468"/>
                  </a:lnTo>
                  <a:lnTo>
                    <a:pt x="1708" y="464"/>
                  </a:lnTo>
                  <a:lnTo>
                    <a:pt x="1708" y="460"/>
                  </a:lnTo>
                  <a:lnTo>
                    <a:pt x="1710" y="460"/>
                  </a:lnTo>
                  <a:lnTo>
                    <a:pt x="1712" y="459"/>
                  </a:lnTo>
                  <a:lnTo>
                    <a:pt x="1714" y="457"/>
                  </a:lnTo>
                  <a:lnTo>
                    <a:pt x="1714" y="453"/>
                  </a:lnTo>
                  <a:lnTo>
                    <a:pt x="1714" y="450"/>
                  </a:lnTo>
                  <a:lnTo>
                    <a:pt x="1714" y="448"/>
                  </a:lnTo>
                  <a:lnTo>
                    <a:pt x="1714" y="446"/>
                  </a:lnTo>
                  <a:lnTo>
                    <a:pt x="1714" y="446"/>
                  </a:lnTo>
                  <a:lnTo>
                    <a:pt x="1716" y="442"/>
                  </a:lnTo>
                  <a:lnTo>
                    <a:pt x="1716" y="441"/>
                  </a:lnTo>
                  <a:lnTo>
                    <a:pt x="1717" y="441"/>
                  </a:lnTo>
                  <a:lnTo>
                    <a:pt x="1719" y="441"/>
                  </a:lnTo>
                  <a:lnTo>
                    <a:pt x="1719" y="439"/>
                  </a:lnTo>
                  <a:lnTo>
                    <a:pt x="1723" y="435"/>
                  </a:lnTo>
                  <a:lnTo>
                    <a:pt x="1723" y="431"/>
                  </a:lnTo>
                  <a:lnTo>
                    <a:pt x="1721" y="431"/>
                  </a:lnTo>
                  <a:lnTo>
                    <a:pt x="1708" y="428"/>
                  </a:lnTo>
                  <a:lnTo>
                    <a:pt x="1707" y="430"/>
                  </a:lnTo>
                  <a:lnTo>
                    <a:pt x="1707" y="430"/>
                  </a:lnTo>
                  <a:lnTo>
                    <a:pt x="1708" y="431"/>
                  </a:lnTo>
                  <a:lnTo>
                    <a:pt x="1708" y="431"/>
                  </a:lnTo>
                  <a:lnTo>
                    <a:pt x="1708" y="431"/>
                  </a:lnTo>
                  <a:lnTo>
                    <a:pt x="1708" y="433"/>
                  </a:lnTo>
                  <a:lnTo>
                    <a:pt x="1705" y="431"/>
                  </a:lnTo>
                  <a:lnTo>
                    <a:pt x="1703" y="431"/>
                  </a:lnTo>
                  <a:lnTo>
                    <a:pt x="1703" y="428"/>
                  </a:lnTo>
                  <a:lnTo>
                    <a:pt x="1703" y="428"/>
                  </a:lnTo>
                  <a:lnTo>
                    <a:pt x="1701" y="426"/>
                  </a:lnTo>
                  <a:lnTo>
                    <a:pt x="1703" y="426"/>
                  </a:lnTo>
                  <a:lnTo>
                    <a:pt x="1721" y="422"/>
                  </a:lnTo>
                  <a:lnTo>
                    <a:pt x="1741" y="419"/>
                  </a:lnTo>
                  <a:lnTo>
                    <a:pt x="1745" y="417"/>
                  </a:lnTo>
                  <a:lnTo>
                    <a:pt x="1748" y="417"/>
                  </a:lnTo>
                  <a:lnTo>
                    <a:pt x="1748" y="417"/>
                  </a:lnTo>
                  <a:lnTo>
                    <a:pt x="1748" y="417"/>
                  </a:lnTo>
                  <a:lnTo>
                    <a:pt x="1748" y="417"/>
                  </a:lnTo>
                  <a:lnTo>
                    <a:pt x="1750" y="417"/>
                  </a:lnTo>
                  <a:lnTo>
                    <a:pt x="1750" y="415"/>
                  </a:lnTo>
                  <a:lnTo>
                    <a:pt x="1750" y="415"/>
                  </a:lnTo>
                  <a:lnTo>
                    <a:pt x="1750" y="413"/>
                  </a:lnTo>
                  <a:lnTo>
                    <a:pt x="1750" y="413"/>
                  </a:lnTo>
                  <a:lnTo>
                    <a:pt x="1748" y="412"/>
                  </a:lnTo>
                  <a:lnTo>
                    <a:pt x="1739" y="412"/>
                  </a:lnTo>
                  <a:lnTo>
                    <a:pt x="1737" y="413"/>
                  </a:lnTo>
                  <a:lnTo>
                    <a:pt x="1728" y="413"/>
                  </a:lnTo>
                  <a:lnTo>
                    <a:pt x="1716" y="417"/>
                  </a:lnTo>
                  <a:lnTo>
                    <a:pt x="1694" y="424"/>
                  </a:lnTo>
                  <a:lnTo>
                    <a:pt x="1689" y="430"/>
                  </a:lnTo>
                  <a:lnTo>
                    <a:pt x="1685" y="431"/>
                  </a:lnTo>
                  <a:lnTo>
                    <a:pt x="1681" y="435"/>
                  </a:lnTo>
                  <a:lnTo>
                    <a:pt x="1676" y="437"/>
                  </a:lnTo>
                  <a:lnTo>
                    <a:pt x="1669" y="442"/>
                  </a:lnTo>
                  <a:lnTo>
                    <a:pt x="1663" y="446"/>
                  </a:lnTo>
                  <a:lnTo>
                    <a:pt x="1645" y="460"/>
                  </a:lnTo>
                  <a:lnTo>
                    <a:pt x="1642" y="462"/>
                  </a:lnTo>
                  <a:lnTo>
                    <a:pt x="1638" y="464"/>
                  </a:lnTo>
                  <a:lnTo>
                    <a:pt x="1636" y="468"/>
                  </a:lnTo>
                  <a:lnTo>
                    <a:pt x="1636" y="469"/>
                  </a:lnTo>
                  <a:lnTo>
                    <a:pt x="1638" y="471"/>
                  </a:lnTo>
                  <a:lnTo>
                    <a:pt x="1643" y="471"/>
                  </a:lnTo>
                  <a:lnTo>
                    <a:pt x="1643" y="469"/>
                  </a:lnTo>
                  <a:lnTo>
                    <a:pt x="1645" y="469"/>
                  </a:lnTo>
                  <a:lnTo>
                    <a:pt x="1647" y="464"/>
                  </a:lnTo>
                  <a:lnTo>
                    <a:pt x="1647" y="464"/>
                  </a:lnTo>
                  <a:lnTo>
                    <a:pt x="1649" y="462"/>
                  </a:lnTo>
                  <a:lnTo>
                    <a:pt x="1651" y="462"/>
                  </a:lnTo>
                  <a:lnTo>
                    <a:pt x="1652" y="460"/>
                  </a:lnTo>
                  <a:lnTo>
                    <a:pt x="1654" y="460"/>
                  </a:lnTo>
                  <a:lnTo>
                    <a:pt x="1654" y="462"/>
                  </a:lnTo>
                  <a:lnTo>
                    <a:pt x="1654" y="464"/>
                  </a:lnTo>
                  <a:lnTo>
                    <a:pt x="1654" y="466"/>
                  </a:lnTo>
                  <a:lnTo>
                    <a:pt x="1652" y="466"/>
                  </a:lnTo>
                  <a:lnTo>
                    <a:pt x="1647" y="466"/>
                  </a:lnTo>
                  <a:lnTo>
                    <a:pt x="1647" y="468"/>
                  </a:lnTo>
                  <a:lnTo>
                    <a:pt x="1647" y="468"/>
                  </a:lnTo>
                  <a:lnTo>
                    <a:pt x="1647" y="469"/>
                  </a:lnTo>
                  <a:lnTo>
                    <a:pt x="1649" y="473"/>
                  </a:lnTo>
                  <a:lnTo>
                    <a:pt x="1649" y="473"/>
                  </a:lnTo>
                  <a:lnTo>
                    <a:pt x="1649" y="475"/>
                  </a:lnTo>
                  <a:lnTo>
                    <a:pt x="1651" y="477"/>
                  </a:lnTo>
                  <a:lnTo>
                    <a:pt x="1651" y="477"/>
                  </a:lnTo>
                  <a:lnTo>
                    <a:pt x="1651" y="478"/>
                  </a:lnTo>
                  <a:lnTo>
                    <a:pt x="1652" y="480"/>
                  </a:lnTo>
                  <a:lnTo>
                    <a:pt x="1656" y="480"/>
                  </a:lnTo>
                  <a:lnTo>
                    <a:pt x="1658" y="482"/>
                  </a:lnTo>
                  <a:lnTo>
                    <a:pt x="1658" y="484"/>
                  </a:lnTo>
                  <a:lnTo>
                    <a:pt x="1660" y="486"/>
                  </a:lnTo>
                  <a:lnTo>
                    <a:pt x="1658" y="489"/>
                  </a:lnTo>
                  <a:lnTo>
                    <a:pt x="1658" y="491"/>
                  </a:lnTo>
                  <a:lnTo>
                    <a:pt x="1656" y="493"/>
                  </a:lnTo>
                  <a:lnTo>
                    <a:pt x="1652" y="493"/>
                  </a:lnTo>
                  <a:lnTo>
                    <a:pt x="1651" y="495"/>
                  </a:lnTo>
                  <a:lnTo>
                    <a:pt x="1647" y="502"/>
                  </a:lnTo>
                  <a:lnTo>
                    <a:pt x="1645" y="502"/>
                  </a:lnTo>
                  <a:lnTo>
                    <a:pt x="1643" y="504"/>
                  </a:lnTo>
                  <a:lnTo>
                    <a:pt x="1642" y="506"/>
                  </a:lnTo>
                  <a:lnTo>
                    <a:pt x="1640" y="506"/>
                  </a:lnTo>
                  <a:lnTo>
                    <a:pt x="1638" y="506"/>
                  </a:lnTo>
                  <a:lnTo>
                    <a:pt x="1636" y="507"/>
                  </a:lnTo>
                  <a:lnTo>
                    <a:pt x="1636" y="507"/>
                  </a:lnTo>
                  <a:lnTo>
                    <a:pt x="1634" y="507"/>
                  </a:lnTo>
                  <a:lnTo>
                    <a:pt x="1631" y="500"/>
                  </a:lnTo>
                  <a:lnTo>
                    <a:pt x="1629" y="498"/>
                  </a:lnTo>
                  <a:lnTo>
                    <a:pt x="1631" y="497"/>
                  </a:lnTo>
                  <a:lnTo>
                    <a:pt x="1634" y="495"/>
                  </a:lnTo>
                  <a:lnTo>
                    <a:pt x="1636" y="493"/>
                  </a:lnTo>
                  <a:lnTo>
                    <a:pt x="1638" y="491"/>
                  </a:lnTo>
                  <a:lnTo>
                    <a:pt x="1636" y="489"/>
                  </a:lnTo>
                  <a:lnTo>
                    <a:pt x="1636" y="489"/>
                  </a:lnTo>
                  <a:lnTo>
                    <a:pt x="1636" y="487"/>
                  </a:lnTo>
                  <a:lnTo>
                    <a:pt x="1638" y="486"/>
                  </a:lnTo>
                  <a:lnTo>
                    <a:pt x="1638" y="486"/>
                  </a:lnTo>
                  <a:lnTo>
                    <a:pt x="1640" y="486"/>
                  </a:lnTo>
                  <a:lnTo>
                    <a:pt x="1640" y="486"/>
                  </a:lnTo>
                  <a:lnTo>
                    <a:pt x="1640" y="484"/>
                  </a:lnTo>
                  <a:lnTo>
                    <a:pt x="1636" y="482"/>
                  </a:lnTo>
                  <a:lnTo>
                    <a:pt x="1631" y="482"/>
                  </a:lnTo>
                  <a:lnTo>
                    <a:pt x="1627" y="484"/>
                  </a:lnTo>
                  <a:lnTo>
                    <a:pt x="1625" y="486"/>
                  </a:lnTo>
                  <a:lnTo>
                    <a:pt x="1625" y="484"/>
                  </a:lnTo>
                  <a:lnTo>
                    <a:pt x="1625" y="484"/>
                  </a:lnTo>
                  <a:lnTo>
                    <a:pt x="1625" y="482"/>
                  </a:lnTo>
                  <a:lnTo>
                    <a:pt x="1625" y="482"/>
                  </a:lnTo>
                  <a:lnTo>
                    <a:pt x="1625" y="480"/>
                  </a:lnTo>
                  <a:lnTo>
                    <a:pt x="1629" y="480"/>
                  </a:lnTo>
                  <a:lnTo>
                    <a:pt x="1631" y="477"/>
                  </a:lnTo>
                  <a:lnTo>
                    <a:pt x="1633" y="475"/>
                  </a:lnTo>
                  <a:lnTo>
                    <a:pt x="1633" y="471"/>
                  </a:lnTo>
                  <a:lnTo>
                    <a:pt x="1631" y="471"/>
                  </a:lnTo>
                  <a:lnTo>
                    <a:pt x="1625" y="477"/>
                  </a:lnTo>
                  <a:lnTo>
                    <a:pt x="1607" y="484"/>
                  </a:lnTo>
                  <a:lnTo>
                    <a:pt x="1602" y="484"/>
                  </a:lnTo>
                  <a:lnTo>
                    <a:pt x="1600" y="486"/>
                  </a:lnTo>
                  <a:lnTo>
                    <a:pt x="1598" y="489"/>
                  </a:lnTo>
                  <a:lnTo>
                    <a:pt x="1600" y="489"/>
                  </a:lnTo>
                  <a:lnTo>
                    <a:pt x="1602" y="489"/>
                  </a:lnTo>
                  <a:lnTo>
                    <a:pt x="1600" y="491"/>
                  </a:lnTo>
                  <a:lnTo>
                    <a:pt x="1598" y="493"/>
                  </a:lnTo>
                  <a:lnTo>
                    <a:pt x="1596" y="493"/>
                  </a:lnTo>
                  <a:lnTo>
                    <a:pt x="1595" y="491"/>
                  </a:lnTo>
                  <a:lnTo>
                    <a:pt x="1593" y="493"/>
                  </a:lnTo>
                  <a:lnTo>
                    <a:pt x="1589" y="497"/>
                  </a:lnTo>
                  <a:lnTo>
                    <a:pt x="1582" y="498"/>
                  </a:lnTo>
                  <a:lnTo>
                    <a:pt x="1580" y="498"/>
                  </a:lnTo>
                  <a:lnTo>
                    <a:pt x="1578" y="500"/>
                  </a:lnTo>
                  <a:lnTo>
                    <a:pt x="1577" y="502"/>
                  </a:lnTo>
                  <a:lnTo>
                    <a:pt x="1575" y="504"/>
                  </a:lnTo>
                  <a:lnTo>
                    <a:pt x="1569" y="504"/>
                  </a:lnTo>
                  <a:lnTo>
                    <a:pt x="1568" y="504"/>
                  </a:lnTo>
                  <a:lnTo>
                    <a:pt x="1564" y="504"/>
                  </a:lnTo>
                  <a:lnTo>
                    <a:pt x="1562" y="500"/>
                  </a:lnTo>
                  <a:lnTo>
                    <a:pt x="1560" y="498"/>
                  </a:lnTo>
                  <a:lnTo>
                    <a:pt x="1560" y="500"/>
                  </a:lnTo>
                  <a:lnTo>
                    <a:pt x="1559" y="504"/>
                  </a:lnTo>
                  <a:lnTo>
                    <a:pt x="1557" y="506"/>
                  </a:lnTo>
                  <a:lnTo>
                    <a:pt x="1555" y="509"/>
                  </a:lnTo>
                  <a:lnTo>
                    <a:pt x="1544" y="520"/>
                  </a:lnTo>
                  <a:lnTo>
                    <a:pt x="1540" y="522"/>
                  </a:lnTo>
                  <a:lnTo>
                    <a:pt x="1535" y="525"/>
                  </a:lnTo>
                  <a:lnTo>
                    <a:pt x="1531" y="527"/>
                  </a:lnTo>
                  <a:lnTo>
                    <a:pt x="1528" y="534"/>
                  </a:lnTo>
                  <a:lnTo>
                    <a:pt x="1526" y="536"/>
                  </a:lnTo>
                  <a:lnTo>
                    <a:pt x="1524" y="538"/>
                  </a:lnTo>
                  <a:lnTo>
                    <a:pt x="1522" y="542"/>
                  </a:lnTo>
                  <a:lnTo>
                    <a:pt x="1515" y="549"/>
                  </a:lnTo>
                  <a:lnTo>
                    <a:pt x="1517" y="545"/>
                  </a:lnTo>
                  <a:lnTo>
                    <a:pt x="1521" y="542"/>
                  </a:lnTo>
                  <a:lnTo>
                    <a:pt x="1522" y="538"/>
                  </a:lnTo>
                  <a:lnTo>
                    <a:pt x="1521" y="538"/>
                  </a:lnTo>
                  <a:lnTo>
                    <a:pt x="1512" y="545"/>
                  </a:lnTo>
                  <a:lnTo>
                    <a:pt x="1504" y="553"/>
                  </a:lnTo>
                  <a:lnTo>
                    <a:pt x="1497" y="556"/>
                  </a:lnTo>
                  <a:lnTo>
                    <a:pt x="1488" y="563"/>
                  </a:lnTo>
                  <a:lnTo>
                    <a:pt x="1481" y="567"/>
                  </a:lnTo>
                  <a:lnTo>
                    <a:pt x="1479" y="569"/>
                  </a:lnTo>
                  <a:lnTo>
                    <a:pt x="1470" y="571"/>
                  </a:lnTo>
                  <a:lnTo>
                    <a:pt x="1465" y="569"/>
                  </a:lnTo>
                  <a:lnTo>
                    <a:pt x="1461" y="567"/>
                  </a:lnTo>
                  <a:lnTo>
                    <a:pt x="1456" y="560"/>
                  </a:lnTo>
                  <a:lnTo>
                    <a:pt x="1454" y="558"/>
                  </a:lnTo>
                  <a:lnTo>
                    <a:pt x="1452" y="560"/>
                  </a:lnTo>
                  <a:lnTo>
                    <a:pt x="1461" y="572"/>
                  </a:lnTo>
                  <a:lnTo>
                    <a:pt x="1461" y="578"/>
                  </a:lnTo>
                  <a:lnTo>
                    <a:pt x="1463" y="580"/>
                  </a:lnTo>
                  <a:lnTo>
                    <a:pt x="1461" y="581"/>
                  </a:lnTo>
                  <a:lnTo>
                    <a:pt x="1461" y="583"/>
                  </a:lnTo>
                  <a:lnTo>
                    <a:pt x="1461" y="585"/>
                  </a:lnTo>
                  <a:lnTo>
                    <a:pt x="1461" y="587"/>
                  </a:lnTo>
                  <a:lnTo>
                    <a:pt x="1463" y="587"/>
                  </a:lnTo>
                  <a:lnTo>
                    <a:pt x="1465" y="585"/>
                  </a:lnTo>
                  <a:lnTo>
                    <a:pt x="1466" y="587"/>
                  </a:lnTo>
                  <a:lnTo>
                    <a:pt x="1468" y="589"/>
                  </a:lnTo>
                  <a:lnTo>
                    <a:pt x="1468" y="590"/>
                  </a:lnTo>
                  <a:lnTo>
                    <a:pt x="1470" y="590"/>
                  </a:lnTo>
                  <a:lnTo>
                    <a:pt x="1475" y="594"/>
                  </a:lnTo>
                  <a:lnTo>
                    <a:pt x="1475" y="594"/>
                  </a:lnTo>
                  <a:lnTo>
                    <a:pt x="1474" y="596"/>
                  </a:lnTo>
                  <a:lnTo>
                    <a:pt x="1474" y="596"/>
                  </a:lnTo>
                  <a:lnTo>
                    <a:pt x="1475" y="596"/>
                  </a:lnTo>
                  <a:lnTo>
                    <a:pt x="1475" y="596"/>
                  </a:lnTo>
                  <a:lnTo>
                    <a:pt x="1477" y="598"/>
                  </a:lnTo>
                  <a:lnTo>
                    <a:pt x="1475" y="599"/>
                  </a:lnTo>
                  <a:lnTo>
                    <a:pt x="1474" y="599"/>
                  </a:lnTo>
                  <a:lnTo>
                    <a:pt x="1472" y="598"/>
                  </a:lnTo>
                  <a:lnTo>
                    <a:pt x="1470" y="596"/>
                  </a:lnTo>
                  <a:lnTo>
                    <a:pt x="1472" y="594"/>
                  </a:lnTo>
                  <a:lnTo>
                    <a:pt x="1468" y="592"/>
                  </a:lnTo>
                  <a:lnTo>
                    <a:pt x="1457" y="590"/>
                  </a:lnTo>
                  <a:lnTo>
                    <a:pt x="1457" y="590"/>
                  </a:lnTo>
                  <a:lnTo>
                    <a:pt x="1457" y="590"/>
                  </a:lnTo>
                  <a:lnTo>
                    <a:pt x="1459" y="590"/>
                  </a:lnTo>
                  <a:lnTo>
                    <a:pt x="1459" y="590"/>
                  </a:lnTo>
                  <a:lnTo>
                    <a:pt x="1457" y="589"/>
                  </a:lnTo>
                  <a:lnTo>
                    <a:pt x="1456" y="589"/>
                  </a:lnTo>
                  <a:lnTo>
                    <a:pt x="1448" y="594"/>
                  </a:lnTo>
                  <a:lnTo>
                    <a:pt x="1447" y="594"/>
                  </a:lnTo>
                  <a:lnTo>
                    <a:pt x="1445" y="594"/>
                  </a:lnTo>
                  <a:lnTo>
                    <a:pt x="1439" y="592"/>
                  </a:lnTo>
                  <a:lnTo>
                    <a:pt x="1438" y="590"/>
                  </a:lnTo>
                  <a:lnTo>
                    <a:pt x="1434" y="592"/>
                  </a:lnTo>
                  <a:lnTo>
                    <a:pt x="1432" y="594"/>
                  </a:lnTo>
                  <a:lnTo>
                    <a:pt x="1432" y="596"/>
                  </a:lnTo>
                  <a:lnTo>
                    <a:pt x="1429" y="599"/>
                  </a:lnTo>
                  <a:lnTo>
                    <a:pt x="1427" y="603"/>
                  </a:lnTo>
                  <a:lnTo>
                    <a:pt x="1427" y="605"/>
                  </a:lnTo>
                  <a:lnTo>
                    <a:pt x="1425" y="605"/>
                  </a:lnTo>
                  <a:lnTo>
                    <a:pt x="1425" y="603"/>
                  </a:lnTo>
                  <a:lnTo>
                    <a:pt x="1427" y="601"/>
                  </a:lnTo>
                  <a:lnTo>
                    <a:pt x="1427" y="599"/>
                  </a:lnTo>
                  <a:lnTo>
                    <a:pt x="1427" y="598"/>
                  </a:lnTo>
                  <a:lnTo>
                    <a:pt x="1425" y="596"/>
                  </a:lnTo>
                  <a:lnTo>
                    <a:pt x="1423" y="596"/>
                  </a:lnTo>
                  <a:lnTo>
                    <a:pt x="1414" y="603"/>
                  </a:lnTo>
                  <a:lnTo>
                    <a:pt x="1412" y="605"/>
                  </a:lnTo>
                  <a:lnTo>
                    <a:pt x="1414" y="608"/>
                  </a:lnTo>
                  <a:lnTo>
                    <a:pt x="1418" y="618"/>
                  </a:lnTo>
                  <a:lnTo>
                    <a:pt x="1420" y="621"/>
                  </a:lnTo>
                  <a:lnTo>
                    <a:pt x="1420" y="623"/>
                  </a:lnTo>
                  <a:lnTo>
                    <a:pt x="1420" y="627"/>
                  </a:lnTo>
                  <a:lnTo>
                    <a:pt x="1418" y="628"/>
                  </a:lnTo>
                  <a:lnTo>
                    <a:pt x="1412" y="634"/>
                  </a:lnTo>
                  <a:lnTo>
                    <a:pt x="1410" y="637"/>
                  </a:lnTo>
                  <a:lnTo>
                    <a:pt x="1410" y="637"/>
                  </a:lnTo>
                  <a:lnTo>
                    <a:pt x="1410" y="641"/>
                  </a:lnTo>
                  <a:lnTo>
                    <a:pt x="1410" y="643"/>
                  </a:lnTo>
                  <a:lnTo>
                    <a:pt x="1410" y="643"/>
                  </a:lnTo>
                  <a:lnTo>
                    <a:pt x="1410" y="646"/>
                  </a:lnTo>
                  <a:lnTo>
                    <a:pt x="1412" y="646"/>
                  </a:lnTo>
                  <a:lnTo>
                    <a:pt x="1410" y="648"/>
                  </a:lnTo>
                  <a:lnTo>
                    <a:pt x="1410" y="650"/>
                  </a:lnTo>
                  <a:lnTo>
                    <a:pt x="1407" y="655"/>
                  </a:lnTo>
                  <a:lnTo>
                    <a:pt x="1407" y="655"/>
                  </a:lnTo>
                  <a:lnTo>
                    <a:pt x="1407" y="657"/>
                  </a:lnTo>
                  <a:lnTo>
                    <a:pt x="1407" y="659"/>
                  </a:lnTo>
                  <a:lnTo>
                    <a:pt x="1409" y="663"/>
                  </a:lnTo>
                  <a:lnTo>
                    <a:pt x="1409" y="664"/>
                  </a:lnTo>
                  <a:lnTo>
                    <a:pt x="1409" y="664"/>
                  </a:lnTo>
                  <a:lnTo>
                    <a:pt x="1409" y="672"/>
                  </a:lnTo>
                  <a:lnTo>
                    <a:pt x="1409" y="677"/>
                  </a:lnTo>
                  <a:lnTo>
                    <a:pt x="1409" y="681"/>
                  </a:lnTo>
                  <a:lnTo>
                    <a:pt x="1407" y="683"/>
                  </a:lnTo>
                  <a:lnTo>
                    <a:pt x="1405" y="683"/>
                  </a:lnTo>
                  <a:lnTo>
                    <a:pt x="1403" y="686"/>
                  </a:lnTo>
                  <a:lnTo>
                    <a:pt x="1401" y="688"/>
                  </a:lnTo>
                  <a:lnTo>
                    <a:pt x="1401" y="690"/>
                  </a:lnTo>
                  <a:lnTo>
                    <a:pt x="1401" y="692"/>
                  </a:lnTo>
                  <a:lnTo>
                    <a:pt x="1401" y="693"/>
                  </a:lnTo>
                  <a:lnTo>
                    <a:pt x="1401" y="695"/>
                  </a:lnTo>
                  <a:lnTo>
                    <a:pt x="1401" y="697"/>
                  </a:lnTo>
                  <a:lnTo>
                    <a:pt x="1401" y="697"/>
                  </a:lnTo>
                  <a:lnTo>
                    <a:pt x="1401" y="699"/>
                  </a:lnTo>
                  <a:lnTo>
                    <a:pt x="1401" y="695"/>
                  </a:lnTo>
                  <a:lnTo>
                    <a:pt x="1400" y="693"/>
                  </a:lnTo>
                  <a:lnTo>
                    <a:pt x="1394" y="690"/>
                  </a:lnTo>
                  <a:lnTo>
                    <a:pt x="1392" y="690"/>
                  </a:lnTo>
                  <a:lnTo>
                    <a:pt x="1373" y="699"/>
                  </a:lnTo>
                  <a:lnTo>
                    <a:pt x="1371" y="699"/>
                  </a:lnTo>
                  <a:lnTo>
                    <a:pt x="1369" y="701"/>
                  </a:lnTo>
                  <a:lnTo>
                    <a:pt x="1364" y="701"/>
                  </a:lnTo>
                  <a:lnTo>
                    <a:pt x="1351" y="704"/>
                  </a:lnTo>
                  <a:lnTo>
                    <a:pt x="1349" y="706"/>
                  </a:lnTo>
                  <a:lnTo>
                    <a:pt x="1347" y="710"/>
                  </a:lnTo>
                  <a:lnTo>
                    <a:pt x="1344" y="711"/>
                  </a:lnTo>
                  <a:lnTo>
                    <a:pt x="1342" y="713"/>
                  </a:lnTo>
                  <a:lnTo>
                    <a:pt x="1340" y="713"/>
                  </a:lnTo>
                  <a:lnTo>
                    <a:pt x="1342" y="713"/>
                  </a:lnTo>
                  <a:lnTo>
                    <a:pt x="1345" y="708"/>
                  </a:lnTo>
                  <a:lnTo>
                    <a:pt x="1347" y="706"/>
                  </a:lnTo>
                  <a:lnTo>
                    <a:pt x="1349" y="702"/>
                  </a:lnTo>
                  <a:lnTo>
                    <a:pt x="1349" y="702"/>
                  </a:lnTo>
                  <a:lnTo>
                    <a:pt x="1351" y="702"/>
                  </a:lnTo>
                  <a:lnTo>
                    <a:pt x="1353" y="702"/>
                  </a:lnTo>
                  <a:lnTo>
                    <a:pt x="1353" y="699"/>
                  </a:lnTo>
                  <a:lnTo>
                    <a:pt x="1351" y="697"/>
                  </a:lnTo>
                  <a:lnTo>
                    <a:pt x="1349" y="697"/>
                  </a:lnTo>
                  <a:lnTo>
                    <a:pt x="1347" y="697"/>
                  </a:lnTo>
                  <a:lnTo>
                    <a:pt x="1336" y="701"/>
                  </a:lnTo>
                  <a:lnTo>
                    <a:pt x="1324" y="702"/>
                  </a:lnTo>
                  <a:lnTo>
                    <a:pt x="1324" y="702"/>
                  </a:lnTo>
                  <a:lnTo>
                    <a:pt x="1322" y="701"/>
                  </a:lnTo>
                  <a:lnTo>
                    <a:pt x="1322" y="699"/>
                  </a:lnTo>
                  <a:lnTo>
                    <a:pt x="1320" y="699"/>
                  </a:lnTo>
                  <a:lnTo>
                    <a:pt x="1315" y="695"/>
                  </a:lnTo>
                  <a:lnTo>
                    <a:pt x="1313" y="693"/>
                  </a:lnTo>
                  <a:lnTo>
                    <a:pt x="1313" y="692"/>
                  </a:lnTo>
                  <a:lnTo>
                    <a:pt x="1311" y="688"/>
                  </a:lnTo>
                  <a:lnTo>
                    <a:pt x="1311" y="684"/>
                  </a:lnTo>
                  <a:lnTo>
                    <a:pt x="1306" y="674"/>
                  </a:lnTo>
                  <a:lnTo>
                    <a:pt x="1304" y="670"/>
                  </a:lnTo>
                  <a:lnTo>
                    <a:pt x="1304" y="666"/>
                  </a:lnTo>
                  <a:lnTo>
                    <a:pt x="1302" y="661"/>
                  </a:lnTo>
                  <a:lnTo>
                    <a:pt x="1297" y="657"/>
                  </a:lnTo>
                  <a:lnTo>
                    <a:pt x="1293" y="655"/>
                  </a:lnTo>
                  <a:lnTo>
                    <a:pt x="1288" y="654"/>
                  </a:lnTo>
                  <a:lnTo>
                    <a:pt x="1282" y="650"/>
                  </a:lnTo>
                  <a:lnTo>
                    <a:pt x="1280" y="648"/>
                  </a:lnTo>
                  <a:lnTo>
                    <a:pt x="1275" y="645"/>
                  </a:lnTo>
                  <a:lnTo>
                    <a:pt x="1270" y="639"/>
                  </a:lnTo>
                  <a:lnTo>
                    <a:pt x="1268" y="636"/>
                  </a:lnTo>
                  <a:lnTo>
                    <a:pt x="1268" y="634"/>
                  </a:lnTo>
                  <a:lnTo>
                    <a:pt x="1268" y="630"/>
                  </a:lnTo>
                  <a:lnTo>
                    <a:pt x="1268" y="628"/>
                  </a:lnTo>
                  <a:lnTo>
                    <a:pt x="1268" y="627"/>
                  </a:lnTo>
                  <a:lnTo>
                    <a:pt x="1268" y="625"/>
                  </a:lnTo>
                  <a:lnTo>
                    <a:pt x="1270" y="618"/>
                  </a:lnTo>
                  <a:lnTo>
                    <a:pt x="1273" y="612"/>
                  </a:lnTo>
                  <a:lnTo>
                    <a:pt x="1277" y="608"/>
                  </a:lnTo>
                  <a:lnTo>
                    <a:pt x="1280" y="605"/>
                  </a:lnTo>
                  <a:lnTo>
                    <a:pt x="1284" y="605"/>
                  </a:lnTo>
                  <a:lnTo>
                    <a:pt x="1288" y="605"/>
                  </a:lnTo>
                  <a:lnTo>
                    <a:pt x="1289" y="601"/>
                  </a:lnTo>
                  <a:lnTo>
                    <a:pt x="1289" y="599"/>
                  </a:lnTo>
                  <a:lnTo>
                    <a:pt x="1289" y="596"/>
                  </a:lnTo>
                  <a:lnTo>
                    <a:pt x="1289" y="594"/>
                  </a:lnTo>
                  <a:lnTo>
                    <a:pt x="1289" y="592"/>
                  </a:lnTo>
                  <a:lnTo>
                    <a:pt x="1289" y="592"/>
                  </a:lnTo>
                  <a:lnTo>
                    <a:pt x="1288" y="592"/>
                  </a:lnTo>
                  <a:lnTo>
                    <a:pt x="1288" y="590"/>
                  </a:lnTo>
                  <a:lnTo>
                    <a:pt x="1288" y="589"/>
                  </a:lnTo>
                  <a:lnTo>
                    <a:pt x="1289" y="587"/>
                  </a:lnTo>
                  <a:lnTo>
                    <a:pt x="1295" y="587"/>
                  </a:lnTo>
                  <a:lnTo>
                    <a:pt x="1302" y="583"/>
                  </a:lnTo>
                  <a:lnTo>
                    <a:pt x="1322" y="581"/>
                  </a:lnTo>
                  <a:lnTo>
                    <a:pt x="1333" y="576"/>
                  </a:lnTo>
                  <a:lnTo>
                    <a:pt x="1340" y="574"/>
                  </a:lnTo>
                  <a:lnTo>
                    <a:pt x="1344" y="574"/>
                  </a:lnTo>
                  <a:lnTo>
                    <a:pt x="1347" y="574"/>
                  </a:lnTo>
                  <a:lnTo>
                    <a:pt x="1347" y="574"/>
                  </a:lnTo>
                  <a:lnTo>
                    <a:pt x="1351" y="576"/>
                  </a:lnTo>
                  <a:lnTo>
                    <a:pt x="1354" y="576"/>
                  </a:lnTo>
                  <a:lnTo>
                    <a:pt x="1356" y="574"/>
                  </a:lnTo>
                  <a:lnTo>
                    <a:pt x="1358" y="571"/>
                  </a:lnTo>
                  <a:lnTo>
                    <a:pt x="1358" y="567"/>
                  </a:lnTo>
                  <a:lnTo>
                    <a:pt x="1356" y="565"/>
                  </a:lnTo>
                  <a:lnTo>
                    <a:pt x="1356" y="565"/>
                  </a:lnTo>
                  <a:lnTo>
                    <a:pt x="1356" y="562"/>
                  </a:lnTo>
                  <a:lnTo>
                    <a:pt x="1354" y="558"/>
                  </a:lnTo>
                  <a:lnTo>
                    <a:pt x="1354" y="558"/>
                  </a:lnTo>
                  <a:lnTo>
                    <a:pt x="1354" y="556"/>
                  </a:lnTo>
                  <a:lnTo>
                    <a:pt x="1354" y="556"/>
                  </a:lnTo>
                  <a:lnTo>
                    <a:pt x="1354" y="554"/>
                  </a:lnTo>
                  <a:lnTo>
                    <a:pt x="1353" y="553"/>
                  </a:lnTo>
                  <a:lnTo>
                    <a:pt x="1351" y="553"/>
                  </a:lnTo>
                  <a:lnTo>
                    <a:pt x="1351" y="551"/>
                  </a:lnTo>
                  <a:lnTo>
                    <a:pt x="1349" y="549"/>
                  </a:lnTo>
                  <a:lnTo>
                    <a:pt x="1349" y="545"/>
                  </a:lnTo>
                  <a:lnTo>
                    <a:pt x="1349" y="543"/>
                  </a:lnTo>
                  <a:lnTo>
                    <a:pt x="1349" y="540"/>
                  </a:lnTo>
                  <a:lnTo>
                    <a:pt x="1349" y="538"/>
                  </a:lnTo>
                  <a:lnTo>
                    <a:pt x="1349" y="538"/>
                  </a:lnTo>
                  <a:lnTo>
                    <a:pt x="1349" y="536"/>
                  </a:lnTo>
                  <a:lnTo>
                    <a:pt x="1349" y="536"/>
                  </a:lnTo>
                  <a:lnTo>
                    <a:pt x="1349" y="534"/>
                  </a:lnTo>
                  <a:lnTo>
                    <a:pt x="1345" y="534"/>
                  </a:lnTo>
                  <a:lnTo>
                    <a:pt x="1347" y="534"/>
                  </a:lnTo>
                  <a:lnTo>
                    <a:pt x="1347" y="534"/>
                  </a:lnTo>
                  <a:lnTo>
                    <a:pt x="1349" y="533"/>
                  </a:lnTo>
                  <a:lnTo>
                    <a:pt x="1345" y="527"/>
                  </a:lnTo>
                  <a:lnTo>
                    <a:pt x="1344" y="525"/>
                  </a:lnTo>
                  <a:lnTo>
                    <a:pt x="1342" y="524"/>
                  </a:lnTo>
                  <a:lnTo>
                    <a:pt x="1340" y="522"/>
                  </a:lnTo>
                  <a:lnTo>
                    <a:pt x="1340" y="522"/>
                  </a:lnTo>
                  <a:lnTo>
                    <a:pt x="1336" y="522"/>
                  </a:lnTo>
                  <a:lnTo>
                    <a:pt x="1336" y="522"/>
                  </a:lnTo>
                  <a:lnTo>
                    <a:pt x="1333" y="518"/>
                  </a:lnTo>
                  <a:lnTo>
                    <a:pt x="1331" y="515"/>
                  </a:lnTo>
                  <a:lnTo>
                    <a:pt x="1326" y="509"/>
                  </a:lnTo>
                  <a:lnTo>
                    <a:pt x="1324" y="507"/>
                  </a:lnTo>
                  <a:lnTo>
                    <a:pt x="1324" y="507"/>
                  </a:lnTo>
                  <a:lnTo>
                    <a:pt x="1324" y="506"/>
                  </a:lnTo>
                  <a:lnTo>
                    <a:pt x="1322" y="502"/>
                  </a:lnTo>
                  <a:lnTo>
                    <a:pt x="1322" y="502"/>
                  </a:lnTo>
                  <a:lnTo>
                    <a:pt x="1322" y="500"/>
                  </a:lnTo>
                  <a:lnTo>
                    <a:pt x="1320" y="498"/>
                  </a:lnTo>
                  <a:lnTo>
                    <a:pt x="1320" y="498"/>
                  </a:lnTo>
                  <a:lnTo>
                    <a:pt x="1320" y="497"/>
                  </a:lnTo>
                  <a:lnTo>
                    <a:pt x="1320" y="495"/>
                  </a:lnTo>
                  <a:lnTo>
                    <a:pt x="1320" y="493"/>
                  </a:lnTo>
                  <a:lnTo>
                    <a:pt x="1318" y="489"/>
                  </a:lnTo>
                  <a:lnTo>
                    <a:pt x="1317" y="489"/>
                  </a:lnTo>
                  <a:lnTo>
                    <a:pt x="1300" y="480"/>
                  </a:lnTo>
                  <a:lnTo>
                    <a:pt x="1288" y="477"/>
                  </a:lnTo>
                  <a:lnTo>
                    <a:pt x="1270" y="475"/>
                  </a:lnTo>
                  <a:lnTo>
                    <a:pt x="1248" y="475"/>
                  </a:lnTo>
                  <a:lnTo>
                    <a:pt x="1234" y="478"/>
                  </a:lnTo>
                  <a:lnTo>
                    <a:pt x="1221" y="475"/>
                  </a:lnTo>
                  <a:lnTo>
                    <a:pt x="1215" y="471"/>
                  </a:lnTo>
                  <a:lnTo>
                    <a:pt x="1214" y="469"/>
                  </a:lnTo>
                  <a:lnTo>
                    <a:pt x="1212" y="469"/>
                  </a:lnTo>
                  <a:lnTo>
                    <a:pt x="1212" y="468"/>
                  </a:lnTo>
                  <a:lnTo>
                    <a:pt x="1208" y="468"/>
                  </a:lnTo>
                  <a:lnTo>
                    <a:pt x="1206" y="466"/>
                  </a:lnTo>
                  <a:lnTo>
                    <a:pt x="1203" y="464"/>
                  </a:lnTo>
                  <a:lnTo>
                    <a:pt x="1203" y="464"/>
                  </a:lnTo>
                  <a:lnTo>
                    <a:pt x="1196" y="460"/>
                  </a:lnTo>
                  <a:lnTo>
                    <a:pt x="1190" y="460"/>
                  </a:lnTo>
                  <a:lnTo>
                    <a:pt x="1188" y="460"/>
                  </a:lnTo>
                  <a:lnTo>
                    <a:pt x="1185" y="460"/>
                  </a:lnTo>
                  <a:lnTo>
                    <a:pt x="1187" y="464"/>
                  </a:lnTo>
                  <a:lnTo>
                    <a:pt x="1188" y="468"/>
                  </a:lnTo>
                  <a:lnTo>
                    <a:pt x="1208" y="486"/>
                  </a:lnTo>
                  <a:lnTo>
                    <a:pt x="1230" y="506"/>
                  </a:lnTo>
                  <a:lnTo>
                    <a:pt x="1234" y="511"/>
                  </a:lnTo>
                  <a:lnTo>
                    <a:pt x="1234" y="513"/>
                  </a:lnTo>
                  <a:lnTo>
                    <a:pt x="1234" y="516"/>
                  </a:lnTo>
                  <a:lnTo>
                    <a:pt x="1234" y="518"/>
                  </a:lnTo>
                  <a:lnTo>
                    <a:pt x="1232" y="527"/>
                  </a:lnTo>
                  <a:lnTo>
                    <a:pt x="1232" y="529"/>
                  </a:lnTo>
                  <a:lnTo>
                    <a:pt x="1232" y="531"/>
                  </a:lnTo>
                  <a:lnTo>
                    <a:pt x="1232" y="533"/>
                  </a:lnTo>
                  <a:lnTo>
                    <a:pt x="1232" y="534"/>
                  </a:lnTo>
                  <a:lnTo>
                    <a:pt x="1230" y="538"/>
                  </a:lnTo>
                  <a:lnTo>
                    <a:pt x="1230" y="543"/>
                  </a:lnTo>
                  <a:lnTo>
                    <a:pt x="1232" y="545"/>
                  </a:lnTo>
                  <a:lnTo>
                    <a:pt x="1232" y="545"/>
                  </a:lnTo>
                  <a:lnTo>
                    <a:pt x="1235" y="543"/>
                  </a:lnTo>
                  <a:lnTo>
                    <a:pt x="1237" y="542"/>
                  </a:lnTo>
                  <a:lnTo>
                    <a:pt x="1239" y="542"/>
                  </a:lnTo>
                  <a:lnTo>
                    <a:pt x="1243" y="542"/>
                  </a:lnTo>
                  <a:lnTo>
                    <a:pt x="1243" y="542"/>
                  </a:lnTo>
                  <a:lnTo>
                    <a:pt x="1239" y="543"/>
                  </a:lnTo>
                  <a:lnTo>
                    <a:pt x="1230" y="549"/>
                  </a:lnTo>
                  <a:lnTo>
                    <a:pt x="1228" y="551"/>
                  </a:lnTo>
                  <a:lnTo>
                    <a:pt x="1230" y="551"/>
                  </a:lnTo>
                  <a:lnTo>
                    <a:pt x="1232" y="551"/>
                  </a:lnTo>
                  <a:lnTo>
                    <a:pt x="1232" y="553"/>
                  </a:lnTo>
                  <a:lnTo>
                    <a:pt x="1232" y="553"/>
                  </a:lnTo>
                  <a:lnTo>
                    <a:pt x="1230" y="553"/>
                  </a:lnTo>
                  <a:lnTo>
                    <a:pt x="1228" y="554"/>
                  </a:lnTo>
                  <a:lnTo>
                    <a:pt x="1228" y="560"/>
                  </a:lnTo>
                  <a:lnTo>
                    <a:pt x="1230" y="560"/>
                  </a:lnTo>
                  <a:lnTo>
                    <a:pt x="1234" y="558"/>
                  </a:lnTo>
                  <a:lnTo>
                    <a:pt x="1235" y="560"/>
                  </a:lnTo>
                  <a:lnTo>
                    <a:pt x="1234" y="562"/>
                  </a:lnTo>
                  <a:lnTo>
                    <a:pt x="1234" y="563"/>
                  </a:lnTo>
                  <a:lnTo>
                    <a:pt x="1232" y="565"/>
                  </a:lnTo>
                  <a:lnTo>
                    <a:pt x="1230" y="565"/>
                  </a:lnTo>
                  <a:lnTo>
                    <a:pt x="1226" y="565"/>
                  </a:lnTo>
                  <a:lnTo>
                    <a:pt x="1226" y="565"/>
                  </a:lnTo>
                  <a:lnTo>
                    <a:pt x="1226" y="567"/>
                  </a:lnTo>
                  <a:lnTo>
                    <a:pt x="1226" y="571"/>
                  </a:lnTo>
                  <a:lnTo>
                    <a:pt x="1226" y="571"/>
                  </a:lnTo>
                  <a:lnTo>
                    <a:pt x="1226" y="572"/>
                  </a:lnTo>
                  <a:lnTo>
                    <a:pt x="1228" y="574"/>
                  </a:lnTo>
                  <a:lnTo>
                    <a:pt x="1228" y="574"/>
                  </a:lnTo>
                  <a:lnTo>
                    <a:pt x="1228" y="576"/>
                  </a:lnTo>
                  <a:lnTo>
                    <a:pt x="1228" y="578"/>
                  </a:lnTo>
                  <a:lnTo>
                    <a:pt x="1228" y="580"/>
                  </a:lnTo>
                  <a:lnTo>
                    <a:pt x="1228" y="581"/>
                  </a:lnTo>
                  <a:lnTo>
                    <a:pt x="1228" y="583"/>
                  </a:lnTo>
                  <a:lnTo>
                    <a:pt x="1226" y="587"/>
                  </a:lnTo>
                  <a:lnTo>
                    <a:pt x="1224" y="589"/>
                  </a:lnTo>
                  <a:lnTo>
                    <a:pt x="1226" y="589"/>
                  </a:lnTo>
                  <a:lnTo>
                    <a:pt x="1228" y="589"/>
                  </a:lnTo>
                  <a:lnTo>
                    <a:pt x="1228" y="589"/>
                  </a:lnTo>
                  <a:lnTo>
                    <a:pt x="1230" y="590"/>
                  </a:lnTo>
                  <a:lnTo>
                    <a:pt x="1230" y="592"/>
                  </a:lnTo>
                  <a:lnTo>
                    <a:pt x="1228" y="594"/>
                  </a:lnTo>
                  <a:lnTo>
                    <a:pt x="1228" y="594"/>
                  </a:lnTo>
                  <a:lnTo>
                    <a:pt x="1226" y="594"/>
                  </a:lnTo>
                  <a:lnTo>
                    <a:pt x="1226" y="594"/>
                  </a:lnTo>
                  <a:lnTo>
                    <a:pt x="1226" y="594"/>
                  </a:lnTo>
                  <a:lnTo>
                    <a:pt x="1226" y="592"/>
                  </a:lnTo>
                  <a:lnTo>
                    <a:pt x="1226" y="592"/>
                  </a:lnTo>
                  <a:lnTo>
                    <a:pt x="1226" y="592"/>
                  </a:lnTo>
                  <a:lnTo>
                    <a:pt x="1224" y="592"/>
                  </a:lnTo>
                  <a:lnTo>
                    <a:pt x="1224" y="592"/>
                  </a:lnTo>
                  <a:lnTo>
                    <a:pt x="1223" y="594"/>
                  </a:lnTo>
                  <a:lnTo>
                    <a:pt x="1223" y="596"/>
                  </a:lnTo>
                  <a:lnTo>
                    <a:pt x="1223" y="598"/>
                  </a:lnTo>
                  <a:lnTo>
                    <a:pt x="1223" y="599"/>
                  </a:lnTo>
                  <a:lnTo>
                    <a:pt x="1223" y="601"/>
                  </a:lnTo>
                  <a:lnTo>
                    <a:pt x="1223" y="607"/>
                  </a:lnTo>
                  <a:lnTo>
                    <a:pt x="1215" y="627"/>
                  </a:lnTo>
                  <a:lnTo>
                    <a:pt x="1212" y="637"/>
                  </a:lnTo>
                  <a:lnTo>
                    <a:pt x="1210" y="645"/>
                  </a:lnTo>
                  <a:lnTo>
                    <a:pt x="1210" y="650"/>
                  </a:lnTo>
                  <a:lnTo>
                    <a:pt x="1210" y="652"/>
                  </a:lnTo>
                  <a:lnTo>
                    <a:pt x="1210" y="655"/>
                  </a:lnTo>
                  <a:lnTo>
                    <a:pt x="1212" y="657"/>
                  </a:lnTo>
                  <a:lnTo>
                    <a:pt x="1215" y="659"/>
                  </a:lnTo>
                  <a:lnTo>
                    <a:pt x="1217" y="661"/>
                  </a:lnTo>
                  <a:lnTo>
                    <a:pt x="1219" y="659"/>
                  </a:lnTo>
                  <a:lnTo>
                    <a:pt x="1221" y="661"/>
                  </a:lnTo>
                  <a:lnTo>
                    <a:pt x="1224" y="659"/>
                  </a:lnTo>
                  <a:lnTo>
                    <a:pt x="1226" y="661"/>
                  </a:lnTo>
                  <a:lnTo>
                    <a:pt x="1230" y="663"/>
                  </a:lnTo>
                  <a:lnTo>
                    <a:pt x="1230" y="664"/>
                  </a:lnTo>
                  <a:lnTo>
                    <a:pt x="1232" y="664"/>
                  </a:lnTo>
                  <a:lnTo>
                    <a:pt x="1234" y="668"/>
                  </a:lnTo>
                  <a:lnTo>
                    <a:pt x="1235" y="668"/>
                  </a:lnTo>
                  <a:lnTo>
                    <a:pt x="1235" y="670"/>
                  </a:lnTo>
                  <a:lnTo>
                    <a:pt x="1241" y="668"/>
                  </a:lnTo>
                  <a:lnTo>
                    <a:pt x="1239" y="670"/>
                  </a:lnTo>
                  <a:lnTo>
                    <a:pt x="1239" y="670"/>
                  </a:lnTo>
                  <a:lnTo>
                    <a:pt x="1237" y="672"/>
                  </a:lnTo>
                  <a:lnTo>
                    <a:pt x="1237" y="674"/>
                  </a:lnTo>
                  <a:lnTo>
                    <a:pt x="1241" y="677"/>
                  </a:lnTo>
                  <a:lnTo>
                    <a:pt x="1243" y="679"/>
                  </a:lnTo>
                  <a:lnTo>
                    <a:pt x="1243" y="681"/>
                  </a:lnTo>
                  <a:lnTo>
                    <a:pt x="1243" y="683"/>
                  </a:lnTo>
                  <a:lnTo>
                    <a:pt x="1246" y="686"/>
                  </a:lnTo>
                  <a:lnTo>
                    <a:pt x="1246" y="688"/>
                  </a:lnTo>
                  <a:lnTo>
                    <a:pt x="1246" y="690"/>
                  </a:lnTo>
                  <a:lnTo>
                    <a:pt x="1246" y="692"/>
                  </a:lnTo>
                  <a:lnTo>
                    <a:pt x="1248" y="692"/>
                  </a:lnTo>
                  <a:lnTo>
                    <a:pt x="1246" y="693"/>
                  </a:lnTo>
                  <a:lnTo>
                    <a:pt x="1246" y="695"/>
                  </a:lnTo>
                  <a:lnTo>
                    <a:pt x="1246" y="701"/>
                  </a:lnTo>
                  <a:lnTo>
                    <a:pt x="1244" y="704"/>
                  </a:lnTo>
                  <a:lnTo>
                    <a:pt x="1241" y="706"/>
                  </a:lnTo>
                  <a:lnTo>
                    <a:pt x="1241" y="708"/>
                  </a:lnTo>
                  <a:lnTo>
                    <a:pt x="1241" y="711"/>
                  </a:lnTo>
                  <a:lnTo>
                    <a:pt x="1244" y="715"/>
                  </a:lnTo>
                  <a:lnTo>
                    <a:pt x="1244" y="719"/>
                  </a:lnTo>
                  <a:lnTo>
                    <a:pt x="1244" y="720"/>
                  </a:lnTo>
                  <a:lnTo>
                    <a:pt x="1246" y="722"/>
                  </a:lnTo>
                  <a:lnTo>
                    <a:pt x="1248" y="722"/>
                  </a:lnTo>
                  <a:lnTo>
                    <a:pt x="1248" y="722"/>
                  </a:lnTo>
                  <a:lnTo>
                    <a:pt x="1250" y="722"/>
                  </a:lnTo>
                  <a:lnTo>
                    <a:pt x="1250" y="724"/>
                  </a:lnTo>
                  <a:lnTo>
                    <a:pt x="1246" y="724"/>
                  </a:lnTo>
                  <a:lnTo>
                    <a:pt x="1243" y="726"/>
                  </a:lnTo>
                  <a:lnTo>
                    <a:pt x="1241" y="730"/>
                  </a:lnTo>
                  <a:lnTo>
                    <a:pt x="1241" y="731"/>
                  </a:lnTo>
                  <a:lnTo>
                    <a:pt x="1241" y="739"/>
                  </a:lnTo>
                  <a:lnTo>
                    <a:pt x="1241" y="742"/>
                  </a:lnTo>
                  <a:lnTo>
                    <a:pt x="1239" y="744"/>
                  </a:lnTo>
                  <a:lnTo>
                    <a:pt x="1239" y="744"/>
                  </a:lnTo>
                  <a:lnTo>
                    <a:pt x="1234" y="749"/>
                  </a:lnTo>
                  <a:lnTo>
                    <a:pt x="1234" y="751"/>
                  </a:lnTo>
                  <a:lnTo>
                    <a:pt x="1234" y="755"/>
                  </a:lnTo>
                  <a:lnTo>
                    <a:pt x="1232" y="757"/>
                  </a:lnTo>
                  <a:lnTo>
                    <a:pt x="1230" y="760"/>
                  </a:lnTo>
                  <a:lnTo>
                    <a:pt x="1230" y="762"/>
                  </a:lnTo>
                  <a:lnTo>
                    <a:pt x="1228" y="767"/>
                  </a:lnTo>
                  <a:lnTo>
                    <a:pt x="1226" y="775"/>
                  </a:lnTo>
                  <a:lnTo>
                    <a:pt x="1226" y="780"/>
                  </a:lnTo>
                  <a:lnTo>
                    <a:pt x="1226" y="787"/>
                  </a:lnTo>
                  <a:lnTo>
                    <a:pt x="1226" y="789"/>
                  </a:lnTo>
                  <a:lnTo>
                    <a:pt x="1230" y="793"/>
                  </a:lnTo>
                  <a:lnTo>
                    <a:pt x="1230" y="796"/>
                  </a:lnTo>
                  <a:lnTo>
                    <a:pt x="1230" y="800"/>
                  </a:lnTo>
                  <a:lnTo>
                    <a:pt x="1228" y="805"/>
                  </a:lnTo>
                  <a:lnTo>
                    <a:pt x="1228" y="807"/>
                  </a:lnTo>
                  <a:lnTo>
                    <a:pt x="1230" y="811"/>
                  </a:lnTo>
                  <a:lnTo>
                    <a:pt x="1230" y="814"/>
                  </a:lnTo>
                  <a:lnTo>
                    <a:pt x="1232" y="818"/>
                  </a:lnTo>
                  <a:lnTo>
                    <a:pt x="1230" y="823"/>
                  </a:lnTo>
                  <a:lnTo>
                    <a:pt x="1230" y="820"/>
                  </a:lnTo>
                  <a:lnTo>
                    <a:pt x="1226" y="811"/>
                  </a:lnTo>
                  <a:lnTo>
                    <a:pt x="1224" y="807"/>
                  </a:lnTo>
                  <a:lnTo>
                    <a:pt x="1223" y="805"/>
                  </a:lnTo>
                  <a:lnTo>
                    <a:pt x="1223" y="804"/>
                  </a:lnTo>
                  <a:lnTo>
                    <a:pt x="1223" y="802"/>
                  </a:lnTo>
                  <a:lnTo>
                    <a:pt x="1224" y="802"/>
                  </a:lnTo>
                  <a:lnTo>
                    <a:pt x="1224" y="800"/>
                  </a:lnTo>
                  <a:lnTo>
                    <a:pt x="1224" y="798"/>
                  </a:lnTo>
                  <a:lnTo>
                    <a:pt x="1224" y="796"/>
                  </a:lnTo>
                  <a:lnTo>
                    <a:pt x="1221" y="793"/>
                  </a:lnTo>
                  <a:lnTo>
                    <a:pt x="1219" y="789"/>
                  </a:lnTo>
                  <a:lnTo>
                    <a:pt x="1217" y="787"/>
                  </a:lnTo>
                  <a:lnTo>
                    <a:pt x="1214" y="784"/>
                  </a:lnTo>
                  <a:lnTo>
                    <a:pt x="1214" y="784"/>
                  </a:lnTo>
                  <a:lnTo>
                    <a:pt x="1210" y="784"/>
                  </a:lnTo>
                  <a:lnTo>
                    <a:pt x="1208" y="784"/>
                  </a:lnTo>
                  <a:lnTo>
                    <a:pt x="1206" y="784"/>
                  </a:lnTo>
                  <a:lnTo>
                    <a:pt x="1205" y="786"/>
                  </a:lnTo>
                  <a:lnTo>
                    <a:pt x="1205" y="786"/>
                  </a:lnTo>
                  <a:lnTo>
                    <a:pt x="1203" y="787"/>
                  </a:lnTo>
                  <a:lnTo>
                    <a:pt x="1201" y="787"/>
                  </a:lnTo>
                  <a:lnTo>
                    <a:pt x="1199" y="789"/>
                  </a:lnTo>
                  <a:lnTo>
                    <a:pt x="1197" y="789"/>
                  </a:lnTo>
                  <a:lnTo>
                    <a:pt x="1196" y="791"/>
                  </a:lnTo>
                  <a:lnTo>
                    <a:pt x="1196" y="791"/>
                  </a:lnTo>
                  <a:lnTo>
                    <a:pt x="1192" y="795"/>
                  </a:lnTo>
                  <a:lnTo>
                    <a:pt x="1190" y="798"/>
                  </a:lnTo>
                  <a:lnTo>
                    <a:pt x="1192" y="798"/>
                  </a:lnTo>
                  <a:lnTo>
                    <a:pt x="1197" y="800"/>
                  </a:lnTo>
                  <a:lnTo>
                    <a:pt x="1197" y="802"/>
                  </a:lnTo>
                  <a:lnTo>
                    <a:pt x="1197" y="804"/>
                  </a:lnTo>
                  <a:lnTo>
                    <a:pt x="1197" y="809"/>
                  </a:lnTo>
                  <a:lnTo>
                    <a:pt x="1197" y="807"/>
                  </a:lnTo>
                  <a:lnTo>
                    <a:pt x="1196" y="804"/>
                  </a:lnTo>
                  <a:lnTo>
                    <a:pt x="1194" y="802"/>
                  </a:lnTo>
                  <a:lnTo>
                    <a:pt x="1192" y="802"/>
                  </a:lnTo>
                  <a:lnTo>
                    <a:pt x="1190" y="802"/>
                  </a:lnTo>
                  <a:lnTo>
                    <a:pt x="1190" y="802"/>
                  </a:lnTo>
                  <a:lnTo>
                    <a:pt x="1188" y="800"/>
                  </a:lnTo>
                  <a:lnTo>
                    <a:pt x="1188" y="798"/>
                  </a:lnTo>
                  <a:lnTo>
                    <a:pt x="1187" y="795"/>
                  </a:lnTo>
                  <a:lnTo>
                    <a:pt x="1187" y="795"/>
                  </a:lnTo>
                  <a:lnTo>
                    <a:pt x="1188" y="793"/>
                  </a:lnTo>
                  <a:lnTo>
                    <a:pt x="1190" y="793"/>
                  </a:lnTo>
                  <a:lnTo>
                    <a:pt x="1192" y="793"/>
                  </a:lnTo>
                  <a:lnTo>
                    <a:pt x="1192" y="791"/>
                  </a:lnTo>
                  <a:lnTo>
                    <a:pt x="1192" y="789"/>
                  </a:lnTo>
                  <a:lnTo>
                    <a:pt x="1194" y="787"/>
                  </a:lnTo>
                  <a:lnTo>
                    <a:pt x="1196" y="786"/>
                  </a:lnTo>
                  <a:lnTo>
                    <a:pt x="1197" y="784"/>
                  </a:lnTo>
                  <a:lnTo>
                    <a:pt x="1205" y="780"/>
                  </a:lnTo>
                  <a:lnTo>
                    <a:pt x="1206" y="776"/>
                  </a:lnTo>
                  <a:lnTo>
                    <a:pt x="1206" y="773"/>
                  </a:lnTo>
                  <a:lnTo>
                    <a:pt x="1205" y="771"/>
                  </a:lnTo>
                  <a:lnTo>
                    <a:pt x="1199" y="766"/>
                  </a:lnTo>
                  <a:lnTo>
                    <a:pt x="1197" y="766"/>
                  </a:lnTo>
                  <a:lnTo>
                    <a:pt x="1192" y="766"/>
                  </a:lnTo>
                  <a:lnTo>
                    <a:pt x="1190" y="764"/>
                  </a:lnTo>
                  <a:lnTo>
                    <a:pt x="1190" y="760"/>
                  </a:lnTo>
                  <a:lnTo>
                    <a:pt x="1188" y="755"/>
                  </a:lnTo>
                  <a:lnTo>
                    <a:pt x="1187" y="753"/>
                  </a:lnTo>
                  <a:lnTo>
                    <a:pt x="1185" y="753"/>
                  </a:lnTo>
                  <a:lnTo>
                    <a:pt x="1178" y="753"/>
                  </a:lnTo>
                  <a:lnTo>
                    <a:pt x="1168" y="755"/>
                  </a:lnTo>
                  <a:lnTo>
                    <a:pt x="1159" y="757"/>
                  </a:lnTo>
                  <a:lnTo>
                    <a:pt x="1149" y="758"/>
                  </a:lnTo>
                  <a:lnTo>
                    <a:pt x="1150" y="757"/>
                  </a:lnTo>
                  <a:lnTo>
                    <a:pt x="1154" y="753"/>
                  </a:lnTo>
                  <a:lnTo>
                    <a:pt x="1154" y="751"/>
                  </a:lnTo>
                  <a:lnTo>
                    <a:pt x="1154" y="749"/>
                  </a:lnTo>
                  <a:lnTo>
                    <a:pt x="1140" y="742"/>
                  </a:lnTo>
                  <a:lnTo>
                    <a:pt x="1132" y="740"/>
                  </a:lnTo>
                  <a:lnTo>
                    <a:pt x="1129" y="740"/>
                  </a:lnTo>
                  <a:lnTo>
                    <a:pt x="1127" y="744"/>
                  </a:lnTo>
                  <a:lnTo>
                    <a:pt x="1123" y="755"/>
                  </a:lnTo>
                  <a:lnTo>
                    <a:pt x="1114" y="769"/>
                  </a:lnTo>
                  <a:lnTo>
                    <a:pt x="1103" y="782"/>
                  </a:lnTo>
                  <a:lnTo>
                    <a:pt x="1103" y="784"/>
                  </a:lnTo>
                  <a:lnTo>
                    <a:pt x="1103" y="784"/>
                  </a:lnTo>
                  <a:lnTo>
                    <a:pt x="1103" y="786"/>
                  </a:lnTo>
                  <a:lnTo>
                    <a:pt x="1103" y="786"/>
                  </a:lnTo>
                  <a:lnTo>
                    <a:pt x="1100" y="787"/>
                  </a:lnTo>
                  <a:lnTo>
                    <a:pt x="1096" y="791"/>
                  </a:lnTo>
                  <a:lnTo>
                    <a:pt x="1096" y="791"/>
                  </a:lnTo>
                  <a:lnTo>
                    <a:pt x="1094" y="791"/>
                  </a:lnTo>
                  <a:lnTo>
                    <a:pt x="1093" y="795"/>
                  </a:lnTo>
                  <a:lnTo>
                    <a:pt x="1093" y="795"/>
                  </a:lnTo>
                  <a:lnTo>
                    <a:pt x="1091" y="796"/>
                  </a:lnTo>
                  <a:lnTo>
                    <a:pt x="1089" y="798"/>
                  </a:lnTo>
                  <a:lnTo>
                    <a:pt x="1076" y="802"/>
                  </a:lnTo>
                  <a:lnTo>
                    <a:pt x="1073" y="805"/>
                  </a:lnTo>
                  <a:lnTo>
                    <a:pt x="1062" y="807"/>
                  </a:lnTo>
                  <a:lnTo>
                    <a:pt x="1057" y="809"/>
                  </a:lnTo>
                  <a:lnTo>
                    <a:pt x="1053" y="814"/>
                  </a:lnTo>
                  <a:lnTo>
                    <a:pt x="1046" y="829"/>
                  </a:lnTo>
                  <a:lnTo>
                    <a:pt x="1035" y="840"/>
                  </a:lnTo>
                  <a:lnTo>
                    <a:pt x="1024" y="847"/>
                  </a:lnTo>
                  <a:lnTo>
                    <a:pt x="1020" y="849"/>
                  </a:lnTo>
                  <a:lnTo>
                    <a:pt x="1013" y="854"/>
                  </a:lnTo>
                  <a:lnTo>
                    <a:pt x="1010" y="861"/>
                  </a:lnTo>
                  <a:lnTo>
                    <a:pt x="1008" y="863"/>
                  </a:lnTo>
                  <a:lnTo>
                    <a:pt x="1008" y="865"/>
                  </a:lnTo>
                  <a:lnTo>
                    <a:pt x="1008" y="869"/>
                  </a:lnTo>
                  <a:lnTo>
                    <a:pt x="1008" y="870"/>
                  </a:lnTo>
                  <a:lnTo>
                    <a:pt x="1008" y="874"/>
                  </a:lnTo>
                  <a:lnTo>
                    <a:pt x="1008" y="879"/>
                  </a:lnTo>
                  <a:lnTo>
                    <a:pt x="1008" y="881"/>
                  </a:lnTo>
                  <a:lnTo>
                    <a:pt x="1008" y="885"/>
                  </a:lnTo>
                  <a:lnTo>
                    <a:pt x="1011" y="888"/>
                  </a:lnTo>
                  <a:lnTo>
                    <a:pt x="1015" y="894"/>
                  </a:lnTo>
                  <a:lnTo>
                    <a:pt x="1028" y="917"/>
                  </a:lnTo>
                  <a:lnTo>
                    <a:pt x="1028" y="919"/>
                  </a:lnTo>
                  <a:lnTo>
                    <a:pt x="1033" y="923"/>
                  </a:lnTo>
                  <a:lnTo>
                    <a:pt x="1035" y="925"/>
                  </a:lnTo>
                  <a:lnTo>
                    <a:pt x="1035" y="926"/>
                  </a:lnTo>
                  <a:lnTo>
                    <a:pt x="1037" y="928"/>
                  </a:lnTo>
                  <a:lnTo>
                    <a:pt x="1037" y="928"/>
                  </a:lnTo>
                  <a:lnTo>
                    <a:pt x="1037" y="930"/>
                  </a:lnTo>
                  <a:lnTo>
                    <a:pt x="1038" y="932"/>
                  </a:lnTo>
                  <a:lnTo>
                    <a:pt x="1040" y="934"/>
                  </a:lnTo>
                  <a:lnTo>
                    <a:pt x="1040" y="935"/>
                  </a:lnTo>
                  <a:lnTo>
                    <a:pt x="1042" y="948"/>
                  </a:lnTo>
                  <a:lnTo>
                    <a:pt x="1044" y="950"/>
                  </a:lnTo>
                  <a:lnTo>
                    <a:pt x="1044" y="952"/>
                  </a:lnTo>
                  <a:lnTo>
                    <a:pt x="1046" y="952"/>
                  </a:lnTo>
                  <a:lnTo>
                    <a:pt x="1047" y="954"/>
                  </a:lnTo>
                  <a:lnTo>
                    <a:pt x="1047" y="955"/>
                  </a:lnTo>
                  <a:lnTo>
                    <a:pt x="1047" y="955"/>
                  </a:lnTo>
                  <a:lnTo>
                    <a:pt x="1046" y="954"/>
                  </a:lnTo>
                  <a:lnTo>
                    <a:pt x="1044" y="954"/>
                  </a:lnTo>
                  <a:lnTo>
                    <a:pt x="1042" y="955"/>
                  </a:lnTo>
                  <a:lnTo>
                    <a:pt x="1042" y="957"/>
                  </a:lnTo>
                  <a:lnTo>
                    <a:pt x="1042" y="957"/>
                  </a:lnTo>
                  <a:lnTo>
                    <a:pt x="1042" y="959"/>
                  </a:lnTo>
                  <a:lnTo>
                    <a:pt x="1042" y="959"/>
                  </a:lnTo>
                  <a:lnTo>
                    <a:pt x="1042" y="961"/>
                  </a:lnTo>
                  <a:lnTo>
                    <a:pt x="1042" y="961"/>
                  </a:lnTo>
                  <a:lnTo>
                    <a:pt x="1044" y="963"/>
                  </a:lnTo>
                  <a:lnTo>
                    <a:pt x="1046" y="970"/>
                  </a:lnTo>
                  <a:lnTo>
                    <a:pt x="1046" y="972"/>
                  </a:lnTo>
                  <a:lnTo>
                    <a:pt x="1047" y="973"/>
                  </a:lnTo>
                  <a:lnTo>
                    <a:pt x="1047" y="975"/>
                  </a:lnTo>
                  <a:lnTo>
                    <a:pt x="1047" y="977"/>
                  </a:lnTo>
                  <a:lnTo>
                    <a:pt x="1047" y="979"/>
                  </a:lnTo>
                  <a:lnTo>
                    <a:pt x="1047" y="981"/>
                  </a:lnTo>
                  <a:lnTo>
                    <a:pt x="1046" y="981"/>
                  </a:lnTo>
                  <a:lnTo>
                    <a:pt x="1042" y="981"/>
                  </a:lnTo>
                  <a:lnTo>
                    <a:pt x="1040" y="979"/>
                  </a:lnTo>
                  <a:lnTo>
                    <a:pt x="1040" y="979"/>
                  </a:lnTo>
                  <a:lnTo>
                    <a:pt x="1033" y="979"/>
                  </a:lnTo>
                  <a:lnTo>
                    <a:pt x="1031" y="979"/>
                  </a:lnTo>
                  <a:lnTo>
                    <a:pt x="1029" y="977"/>
                  </a:lnTo>
                  <a:lnTo>
                    <a:pt x="1028" y="973"/>
                  </a:lnTo>
                  <a:lnTo>
                    <a:pt x="1024" y="972"/>
                  </a:lnTo>
                  <a:lnTo>
                    <a:pt x="1017" y="966"/>
                  </a:lnTo>
                  <a:lnTo>
                    <a:pt x="1013" y="964"/>
                  </a:lnTo>
                  <a:lnTo>
                    <a:pt x="1013" y="966"/>
                  </a:lnTo>
                  <a:lnTo>
                    <a:pt x="1011" y="968"/>
                  </a:lnTo>
                  <a:lnTo>
                    <a:pt x="1011" y="972"/>
                  </a:lnTo>
                  <a:lnTo>
                    <a:pt x="1011" y="975"/>
                  </a:lnTo>
                  <a:lnTo>
                    <a:pt x="1013" y="973"/>
                  </a:lnTo>
                  <a:lnTo>
                    <a:pt x="1015" y="972"/>
                  </a:lnTo>
                  <a:lnTo>
                    <a:pt x="1017" y="972"/>
                  </a:lnTo>
                  <a:lnTo>
                    <a:pt x="1019" y="973"/>
                  </a:lnTo>
                  <a:lnTo>
                    <a:pt x="1017" y="973"/>
                  </a:lnTo>
                  <a:lnTo>
                    <a:pt x="1013" y="975"/>
                  </a:lnTo>
                  <a:lnTo>
                    <a:pt x="1013" y="975"/>
                  </a:lnTo>
                  <a:lnTo>
                    <a:pt x="1010" y="977"/>
                  </a:lnTo>
                  <a:lnTo>
                    <a:pt x="1010" y="977"/>
                  </a:lnTo>
                  <a:lnTo>
                    <a:pt x="1010" y="979"/>
                  </a:lnTo>
                  <a:lnTo>
                    <a:pt x="1008" y="979"/>
                  </a:lnTo>
                  <a:lnTo>
                    <a:pt x="1001" y="981"/>
                  </a:lnTo>
                  <a:lnTo>
                    <a:pt x="993" y="977"/>
                  </a:lnTo>
                  <a:lnTo>
                    <a:pt x="992" y="973"/>
                  </a:lnTo>
                  <a:lnTo>
                    <a:pt x="988" y="972"/>
                  </a:lnTo>
                  <a:lnTo>
                    <a:pt x="988" y="970"/>
                  </a:lnTo>
                  <a:lnTo>
                    <a:pt x="986" y="968"/>
                  </a:lnTo>
                  <a:lnTo>
                    <a:pt x="984" y="968"/>
                  </a:lnTo>
                  <a:lnTo>
                    <a:pt x="979" y="966"/>
                  </a:lnTo>
                  <a:lnTo>
                    <a:pt x="973" y="963"/>
                  </a:lnTo>
                  <a:lnTo>
                    <a:pt x="968" y="959"/>
                  </a:lnTo>
                  <a:lnTo>
                    <a:pt x="964" y="957"/>
                  </a:lnTo>
                  <a:lnTo>
                    <a:pt x="963" y="957"/>
                  </a:lnTo>
                  <a:lnTo>
                    <a:pt x="959" y="957"/>
                  </a:lnTo>
                  <a:lnTo>
                    <a:pt x="952" y="954"/>
                  </a:lnTo>
                  <a:lnTo>
                    <a:pt x="946" y="952"/>
                  </a:lnTo>
                  <a:lnTo>
                    <a:pt x="945" y="950"/>
                  </a:lnTo>
                  <a:lnTo>
                    <a:pt x="945" y="948"/>
                  </a:lnTo>
                  <a:lnTo>
                    <a:pt x="943" y="948"/>
                  </a:lnTo>
                  <a:lnTo>
                    <a:pt x="943" y="950"/>
                  </a:lnTo>
                  <a:lnTo>
                    <a:pt x="943" y="952"/>
                  </a:lnTo>
                  <a:lnTo>
                    <a:pt x="946" y="954"/>
                  </a:lnTo>
                  <a:lnTo>
                    <a:pt x="946" y="954"/>
                  </a:lnTo>
                  <a:lnTo>
                    <a:pt x="945" y="957"/>
                  </a:lnTo>
                  <a:lnTo>
                    <a:pt x="943" y="957"/>
                  </a:lnTo>
                  <a:lnTo>
                    <a:pt x="941" y="955"/>
                  </a:lnTo>
                  <a:lnTo>
                    <a:pt x="939" y="955"/>
                  </a:lnTo>
                  <a:lnTo>
                    <a:pt x="936" y="959"/>
                  </a:lnTo>
                  <a:lnTo>
                    <a:pt x="934" y="959"/>
                  </a:lnTo>
                  <a:lnTo>
                    <a:pt x="932" y="959"/>
                  </a:lnTo>
                  <a:lnTo>
                    <a:pt x="930" y="959"/>
                  </a:lnTo>
                  <a:lnTo>
                    <a:pt x="930" y="961"/>
                  </a:lnTo>
                  <a:lnTo>
                    <a:pt x="930" y="963"/>
                  </a:lnTo>
                  <a:lnTo>
                    <a:pt x="930" y="964"/>
                  </a:lnTo>
                  <a:lnTo>
                    <a:pt x="930" y="966"/>
                  </a:lnTo>
                  <a:lnTo>
                    <a:pt x="928" y="966"/>
                  </a:lnTo>
                  <a:lnTo>
                    <a:pt x="927" y="966"/>
                  </a:lnTo>
                  <a:lnTo>
                    <a:pt x="927" y="968"/>
                  </a:lnTo>
                  <a:lnTo>
                    <a:pt x="925" y="968"/>
                  </a:lnTo>
                  <a:lnTo>
                    <a:pt x="925" y="970"/>
                  </a:lnTo>
                  <a:lnTo>
                    <a:pt x="925" y="968"/>
                  </a:lnTo>
                  <a:lnTo>
                    <a:pt x="923" y="968"/>
                  </a:lnTo>
                  <a:lnTo>
                    <a:pt x="927" y="966"/>
                  </a:lnTo>
                  <a:lnTo>
                    <a:pt x="927" y="964"/>
                  </a:lnTo>
                  <a:lnTo>
                    <a:pt x="928" y="964"/>
                  </a:lnTo>
                  <a:lnTo>
                    <a:pt x="928" y="963"/>
                  </a:lnTo>
                  <a:lnTo>
                    <a:pt x="927" y="963"/>
                  </a:lnTo>
                  <a:lnTo>
                    <a:pt x="923" y="957"/>
                  </a:lnTo>
                  <a:lnTo>
                    <a:pt x="923" y="955"/>
                  </a:lnTo>
                  <a:lnTo>
                    <a:pt x="925" y="954"/>
                  </a:lnTo>
                  <a:lnTo>
                    <a:pt x="927" y="952"/>
                  </a:lnTo>
                  <a:lnTo>
                    <a:pt x="930" y="952"/>
                  </a:lnTo>
                  <a:lnTo>
                    <a:pt x="934" y="954"/>
                  </a:lnTo>
                  <a:lnTo>
                    <a:pt x="934" y="952"/>
                  </a:lnTo>
                  <a:lnTo>
                    <a:pt x="936" y="950"/>
                  </a:lnTo>
                  <a:lnTo>
                    <a:pt x="937" y="952"/>
                  </a:lnTo>
                  <a:lnTo>
                    <a:pt x="939" y="954"/>
                  </a:lnTo>
                  <a:lnTo>
                    <a:pt x="941" y="954"/>
                  </a:lnTo>
                  <a:lnTo>
                    <a:pt x="941" y="952"/>
                  </a:lnTo>
                  <a:lnTo>
                    <a:pt x="941" y="952"/>
                  </a:lnTo>
                  <a:lnTo>
                    <a:pt x="939" y="950"/>
                  </a:lnTo>
                  <a:lnTo>
                    <a:pt x="941" y="948"/>
                  </a:lnTo>
                  <a:lnTo>
                    <a:pt x="941" y="944"/>
                  </a:lnTo>
                  <a:lnTo>
                    <a:pt x="939" y="944"/>
                  </a:lnTo>
                  <a:lnTo>
                    <a:pt x="934" y="944"/>
                  </a:lnTo>
                  <a:lnTo>
                    <a:pt x="928" y="946"/>
                  </a:lnTo>
                  <a:lnTo>
                    <a:pt x="923" y="944"/>
                  </a:lnTo>
                  <a:lnTo>
                    <a:pt x="912" y="937"/>
                  </a:lnTo>
                  <a:lnTo>
                    <a:pt x="907" y="932"/>
                  </a:lnTo>
                  <a:lnTo>
                    <a:pt x="907" y="930"/>
                  </a:lnTo>
                  <a:lnTo>
                    <a:pt x="907" y="926"/>
                  </a:lnTo>
                  <a:lnTo>
                    <a:pt x="907" y="925"/>
                  </a:lnTo>
                  <a:lnTo>
                    <a:pt x="905" y="923"/>
                  </a:lnTo>
                  <a:lnTo>
                    <a:pt x="903" y="923"/>
                  </a:lnTo>
                  <a:lnTo>
                    <a:pt x="899" y="921"/>
                  </a:lnTo>
                  <a:lnTo>
                    <a:pt x="896" y="919"/>
                  </a:lnTo>
                  <a:lnTo>
                    <a:pt x="892" y="916"/>
                  </a:lnTo>
                  <a:lnTo>
                    <a:pt x="887" y="914"/>
                  </a:lnTo>
                  <a:lnTo>
                    <a:pt x="883" y="910"/>
                  </a:lnTo>
                  <a:lnTo>
                    <a:pt x="878" y="908"/>
                  </a:lnTo>
                  <a:lnTo>
                    <a:pt x="874" y="907"/>
                  </a:lnTo>
                  <a:lnTo>
                    <a:pt x="872" y="907"/>
                  </a:lnTo>
                  <a:lnTo>
                    <a:pt x="871" y="907"/>
                  </a:lnTo>
                  <a:lnTo>
                    <a:pt x="869" y="908"/>
                  </a:lnTo>
                  <a:lnTo>
                    <a:pt x="867" y="908"/>
                  </a:lnTo>
                  <a:lnTo>
                    <a:pt x="861" y="910"/>
                  </a:lnTo>
                  <a:lnTo>
                    <a:pt x="861" y="912"/>
                  </a:lnTo>
                  <a:lnTo>
                    <a:pt x="865" y="914"/>
                  </a:lnTo>
                  <a:lnTo>
                    <a:pt x="865" y="917"/>
                  </a:lnTo>
                  <a:lnTo>
                    <a:pt x="865" y="919"/>
                  </a:lnTo>
                  <a:lnTo>
                    <a:pt x="863" y="923"/>
                  </a:lnTo>
                  <a:lnTo>
                    <a:pt x="863" y="925"/>
                  </a:lnTo>
                  <a:lnTo>
                    <a:pt x="861" y="928"/>
                  </a:lnTo>
                  <a:lnTo>
                    <a:pt x="861" y="930"/>
                  </a:lnTo>
                  <a:lnTo>
                    <a:pt x="861" y="932"/>
                  </a:lnTo>
                  <a:lnTo>
                    <a:pt x="860" y="934"/>
                  </a:lnTo>
                  <a:lnTo>
                    <a:pt x="856" y="934"/>
                  </a:lnTo>
                  <a:lnTo>
                    <a:pt x="854" y="935"/>
                  </a:lnTo>
                  <a:lnTo>
                    <a:pt x="852" y="939"/>
                  </a:lnTo>
                  <a:lnTo>
                    <a:pt x="851" y="939"/>
                  </a:lnTo>
                  <a:lnTo>
                    <a:pt x="849" y="935"/>
                  </a:lnTo>
                  <a:lnTo>
                    <a:pt x="845" y="935"/>
                  </a:lnTo>
                  <a:lnTo>
                    <a:pt x="843" y="937"/>
                  </a:lnTo>
                  <a:lnTo>
                    <a:pt x="845" y="941"/>
                  </a:lnTo>
                  <a:lnTo>
                    <a:pt x="845" y="943"/>
                  </a:lnTo>
                  <a:lnTo>
                    <a:pt x="845" y="944"/>
                  </a:lnTo>
                  <a:lnTo>
                    <a:pt x="851" y="946"/>
                  </a:lnTo>
                  <a:lnTo>
                    <a:pt x="849" y="948"/>
                  </a:lnTo>
                  <a:lnTo>
                    <a:pt x="847" y="946"/>
                  </a:lnTo>
                  <a:lnTo>
                    <a:pt x="847" y="948"/>
                  </a:lnTo>
                  <a:lnTo>
                    <a:pt x="847" y="950"/>
                  </a:lnTo>
                  <a:lnTo>
                    <a:pt x="847" y="952"/>
                  </a:lnTo>
                  <a:lnTo>
                    <a:pt x="847" y="954"/>
                  </a:lnTo>
                  <a:lnTo>
                    <a:pt x="849" y="955"/>
                  </a:lnTo>
                  <a:lnTo>
                    <a:pt x="849" y="961"/>
                  </a:lnTo>
                  <a:lnTo>
                    <a:pt x="854" y="961"/>
                  </a:lnTo>
                  <a:lnTo>
                    <a:pt x="856" y="961"/>
                  </a:lnTo>
                  <a:lnTo>
                    <a:pt x="858" y="964"/>
                  </a:lnTo>
                  <a:lnTo>
                    <a:pt x="860" y="970"/>
                  </a:lnTo>
                  <a:lnTo>
                    <a:pt x="863" y="975"/>
                  </a:lnTo>
                  <a:lnTo>
                    <a:pt x="874" y="991"/>
                  </a:lnTo>
                  <a:lnTo>
                    <a:pt x="878" y="999"/>
                  </a:lnTo>
                  <a:lnTo>
                    <a:pt x="885" y="1002"/>
                  </a:lnTo>
                  <a:lnTo>
                    <a:pt x="889" y="1004"/>
                  </a:lnTo>
                  <a:lnTo>
                    <a:pt x="890" y="1002"/>
                  </a:lnTo>
                  <a:lnTo>
                    <a:pt x="896" y="999"/>
                  </a:lnTo>
                  <a:lnTo>
                    <a:pt x="898" y="999"/>
                  </a:lnTo>
                  <a:lnTo>
                    <a:pt x="899" y="999"/>
                  </a:lnTo>
                  <a:lnTo>
                    <a:pt x="901" y="1000"/>
                  </a:lnTo>
                  <a:lnTo>
                    <a:pt x="903" y="1000"/>
                  </a:lnTo>
                  <a:lnTo>
                    <a:pt x="905" y="999"/>
                  </a:lnTo>
                  <a:lnTo>
                    <a:pt x="905" y="995"/>
                  </a:lnTo>
                  <a:lnTo>
                    <a:pt x="907" y="993"/>
                  </a:lnTo>
                  <a:lnTo>
                    <a:pt x="908" y="993"/>
                  </a:lnTo>
                  <a:lnTo>
                    <a:pt x="910" y="993"/>
                  </a:lnTo>
                  <a:lnTo>
                    <a:pt x="912" y="995"/>
                  </a:lnTo>
                  <a:lnTo>
                    <a:pt x="912" y="995"/>
                  </a:lnTo>
                  <a:lnTo>
                    <a:pt x="912" y="1000"/>
                  </a:lnTo>
                  <a:lnTo>
                    <a:pt x="914" y="1002"/>
                  </a:lnTo>
                  <a:lnTo>
                    <a:pt x="919" y="1000"/>
                  </a:lnTo>
                  <a:lnTo>
                    <a:pt x="919" y="1002"/>
                  </a:lnTo>
                  <a:lnTo>
                    <a:pt x="917" y="1002"/>
                  </a:lnTo>
                  <a:lnTo>
                    <a:pt x="917" y="1002"/>
                  </a:lnTo>
                  <a:lnTo>
                    <a:pt x="917" y="1004"/>
                  </a:lnTo>
                  <a:lnTo>
                    <a:pt x="917" y="1004"/>
                  </a:lnTo>
                  <a:lnTo>
                    <a:pt x="919" y="1006"/>
                  </a:lnTo>
                  <a:lnTo>
                    <a:pt x="921" y="1008"/>
                  </a:lnTo>
                  <a:lnTo>
                    <a:pt x="923" y="1008"/>
                  </a:lnTo>
                  <a:lnTo>
                    <a:pt x="923" y="1009"/>
                  </a:lnTo>
                  <a:lnTo>
                    <a:pt x="921" y="1011"/>
                  </a:lnTo>
                  <a:lnTo>
                    <a:pt x="917" y="1013"/>
                  </a:lnTo>
                  <a:lnTo>
                    <a:pt x="916" y="1015"/>
                  </a:lnTo>
                  <a:lnTo>
                    <a:pt x="917" y="1019"/>
                  </a:lnTo>
                  <a:lnTo>
                    <a:pt x="919" y="1020"/>
                  </a:lnTo>
                  <a:lnTo>
                    <a:pt x="921" y="1022"/>
                  </a:lnTo>
                  <a:lnTo>
                    <a:pt x="923" y="1024"/>
                  </a:lnTo>
                  <a:lnTo>
                    <a:pt x="923" y="1026"/>
                  </a:lnTo>
                  <a:lnTo>
                    <a:pt x="927" y="1037"/>
                  </a:lnTo>
                  <a:lnTo>
                    <a:pt x="927" y="1038"/>
                  </a:lnTo>
                  <a:lnTo>
                    <a:pt x="925" y="1042"/>
                  </a:lnTo>
                  <a:lnTo>
                    <a:pt x="921" y="1047"/>
                  </a:lnTo>
                  <a:lnTo>
                    <a:pt x="921" y="1049"/>
                  </a:lnTo>
                  <a:lnTo>
                    <a:pt x="919" y="1049"/>
                  </a:lnTo>
                  <a:lnTo>
                    <a:pt x="916" y="1053"/>
                  </a:lnTo>
                  <a:lnTo>
                    <a:pt x="912" y="1055"/>
                  </a:lnTo>
                  <a:lnTo>
                    <a:pt x="907" y="1055"/>
                  </a:lnTo>
                  <a:lnTo>
                    <a:pt x="905" y="1055"/>
                  </a:lnTo>
                  <a:lnTo>
                    <a:pt x="903" y="1056"/>
                  </a:lnTo>
                  <a:lnTo>
                    <a:pt x="901" y="1060"/>
                  </a:lnTo>
                  <a:lnTo>
                    <a:pt x="903" y="1062"/>
                  </a:lnTo>
                  <a:lnTo>
                    <a:pt x="901" y="1064"/>
                  </a:lnTo>
                  <a:lnTo>
                    <a:pt x="898" y="1065"/>
                  </a:lnTo>
                  <a:lnTo>
                    <a:pt x="894" y="1067"/>
                  </a:lnTo>
                  <a:lnTo>
                    <a:pt x="887" y="1064"/>
                  </a:lnTo>
                  <a:lnTo>
                    <a:pt x="885" y="1064"/>
                  </a:lnTo>
                  <a:lnTo>
                    <a:pt x="885" y="1064"/>
                  </a:lnTo>
                  <a:lnTo>
                    <a:pt x="885" y="1062"/>
                  </a:lnTo>
                  <a:lnTo>
                    <a:pt x="885" y="1062"/>
                  </a:lnTo>
                  <a:lnTo>
                    <a:pt x="883" y="1060"/>
                  </a:lnTo>
                  <a:lnTo>
                    <a:pt x="881" y="1056"/>
                  </a:lnTo>
                  <a:lnTo>
                    <a:pt x="881" y="1056"/>
                  </a:lnTo>
                  <a:lnTo>
                    <a:pt x="880" y="1055"/>
                  </a:lnTo>
                  <a:lnTo>
                    <a:pt x="872" y="1055"/>
                  </a:lnTo>
                  <a:lnTo>
                    <a:pt x="871" y="1055"/>
                  </a:lnTo>
                  <a:lnTo>
                    <a:pt x="869" y="1051"/>
                  </a:lnTo>
                  <a:lnTo>
                    <a:pt x="869" y="1051"/>
                  </a:lnTo>
                  <a:lnTo>
                    <a:pt x="867" y="1051"/>
                  </a:lnTo>
                  <a:lnTo>
                    <a:pt x="865" y="1053"/>
                  </a:lnTo>
                  <a:lnTo>
                    <a:pt x="865" y="1053"/>
                  </a:lnTo>
                  <a:lnTo>
                    <a:pt x="863" y="1053"/>
                  </a:lnTo>
                  <a:lnTo>
                    <a:pt x="861" y="1051"/>
                  </a:lnTo>
                  <a:lnTo>
                    <a:pt x="861" y="1051"/>
                  </a:lnTo>
                  <a:lnTo>
                    <a:pt x="860" y="1049"/>
                  </a:lnTo>
                  <a:lnTo>
                    <a:pt x="856" y="1051"/>
                  </a:lnTo>
                  <a:lnTo>
                    <a:pt x="856" y="1051"/>
                  </a:lnTo>
                  <a:lnTo>
                    <a:pt x="854" y="1049"/>
                  </a:lnTo>
                  <a:lnTo>
                    <a:pt x="852" y="1049"/>
                  </a:lnTo>
                  <a:lnTo>
                    <a:pt x="852" y="1047"/>
                  </a:lnTo>
                  <a:lnTo>
                    <a:pt x="851" y="1047"/>
                  </a:lnTo>
                  <a:lnTo>
                    <a:pt x="849" y="1046"/>
                  </a:lnTo>
                  <a:lnTo>
                    <a:pt x="847" y="1046"/>
                  </a:lnTo>
                  <a:lnTo>
                    <a:pt x="845" y="1046"/>
                  </a:lnTo>
                  <a:lnTo>
                    <a:pt x="845" y="1046"/>
                  </a:lnTo>
                  <a:lnTo>
                    <a:pt x="842" y="1044"/>
                  </a:lnTo>
                  <a:lnTo>
                    <a:pt x="840" y="1044"/>
                  </a:lnTo>
                  <a:lnTo>
                    <a:pt x="836" y="1042"/>
                  </a:lnTo>
                  <a:lnTo>
                    <a:pt x="834" y="1040"/>
                  </a:lnTo>
                  <a:lnTo>
                    <a:pt x="834" y="1038"/>
                  </a:lnTo>
                  <a:lnTo>
                    <a:pt x="836" y="1038"/>
                  </a:lnTo>
                  <a:lnTo>
                    <a:pt x="834" y="1037"/>
                  </a:lnTo>
                  <a:lnTo>
                    <a:pt x="833" y="1035"/>
                  </a:lnTo>
                  <a:lnTo>
                    <a:pt x="833" y="1031"/>
                  </a:lnTo>
                  <a:lnTo>
                    <a:pt x="833" y="1029"/>
                  </a:lnTo>
                  <a:lnTo>
                    <a:pt x="833" y="1029"/>
                  </a:lnTo>
                  <a:lnTo>
                    <a:pt x="833" y="1028"/>
                  </a:lnTo>
                  <a:lnTo>
                    <a:pt x="831" y="1026"/>
                  </a:lnTo>
                  <a:lnTo>
                    <a:pt x="829" y="1024"/>
                  </a:lnTo>
                  <a:lnTo>
                    <a:pt x="827" y="1020"/>
                  </a:lnTo>
                  <a:lnTo>
                    <a:pt x="825" y="1020"/>
                  </a:lnTo>
                  <a:lnTo>
                    <a:pt x="824" y="1019"/>
                  </a:lnTo>
                  <a:lnTo>
                    <a:pt x="822" y="1020"/>
                  </a:lnTo>
                  <a:lnTo>
                    <a:pt x="822" y="1020"/>
                  </a:lnTo>
                  <a:lnTo>
                    <a:pt x="820" y="1020"/>
                  </a:lnTo>
                  <a:lnTo>
                    <a:pt x="820" y="1019"/>
                  </a:lnTo>
                  <a:lnTo>
                    <a:pt x="820" y="1017"/>
                  </a:lnTo>
                  <a:lnTo>
                    <a:pt x="818" y="1015"/>
                  </a:lnTo>
                  <a:lnTo>
                    <a:pt x="818" y="1015"/>
                  </a:lnTo>
                  <a:lnTo>
                    <a:pt x="816" y="1013"/>
                  </a:lnTo>
                  <a:lnTo>
                    <a:pt x="816" y="1013"/>
                  </a:lnTo>
                  <a:lnTo>
                    <a:pt x="816" y="1009"/>
                  </a:lnTo>
                  <a:lnTo>
                    <a:pt x="815" y="1006"/>
                  </a:lnTo>
                  <a:lnTo>
                    <a:pt x="813" y="1004"/>
                  </a:lnTo>
                  <a:lnTo>
                    <a:pt x="807" y="1002"/>
                  </a:lnTo>
                  <a:lnTo>
                    <a:pt x="804" y="999"/>
                  </a:lnTo>
                  <a:lnTo>
                    <a:pt x="800" y="995"/>
                  </a:lnTo>
                  <a:lnTo>
                    <a:pt x="800" y="997"/>
                  </a:lnTo>
                  <a:lnTo>
                    <a:pt x="800" y="999"/>
                  </a:lnTo>
                  <a:lnTo>
                    <a:pt x="800" y="999"/>
                  </a:lnTo>
                  <a:lnTo>
                    <a:pt x="802" y="1000"/>
                  </a:lnTo>
                  <a:lnTo>
                    <a:pt x="802" y="1004"/>
                  </a:lnTo>
                  <a:lnTo>
                    <a:pt x="800" y="1006"/>
                  </a:lnTo>
                  <a:lnTo>
                    <a:pt x="798" y="1006"/>
                  </a:lnTo>
                  <a:lnTo>
                    <a:pt x="795" y="1008"/>
                  </a:lnTo>
                  <a:lnTo>
                    <a:pt x="791" y="1009"/>
                  </a:lnTo>
                  <a:lnTo>
                    <a:pt x="789" y="1009"/>
                  </a:lnTo>
                  <a:lnTo>
                    <a:pt x="787" y="1008"/>
                  </a:lnTo>
                  <a:lnTo>
                    <a:pt x="787" y="1006"/>
                  </a:lnTo>
                  <a:lnTo>
                    <a:pt x="787" y="1004"/>
                  </a:lnTo>
                  <a:lnTo>
                    <a:pt x="787" y="1002"/>
                  </a:lnTo>
                  <a:lnTo>
                    <a:pt x="787" y="1000"/>
                  </a:lnTo>
                  <a:lnTo>
                    <a:pt x="786" y="1000"/>
                  </a:lnTo>
                  <a:lnTo>
                    <a:pt x="780" y="999"/>
                  </a:lnTo>
                  <a:lnTo>
                    <a:pt x="778" y="999"/>
                  </a:lnTo>
                  <a:lnTo>
                    <a:pt x="777" y="997"/>
                  </a:lnTo>
                  <a:lnTo>
                    <a:pt x="775" y="995"/>
                  </a:lnTo>
                  <a:lnTo>
                    <a:pt x="771" y="995"/>
                  </a:lnTo>
                  <a:lnTo>
                    <a:pt x="769" y="991"/>
                  </a:lnTo>
                  <a:lnTo>
                    <a:pt x="771" y="990"/>
                  </a:lnTo>
                  <a:lnTo>
                    <a:pt x="771" y="986"/>
                  </a:lnTo>
                  <a:lnTo>
                    <a:pt x="769" y="984"/>
                  </a:lnTo>
                  <a:lnTo>
                    <a:pt x="768" y="982"/>
                  </a:lnTo>
                  <a:lnTo>
                    <a:pt x="768" y="982"/>
                  </a:lnTo>
                  <a:lnTo>
                    <a:pt x="764" y="982"/>
                  </a:lnTo>
                  <a:lnTo>
                    <a:pt x="762" y="982"/>
                  </a:lnTo>
                  <a:lnTo>
                    <a:pt x="762" y="981"/>
                  </a:lnTo>
                  <a:lnTo>
                    <a:pt x="760" y="981"/>
                  </a:lnTo>
                  <a:lnTo>
                    <a:pt x="760" y="979"/>
                  </a:lnTo>
                  <a:lnTo>
                    <a:pt x="759" y="979"/>
                  </a:lnTo>
                  <a:lnTo>
                    <a:pt x="759" y="979"/>
                  </a:lnTo>
                  <a:lnTo>
                    <a:pt x="762" y="979"/>
                  </a:lnTo>
                  <a:lnTo>
                    <a:pt x="762" y="979"/>
                  </a:lnTo>
                  <a:lnTo>
                    <a:pt x="764" y="979"/>
                  </a:lnTo>
                  <a:lnTo>
                    <a:pt x="766" y="977"/>
                  </a:lnTo>
                  <a:lnTo>
                    <a:pt x="768" y="975"/>
                  </a:lnTo>
                  <a:lnTo>
                    <a:pt x="769" y="973"/>
                  </a:lnTo>
                  <a:lnTo>
                    <a:pt x="769" y="972"/>
                  </a:lnTo>
                  <a:lnTo>
                    <a:pt x="768" y="970"/>
                  </a:lnTo>
                  <a:lnTo>
                    <a:pt x="768" y="966"/>
                  </a:lnTo>
                  <a:lnTo>
                    <a:pt x="762" y="963"/>
                  </a:lnTo>
                  <a:lnTo>
                    <a:pt x="762" y="963"/>
                  </a:lnTo>
                  <a:lnTo>
                    <a:pt x="764" y="961"/>
                  </a:lnTo>
                  <a:lnTo>
                    <a:pt x="766" y="961"/>
                  </a:lnTo>
                  <a:lnTo>
                    <a:pt x="768" y="959"/>
                  </a:lnTo>
                  <a:lnTo>
                    <a:pt x="769" y="959"/>
                  </a:lnTo>
                  <a:lnTo>
                    <a:pt x="771" y="957"/>
                  </a:lnTo>
                  <a:lnTo>
                    <a:pt x="769" y="954"/>
                  </a:lnTo>
                  <a:lnTo>
                    <a:pt x="769" y="954"/>
                  </a:lnTo>
                  <a:lnTo>
                    <a:pt x="768" y="955"/>
                  </a:lnTo>
                  <a:lnTo>
                    <a:pt x="766" y="955"/>
                  </a:lnTo>
                  <a:lnTo>
                    <a:pt x="762" y="955"/>
                  </a:lnTo>
                  <a:lnTo>
                    <a:pt x="762" y="955"/>
                  </a:lnTo>
                  <a:lnTo>
                    <a:pt x="760" y="955"/>
                  </a:lnTo>
                  <a:lnTo>
                    <a:pt x="759" y="954"/>
                  </a:lnTo>
                  <a:lnTo>
                    <a:pt x="760" y="952"/>
                  </a:lnTo>
                  <a:lnTo>
                    <a:pt x="764" y="952"/>
                  </a:lnTo>
                  <a:lnTo>
                    <a:pt x="766" y="950"/>
                  </a:lnTo>
                  <a:lnTo>
                    <a:pt x="768" y="948"/>
                  </a:lnTo>
                  <a:lnTo>
                    <a:pt x="768" y="946"/>
                  </a:lnTo>
                  <a:lnTo>
                    <a:pt x="768" y="944"/>
                  </a:lnTo>
                  <a:lnTo>
                    <a:pt x="768" y="944"/>
                  </a:lnTo>
                  <a:lnTo>
                    <a:pt x="768" y="943"/>
                  </a:lnTo>
                  <a:lnTo>
                    <a:pt x="766" y="943"/>
                  </a:lnTo>
                  <a:lnTo>
                    <a:pt x="766" y="941"/>
                  </a:lnTo>
                  <a:lnTo>
                    <a:pt x="766" y="941"/>
                  </a:lnTo>
                  <a:lnTo>
                    <a:pt x="766" y="939"/>
                  </a:lnTo>
                  <a:lnTo>
                    <a:pt x="764" y="937"/>
                  </a:lnTo>
                  <a:lnTo>
                    <a:pt x="766" y="937"/>
                  </a:lnTo>
                  <a:lnTo>
                    <a:pt x="766" y="937"/>
                  </a:lnTo>
                  <a:lnTo>
                    <a:pt x="764" y="937"/>
                  </a:lnTo>
                  <a:lnTo>
                    <a:pt x="764" y="937"/>
                  </a:lnTo>
                  <a:lnTo>
                    <a:pt x="764" y="937"/>
                  </a:lnTo>
                  <a:lnTo>
                    <a:pt x="762" y="935"/>
                  </a:lnTo>
                  <a:lnTo>
                    <a:pt x="762" y="934"/>
                  </a:lnTo>
                  <a:lnTo>
                    <a:pt x="760" y="932"/>
                  </a:lnTo>
                  <a:lnTo>
                    <a:pt x="759" y="930"/>
                  </a:lnTo>
                  <a:lnTo>
                    <a:pt x="757" y="930"/>
                  </a:lnTo>
                  <a:lnTo>
                    <a:pt x="757" y="926"/>
                  </a:lnTo>
                  <a:lnTo>
                    <a:pt x="759" y="926"/>
                  </a:lnTo>
                  <a:lnTo>
                    <a:pt x="760" y="926"/>
                  </a:lnTo>
                  <a:lnTo>
                    <a:pt x="760" y="925"/>
                  </a:lnTo>
                  <a:lnTo>
                    <a:pt x="762" y="921"/>
                  </a:lnTo>
                  <a:lnTo>
                    <a:pt x="760" y="921"/>
                  </a:lnTo>
                  <a:lnTo>
                    <a:pt x="759" y="921"/>
                  </a:lnTo>
                  <a:lnTo>
                    <a:pt x="759" y="919"/>
                  </a:lnTo>
                  <a:lnTo>
                    <a:pt x="760" y="917"/>
                  </a:lnTo>
                  <a:lnTo>
                    <a:pt x="760" y="916"/>
                  </a:lnTo>
                  <a:lnTo>
                    <a:pt x="760" y="914"/>
                  </a:lnTo>
                  <a:lnTo>
                    <a:pt x="755" y="914"/>
                  </a:lnTo>
                  <a:lnTo>
                    <a:pt x="755" y="912"/>
                  </a:lnTo>
                  <a:lnTo>
                    <a:pt x="755" y="908"/>
                  </a:lnTo>
                  <a:lnTo>
                    <a:pt x="753" y="908"/>
                  </a:lnTo>
                  <a:lnTo>
                    <a:pt x="753" y="907"/>
                  </a:lnTo>
                  <a:lnTo>
                    <a:pt x="753" y="907"/>
                  </a:lnTo>
                  <a:lnTo>
                    <a:pt x="755" y="907"/>
                  </a:lnTo>
                  <a:lnTo>
                    <a:pt x="755" y="905"/>
                  </a:lnTo>
                  <a:lnTo>
                    <a:pt x="755" y="903"/>
                  </a:lnTo>
                  <a:lnTo>
                    <a:pt x="755" y="903"/>
                  </a:lnTo>
                  <a:lnTo>
                    <a:pt x="753" y="901"/>
                  </a:lnTo>
                  <a:lnTo>
                    <a:pt x="753" y="899"/>
                  </a:lnTo>
                  <a:lnTo>
                    <a:pt x="751" y="899"/>
                  </a:lnTo>
                  <a:lnTo>
                    <a:pt x="753" y="898"/>
                  </a:lnTo>
                  <a:lnTo>
                    <a:pt x="751" y="898"/>
                  </a:lnTo>
                  <a:lnTo>
                    <a:pt x="750" y="898"/>
                  </a:lnTo>
                  <a:lnTo>
                    <a:pt x="748" y="896"/>
                  </a:lnTo>
                  <a:lnTo>
                    <a:pt x="748" y="894"/>
                  </a:lnTo>
                  <a:lnTo>
                    <a:pt x="748" y="894"/>
                  </a:lnTo>
                  <a:lnTo>
                    <a:pt x="746" y="894"/>
                  </a:lnTo>
                  <a:lnTo>
                    <a:pt x="746" y="894"/>
                  </a:lnTo>
                  <a:lnTo>
                    <a:pt x="744" y="892"/>
                  </a:lnTo>
                  <a:lnTo>
                    <a:pt x="744" y="888"/>
                  </a:lnTo>
                  <a:lnTo>
                    <a:pt x="746" y="888"/>
                  </a:lnTo>
                  <a:lnTo>
                    <a:pt x="746" y="885"/>
                  </a:lnTo>
                  <a:lnTo>
                    <a:pt x="744" y="883"/>
                  </a:lnTo>
                  <a:lnTo>
                    <a:pt x="744" y="883"/>
                  </a:lnTo>
                  <a:lnTo>
                    <a:pt x="737" y="881"/>
                  </a:lnTo>
                  <a:lnTo>
                    <a:pt x="737" y="879"/>
                  </a:lnTo>
                  <a:lnTo>
                    <a:pt x="741" y="879"/>
                  </a:lnTo>
                  <a:lnTo>
                    <a:pt x="741" y="879"/>
                  </a:lnTo>
                  <a:lnTo>
                    <a:pt x="741" y="878"/>
                  </a:lnTo>
                  <a:lnTo>
                    <a:pt x="741" y="878"/>
                  </a:lnTo>
                  <a:lnTo>
                    <a:pt x="739" y="878"/>
                  </a:lnTo>
                  <a:lnTo>
                    <a:pt x="741" y="878"/>
                  </a:lnTo>
                  <a:lnTo>
                    <a:pt x="741" y="878"/>
                  </a:lnTo>
                  <a:lnTo>
                    <a:pt x="742" y="876"/>
                  </a:lnTo>
                  <a:lnTo>
                    <a:pt x="742" y="876"/>
                  </a:lnTo>
                  <a:lnTo>
                    <a:pt x="744" y="878"/>
                  </a:lnTo>
                  <a:lnTo>
                    <a:pt x="744" y="878"/>
                  </a:lnTo>
                  <a:lnTo>
                    <a:pt x="746" y="878"/>
                  </a:lnTo>
                  <a:lnTo>
                    <a:pt x="746" y="878"/>
                  </a:lnTo>
                  <a:lnTo>
                    <a:pt x="746" y="874"/>
                  </a:lnTo>
                  <a:lnTo>
                    <a:pt x="746" y="872"/>
                  </a:lnTo>
                  <a:lnTo>
                    <a:pt x="750" y="872"/>
                  </a:lnTo>
                  <a:lnTo>
                    <a:pt x="753" y="874"/>
                  </a:lnTo>
                  <a:lnTo>
                    <a:pt x="755" y="874"/>
                  </a:lnTo>
                  <a:lnTo>
                    <a:pt x="755" y="872"/>
                  </a:lnTo>
                  <a:lnTo>
                    <a:pt x="755" y="870"/>
                  </a:lnTo>
                  <a:lnTo>
                    <a:pt x="755" y="870"/>
                  </a:lnTo>
                  <a:lnTo>
                    <a:pt x="753" y="869"/>
                  </a:lnTo>
                  <a:lnTo>
                    <a:pt x="753" y="869"/>
                  </a:lnTo>
                  <a:lnTo>
                    <a:pt x="755" y="867"/>
                  </a:lnTo>
                  <a:lnTo>
                    <a:pt x="757" y="865"/>
                  </a:lnTo>
                  <a:lnTo>
                    <a:pt x="759" y="861"/>
                  </a:lnTo>
                  <a:lnTo>
                    <a:pt x="759" y="858"/>
                  </a:lnTo>
                  <a:lnTo>
                    <a:pt x="760" y="856"/>
                  </a:lnTo>
                  <a:lnTo>
                    <a:pt x="760" y="856"/>
                  </a:lnTo>
                  <a:lnTo>
                    <a:pt x="760" y="854"/>
                  </a:lnTo>
                  <a:lnTo>
                    <a:pt x="759" y="851"/>
                  </a:lnTo>
                  <a:lnTo>
                    <a:pt x="759" y="849"/>
                  </a:lnTo>
                  <a:lnTo>
                    <a:pt x="759" y="847"/>
                  </a:lnTo>
                  <a:lnTo>
                    <a:pt x="757" y="847"/>
                  </a:lnTo>
                  <a:lnTo>
                    <a:pt x="757" y="845"/>
                  </a:lnTo>
                  <a:lnTo>
                    <a:pt x="757" y="845"/>
                  </a:lnTo>
                  <a:lnTo>
                    <a:pt x="759" y="843"/>
                  </a:lnTo>
                  <a:lnTo>
                    <a:pt x="759" y="843"/>
                  </a:lnTo>
                  <a:lnTo>
                    <a:pt x="759" y="842"/>
                  </a:lnTo>
                  <a:lnTo>
                    <a:pt x="759" y="840"/>
                  </a:lnTo>
                  <a:lnTo>
                    <a:pt x="757" y="840"/>
                  </a:lnTo>
                  <a:lnTo>
                    <a:pt x="755" y="840"/>
                  </a:lnTo>
                  <a:lnTo>
                    <a:pt x="757" y="840"/>
                  </a:lnTo>
                  <a:lnTo>
                    <a:pt x="755" y="834"/>
                  </a:lnTo>
                  <a:lnTo>
                    <a:pt x="755" y="834"/>
                  </a:lnTo>
                  <a:lnTo>
                    <a:pt x="755" y="834"/>
                  </a:lnTo>
                  <a:lnTo>
                    <a:pt x="755" y="829"/>
                  </a:lnTo>
                  <a:lnTo>
                    <a:pt x="757" y="831"/>
                  </a:lnTo>
                  <a:lnTo>
                    <a:pt x="760" y="834"/>
                  </a:lnTo>
                  <a:lnTo>
                    <a:pt x="766" y="842"/>
                  </a:lnTo>
                  <a:lnTo>
                    <a:pt x="768" y="843"/>
                  </a:lnTo>
                  <a:lnTo>
                    <a:pt x="768" y="842"/>
                  </a:lnTo>
                  <a:lnTo>
                    <a:pt x="769" y="842"/>
                  </a:lnTo>
                  <a:lnTo>
                    <a:pt x="769" y="840"/>
                  </a:lnTo>
                  <a:lnTo>
                    <a:pt x="768" y="838"/>
                  </a:lnTo>
                  <a:lnTo>
                    <a:pt x="766" y="836"/>
                  </a:lnTo>
                  <a:lnTo>
                    <a:pt x="766" y="836"/>
                  </a:lnTo>
                  <a:lnTo>
                    <a:pt x="764" y="834"/>
                  </a:lnTo>
                  <a:lnTo>
                    <a:pt x="764" y="832"/>
                  </a:lnTo>
                  <a:lnTo>
                    <a:pt x="766" y="832"/>
                  </a:lnTo>
                  <a:lnTo>
                    <a:pt x="766" y="831"/>
                  </a:lnTo>
                  <a:lnTo>
                    <a:pt x="766" y="829"/>
                  </a:lnTo>
                  <a:lnTo>
                    <a:pt x="766" y="829"/>
                  </a:lnTo>
                  <a:lnTo>
                    <a:pt x="766" y="827"/>
                  </a:lnTo>
                  <a:lnTo>
                    <a:pt x="764" y="827"/>
                  </a:lnTo>
                  <a:lnTo>
                    <a:pt x="764" y="827"/>
                  </a:lnTo>
                  <a:lnTo>
                    <a:pt x="762" y="825"/>
                  </a:lnTo>
                  <a:lnTo>
                    <a:pt x="764" y="822"/>
                  </a:lnTo>
                  <a:lnTo>
                    <a:pt x="764" y="822"/>
                  </a:lnTo>
                  <a:lnTo>
                    <a:pt x="764" y="820"/>
                  </a:lnTo>
                  <a:lnTo>
                    <a:pt x="764" y="818"/>
                  </a:lnTo>
                  <a:lnTo>
                    <a:pt x="764" y="818"/>
                  </a:lnTo>
                  <a:lnTo>
                    <a:pt x="764" y="818"/>
                  </a:lnTo>
                  <a:lnTo>
                    <a:pt x="762" y="818"/>
                  </a:lnTo>
                  <a:lnTo>
                    <a:pt x="762" y="818"/>
                  </a:lnTo>
                  <a:lnTo>
                    <a:pt x="760" y="816"/>
                  </a:lnTo>
                  <a:lnTo>
                    <a:pt x="760" y="816"/>
                  </a:lnTo>
                  <a:lnTo>
                    <a:pt x="759" y="816"/>
                  </a:lnTo>
                  <a:lnTo>
                    <a:pt x="757" y="818"/>
                  </a:lnTo>
                  <a:lnTo>
                    <a:pt x="757" y="818"/>
                  </a:lnTo>
                  <a:lnTo>
                    <a:pt x="757" y="818"/>
                  </a:lnTo>
                  <a:lnTo>
                    <a:pt x="757" y="816"/>
                  </a:lnTo>
                  <a:lnTo>
                    <a:pt x="757" y="814"/>
                  </a:lnTo>
                  <a:lnTo>
                    <a:pt x="757" y="814"/>
                  </a:lnTo>
                  <a:lnTo>
                    <a:pt x="755" y="814"/>
                  </a:lnTo>
                  <a:lnTo>
                    <a:pt x="755" y="813"/>
                  </a:lnTo>
                  <a:lnTo>
                    <a:pt x="755" y="813"/>
                  </a:lnTo>
                  <a:lnTo>
                    <a:pt x="757" y="811"/>
                  </a:lnTo>
                  <a:lnTo>
                    <a:pt x="757" y="809"/>
                  </a:lnTo>
                  <a:lnTo>
                    <a:pt x="757" y="807"/>
                  </a:lnTo>
                  <a:lnTo>
                    <a:pt x="757" y="807"/>
                  </a:lnTo>
                  <a:lnTo>
                    <a:pt x="755" y="804"/>
                  </a:lnTo>
                  <a:lnTo>
                    <a:pt x="753" y="804"/>
                  </a:lnTo>
                  <a:lnTo>
                    <a:pt x="753" y="802"/>
                  </a:lnTo>
                  <a:lnTo>
                    <a:pt x="751" y="800"/>
                  </a:lnTo>
                  <a:lnTo>
                    <a:pt x="750" y="798"/>
                  </a:lnTo>
                  <a:lnTo>
                    <a:pt x="750" y="795"/>
                  </a:lnTo>
                  <a:lnTo>
                    <a:pt x="748" y="793"/>
                  </a:lnTo>
                  <a:lnTo>
                    <a:pt x="748" y="795"/>
                  </a:lnTo>
                  <a:lnTo>
                    <a:pt x="746" y="793"/>
                  </a:lnTo>
                  <a:lnTo>
                    <a:pt x="737" y="786"/>
                  </a:lnTo>
                  <a:lnTo>
                    <a:pt x="735" y="786"/>
                  </a:lnTo>
                  <a:lnTo>
                    <a:pt x="735" y="786"/>
                  </a:lnTo>
                  <a:lnTo>
                    <a:pt x="733" y="784"/>
                  </a:lnTo>
                  <a:lnTo>
                    <a:pt x="730" y="784"/>
                  </a:lnTo>
                  <a:lnTo>
                    <a:pt x="728" y="784"/>
                  </a:lnTo>
                  <a:lnTo>
                    <a:pt x="728" y="782"/>
                  </a:lnTo>
                  <a:lnTo>
                    <a:pt x="730" y="782"/>
                  </a:lnTo>
                  <a:lnTo>
                    <a:pt x="730" y="780"/>
                  </a:lnTo>
                  <a:lnTo>
                    <a:pt x="730" y="778"/>
                  </a:lnTo>
                  <a:lnTo>
                    <a:pt x="730" y="778"/>
                  </a:lnTo>
                  <a:lnTo>
                    <a:pt x="728" y="776"/>
                  </a:lnTo>
                  <a:lnTo>
                    <a:pt x="726" y="776"/>
                  </a:lnTo>
                  <a:lnTo>
                    <a:pt x="726" y="776"/>
                  </a:lnTo>
                  <a:lnTo>
                    <a:pt x="721" y="775"/>
                  </a:lnTo>
                  <a:lnTo>
                    <a:pt x="719" y="776"/>
                  </a:lnTo>
                  <a:lnTo>
                    <a:pt x="717" y="776"/>
                  </a:lnTo>
                  <a:lnTo>
                    <a:pt x="717" y="778"/>
                  </a:lnTo>
                  <a:lnTo>
                    <a:pt x="717" y="778"/>
                  </a:lnTo>
                  <a:lnTo>
                    <a:pt x="715" y="776"/>
                  </a:lnTo>
                  <a:lnTo>
                    <a:pt x="715" y="776"/>
                  </a:lnTo>
                  <a:lnTo>
                    <a:pt x="715" y="775"/>
                  </a:lnTo>
                  <a:lnTo>
                    <a:pt x="715" y="775"/>
                  </a:lnTo>
                  <a:lnTo>
                    <a:pt x="715" y="773"/>
                  </a:lnTo>
                  <a:lnTo>
                    <a:pt x="703" y="767"/>
                  </a:lnTo>
                  <a:lnTo>
                    <a:pt x="703" y="767"/>
                  </a:lnTo>
                  <a:lnTo>
                    <a:pt x="703" y="767"/>
                  </a:lnTo>
                  <a:lnTo>
                    <a:pt x="703" y="766"/>
                  </a:lnTo>
                  <a:lnTo>
                    <a:pt x="701" y="766"/>
                  </a:lnTo>
                  <a:lnTo>
                    <a:pt x="695" y="767"/>
                  </a:lnTo>
                  <a:lnTo>
                    <a:pt x="686" y="767"/>
                  </a:lnTo>
                  <a:lnTo>
                    <a:pt x="688" y="766"/>
                  </a:lnTo>
                  <a:lnTo>
                    <a:pt x="690" y="764"/>
                  </a:lnTo>
                  <a:lnTo>
                    <a:pt x="695" y="764"/>
                  </a:lnTo>
                  <a:lnTo>
                    <a:pt x="703" y="764"/>
                  </a:lnTo>
                  <a:lnTo>
                    <a:pt x="704" y="762"/>
                  </a:lnTo>
                  <a:lnTo>
                    <a:pt x="703" y="760"/>
                  </a:lnTo>
                  <a:lnTo>
                    <a:pt x="699" y="758"/>
                  </a:lnTo>
                  <a:lnTo>
                    <a:pt x="697" y="757"/>
                  </a:lnTo>
                  <a:lnTo>
                    <a:pt x="699" y="755"/>
                  </a:lnTo>
                  <a:lnTo>
                    <a:pt x="706" y="755"/>
                  </a:lnTo>
                  <a:lnTo>
                    <a:pt x="708" y="753"/>
                  </a:lnTo>
                  <a:lnTo>
                    <a:pt x="706" y="751"/>
                  </a:lnTo>
                  <a:lnTo>
                    <a:pt x="703" y="751"/>
                  </a:lnTo>
                  <a:lnTo>
                    <a:pt x="701" y="749"/>
                  </a:lnTo>
                  <a:lnTo>
                    <a:pt x="701" y="748"/>
                  </a:lnTo>
                  <a:lnTo>
                    <a:pt x="703" y="748"/>
                  </a:lnTo>
                  <a:lnTo>
                    <a:pt x="703" y="748"/>
                  </a:lnTo>
                  <a:lnTo>
                    <a:pt x="703" y="746"/>
                  </a:lnTo>
                  <a:lnTo>
                    <a:pt x="701" y="744"/>
                  </a:lnTo>
                  <a:lnTo>
                    <a:pt x="701" y="744"/>
                  </a:lnTo>
                  <a:lnTo>
                    <a:pt x="697" y="748"/>
                  </a:lnTo>
                  <a:lnTo>
                    <a:pt x="697" y="749"/>
                  </a:lnTo>
                  <a:lnTo>
                    <a:pt x="688" y="748"/>
                  </a:lnTo>
                  <a:lnTo>
                    <a:pt x="688" y="746"/>
                  </a:lnTo>
                  <a:lnTo>
                    <a:pt x="686" y="744"/>
                  </a:lnTo>
                  <a:lnTo>
                    <a:pt x="686" y="744"/>
                  </a:lnTo>
                  <a:lnTo>
                    <a:pt x="686" y="744"/>
                  </a:lnTo>
                  <a:lnTo>
                    <a:pt x="686" y="742"/>
                  </a:lnTo>
                  <a:lnTo>
                    <a:pt x="686" y="742"/>
                  </a:lnTo>
                  <a:lnTo>
                    <a:pt x="686" y="742"/>
                  </a:lnTo>
                  <a:lnTo>
                    <a:pt x="683" y="740"/>
                  </a:lnTo>
                  <a:lnTo>
                    <a:pt x="681" y="740"/>
                  </a:lnTo>
                  <a:lnTo>
                    <a:pt x="681" y="740"/>
                  </a:lnTo>
                  <a:lnTo>
                    <a:pt x="675" y="744"/>
                  </a:lnTo>
                  <a:lnTo>
                    <a:pt x="674" y="744"/>
                  </a:lnTo>
                  <a:lnTo>
                    <a:pt x="670" y="742"/>
                  </a:lnTo>
                  <a:lnTo>
                    <a:pt x="668" y="740"/>
                  </a:lnTo>
                  <a:lnTo>
                    <a:pt x="670" y="739"/>
                  </a:lnTo>
                  <a:lnTo>
                    <a:pt x="672" y="739"/>
                  </a:lnTo>
                  <a:lnTo>
                    <a:pt x="675" y="737"/>
                  </a:lnTo>
                  <a:lnTo>
                    <a:pt x="677" y="739"/>
                  </a:lnTo>
                  <a:lnTo>
                    <a:pt x="679" y="737"/>
                  </a:lnTo>
                  <a:lnTo>
                    <a:pt x="679" y="737"/>
                  </a:lnTo>
                  <a:lnTo>
                    <a:pt x="681" y="737"/>
                  </a:lnTo>
                  <a:lnTo>
                    <a:pt x="681" y="737"/>
                  </a:lnTo>
                  <a:lnTo>
                    <a:pt x="679" y="735"/>
                  </a:lnTo>
                  <a:lnTo>
                    <a:pt x="679" y="735"/>
                  </a:lnTo>
                  <a:lnTo>
                    <a:pt x="679" y="735"/>
                  </a:lnTo>
                  <a:lnTo>
                    <a:pt x="681" y="735"/>
                  </a:lnTo>
                  <a:lnTo>
                    <a:pt x="695" y="742"/>
                  </a:lnTo>
                  <a:lnTo>
                    <a:pt x="697" y="740"/>
                  </a:lnTo>
                  <a:lnTo>
                    <a:pt x="697" y="739"/>
                  </a:lnTo>
                  <a:lnTo>
                    <a:pt x="695" y="739"/>
                  </a:lnTo>
                  <a:lnTo>
                    <a:pt x="695" y="737"/>
                  </a:lnTo>
                  <a:lnTo>
                    <a:pt x="694" y="737"/>
                  </a:lnTo>
                  <a:lnTo>
                    <a:pt x="694" y="735"/>
                  </a:lnTo>
                  <a:lnTo>
                    <a:pt x="692" y="733"/>
                  </a:lnTo>
                  <a:lnTo>
                    <a:pt x="685" y="730"/>
                  </a:lnTo>
                  <a:lnTo>
                    <a:pt x="683" y="730"/>
                  </a:lnTo>
                  <a:lnTo>
                    <a:pt x="683" y="730"/>
                  </a:lnTo>
                  <a:lnTo>
                    <a:pt x="683" y="730"/>
                  </a:lnTo>
                  <a:lnTo>
                    <a:pt x="683" y="731"/>
                  </a:lnTo>
                  <a:lnTo>
                    <a:pt x="683" y="731"/>
                  </a:lnTo>
                  <a:lnTo>
                    <a:pt x="681" y="731"/>
                  </a:lnTo>
                  <a:lnTo>
                    <a:pt x="681" y="731"/>
                  </a:lnTo>
                  <a:lnTo>
                    <a:pt x="677" y="731"/>
                  </a:lnTo>
                  <a:lnTo>
                    <a:pt x="677" y="733"/>
                  </a:lnTo>
                  <a:lnTo>
                    <a:pt x="675" y="733"/>
                  </a:lnTo>
                  <a:lnTo>
                    <a:pt x="677" y="735"/>
                  </a:lnTo>
                  <a:lnTo>
                    <a:pt x="666" y="735"/>
                  </a:lnTo>
                  <a:lnTo>
                    <a:pt x="665" y="731"/>
                  </a:lnTo>
                  <a:lnTo>
                    <a:pt x="668" y="731"/>
                  </a:lnTo>
                  <a:lnTo>
                    <a:pt x="670" y="731"/>
                  </a:lnTo>
                  <a:lnTo>
                    <a:pt x="672" y="733"/>
                  </a:lnTo>
                  <a:lnTo>
                    <a:pt x="674" y="733"/>
                  </a:lnTo>
                  <a:lnTo>
                    <a:pt x="674" y="731"/>
                  </a:lnTo>
                  <a:lnTo>
                    <a:pt x="675" y="730"/>
                  </a:lnTo>
                  <a:lnTo>
                    <a:pt x="677" y="728"/>
                  </a:lnTo>
                  <a:lnTo>
                    <a:pt x="677" y="726"/>
                  </a:lnTo>
                  <a:lnTo>
                    <a:pt x="679" y="726"/>
                  </a:lnTo>
                  <a:lnTo>
                    <a:pt x="683" y="726"/>
                  </a:lnTo>
                  <a:lnTo>
                    <a:pt x="686" y="728"/>
                  </a:lnTo>
                  <a:lnTo>
                    <a:pt x="686" y="728"/>
                  </a:lnTo>
                  <a:lnTo>
                    <a:pt x="688" y="726"/>
                  </a:lnTo>
                  <a:lnTo>
                    <a:pt x="686" y="724"/>
                  </a:lnTo>
                  <a:lnTo>
                    <a:pt x="681" y="720"/>
                  </a:lnTo>
                  <a:lnTo>
                    <a:pt x="670" y="720"/>
                  </a:lnTo>
                  <a:lnTo>
                    <a:pt x="659" y="713"/>
                  </a:lnTo>
                  <a:lnTo>
                    <a:pt x="661" y="715"/>
                  </a:lnTo>
                  <a:lnTo>
                    <a:pt x="666" y="715"/>
                  </a:lnTo>
                  <a:lnTo>
                    <a:pt x="668" y="713"/>
                  </a:lnTo>
                  <a:lnTo>
                    <a:pt x="668" y="713"/>
                  </a:lnTo>
                  <a:lnTo>
                    <a:pt x="666" y="710"/>
                  </a:lnTo>
                  <a:lnTo>
                    <a:pt x="666" y="710"/>
                  </a:lnTo>
                  <a:lnTo>
                    <a:pt x="666" y="710"/>
                  </a:lnTo>
                  <a:lnTo>
                    <a:pt x="656" y="706"/>
                  </a:lnTo>
                  <a:lnTo>
                    <a:pt x="654" y="706"/>
                  </a:lnTo>
                  <a:lnTo>
                    <a:pt x="656" y="702"/>
                  </a:lnTo>
                  <a:lnTo>
                    <a:pt x="654" y="701"/>
                  </a:lnTo>
                  <a:lnTo>
                    <a:pt x="650" y="699"/>
                  </a:lnTo>
                  <a:lnTo>
                    <a:pt x="648" y="695"/>
                  </a:lnTo>
                  <a:lnTo>
                    <a:pt x="647" y="695"/>
                  </a:lnTo>
                  <a:lnTo>
                    <a:pt x="643" y="695"/>
                  </a:lnTo>
                  <a:lnTo>
                    <a:pt x="643" y="695"/>
                  </a:lnTo>
                  <a:lnTo>
                    <a:pt x="645" y="693"/>
                  </a:lnTo>
                  <a:lnTo>
                    <a:pt x="645" y="692"/>
                  </a:lnTo>
                  <a:lnTo>
                    <a:pt x="645" y="690"/>
                  </a:lnTo>
                  <a:lnTo>
                    <a:pt x="645" y="690"/>
                  </a:lnTo>
                  <a:lnTo>
                    <a:pt x="647" y="690"/>
                  </a:lnTo>
                  <a:lnTo>
                    <a:pt x="645" y="688"/>
                  </a:lnTo>
                  <a:lnTo>
                    <a:pt x="641" y="688"/>
                  </a:lnTo>
                  <a:lnTo>
                    <a:pt x="641" y="686"/>
                  </a:lnTo>
                  <a:lnTo>
                    <a:pt x="643" y="686"/>
                  </a:lnTo>
                  <a:lnTo>
                    <a:pt x="647" y="688"/>
                  </a:lnTo>
                  <a:lnTo>
                    <a:pt x="648" y="686"/>
                  </a:lnTo>
                  <a:lnTo>
                    <a:pt x="648" y="684"/>
                  </a:lnTo>
                  <a:lnTo>
                    <a:pt x="648" y="683"/>
                  </a:lnTo>
                  <a:lnTo>
                    <a:pt x="648" y="681"/>
                  </a:lnTo>
                  <a:lnTo>
                    <a:pt x="648" y="679"/>
                  </a:lnTo>
                  <a:lnTo>
                    <a:pt x="647" y="677"/>
                  </a:lnTo>
                  <a:lnTo>
                    <a:pt x="641" y="674"/>
                  </a:lnTo>
                  <a:lnTo>
                    <a:pt x="641" y="674"/>
                  </a:lnTo>
                  <a:lnTo>
                    <a:pt x="639" y="674"/>
                  </a:lnTo>
                  <a:lnTo>
                    <a:pt x="638" y="674"/>
                  </a:lnTo>
                  <a:lnTo>
                    <a:pt x="636" y="672"/>
                  </a:lnTo>
                  <a:lnTo>
                    <a:pt x="638" y="672"/>
                  </a:lnTo>
                  <a:lnTo>
                    <a:pt x="638" y="672"/>
                  </a:lnTo>
                  <a:lnTo>
                    <a:pt x="639" y="672"/>
                  </a:lnTo>
                  <a:lnTo>
                    <a:pt x="638" y="670"/>
                  </a:lnTo>
                  <a:lnTo>
                    <a:pt x="636" y="668"/>
                  </a:lnTo>
                  <a:lnTo>
                    <a:pt x="634" y="664"/>
                  </a:lnTo>
                  <a:lnTo>
                    <a:pt x="632" y="664"/>
                  </a:lnTo>
                  <a:lnTo>
                    <a:pt x="632" y="664"/>
                  </a:lnTo>
                  <a:lnTo>
                    <a:pt x="625" y="666"/>
                  </a:lnTo>
                  <a:lnTo>
                    <a:pt x="616" y="664"/>
                  </a:lnTo>
                  <a:lnTo>
                    <a:pt x="618" y="663"/>
                  </a:lnTo>
                  <a:lnTo>
                    <a:pt x="618" y="661"/>
                  </a:lnTo>
                  <a:lnTo>
                    <a:pt x="614" y="661"/>
                  </a:lnTo>
                  <a:lnTo>
                    <a:pt x="614" y="659"/>
                  </a:lnTo>
                  <a:lnTo>
                    <a:pt x="616" y="659"/>
                  </a:lnTo>
                  <a:lnTo>
                    <a:pt x="618" y="659"/>
                  </a:lnTo>
                  <a:lnTo>
                    <a:pt x="623" y="663"/>
                  </a:lnTo>
                  <a:lnTo>
                    <a:pt x="625" y="663"/>
                  </a:lnTo>
                  <a:lnTo>
                    <a:pt x="630" y="661"/>
                  </a:lnTo>
                  <a:lnTo>
                    <a:pt x="634" y="663"/>
                  </a:lnTo>
                  <a:lnTo>
                    <a:pt x="634" y="663"/>
                  </a:lnTo>
                  <a:lnTo>
                    <a:pt x="636" y="661"/>
                  </a:lnTo>
                  <a:lnTo>
                    <a:pt x="638" y="661"/>
                  </a:lnTo>
                  <a:lnTo>
                    <a:pt x="639" y="661"/>
                  </a:lnTo>
                  <a:lnTo>
                    <a:pt x="641" y="661"/>
                  </a:lnTo>
                  <a:lnTo>
                    <a:pt x="643" y="663"/>
                  </a:lnTo>
                  <a:lnTo>
                    <a:pt x="643" y="664"/>
                  </a:lnTo>
                  <a:lnTo>
                    <a:pt x="654" y="664"/>
                  </a:lnTo>
                  <a:lnTo>
                    <a:pt x="657" y="668"/>
                  </a:lnTo>
                  <a:lnTo>
                    <a:pt x="659" y="670"/>
                  </a:lnTo>
                  <a:lnTo>
                    <a:pt x="661" y="670"/>
                  </a:lnTo>
                  <a:lnTo>
                    <a:pt x="668" y="668"/>
                  </a:lnTo>
                  <a:lnTo>
                    <a:pt x="670" y="670"/>
                  </a:lnTo>
                  <a:lnTo>
                    <a:pt x="668" y="670"/>
                  </a:lnTo>
                  <a:lnTo>
                    <a:pt x="665" y="672"/>
                  </a:lnTo>
                  <a:lnTo>
                    <a:pt x="663" y="674"/>
                  </a:lnTo>
                  <a:lnTo>
                    <a:pt x="661" y="675"/>
                  </a:lnTo>
                  <a:lnTo>
                    <a:pt x="661" y="677"/>
                  </a:lnTo>
                  <a:lnTo>
                    <a:pt x="661" y="679"/>
                  </a:lnTo>
                  <a:lnTo>
                    <a:pt x="663" y="683"/>
                  </a:lnTo>
                  <a:lnTo>
                    <a:pt x="663" y="684"/>
                  </a:lnTo>
                  <a:lnTo>
                    <a:pt x="675" y="699"/>
                  </a:lnTo>
                  <a:lnTo>
                    <a:pt x="695" y="715"/>
                  </a:lnTo>
                  <a:lnTo>
                    <a:pt x="697" y="717"/>
                  </a:lnTo>
                  <a:lnTo>
                    <a:pt x="699" y="715"/>
                  </a:lnTo>
                  <a:lnTo>
                    <a:pt x="699" y="713"/>
                  </a:lnTo>
                  <a:lnTo>
                    <a:pt x="697" y="711"/>
                  </a:lnTo>
                  <a:lnTo>
                    <a:pt x="695" y="710"/>
                  </a:lnTo>
                  <a:lnTo>
                    <a:pt x="697" y="711"/>
                  </a:lnTo>
                  <a:lnTo>
                    <a:pt x="699" y="713"/>
                  </a:lnTo>
                  <a:lnTo>
                    <a:pt x="699" y="713"/>
                  </a:lnTo>
                  <a:lnTo>
                    <a:pt x="699" y="713"/>
                  </a:lnTo>
                  <a:lnTo>
                    <a:pt x="699" y="711"/>
                  </a:lnTo>
                  <a:lnTo>
                    <a:pt x="699" y="711"/>
                  </a:lnTo>
                  <a:lnTo>
                    <a:pt x="697" y="710"/>
                  </a:lnTo>
                  <a:lnTo>
                    <a:pt x="697" y="708"/>
                  </a:lnTo>
                  <a:lnTo>
                    <a:pt x="699" y="710"/>
                  </a:lnTo>
                  <a:lnTo>
                    <a:pt x="701" y="711"/>
                  </a:lnTo>
                  <a:lnTo>
                    <a:pt x="703" y="713"/>
                  </a:lnTo>
                  <a:lnTo>
                    <a:pt x="699" y="710"/>
                  </a:lnTo>
                  <a:lnTo>
                    <a:pt x="697" y="706"/>
                  </a:lnTo>
                  <a:lnTo>
                    <a:pt x="697" y="702"/>
                  </a:lnTo>
                  <a:lnTo>
                    <a:pt x="699" y="704"/>
                  </a:lnTo>
                  <a:lnTo>
                    <a:pt x="699" y="706"/>
                  </a:lnTo>
                  <a:lnTo>
                    <a:pt x="701" y="708"/>
                  </a:lnTo>
                  <a:lnTo>
                    <a:pt x="701" y="706"/>
                  </a:lnTo>
                  <a:lnTo>
                    <a:pt x="701" y="704"/>
                  </a:lnTo>
                  <a:lnTo>
                    <a:pt x="701" y="702"/>
                  </a:lnTo>
                  <a:lnTo>
                    <a:pt x="703" y="704"/>
                  </a:lnTo>
                  <a:lnTo>
                    <a:pt x="703" y="706"/>
                  </a:lnTo>
                  <a:lnTo>
                    <a:pt x="703" y="706"/>
                  </a:lnTo>
                  <a:lnTo>
                    <a:pt x="704" y="706"/>
                  </a:lnTo>
                  <a:lnTo>
                    <a:pt x="706" y="706"/>
                  </a:lnTo>
                  <a:lnTo>
                    <a:pt x="706" y="708"/>
                  </a:lnTo>
                  <a:lnTo>
                    <a:pt x="710" y="711"/>
                  </a:lnTo>
                  <a:lnTo>
                    <a:pt x="710" y="713"/>
                  </a:lnTo>
                  <a:lnTo>
                    <a:pt x="712" y="717"/>
                  </a:lnTo>
                  <a:lnTo>
                    <a:pt x="713" y="720"/>
                  </a:lnTo>
                  <a:lnTo>
                    <a:pt x="713" y="720"/>
                  </a:lnTo>
                  <a:lnTo>
                    <a:pt x="715" y="719"/>
                  </a:lnTo>
                  <a:lnTo>
                    <a:pt x="715" y="719"/>
                  </a:lnTo>
                  <a:lnTo>
                    <a:pt x="715" y="717"/>
                  </a:lnTo>
                  <a:lnTo>
                    <a:pt x="715" y="717"/>
                  </a:lnTo>
                  <a:lnTo>
                    <a:pt x="715" y="719"/>
                  </a:lnTo>
                  <a:lnTo>
                    <a:pt x="717" y="720"/>
                  </a:lnTo>
                  <a:lnTo>
                    <a:pt x="717" y="720"/>
                  </a:lnTo>
                  <a:lnTo>
                    <a:pt x="719" y="720"/>
                  </a:lnTo>
                  <a:lnTo>
                    <a:pt x="722" y="720"/>
                  </a:lnTo>
                  <a:lnTo>
                    <a:pt x="722" y="720"/>
                  </a:lnTo>
                  <a:lnTo>
                    <a:pt x="722" y="719"/>
                  </a:lnTo>
                  <a:lnTo>
                    <a:pt x="722" y="719"/>
                  </a:lnTo>
                  <a:lnTo>
                    <a:pt x="722" y="719"/>
                  </a:lnTo>
                  <a:lnTo>
                    <a:pt x="722" y="720"/>
                  </a:lnTo>
                  <a:lnTo>
                    <a:pt x="724" y="720"/>
                  </a:lnTo>
                  <a:lnTo>
                    <a:pt x="724" y="719"/>
                  </a:lnTo>
                  <a:lnTo>
                    <a:pt x="726" y="717"/>
                  </a:lnTo>
                  <a:lnTo>
                    <a:pt x="726" y="715"/>
                  </a:lnTo>
                  <a:lnTo>
                    <a:pt x="728" y="713"/>
                  </a:lnTo>
                  <a:lnTo>
                    <a:pt x="728" y="711"/>
                  </a:lnTo>
                  <a:lnTo>
                    <a:pt x="728" y="710"/>
                  </a:lnTo>
                  <a:lnTo>
                    <a:pt x="728" y="710"/>
                  </a:lnTo>
                  <a:lnTo>
                    <a:pt x="730" y="710"/>
                  </a:lnTo>
                  <a:lnTo>
                    <a:pt x="730" y="711"/>
                  </a:lnTo>
                  <a:lnTo>
                    <a:pt x="730" y="711"/>
                  </a:lnTo>
                  <a:lnTo>
                    <a:pt x="730" y="713"/>
                  </a:lnTo>
                  <a:lnTo>
                    <a:pt x="730" y="715"/>
                  </a:lnTo>
                  <a:lnTo>
                    <a:pt x="728" y="717"/>
                  </a:lnTo>
                  <a:lnTo>
                    <a:pt x="728" y="719"/>
                  </a:lnTo>
                  <a:lnTo>
                    <a:pt x="726" y="722"/>
                  </a:lnTo>
                  <a:lnTo>
                    <a:pt x="728" y="722"/>
                  </a:lnTo>
                  <a:lnTo>
                    <a:pt x="728" y="722"/>
                  </a:lnTo>
                  <a:lnTo>
                    <a:pt x="728" y="722"/>
                  </a:lnTo>
                  <a:lnTo>
                    <a:pt x="730" y="720"/>
                  </a:lnTo>
                  <a:lnTo>
                    <a:pt x="730" y="720"/>
                  </a:lnTo>
                  <a:lnTo>
                    <a:pt x="730" y="720"/>
                  </a:lnTo>
                  <a:lnTo>
                    <a:pt x="731" y="722"/>
                  </a:lnTo>
                  <a:lnTo>
                    <a:pt x="731" y="722"/>
                  </a:lnTo>
                  <a:lnTo>
                    <a:pt x="735" y="722"/>
                  </a:lnTo>
                  <a:lnTo>
                    <a:pt x="744" y="726"/>
                  </a:lnTo>
                  <a:lnTo>
                    <a:pt x="746" y="726"/>
                  </a:lnTo>
                  <a:lnTo>
                    <a:pt x="746" y="724"/>
                  </a:lnTo>
                  <a:lnTo>
                    <a:pt x="746" y="724"/>
                  </a:lnTo>
                  <a:lnTo>
                    <a:pt x="748" y="724"/>
                  </a:lnTo>
                  <a:lnTo>
                    <a:pt x="748" y="726"/>
                  </a:lnTo>
                  <a:lnTo>
                    <a:pt x="746" y="728"/>
                  </a:lnTo>
                  <a:lnTo>
                    <a:pt x="744" y="728"/>
                  </a:lnTo>
                  <a:lnTo>
                    <a:pt x="742" y="726"/>
                  </a:lnTo>
                  <a:lnTo>
                    <a:pt x="741" y="726"/>
                  </a:lnTo>
                  <a:lnTo>
                    <a:pt x="739" y="728"/>
                  </a:lnTo>
                  <a:lnTo>
                    <a:pt x="741" y="730"/>
                  </a:lnTo>
                  <a:lnTo>
                    <a:pt x="741" y="733"/>
                  </a:lnTo>
                  <a:lnTo>
                    <a:pt x="742" y="739"/>
                  </a:lnTo>
                  <a:lnTo>
                    <a:pt x="746" y="740"/>
                  </a:lnTo>
                  <a:lnTo>
                    <a:pt x="748" y="740"/>
                  </a:lnTo>
                  <a:lnTo>
                    <a:pt x="750" y="739"/>
                  </a:lnTo>
                  <a:lnTo>
                    <a:pt x="753" y="737"/>
                  </a:lnTo>
                  <a:lnTo>
                    <a:pt x="757" y="733"/>
                  </a:lnTo>
                  <a:lnTo>
                    <a:pt x="762" y="730"/>
                  </a:lnTo>
                  <a:lnTo>
                    <a:pt x="766" y="731"/>
                  </a:lnTo>
                  <a:lnTo>
                    <a:pt x="780" y="746"/>
                  </a:lnTo>
                  <a:lnTo>
                    <a:pt x="782" y="748"/>
                  </a:lnTo>
                  <a:lnTo>
                    <a:pt x="787" y="749"/>
                  </a:lnTo>
                  <a:lnTo>
                    <a:pt x="791" y="755"/>
                  </a:lnTo>
                  <a:lnTo>
                    <a:pt x="800" y="758"/>
                  </a:lnTo>
                  <a:lnTo>
                    <a:pt x="806" y="758"/>
                  </a:lnTo>
                  <a:lnTo>
                    <a:pt x="809" y="762"/>
                  </a:lnTo>
                  <a:lnTo>
                    <a:pt x="822" y="764"/>
                  </a:lnTo>
                  <a:lnTo>
                    <a:pt x="834" y="767"/>
                  </a:lnTo>
                  <a:lnTo>
                    <a:pt x="842" y="769"/>
                  </a:lnTo>
                  <a:lnTo>
                    <a:pt x="847" y="769"/>
                  </a:lnTo>
                  <a:lnTo>
                    <a:pt x="852" y="771"/>
                  </a:lnTo>
                  <a:lnTo>
                    <a:pt x="860" y="769"/>
                  </a:lnTo>
                  <a:lnTo>
                    <a:pt x="863" y="771"/>
                  </a:lnTo>
                  <a:lnTo>
                    <a:pt x="865" y="771"/>
                  </a:lnTo>
                  <a:lnTo>
                    <a:pt x="885" y="778"/>
                  </a:lnTo>
                  <a:lnTo>
                    <a:pt x="889" y="782"/>
                  </a:lnTo>
                  <a:lnTo>
                    <a:pt x="894" y="782"/>
                  </a:lnTo>
                  <a:lnTo>
                    <a:pt x="899" y="789"/>
                  </a:lnTo>
                  <a:lnTo>
                    <a:pt x="905" y="791"/>
                  </a:lnTo>
                  <a:lnTo>
                    <a:pt x="912" y="793"/>
                  </a:lnTo>
                  <a:lnTo>
                    <a:pt x="917" y="796"/>
                  </a:lnTo>
                  <a:lnTo>
                    <a:pt x="934" y="798"/>
                  </a:lnTo>
                  <a:lnTo>
                    <a:pt x="950" y="800"/>
                  </a:lnTo>
                  <a:lnTo>
                    <a:pt x="968" y="795"/>
                  </a:lnTo>
                  <a:lnTo>
                    <a:pt x="970" y="793"/>
                  </a:lnTo>
                  <a:lnTo>
                    <a:pt x="970" y="793"/>
                  </a:lnTo>
                  <a:lnTo>
                    <a:pt x="975" y="793"/>
                  </a:lnTo>
                  <a:lnTo>
                    <a:pt x="988" y="789"/>
                  </a:lnTo>
                  <a:lnTo>
                    <a:pt x="992" y="789"/>
                  </a:lnTo>
                  <a:lnTo>
                    <a:pt x="995" y="784"/>
                  </a:lnTo>
                  <a:lnTo>
                    <a:pt x="1006" y="780"/>
                  </a:lnTo>
                  <a:lnTo>
                    <a:pt x="1010" y="778"/>
                  </a:lnTo>
                  <a:lnTo>
                    <a:pt x="1011" y="778"/>
                  </a:lnTo>
                  <a:lnTo>
                    <a:pt x="1013" y="776"/>
                  </a:lnTo>
                  <a:lnTo>
                    <a:pt x="1026" y="771"/>
                  </a:lnTo>
                  <a:lnTo>
                    <a:pt x="1029" y="766"/>
                  </a:lnTo>
                  <a:lnTo>
                    <a:pt x="1037" y="758"/>
                  </a:lnTo>
                  <a:lnTo>
                    <a:pt x="1042" y="758"/>
                  </a:lnTo>
                  <a:lnTo>
                    <a:pt x="1044" y="757"/>
                  </a:lnTo>
                  <a:lnTo>
                    <a:pt x="1047" y="751"/>
                  </a:lnTo>
                  <a:lnTo>
                    <a:pt x="1049" y="749"/>
                  </a:lnTo>
                  <a:lnTo>
                    <a:pt x="1051" y="748"/>
                  </a:lnTo>
                  <a:lnTo>
                    <a:pt x="1051" y="744"/>
                  </a:lnTo>
                  <a:lnTo>
                    <a:pt x="1053" y="744"/>
                  </a:lnTo>
                  <a:lnTo>
                    <a:pt x="1055" y="742"/>
                  </a:lnTo>
                  <a:lnTo>
                    <a:pt x="1057" y="740"/>
                  </a:lnTo>
                  <a:lnTo>
                    <a:pt x="1058" y="739"/>
                  </a:lnTo>
                  <a:lnTo>
                    <a:pt x="1058" y="739"/>
                  </a:lnTo>
                  <a:lnTo>
                    <a:pt x="1057" y="737"/>
                  </a:lnTo>
                  <a:lnTo>
                    <a:pt x="1058" y="735"/>
                  </a:lnTo>
                  <a:lnTo>
                    <a:pt x="1058" y="733"/>
                  </a:lnTo>
                  <a:lnTo>
                    <a:pt x="1058" y="731"/>
                  </a:lnTo>
                  <a:lnTo>
                    <a:pt x="1060" y="731"/>
                  </a:lnTo>
                  <a:lnTo>
                    <a:pt x="1062" y="730"/>
                  </a:lnTo>
                  <a:lnTo>
                    <a:pt x="1062" y="730"/>
                  </a:lnTo>
                  <a:lnTo>
                    <a:pt x="1064" y="728"/>
                  </a:lnTo>
                  <a:lnTo>
                    <a:pt x="1064" y="726"/>
                  </a:lnTo>
                  <a:lnTo>
                    <a:pt x="1067" y="722"/>
                  </a:lnTo>
                  <a:lnTo>
                    <a:pt x="1073" y="713"/>
                  </a:lnTo>
                  <a:lnTo>
                    <a:pt x="1078" y="708"/>
                  </a:lnTo>
                  <a:lnTo>
                    <a:pt x="1080" y="706"/>
                  </a:lnTo>
                  <a:lnTo>
                    <a:pt x="1085" y="693"/>
                  </a:lnTo>
                  <a:lnTo>
                    <a:pt x="1087" y="688"/>
                  </a:lnTo>
                  <a:lnTo>
                    <a:pt x="1087" y="686"/>
                  </a:lnTo>
                  <a:lnTo>
                    <a:pt x="1085" y="684"/>
                  </a:lnTo>
                  <a:lnTo>
                    <a:pt x="1085" y="683"/>
                  </a:lnTo>
                  <a:lnTo>
                    <a:pt x="1085" y="683"/>
                  </a:lnTo>
                  <a:lnTo>
                    <a:pt x="1085" y="681"/>
                  </a:lnTo>
                  <a:lnTo>
                    <a:pt x="1087" y="681"/>
                  </a:lnTo>
                  <a:lnTo>
                    <a:pt x="1087" y="681"/>
                  </a:lnTo>
                  <a:lnTo>
                    <a:pt x="1089" y="681"/>
                  </a:lnTo>
                  <a:lnTo>
                    <a:pt x="1089" y="679"/>
                  </a:lnTo>
                  <a:lnTo>
                    <a:pt x="1089" y="679"/>
                  </a:lnTo>
                  <a:lnTo>
                    <a:pt x="1089" y="677"/>
                  </a:lnTo>
                  <a:lnTo>
                    <a:pt x="1089" y="675"/>
                  </a:lnTo>
                  <a:lnTo>
                    <a:pt x="1089" y="670"/>
                  </a:lnTo>
                  <a:lnTo>
                    <a:pt x="1089" y="668"/>
                  </a:lnTo>
                  <a:lnTo>
                    <a:pt x="1091" y="668"/>
                  </a:lnTo>
                  <a:lnTo>
                    <a:pt x="1091" y="666"/>
                  </a:lnTo>
                  <a:lnTo>
                    <a:pt x="1091" y="664"/>
                  </a:lnTo>
                  <a:lnTo>
                    <a:pt x="1091" y="663"/>
                  </a:lnTo>
                  <a:lnTo>
                    <a:pt x="1089" y="663"/>
                  </a:lnTo>
                  <a:lnTo>
                    <a:pt x="1089" y="661"/>
                  </a:lnTo>
                  <a:lnTo>
                    <a:pt x="1089" y="659"/>
                  </a:lnTo>
                  <a:lnTo>
                    <a:pt x="1089" y="657"/>
                  </a:lnTo>
                  <a:lnTo>
                    <a:pt x="1089" y="655"/>
                  </a:lnTo>
                  <a:lnTo>
                    <a:pt x="1089" y="654"/>
                  </a:lnTo>
                  <a:lnTo>
                    <a:pt x="1089" y="652"/>
                  </a:lnTo>
                  <a:lnTo>
                    <a:pt x="1087" y="652"/>
                  </a:lnTo>
                  <a:lnTo>
                    <a:pt x="1087" y="650"/>
                  </a:lnTo>
                  <a:lnTo>
                    <a:pt x="1085" y="652"/>
                  </a:lnTo>
                  <a:lnTo>
                    <a:pt x="1085" y="652"/>
                  </a:lnTo>
                  <a:lnTo>
                    <a:pt x="1084" y="654"/>
                  </a:lnTo>
                  <a:lnTo>
                    <a:pt x="1078" y="650"/>
                  </a:lnTo>
                  <a:lnTo>
                    <a:pt x="1076" y="648"/>
                  </a:lnTo>
                  <a:lnTo>
                    <a:pt x="1078" y="645"/>
                  </a:lnTo>
                  <a:lnTo>
                    <a:pt x="1078" y="641"/>
                  </a:lnTo>
                  <a:lnTo>
                    <a:pt x="1078" y="637"/>
                  </a:lnTo>
                  <a:lnTo>
                    <a:pt x="1078" y="632"/>
                  </a:lnTo>
                  <a:lnTo>
                    <a:pt x="1078" y="630"/>
                  </a:lnTo>
                  <a:lnTo>
                    <a:pt x="1078" y="628"/>
                  </a:lnTo>
                  <a:lnTo>
                    <a:pt x="1080" y="627"/>
                  </a:lnTo>
                  <a:lnTo>
                    <a:pt x="1078" y="627"/>
                  </a:lnTo>
                  <a:lnTo>
                    <a:pt x="1078" y="623"/>
                  </a:lnTo>
                  <a:lnTo>
                    <a:pt x="1076" y="621"/>
                  </a:lnTo>
                  <a:lnTo>
                    <a:pt x="1075" y="621"/>
                  </a:lnTo>
                  <a:lnTo>
                    <a:pt x="1071" y="621"/>
                  </a:lnTo>
                  <a:lnTo>
                    <a:pt x="1071" y="619"/>
                  </a:lnTo>
                  <a:lnTo>
                    <a:pt x="1071" y="618"/>
                  </a:lnTo>
                  <a:lnTo>
                    <a:pt x="1073" y="614"/>
                  </a:lnTo>
                  <a:lnTo>
                    <a:pt x="1073" y="614"/>
                  </a:lnTo>
                  <a:lnTo>
                    <a:pt x="1073" y="614"/>
                  </a:lnTo>
                  <a:lnTo>
                    <a:pt x="1073" y="612"/>
                  </a:lnTo>
                  <a:lnTo>
                    <a:pt x="1073" y="612"/>
                  </a:lnTo>
                  <a:lnTo>
                    <a:pt x="1073" y="610"/>
                  </a:lnTo>
                  <a:lnTo>
                    <a:pt x="1071" y="608"/>
                  </a:lnTo>
                  <a:lnTo>
                    <a:pt x="1071" y="608"/>
                  </a:lnTo>
                  <a:lnTo>
                    <a:pt x="1073" y="605"/>
                  </a:lnTo>
                  <a:lnTo>
                    <a:pt x="1073" y="603"/>
                  </a:lnTo>
                  <a:lnTo>
                    <a:pt x="1075" y="601"/>
                  </a:lnTo>
                  <a:lnTo>
                    <a:pt x="1075" y="596"/>
                  </a:lnTo>
                  <a:lnTo>
                    <a:pt x="1073" y="592"/>
                  </a:lnTo>
                  <a:lnTo>
                    <a:pt x="1073" y="590"/>
                  </a:lnTo>
                  <a:lnTo>
                    <a:pt x="1069" y="587"/>
                  </a:lnTo>
                  <a:lnTo>
                    <a:pt x="1067" y="585"/>
                  </a:lnTo>
                  <a:lnTo>
                    <a:pt x="1064" y="587"/>
                  </a:lnTo>
                  <a:lnTo>
                    <a:pt x="1062" y="587"/>
                  </a:lnTo>
                  <a:lnTo>
                    <a:pt x="1058" y="581"/>
                  </a:lnTo>
                  <a:lnTo>
                    <a:pt x="1057" y="580"/>
                  </a:lnTo>
                  <a:lnTo>
                    <a:pt x="1057" y="580"/>
                  </a:lnTo>
                  <a:lnTo>
                    <a:pt x="1055" y="578"/>
                  </a:lnTo>
                  <a:lnTo>
                    <a:pt x="1055" y="576"/>
                  </a:lnTo>
                  <a:lnTo>
                    <a:pt x="1055" y="574"/>
                  </a:lnTo>
                  <a:lnTo>
                    <a:pt x="1053" y="576"/>
                  </a:lnTo>
                  <a:lnTo>
                    <a:pt x="1051" y="576"/>
                  </a:lnTo>
                  <a:lnTo>
                    <a:pt x="1051" y="576"/>
                  </a:lnTo>
                  <a:lnTo>
                    <a:pt x="1049" y="576"/>
                  </a:lnTo>
                  <a:lnTo>
                    <a:pt x="1049" y="576"/>
                  </a:lnTo>
                  <a:lnTo>
                    <a:pt x="1049" y="578"/>
                  </a:lnTo>
                  <a:lnTo>
                    <a:pt x="1049" y="578"/>
                  </a:lnTo>
                  <a:lnTo>
                    <a:pt x="1049" y="580"/>
                  </a:lnTo>
                  <a:lnTo>
                    <a:pt x="1049" y="583"/>
                  </a:lnTo>
                  <a:lnTo>
                    <a:pt x="1047" y="583"/>
                  </a:lnTo>
                  <a:lnTo>
                    <a:pt x="1046" y="581"/>
                  </a:lnTo>
                  <a:lnTo>
                    <a:pt x="1040" y="578"/>
                  </a:lnTo>
                  <a:lnTo>
                    <a:pt x="1038" y="571"/>
                  </a:lnTo>
                  <a:lnTo>
                    <a:pt x="1038" y="571"/>
                  </a:lnTo>
                  <a:lnTo>
                    <a:pt x="1040" y="571"/>
                  </a:lnTo>
                  <a:lnTo>
                    <a:pt x="1042" y="571"/>
                  </a:lnTo>
                  <a:lnTo>
                    <a:pt x="1042" y="569"/>
                  </a:lnTo>
                  <a:lnTo>
                    <a:pt x="1042" y="567"/>
                  </a:lnTo>
                  <a:lnTo>
                    <a:pt x="1040" y="563"/>
                  </a:lnTo>
                  <a:lnTo>
                    <a:pt x="1038" y="563"/>
                  </a:lnTo>
                  <a:lnTo>
                    <a:pt x="1038" y="563"/>
                  </a:lnTo>
                  <a:lnTo>
                    <a:pt x="1038" y="563"/>
                  </a:lnTo>
                  <a:lnTo>
                    <a:pt x="1037" y="563"/>
                  </a:lnTo>
                  <a:lnTo>
                    <a:pt x="1037" y="563"/>
                  </a:lnTo>
                  <a:lnTo>
                    <a:pt x="1037" y="562"/>
                  </a:lnTo>
                  <a:lnTo>
                    <a:pt x="1037" y="562"/>
                  </a:lnTo>
                  <a:lnTo>
                    <a:pt x="1029" y="556"/>
                  </a:lnTo>
                  <a:lnTo>
                    <a:pt x="1028" y="554"/>
                  </a:lnTo>
                  <a:lnTo>
                    <a:pt x="1026" y="551"/>
                  </a:lnTo>
                  <a:lnTo>
                    <a:pt x="1024" y="549"/>
                  </a:lnTo>
                  <a:lnTo>
                    <a:pt x="1024" y="549"/>
                  </a:lnTo>
                  <a:lnTo>
                    <a:pt x="1022" y="549"/>
                  </a:lnTo>
                  <a:lnTo>
                    <a:pt x="1022" y="547"/>
                  </a:lnTo>
                  <a:lnTo>
                    <a:pt x="1020" y="547"/>
                  </a:lnTo>
                  <a:lnTo>
                    <a:pt x="1019" y="542"/>
                  </a:lnTo>
                  <a:lnTo>
                    <a:pt x="1019" y="538"/>
                  </a:lnTo>
                  <a:lnTo>
                    <a:pt x="1019" y="536"/>
                  </a:lnTo>
                  <a:lnTo>
                    <a:pt x="1017" y="534"/>
                  </a:lnTo>
                  <a:lnTo>
                    <a:pt x="1017" y="534"/>
                  </a:lnTo>
                  <a:lnTo>
                    <a:pt x="1015" y="533"/>
                  </a:lnTo>
                  <a:lnTo>
                    <a:pt x="1011" y="529"/>
                  </a:lnTo>
                  <a:lnTo>
                    <a:pt x="1010" y="527"/>
                  </a:lnTo>
                  <a:lnTo>
                    <a:pt x="1008" y="527"/>
                  </a:lnTo>
                  <a:lnTo>
                    <a:pt x="1008" y="527"/>
                  </a:lnTo>
                  <a:lnTo>
                    <a:pt x="1008" y="529"/>
                  </a:lnTo>
                  <a:lnTo>
                    <a:pt x="1011" y="533"/>
                  </a:lnTo>
                  <a:lnTo>
                    <a:pt x="1011" y="534"/>
                  </a:lnTo>
                  <a:lnTo>
                    <a:pt x="1013" y="540"/>
                  </a:lnTo>
                  <a:lnTo>
                    <a:pt x="1015" y="542"/>
                  </a:lnTo>
                  <a:lnTo>
                    <a:pt x="1015" y="543"/>
                  </a:lnTo>
                  <a:lnTo>
                    <a:pt x="1015" y="543"/>
                  </a:lnTo>
                  <a:lnTo>
                    <a:pt x="1013" y="545"/>
                  </a:lnTo>
                  <a:lnTo>
                    <a:pt x="1013" y="545"/>
                  </a:lnTo>
                  <a:lnTo>
                    <a:pt x="1013" y="543"/>
                  </a:lnTo>
                  <a:lnTo>
                    <a:pt x="1011" y="543"/>
                  </a:lnTo>
                  <a:lnTo>
                    <a:pt x="1008" y="543"/>
                  </a:lnTo>
                  <a:lnTo>
                    <a:pt x="1006" y="542"/>
                  </a:lnTo>
                  <a:lnTo>
                    <a:pt x="1002" y="542"/>
                  </a:lnTo>
                  <a:lnTo>
                    <a:pt x="997" y="540"/>
                  </a:lnTo>
                  <a:lnTo>
                    <a:pt x="990" y="531"/>
                  </a:lnTo>
                  <a:lnTo>
                    <a:pt x="984" y="527"/>
                  </a:lnTo>
                  <a:lnTo>
                    <a:pt x="973" y="516"/>
                  </a:lnTo>
                  <a:lnTo>
                    <a:pt x="970" y="515"/>
                  </a:lnTo>
                  <a:lnTo>
                    <a:pt x="968" y="513"/>
                  </a:lnTo>
                  <a:lnTo>
                    <a:pt x="970" y="511"/>
                  </a:lnTo>
                  <a:lnTo>
                    <a:pt x="968" y="509"/>
                  </a:lnTo>
                  <a:lnTo>
                    <a:pt x="968" y="509"/>
                  </a:lnTo>
                  <a:lnTo>
                    <a:pt x="966" y="507"/>
                  </a:lnTo>
                  <a:lnTo>
                    <a:pt x="961" y="506"/>
                  </a:lnTo>
                  <a:lnTo>
                    <a:pt x="959" y="506"/>
                  </a:lnTo>
                  <a:lnTo>
                    <a:pt x="955" y="498"/>
                  </a:lnTo>
                  <a:lnTo>
                    <a:pt x="954" y="498"/>
                  </a:lnTo>
                  <a:lnTo>
                    <a:pt x="952" y="498"/>
                  </a:lnTo>
                  <a:lnTo>
                    <a:pt x="952" y="498"/>
                  </a:lnTo>
                  <a:lnTo>
                    <a:pt x="952" y="502"/>
                  </a:lnTo>
                  <a:lnTo>
                    <a:pt x="952" y="502"/>
                  </a:lnTo>
                  <a:lnTo>
                    <a:pt x="948" y="500"/>
                  </a:lnTo>
                  <a:lnTo>
                    <a:pt x="946" y="500"/>
                  </a:lnTo>
                  <a:lnTo>
                    <a:pt x="946" y="502"/>
                  </a:lnTo>
                  <a:lnTo>
                    <a:pt x="948" y="502"/>
                  </a:lnTo>
                  <a:lnTo>
                    <a:pt x="952" y="506"/>
                  </a:lnTo>
                  <a:lnTo>
                    <a:pt x="957" y="509"/>
                  </a:lnTo>
                  <a:lnTo>
                    <a:pt x="959" y="511"/>
                  </a:lnTo>
                  <a:lnTo>
                    <a:pt x="957" y="511"/>
                  </a:lnTo>
                  <a:lnTo>
                    <a:pt x="946" y="504"/>
                  </a:lnTo>
                  <a:lnTo>
                    <a:pt x="945" y="504"/>
                  </a:lnTo>
                  <a:lnTo>
                    <a:pt x="945" y="504"/>
                  </a:lnTo>
                  <a:lnTo>
                    <a:pt x="945" y="502"/>
                  </a:lnTo>
                  <a:lnTo>
                    <a:pt x="943" y="502"/>
                  </a:lnTo>
                  <a:lnTo>
                    <a:pt x="943" y="502"/>
                  </a:lnTo>
                  <a:lnTo>
                    <a:pt x="943" y="504"/>
                  </a:lnTo>
                  <a:lnTo>
                    <a:pt x="943" y="504"/>
                  </a:lnTo>
                  <a:lnTo>
                    <a:pt x="943" y="506"/>
                  </a:lnTo>
                  <a:lnTo>
                    <a:pt x="941" y="504"/>
                  </a:lnTo>
                  <a:lnTo>
                    <a:pt x="941" y="497"/>
                  </a:lnTo>
                  <a:lnTo>
                    <a:pt x="939" y="493"/>
                  </a:lnTo>
                  <a:lnTo>
                    <a:pt x="937" y="491"/>
                  </a:lnTo>
                  <a:lnTo>
                    <a:pt x="937" y="489"/>
                  </a:lnTo>
                  <a:lnTo>
                    <a:pt x="932" y="487"/>
                  </a:lnTo>
                  <a:lnTo>
                    <a:pt x="932" y="487"/>
                  </a:lnTo>
                  <a:lnTo>
                    <a:pt x="932" y="486"/>
                  </a:lnTo>
                  <a:lnTo>
                    <a:pt x="932" y="486"/>
                  </a:lnTo>
                  <a:lnTo>
                    <a:pt x="932" y="486"/>
                  </a:lnTo>
                  <a:lnTo>
                    <a:pt x="932" y="486"/>
                  </a:lnTo>
                  <a:lnTo>
                    <a:pt x="930" y="484"/>
                  </a:lnTo>
                  <a:lnTo>
                    <a:pt x="928" y="482"/>
                  </a:lnTo>
                  <a:lnTo>
                    <a:pt x="927" y="482"/>
                  </a:lnTo>
                  <a:lnTo>
                    <a:pt x="925" y="482"/>
                  </a:lnTo>
                  <a:lnTo>
                    <a:pt x="925" y="480"/>
                  </a:lnTo>
                  <a:lnTo>
                    <a:pt x="925" y="478"/>
                  </a:lnTo>
                  <a:lnTo>
                    <a:pt x="923" y="477"/>
                  </a:lnTo>
                  <a:lnTo>
                    <a:pt x="923" y="475"/>
                  </a:lnTo>
                  <a:lnTo>
                    <a:pt x="921" y="473"/>
                  </a:lnTo>
                  <a:lnTo>
                    <a:pt x="919" y="469"/>
                  </a:lnTo>
                  <a:lnTo>
                    <a:pt x="912" y="460"/>
                  </a:lnTo>
                  <a:lnTo>
                    <a:pt x="908" y="457"/>
                  </a:lnTo>
                  <a:lnTo>
                    <a:pt x="907" y="455"/>
                  </a:lnTo>
                  <a:lnTo>
                    <a:pt x="905" y="453"/>
                  </a:lnTo>
                  <a:lnTo>
                    <a:pt x="901" y="451"/>
                  </a:lnTo>
                  <a:lnTo>
                    <a:pt x="901" y="451"/>
                  </a:lnTo>
                  <a:lnTo>
                    <a:pt x="899" y="450"/>
                  </a:lnTo>
                  <a:lnTo>
                    <a:pt x="898" y="450"/>
                  </a:lnTo>
                  <a:lnTo>
                    <a:pt x="896" y="450"/>
                  </a:lnTo>
                  <a:lnTo>
                    <a:pt x="894" y="450"/>
                  </a:lnTo>
                  <a:lnTo>
                    <a:pt x="894" y="450"/>
                  </a:lnTo>
                  <a:lnTo>
                    <a:pt x="894" y="448"/>
                  </a:lnTo>
                  <a:lnTo>
                    <a:pt x="892" y="448"/>
                  </a:lnTo>
                  <a:lnTo>
                    <a:pt x="890" y="444"/>
                  </a:lnTo>
                  <a:lnTo>
                    <a:pt x="889" y="442"/>
                  </a:lnTo>
                  <a:lnTo>
                    <a:pt x="887" y="442"/>
                  </a:lnTo>
                  <a:lnTo>
                    <a:pt x="885" y="441"/>
                  </a:lnTo>
                  <a:lnTo>
                    <a:pt x="883" y="441"/>
                  </a:lnTo>
                  <a:lnTo>
                    <a:pt x="883" y="439"/>
                  </a:lnTo>
                  <a:lnTo>
                    <a:pt x="883" y="437"/>
                  </a:lnTo>
                  <a:lnTo>
                    <a:pt x="881" y="435"/>
                  </a:lnTo>
                  <a:lnTo>
                    <a:pt x="881" y="435"/>
                  </a:lnTo>
                  <a:lnTo>
                    <a:pt x="876" y="433"/>
                  </a:lnTo>
                  <a:lnTo>
                    <a:pt x="874" y="431"/>
                  </a:lnTo>
                  <a:lnTo>
                    <a:pt x="872" y="430"/>
                  </a:lnTo>
                  <a:lnTo>
                    <a:pt x="872" y="428"/>
                  </a:lnTo>
                  <a:lnTo>
                    <a:pt x="863" y="421"/>
                  </a:lnTo>
                  <a:lnTo>
                    <a:pt x="861" y="421"/>
                  </a:lnTo>
                  <a:lnTo>
                    <a:pt x="860" y="421"/>
                  </a:lnTo>
                  <a:lnTo>
                    <a:pt x="860" y="419"/>
                  </a:lnTo>
                  <a:lnTo>
                    <a:pt x="860" y="419"/>
                  </a:lnTo>
                  <a:lnTo>
                    <a:pt x="858" y="417"/>
                  </a:lnTo>
                  <a:lnTo>
                    <a:pt x="858" y="417"/>
                  </a:lnTo>
                  <a:lnTo>
                    <a:pt x="858" y="417"/>
                  </a:lnTo>
                  <a:lnTo>
                    <a:pt x="856" y="417"/>
                  </a:lnTo>
                  <a:lnTo>
                    <a:pt x="856" y="417"/>
                  </a:lnTo>
                  <a:lnTo>
                    <a:pt x="847" y="410"/>
                  </a:lnTo>
                  <a:lnTo>
                    <a:pt x="836" y="406"/>
                  </a:lnTo>
                  <a:lnTo>
                    <a:pt x="834" y="403"/>
                  </a:lnTo>
                  <a:lnTo>
                    <a:pt x="834" y="401"/>
                  </a:lnTo>
                  <a:lnTo>
                    <a:pt x="834" y="399"/>
                  </a:lnTo>
                  <a:lnTo>
                    <a:pt x="825" y="395"/>
                  </a:lnTo>
                  <a:lnTo>
                    <a:pt x="825" y="395"/>
                  </a:lnTo>
                  <a:lnTo>
                    <a:pt x="824" y="395"/>
                  </a:lnTo>
                  <a:lnTo>
                    <a:pt x="824" y="395"/>
                  </a:lnTo>
                  <a:lnTo>
                    <a:pt x="822" y="392"/>
                  </a:lnTo>
                  <a:lnTo>
                    <a:pt x="822" y="390"/>
                  </a:lnTo>
                  <a:lnTo>
                    <a:pt x="820" y="388"/>
                  </a:lnTo>
                  <a:lnTo>
                    <a:pt x="818" y="388"/>
                  </a:lnTo>
                  <a:lnTo>
                    <a:pt x="815" y="386"/>
                  </a:lnTo>
                  <a:lnTo>
                    <a:pt x="811" y="386"/>
                  </a:lnTo>
                  <a:lnTo>
                    <a:pt x="787" y="375"/>
                  </a:lnTo>
                  <a:lnTo>
                    <a:pt x="786" y="375"/>
                  </a:lnTo>
                  <a:lnTo>
                    <a:pt x="780" y="374"/>
                  </a:lnTo>
                  <a:lnTo>
                    <a:pt x="778" y="375"/>
                  </a:lnTo>
                  <a:lnTo>
                    <a:pt x="780" y="377"/>
                  </a:lnTo>
                  <a:lnTo>
                    <a:pt x="784" y="381"/>
                  </a:lnTo>
                  <a:lnTo>
                    <a:pt x="784" y="383"/>
                  </a:lnTo>
                  <a:lnTo>
                    <a:pt x="784" y="385"/>
                  </a:lnTo>
                  <a:lnTo>
                    <a:pt x="782" y="385"/>
                  </a:lnTo>
                  <a:lnTo>
                    <a:pt x="782" y="386"/>
                  </a:lnTo>
                  <a:lnTo>
                    <a:pt x="780" y="388"/>
                  </a:lnTo>
                  <a:lnTo>
                    <a:pt x="780" y="388"/>
                  </a:lnTo>
                  <a:lnTo>
                    <a:pt x="780" y="388"/>
                  </a:lnTo>
                  <a:lnTo>
                    <a:pt x="778" y="388"/>
                  </a:lnTo>
                  <a:lnTo>
                    <a:pt x="778" y="386"/>
                  </a:lnTo>
                  <a:lnTo>
                    <a:pt x="778" y="386"/>
                  </a:lnTo>
                  <a:lnTo>
                    <a:pt x="778" y="385"/>
                  </a:lnTo>
                  <a:lnTo>
                    <a:pt x="778" y="385"/>
                  </a:lnTo>
                  <a:lnTo>
                    <a:pt x="778" y="383"/>
                  </a:lnTo>
                  <a:lnTo>
                    <a:pt x="777" y="383"/>
                  </a:lnTo>
                  <a:lnTo>
                    <a:pt x="775" y="383"/>
                  </a:lnTo>
                  <a:lnTo>
                    <a:pt x="773" y="383"/>
                  </a:lnTo>
                  <a:lnTo>
                    <a:pt x="771" y="385"/>
                  </a:lnTo>
                  <a:lnTo>
                    <a:pt x="771" y="385"/>
                  </a:lnTo>
                  <a:lnTo>
                    <a:pt x="769" y="386"/>
                  </a:lnTo>
                  <a:lnTo>
                    <a:pt x="769" y="386"/>
                  </a:lnTo>
                  <a:lnTo>
                    <a:pt x="769" y="385"/>
                  </a:lnTo>
                  <a:lnTo>
                    <a:pt x="769" y="383"/>
                  </a:lnTo>
                  <a:lnTo>
                    <a:pt x="771" y="381"/>
                  </a:lnTo>
                  <a:lnTo>
                    <a:pt x="755" y="379"/>
                  </a:lnTo>
                  <a:lnTo>
                    <a:pt x="753" y="379"/>
                  </a:lnTo>
                  <a:lnTo>
                    <a:pt x="751" y="375"/>
                  </a:lnTo>
                  <a:lnTo>
                    <a:pt x="751" y="375"/>
                  </a:lnTo>
                  <a:lnTo>
                    <a:pt x="748" y="375"/>
                  </a:lnTo>
                  <a:lnTo>
                    <a:pt x="744" y="374"/>
                  </a:lnTo>
                  <a:lnTo>
                    <a:pt x="742" y="372"/>
                  </a:lnTo>
                  <a:lnTo>
                    <a:pt x="742" y="370"/>
                  </a:lnTo>
                  <a:lnTo>
                    <a:pt x="728" y="368"/>
                  </a:lnTo>
                  <a:lnTo>
                    <a:pt x="713" y="366"/>
                  </a:lnTo>
                  <a:lnTo>
                    <a:pt x="713" y="368"/>
                  </a:lnTo>
                  <a:lnTo>
                    <a:pt x="715" y="368"/>
                  </a:lnTo>
                  <a:lnTo>
                    <a:pt x="715" y="370"/>
                  </a:lnTo>
                  <a:lnTo>
                    <a:pt x="713" y="370"/>
                  </a:lnTo>
                  <a:lnTo>
                    <a:pt x="713" y="370"/>
                  </a:lnTo>
                  <a:lnTo>
                    <a:pt x="712" y="370"/>
                  </a:lnTo>
                  <a:lnTo>
                    <a:pt x="712" y="370"/>
                  </a:lnTo>
                  <a:lnTo>
                    <a:pt x="710" y="368"/>
                  </a:lnTo>
                  <a:lnTo>
                    <a:pt x="708" y="370"/>
                  </a:lnTo>
                  <a:lnTo>
                    <a:pt x="708" y="370"/>
                  </a:lnTo>
                  <a:lnTo>
                    <a:pt x="708" y="370"/>
                  </a:lnTo>
                  <a:lnTo>
                    <a:pt x="708" y="370"/>
                  </a:lnTo>
                  <a:lnTo>
                    <a:pt x="708" y="368"/>
                  </a:lnTo>
                  <a:lnTo>
                    <a:pt x="708" y="366"/>
                  </a:lnTo>
                  <a:lnTo>
                    <a:pt x="708" y="366"/>
                  </a:lnTo>
                  <a:lnTo>
                    <a:pt x="703" y="368"/>
                  </a:lnTo>
                  <a:lnTo>
                    <a:pt x="701" y="368"/>
                  </a:lnTo>
                  <a:lnTo>
                    <a:pt x="699" y="370"/>
                  </a:lnTo>
                  <a:lnTo>
                    <a:pt x="699" y="372"/>
                  </a:lnTo>
                  <a:lnTo>
                    <a:pt x="699" y="374"/>
                  </a:lnTo>
                  <a:lnTo>
                    <a:pt x="699" y="375"/>
                  </a:lnTo>
                  <a:lnTo>
                    <a:pt x="699" y="375"/>
                  </a:lnTo>
                  <a:lnTo>
                    <a:pt x="699" y="375"/>
                  </a:lnTo>
                  <a:lnTo>
                    <a:pt x="701" y="377"/>
                  </a:lnTo>
                  <a:lnTo>
                    <a:pt x="701" y="377"/>
                  </a:lnTo>
                  <a:lnTo>
                    <a:pt x="701" y="377"/>
                  </a:lnTo>
                  <a:lnTo>
                    <a:pt x="699" y="379"/>
                  </a:lnTo>
                  <a:lnTo>
                    <a:pt x="699" y="379"/>
                  </a:lnTo>
                  <a:lnTo>
                    <a:pt x="701" y="385"/>
                  </a:lnTo>
                  <a:lnTo>
                    <a:pt x="701" y="386"/>
                  </a:lnTo>
                  <a:lnTo>
                    <a:pt x="699" y="388"/>
                  </a:lnTo>
                  <a:lnTo>
                    <a:pt x="699" y="388"/>
                  </a:lnTo>
                  <a:lnTo>
                    <a:pt x="695" y="392"/>
                  </a:lnTo>
                  <a:lnTo>
                    <a:pt x="694" y="394"/>
                  </a:lnTo>
                  <a:lnTo>
                    <a:pt x="694" y="395"/>
                  </a:lnTo>
                  <a:lnTo>
                    <a:pt x="692" y="399"/>
                  </a:lnTo>
                  <a:lnTo>
                    <a:pt x="690" y="401"/>
                  </a:lnTo>
                  <a:lnTo>
                    <a:pt x="686" y="401"/>
                  </a:lnTo>
                  <a:lnTo>
                    <a:pt x="683" y="403"/>
                  </a:lnTo>
                  <a:lnTo>
                    <a:pt x="677" y="403"/>
                  </a:lnTo>
                  <a:lnTo>
                    <a:pt x="674" y="406"/>
                  </a:lnTo>
                  <a:lnTo>
                    <a:pt x="674" y="410"/>
                  </a:lnTo>
                  <a:lnTo>
                    <a:pt x="674" y="417"/>
                  </a:lnTo>
                  <a:lnTo>
                    <a:pt x="672" y="421"/>
                  </a:lnTo>
                  <a:lnTo>
                    <a:pt x="672" y="417"/>
                  </a:lnTo>
                  <a:lnTo>
                    <a:pt x="672" y="413"/>
                  </a:lnTo>
                  <a:lnTo>
                    <a:pt x="672" y="408"/>
                  </a:lnTo>
                  <a:lnTo>
                    <a:pt x="672" y="406"/>
                  </a:lnTo>
                  <a:lnTo>
                    <a:pt x="674" y="403"/>
                  </a:lnTo>
                  <a:lnTo>
                    <a:pt x="677" y="401"/>
                  </a:lnTo>
                  <a:lnTo>
                    <a:pt x="679" y="401"/>
                  </a:lnTo>
                  <a:lnTo>
                    <a:pt x="683" y="399"/>
                  </a:lnTo>
                  <a:lnTo>
                    <a:pt x="686" y="397"/>
                  </a:lnTo>
                  <a:lnTo>
                    <a:pt x="686" y="397"/>
                  </a:lnTo>
                  <a:lnTo>
                    <a:pt x="692" y="392"/>
                  </a:lnTo>
                  <a:lnTo>
                    <a:pt x="697" y="388"/>
                  </a:lnTo>
                  <a:lnTo>
                    <a:pt x="699" y="385"/>
                  </a:lnTo>
                  <a:lnTo>
                    <a:pt x="697" y="383"/>
                  </a:lnTo>
                  <a:lnTo>
                    <a:pt x="695" y="383"/>
                  </a:lnTo>
                  <a:lnTo>
                    <a:pt x="694" y="385"/>
                  </a:lnTo>
                  <a:lnTo>
                    <a:pt x="692" y="385"/>
                  </a:lnTo>
                  <a:lnTo>
                    <a:pt x="692" y="381"/>
                  </a:lnTo>
                  <a:lnTo>
                    <a:pt x="690" y="381"/>
                  </a:lnTo>
                  <a:lnTo>
                    <a:pt x="686" y="381"/>
                  </a:lnTo>
                  <a:lnTo>
                    <a:pt x="686" y="379"/>
                  </a:lnTo>
                  <a:lnTo>
                    <a:pt x="688" y="379"/>
                  </a:lnTo>
                  <a:lnTo>
                    <a:pt x="690" y="379"/>
                  </a:lnTo>
                  <a:lnTo>
                    <a:pt x="695" y="375"/>
                  </a:lnTo>
                  <a:lnTo>
                    <a:pt x="694" y="374"/>
                  </a:lnTo>
                  <a:lnTo>
                    <a:pt x="692" y="374"/>
                  </a:lnTo>
                  <a:lnTo>
                    <a:pt x="686" y="374"/>
                  </a:lnTo>
                  <a:lnTo>
                    <a:pt x="686" y="375"/>
                  </a:lnTo>
                  <a:lnTo>
                    <a:pt x="685" y="375"/>
                  </a:lnTo>
                  <a:lnTo>
                    <a:pt x="685" y="375"/>
                  </a:lnTo>
                  <a:lnTo>
                    <a:pt x="683" y="375"/>
                  </a:lnTo>
                  <a:lnTo>
                    <a:pt x="685" y="374"/>
                  </a:lnTo>
                  <a:lnTo>
                    <a:pt x="688" y="372"/>
                  </a:lnTo>
                  <a:lnTo>
                    <a:pt x="690" y="370"/>
                  </a:lnTo>
                  <a:lnTo>
                    <a:pt x="692" y="368"/>
                  </a:lnTo>
                  <a:lnTo>
                    <a:pt x="695" y="363"/>
                  </a:lnTo>
                  <a:lnTo>
                    <a:pt x="695" y="361"/>
                  </a:lnTo>
                  <a:lnTo>
                    <a:pt x="694" y="361"/>
                  </a:lnTo>
                  <a:lnTo>
                    <a:pt x="692" y="361"/>
                  </a:lnTo>
                  <a:lnTo>
                    <a:pt x="694" y="359"/>
                  </a:lnTo>
                  <a:lnTo>
                    <a:pt x="695" y="357"/>
                  </a:lnTo>
                  <a:lnTo>
                    <a:pt x="697" y="357"/>
                  </a:lnTo>
                  <a:lnTo>
                    <a:pt x="697" y="354"/>
                  </a:lnTo>
                  <a:lnTo>
                    <a:pt x="695" y="352"/>
                  </a:lnTo>
                  <a:lnTo>
                    <a:pt x="694" y="350"/>
                  </a:lnTo>
                  <a:lnTo>
                    <a:pt x="692" y="350"/>
                  </a:lnTo>
                  <a:lnTo>
                    <a:pt x="690" y="352"/>
                  </a:lnTo>
                  <a:lnTo>
                    <a:pt x="690" y="352"/>
                  </a:lnTo>
                  <a:lnTo>
                    <a:pt x="688" y="352"/>
                  </a:lnTo>
                  <a:lnTo>
                    <a:pt x="688" y="350"/>
                  </a:lnTo>
                  <a:lnTo>
                    <a:pt x="686" y="350"/>
                  </a:lnTo>
                  <a:lnTo>
                    <a:pt x="686" y="352"/>
                  </a:lnTo>
                  <a:lnTo>
                    <a:pt x="670" y="357"/>
                  </a:lnTo>
                  <a:lnTo>
                    <a:pt x="670" y="359"/>
                  </a:lnTo>
                  <a:lnTo>
                    <a:pt x="668" y="361"/>
                  </a:lnTo>
                  <a:lnTo>
                    <a:pt x="666" y="365"/>
                  </a:lnTo>
                  <a:lnTo>
                    <a:pt x="666" y="368"/>
                  </a:lnTo>
                  <a:lnTo>
                    <a:pt x="666" y="370"/>
                  </a:lnTo>
                  <a:lnTo>
                    <a:pt x="666" y="370"/>
                  </a:lnTo>
                  <a:lnTo>
                    <a:pt x="665" y="370"/>
                  </a:lnTo>
                  <a:lnTo>
                    <a:pt x="665" y="370"/>
                  </a:lnTo>
                  <a:lnTo>
                    <a:pt x="665" y="370"/>
                  </a:lnTo>
                  <a:lnTo>
                    <a:pt x="665" y="370"/>
                  </a:lnTo>
                  <a:lnTo>
                    <a:pt x="663" y="372"/>
                  </a:lnTo>
                  <a:lnTo>
                    <a:pt x="663" y="372"/>
                  </a:lnTo>
                  <a:lnTo>
                    <a:pt x="661" y="372"/>
                  </a:lnTo>
                  <a:lnTo>
                    <a:pt x="661" y="370"/>
                  </a:lnTo>
                  <a:lnTo>
                    <a:pt x="663" y="368"/>
                  </a:lnTo>
                  <a:lnTo>
                    <a:pt x="663" y="366"/>
                  </a:lnTo>
                  <a:lnTo>
                    <a:pt x="665" y="363"/>
                  </a:lnTo>
                  <a:lnTo>
                    <a:pt x="675" y="347"/>
                  </a:lnTo>
                  <a:lnTo>
                    <a:pt x="670" y="347"/>
                  </a:lnTo>
                  <a:lnTo>
                    <a:pt x="666" y="348"/>
                  </a:lnTo>
                  <a:lnTo>
                    <a:pt x="659" y="356"/>
                  </a:lnTo>
                  <a:lnTo>
                    <a:pt x="661" y="352"/>
                  </a:lnTo>
                  <a:lnTo>
                    <a:pt x="663" y="348"/>
                  </a:lnTo>
                  <a:lnTo>
                    <a:pt x="666" y="345"/>
                  </a:lnTo>
                  <a:lnTo>
                    <a:pt x="665" y="345"/>
                  </a:lnTo>
                  <a:lnTo>
                    <a:pt x="663" y="345"/>
                  </a:lnTo>
                  <a:lnTo>
                    <a:pt x="661" y="345"/>
                  </a:lnTo>
                  <a:lnTo>
                    <a:pt x="656" y="343"/>
                  </a:lnTo>
                  <a:lnTo>
                    <a:pt x="654" y="343"/>
                  </a:lnTo>
                  <a:lnTo>
                    <a:pt x="654" y="343"/>
                  </a:lnTo>
                  <a:lnTo>
                    <a:pt x="652" y="345"/>
                  </a:lnTo>
                  <a:lnTo>
                    <a:pt x="650" y="345"/>
                  </a:lnTo>
                  <a:lnTo>
                    <a:pt x="648" y="343"/>
                  </a:lnTo>
                  <a:lnTo>
                    <a:pt x="648" y="341"/>
                  </a:lnTo>
                  <a:lnTo>
                    <a:pt x="648" y="343"/>
                  </a:lnTo>
                  <a:lnTo>
                    <a:pt x="648" y="343"/>
                  </a:lnTo>
                  <a:lnTo>
                    <a:pt x="648" y="345"/>
                  </a:lnTo>
                  <a:lnTo>
                    <a:pt x="648" y="345"/>
                  </a:lnTo>
                  <a:lnTo>
                    <a:pt x="647" y="345"/>
                  </a:lnTo>
                  <a:lnTo>
                    <a:pt x="647" y="345"/>
                  </a:lnTo>
                  <a:lnTo>
                    <a:pt x="645" y="343"/>
                  </a:lnTo>
                  <a:lnTo>
                    <a:pt x="643" y="345"/>
                  </a:lnTo>
                  <a:lnTo>
                    <a:pt x="643" y="345"/>
                  </a:lnTo>
                  <a:lnTo>
                    <a:pt x="643" y="347"/>
                  </a:lnTo>
                  <a:lnTo>
                    <a:pt x="643" y="348"/>
                  </a:lnTo>
                  <a:lnTo>
                    <a:pt x="641" y="348"/>
                  </a:lnTo>
                  <a:lnTo>
                    <a:pt x="641" y="348"/>
                  </a:lnTo>
                  <a:lnTo>
                    <a:pt x="641" y="348"/>
                  </a:lnTo>
                  <a:lnTo>
                    <a:pt x="636" y="354"/>
                  </a:lnTo>
                  <a:lnTo>
                    <a:pt x="632" y="354"/>
                  </a:lnTo>
                  <a:lnTo>
                    <a:pt x="630" y="352"/>
                  </a:lnTo>
                  <a:lnTo>
                    <a:pt x="632" y="352"/>
                  </a:lnTo>
                  <a:lnTo>
                    <a:pt x="638" y="348"/>
                  </a:lnTo>
                  <a:lnTo>
                    <a:pt x="639" y="348"/>
                  </a:lnTo>
                  <a:lnTo>
                    <a:pt x="639" y="347"/>
                  </a:lnTo>
                  <a:lnTo>
                    <a:pt x="641" y="343"/>
                  </a:lnTo>
                  <a:lnTo>
                    <a:pt x="643" y="343"/>
                  </a:lnTo>
                  <a:lnTo>
                    <a:pt x="643" y="343"/>
                  </a:lnTo>
                  <a:lnTo>
                    <a:pt x="645" y="343"/>
                  </a:lnTo>
                  <a:lnTo>
                    <a:pt x="645" y="343"/>
                  </a:lnTo>
                  <a:lnTo>
                    <a:pt x="647" y="341"/>
                  </a:lnTo>
                  <a:lnTo>
                    <a:pt x="643" y="338"/>
                  </a:lnTo>
                  <a:lnTo>
                    <a:pt x="641" y="338"/>
                  </a:lnTo>
                  <a:lnTo>
                    <a:pt x="641" y="338"/>
                  </a:lnTo>
                  <a:lnTo>
                    <a:pt x="643" y="334"/>
                  </a:lnTo>
                  <a:lnTo>
                    <a:pt x="643" y="334"/>
                  </a:lnTo>
                  <a:lnTo>
                    <a:pt x="643" y="332"/>
                  </a:lnTo>
                  <a:lnTo>
                    <a:pt x="641" y="332"/>
                  </a:lnTo>
                  <a:lnTo>
                    <a:pt x="641" y="330"/>
                  </a:lnTo>
                  <a:lnTo>
                    <a:pt x="641" y="330"/>
                  </a:lnTo>
                  <a:lnTo>
                    <a:pt x="636" y="332"/>
                  </a:lnTo>
                  <a:lnTo>
                    <a:pt x="634" y="332"/>
                  </a:lnTo>
                  <a:lnTo>
                    <a:pt x="630" y="330"/>
                  </a:lnTo>
                  <a:lnTo>
                    <a:pt x="629" y="329"/>
                  </a:lnTo>
                  <a:lnTo>
                    <a:pt x="625" y="330"/>
                  </a:lnTo>
                  <a:lnTo>
                    <a:pt x="621" y="334"/>
                  </a:lnTo>
                  <a:lnTo>
                    <a:pt x="621" y="332"/>
                  </a:lnTo>
                  <a:lnTo>
                    <a:pt x="623" y="330"/>
                  </a:lnTo>
                  <a:lnTo>
                    <a:pt x="623" y="329"/>
                  </a:lnTo>
                  <a:lnTo>
                    <a:pt x="625" y="327"/>
                  </a:lnTo>
                  <a:lnTo>
                    <a:pt x="623" y="323"/>
                  </a:lnTo>
                  <a:lnTo>
                    <a:pt x="623" y="323"/>
                  </a:lnTo>
                  <a:lnTo>
                    <a:pt x="621" y="323"/>
                  </a:lnTo>
                  <a:lnTo>
                    <a:pt x="620" y="321"/>
                  </a:lnTo>
                  <a:lnTo>
                    <a:pt x="625" y="319"/>
                  </a:lnTo>
                  <a:lnTo>
                    <a:pt x="627" y="318"/>
                  </a:lnTo>
                  <a:lnTo>
                    <a:pt x="627" y="314"/>
                  </a:lnTo>
                  <a:lnTo>
                    <a:pt x="627" y="310"/>
                  </a:lnTo>
                  <a:lnTo>
                    <a:pt x="627" y="309"/>
                  </a:lnTo>
                  <a:lnTo>
                    <a:pt x="627" y="309"/>
                  </a:lnTo>
                  <a:lnTo>
                    <a:pt x="627" y="307"/>
                  </a:lnTo>
                  <a:lnTo>
                    <a:pt x="627" y="307"/>
                  </a:lnTo>
                  <a:lnTo>
                    <a:pt x="629" y="307"/>
                  </a:lnTo>
                  <a:lnTo>
                    <a:pt x="629" y="309"/>
                  </a:lnTo>
                  <a:lnTo>
                    <a:pt x="630" y="310"/>
                  </a:lnTo>
                  <a:lnTo>
                    <a:pt x="630" y="312"/>
                  </a:lnTo>
                  <a:lnTo>
                    <a:pt x="630" y="314"/>
                  </a:lnTo>
                  <a:lnTo>
                    <a:pt x="630" y="316"/>
                  </a:lnTo>
                  <a:lnTo>
                    <a:pt x="630" y="318"/>
                  </a:lnTo>
                  <a:lnTo>
                    <a:pt x="630" y="318"/>
                  </a:lnTo>
                  <a:lnTo>
                    <a:pt x="629" y="318"/>
                  </a:lnTo>
                  <a:lnTo>
                    <a:pt x="629" y="319"/>
                  </a:lnTo>
                  <a:lnTo>
                    <a:pt x="629" y="319"/>
                  </a:lnTo>
                  <a:lnTo>
                    <a:pt x="630" y="321"/>
                  </a:lnTo>
                  <a:lnTo>
                    <a:pt x="630" y="321"/>
                  </a:lnTo>
                  <a:lnTo>
                    <a:pt x="632" y="321"/>
                  </a:lnTo>
                  <a:lnTo>
                    <a:pt x="639" y="323"/>
                  </a:lnTo>
                  <a:lnTo>
                    <a:pt x="641" y="321"/>
                  </a:lnTo>
                  <a:lnTo>
                    <a:pt x="643" y="321"/>
                  </a:lnTo>
                  <a:lnTo>
                    <a:pt x="647" y="325"/>
                  </a:lnTo>
                  <a:lnTo>
                    <a:pt x="665" y="332"/>
                  </a:lnTo>
                  <a:lnTo>
                    <a:pt x="674" y="327"/>
                  </a:lnTo>
                  <a:lnTo>
                    <a:pt x="675" y="325"/>
                  </a:lnTo>
                  <a:lnTo>
                    <a:pt x="677" y="321"/>
                  </a:lnTo>
                  <a:lnTo>
                    <a:pt x="677" y="321"/>
                  </a:lnTo>
                  <a:lnTo>
                    <a:pt x="677" y="319"/>
                  </a:lnTo>
                  <a:lnTo>
                    <a:pt x="677" y="319"/>
                  </a:lnTo>
                  <a:lnTo>
                    <a:pt x="677" y="319"/>
                  </a:lnTo>
                  <a:lnTo>
                    <a:pt x="677" y="318"/>
                  </a:lnTo>
                  <a:lnTo>
                    <a:pt x="677" y="316"/>
                  </a:lnTo>
                  <a:lnTo>
                    <a:pt x="677" y="316"/>
                  </a:lnTo>
                  <a:lnTo>
                    <a:pt x="677" y="310"/>
                  </a:lnTo>
                  <a:lnTo>
                    <a:pt x="677" y="310"/>
                  </a:lnTo>
                  <a:lnTo>
                    <a:pt x="677" y="309"/>
                  </a:lnTo>
                  <a:lnTo>
                    <a:pt x="675" y="307"/>
                  </a:lnTo>
                  <a:lnTo>
                    <a:pt x="675" y="309"/>
                  </a:lnTo>
                  <a:lnTo>
                    <a:pt x="674" y="309"/>
                  </a:lnTo>
                  <a:lnTo>
                    <a:pt x="674" y="309"/>
                  </a:lnTo>
                  <a:lnTo>
                    <a:pt x="672" y="305"/>
                  </a:lnTo>
                  <a:lnTo>
                    <a:pt x="666" y="303"/>
                  </a:lnTo>
                  <a:lnTo>
                    <a:pt x="657" y="301"/>
                  </a:lnTo>
                  <a:lnTo>
                    <a:pt x="652" y="303"/>
                  </a:lnTo>
                  <a:lnTo>
                    <a:pt x="647" y="300"/>
                  </a:lnTo>
                  <a:lnTo>
                    <a:pt x="647" y="298"/>
                  </a:lnTo>
                  <a:lnTo>
                    <a:pt x="647" y="298"/>
                  </a:lnTo>
                  <a:lnTo>
                    <a:pt x="647" y="296"/>
                  </a:lnTo>
                  <a:lnTo>
                    <a:pt x="645" y="292"/>
                  </a:lnTo>
                  <a:lnTo>
                    <a:pt x="641" y="289"/>
                  </a:lnTo>
                  <a:lnTo>
                    <a:pt x="639" y="289"/>
                  </a:lnTo>
                  <a:lnTo>
                    <a:pt x="634" y="289"/>
                  </a:lnTo>
                  <a:lnTo>
                    <a:pt x="634" y="287"/>
                  </a:lnTo>
                  <a:lnTo>
                    <a:pt x="623" y="276"/>
                  </a:lnTo>
                  <a:lnTo>
                    <a:pt x="620" y="274"/>
                  </a:lnTo>
                  <a:lnTo>
                    <a:pt x="620" y="274"/>
                  </a:lnTo>
                  <a:lnTo>
                    <a:pt x="618" y="276"/>
                  </a:lnTo>
                  <a:lnTo>
                    <a:pt x="618" y="278"/>
                  </a:lnTo>
                  <a:lnTo>
                    <a:pt x="616" y="280"/>
                  </a:lnTo>
                  <a:lnTo>
                    <a:pt x="618" y="282"/>
                  </a:lnTo>
                  <a:lnTo>
                    <a:pt x="620" y="285"/>
                  </a:lnTo>
                  <a:lnTo>
                    <a:pt x="620" y="285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9"/>
                  </a:lnTo>
                  <a:lnTo>
                    <a:pt x="621" y="291"/>
                  </a:lnTo>
                  <a:lnTo>
                    <a:pt x="623" y="294"/>
                  </a:lnTo>
                  <a:lnTo>
                    <a:pt x="625" y="298"/>
                  </a:lnTo>
                  <a:lnTo>
                    <a:pt x="627" y="300"/>
                  </a:lnTo>
                  <a:lnTo>
                    <a:pt x="627" y="300"/>
                  </a:lnTo>
                  <a:lnTo>
                    <a:pt x="627" y="301"/>
                  </a:lnTo>
                  <a:lnTo>
                    <a:pt x="627" y="301"/>
                  </a:lnTo>
                  <a:lnTo>
                    <a:pt x="625" y="301"/>
                  </a:lnTo>
                  <a:lnTo>
                    <a:pt x="625" y="301"/>
                  </a:lnTo>
                  <a:lnTo>
                    <a:pt x="625" y="303"/>
                  </a:lnTo>
                  <a:lnTo>
                    <a:pt x="623" y="303"/>
                  </a:lnTo>
                  <a:lnTo>
                    <a:pt x="623" y="303"/>
                  </a:lnTo>
                  <a:lnTo>
                    <a:pt x="620" y="298"/>
                  </a:lnTo>
                  <a:lnTo>
                    <a:pt x="616" y="296"/>
                  </a:lnTo>
                  <a:lnTo>
                    <a:pt x="614" y="292"/>
                  </a:lnTo>
                  <a:lnTo>
                    <a:pt x="614" y="292"/>
                  </a:lnTo>
                  <a:lnTo>
                    <a:pt x="609" y="292"/>
                  </a:lnTo>
                  <a:lnTo>
                    <a:pt x="607" y="294"/>
                  </a:lnTo>
                  <a:lnTo>
                    <a:pt x="607" y="296"/>
                  </a:lnTo>
                  <a:lnTo>
                    <a:pt x="607" y="298"/>
                  </a:lnTo>
                  <a:lnTo>
                    <a:pt x="607" y="301"/>
                  </a:lnTo>
                  <a:lnTo>
                    <a:pt x="607" y="305"/>
                  </a:lnTo>
                  <a:lnTo>
                    <a:pt x="607" y="309"/>
                  </a:lnTo>
                  <a:lnTo>
                    <a:pt x="607" y="309"/>
                  </a:lnTo>
                  <a:lnTo>
                    <a:pt x="607" y="310"/>
                  </a:lnTo>
                  <a:lnTo>
                    <a:pt x="610" y="312"/>
                  </a:lnTo>
                  <a:lnTo>
                    <a:pt x="610" y="314"/>
                  </a:lnTo>
                  <a:lnTo>
                    <a:pt x="612" y="316"/>
                  </a:lnTo>
                  <a:lnTo>
                    <a:pt x="600" y="314"/>
                  </a:lnTo>
                  <a:lnTo>
                    <a:pt x="598" y="314"/>
                  </a:lnTo>
                  <a:lnTo>
                    <a:pt x="598" y="316"/>
                  </a:lnTo>
                  <a:lnTo>
                    <a:pt x="598" y="316"/>
                  </a:lnTo>
                  <a:lnTo>
                    <a:pt x="594" y="314"/>
                  </a:lnTo>
                  <a:lnTo>
                    <a:pt x="594" y="316"/>
                  </a:lnTo>
                  <a:lnTo>
                    <a:pt x="589" y="325"/>
                  </a:lnTo>
                  <a:lnTo>
                    <a:pt x="587" y="327"/>
                  </a:lnTo>
                  <a:lnTo>
                    <a:pt x="585" y="327"/>
                  </a:lnTo>
                  <a:lnTo>
                    <a:pt x="589" y="323"/>
                  </a:lnTo>
                  <a:lnTo>
                    <a:pt x="589" y="321"/>
                  </a:lnTo>
                  <a:lnTo>
                    <a:pt x="589" y="321"/>
                  </a:lnTo>
                  <a:lnTo>
                    <a:pt x="589" y="319"/>
                  </a:lnTo>
                  <a:lnTo>
                    <a:pt x="589" y="318"/>
                  </a:lnTo>
                  <a:lnTo>
                    <a:pt x="591" y="318"/>
                  </a:lnTo>
                  <a:lnTo>
                    <a:pt x="591" y="318"/>
                  </a:lnTo>
                  <a:lnTo>
                    <a:pt x="591" y="318"/>
                  </a:lnTo>
                  <a:lnTo>
                    <a:pt x="591" y="316"/>
                  </a:lnTo>
                  <a:lnTo>
                    <a:pt x="591" y="316"/>
                  </a:lnTo>
                  <a:lnTo>
                    <a:pt x="592" y="312"/>
                  </a:lnTo>
                  <a:lnTo>
                    <a:pt x="591" y="310"/>
                  </a:lnTo>
                  <a:lnTo>
                    <a:pt x="591" y="310"/>
                  </a:lnTo>
                  <a:lnTo>
                    <a:pt x="589" y="310"/>
                  </a:lnTo>
                  <a:lnTo>
                    <a:pt x="587" y="307"/>
                  </a:lnTo>
                  <a:lnTo>
                    <a:pt x="585" y="305"/>
                  </a:lnTo>
                  <a:lnTo>
                    <a:pt x="583" y="305"/>
                  </a:lnTo>
                  <a:lnTo>
                    <a:pt x="583" y="305"/>
                  </a:lnTo>
                  <a:lnTo>
                    <a:pt x="582" y="307"/>
                  </a:lnTo>
                  <a:lnTo>
                    <a:pt x="582" y="307"/>
                  </a:lnTo>
                  <a:lnTo>
                    <a:pt x="582" y="307"/>
                  </a:lnTo>
                  <a:lnTo>
                    <a:pt x="580" y="305"/>
                  </a:lnTo>
                  <a:lnTo>
                    <a:pt x="578" y="303"/>
                  </a:lnTo>
                  <a:lnTo>
                    <a:pt x="573" y="303"/>
                  </a:lnTo>
                  <a:lnTo>
                    <a:pt x="564" y="300"/>
                  </a:lnTo>
                  <a:lnTo>
                    <a:pt x="564" y="300"/>
                  </a:lnTo>
                  <a:lnTo>
                    <a:pt x="564" y="305"/>
                  </a:lnTo>
                  <a:lnTo>
                    <a:pt x="565" y="307"/>
                  </a:lnTo>
                  <a:lnTo>
                    <a:pt x="565" y="309"/>
                  </a:lnTo>
                  <a:lnTo>
                    <a:pt x="565" y="312"/>
                  </a:lnTo>
                  <a:lnTo>
                    <a:pt x="565" y="312"/>
                  </a:lnTo>
                  <a:lnTo>
                    <a:pt x="565" y="314"/>
                  </a:lnTo>
                  <a:lnTo>
                    <a:pt x="565" y="316"/>
                  </a:lnTo>
                  <a:lnTo>
                    <a:pt x="567" y="318"/>
                  </a:lnTo>
                  <a:lnTo>
                    <a:pt x="567" y="330"/>
                  </a:lnTo>
                  <a:lnTo>
                    <a:pt x="567" y="332"/>
                  </a:lnTo>
                  <a:lnTo>
                    <a:pt x="565" y="338"/>
                  </a:lnTo>
                  <a:lnTo>
                    <a:pt x="564" y="339"/>
                  </a:lnTo>
                  <a:lnTo>
                    <a:pt x="558" y="339"/>
                  </a:lnTo>
                  <a:lnTo>
                    <a:pt x="547" y="338"/>
                  </a:lnTo>
                  <a:lnTo>
                    <a:pt x="545" y="338"/>
                  </a:lnTo>
                  <a:lnTo>
                    <a:pt x="536" y="327"/>
                  </a:lnTo>
                  <a:lnTo>
                    <a:pt x="533" y="323"/>
                  </a:lnTo>
                  <a:lnTo>
                    <a:pt x="531" y="323"/>
                  </a:lnTo>
                  <a:lnTo>
                    <a:pt x="527" y="323"/>
                  </a:lnTo>
                  <a:lnTo>
                    <a:pt x="527" y="323"/>
                  </a:lnTo>
                  <a:lnTo>
                    <a:pt x="527" y="325"/>
                  </a:lnTo>
                  <a:lnTo>
                    <a:pt x="529" y="327"/>
                  </a:lnTo>
                  <a:lnTo>
                    <a:pt x="531" y="327"/>
                  </a:lnTo>
                  <a:lnTo>
                    <a:pt x="533" y="329"/>
                  </a:lnTo>
                  <a:lnTo>
                    <a:pt x="533" y="332"/>
                  </a:lnTo>
                  <a:lnTo>
                    <a:pt x="533" y="334"/>
                  </a:lnTo>
                  <a:lnTo>
                    <a:pt x="533" y="338"/>
                  </a:lnTo>
                  <a:lnTo>
                    <a:pt x="531" y="339"/>
                  </a:lnTo>
                  <a:lnTo>
                    <a:pt x="531" y="341"/>
                  </a:lnTo>
                  <a:lnTo>
                    <a:pt x="529" y="341"/>
                  </a:lnTo>
                  <a:lnTo>
                    <a:pt x="529" y="343"/>
                  </a:lnTo>
                  <a:lnTo>
                    <a:pt x="527" y="345"/>
                  </a:lnTo>
                  <a:lnTo>
                    <a:pt x="527" y="347"/>
                  </a:lnTo>
                  <a:lnTo>
                    <a:pt x="527" y="348"/>
                  </a:lnTo>
                  <a:lnTo>
                    <a:pt x="527" y="350"/>
                  </a:lnTo>
                  <a:lnTo>
                    <a:pt x="527" y="352"/>
                  </a:lnTo>
                  <a:lnTo>
                    <a:pt x="520" y="357"/>
                  </a:lnTo>
                  <a:lnTo>
                    <a:pt x="520" y="361"/>
                  </a:lnTo>
                  <a:lnTo>
                    <a:pt x="518" y="363"/>
                  </a:lnTo>
                  <a:lnTo>
                    <a:pt x="517" y="363"/>
                  </a:lnTo>
                  <a:lnTo>
                    <a:pt x="509" y="363"/>
                  </a:lnTo>
                  <a:lnTo>
                    <a:pt x="508" y="365"/>
                  </a:lnTo>
                  <a:lnTo>
                    <a:pt x="504" y="368"/>
                  </a:lnTo>
                  <a:lnTo>
                    <a:pt x="500" y="370"/>
                  </a:lnTo>
                  <a:lnTo>
                    <a:pt x="493" y="370"/>
                  </a:lnTo>
                  <a:lnTo>
                    <a:pt x="489" y="372"/>
                  </a:lnTo>
                  <a:lnTo>
                    <a:pt x="488" y="375"/>
                  </a:lnTo>
                  <a:lnTo>
                    <a:pt x="488" y="377"/>
                  </a:lnTo>
                  <a:lnTo>
                    <a:pt x="486" y="381"/>
                  </a:lnTo>
                  <a:lnTo>
                    <a:pt x="486" y="383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6"/>
                  </a:lnTo>
                  <a:lnTo>
                    <a:pt x="486" y="386"/>
                  </a:lnTo>
                  <a:lnTo>
                    <a:pt x="484" y="390"/>
                  </a:lnTo>
                  <a:lnTo>
                    <a:pt x="484" y="390"/>
                  </a:lnTo>
                  <a:lnTo>
                    <a:pt x="484" y="395"/>
                  </a:lnTo>
                  <a:lnTo>
                    <a:pt x="482" y="397"/>
                  </a:lnTo>
                  <a:lnTo>
                    <a:pt x="482" y="401"/>
                  </a:lnTo>
                  <a:lnTo>
                    <a:pt x="480" y="404"/>
                  </a:lnTo>
                  <a:lnTo>
                    <a:pt x="477" y="408"/>
                  </a:lnTo>
                  <a:lnTo>
                    <a:pt x="475" y="408"/>
                  </a:lnTo>
                  <a:lnTo>
                    <a:pt x="471" y="408"/>
                  </a:lnTo>
                  <a:lnTo>
                    <a:pt x="470" y="410"/>
                  </a:lnTo>
                  <a:lnTo>
                    <a:pt x="468" y="410"/>
                  </a:lnTo>
                  <a:lnTo>
                    <a:pt x="462" y="415"/>
                  </a:lnTo>
                  <a:lnTo>
                    <a:pt x="457" y="419"/>
                  </a:lnTo>
                  <a:lnTo>
                    <a:pt x="444" y="428"/>
                  </a:lnTo>
                  <a:lnTo>
                    <a:pt x="441" y="428"/>
                  </a:lnTo>
                  <a:lnTo>
                    <a:pt x="441" y="430"/>
                  </a:lnTo>
                  <a:lnTo>
                    <a:pt x="443" y="431"/>
                  </a:lnTo>
                  <a:lnTo>
                    <a:pt x="443" y="431"/>
                  </a:lnTo>
                  <a:lnTo>
                    <a:pt x="453" y="431"/>
                  </a:lnTo>
                  <a:lnTo>
                    <a:pt x="457" y="433"/>
                  </a:lnTo>
                  <a:lnTo>
                    <a:pt x="461" y="437"/>
                  </a:lnTo>
                  <a:lnTo>
                    <a:pt x="459" y="448"/>
                  </a:lnTo>
                  <a:lnTo>
                    <a:pt x="457" y="451"/>
                  </a:lnTo>
                  <a:lnTo>
                    <a:pt x="444" y="477"/>
                  </a:lnTo>
                  <a:lnTo>
                    <a:pt x="443" y="478"/>
                  </a:lnTo>
                  <a:lnTo>
                    <a:pt x="443" y="480"/>
                  </a:lnTo>
                  <a:lnTo>
                    <a:pt x="444" y="484"/>
                  </a:lnTo>
                  <a:lnTo>
                    <a:pt x="444" y="487"/>
                  </a:lnTo>
                  <a:lnTo>
                    <a:pt x="453" y="524"/>
                  </a:lnTo>
                  <a:lnTo>
                    <a:pt x="455" y="525"/>
                  </a:lnTo>
                  <a:lnTo>
                    <a:pt x="457" y="527"/>
                  </a:lnTo>
                  <a:lnTo>
                    <a:pt x="471" y="533"/>
                  </a:lnTo>
                  <a:lnTo>
                    <a:pt x="486" y="540"/>
                  </a:lnTo>
                  <a:lnTo>
                    <a:pt x="488" y="540"/>
                  </a:lnTo>
                  <a:lnTo>
                    <a:pt x="489" y="543"/>
                  </a:lnTo>
                  <a:lnTo>
                    <a:pt x="493" y="551"/>
                  </a:lnTo>
                  <a:lnTo>
                    <a:pt x="493" y="551"/>
                  </a:lnTo>
                  <a:lnTo>
                    <a:pt x="495" y="556"/>
                  </a:lnTo>
                  <a:lnTo>
                    <a:pt x="504" y="574"/>
                  </a:lnTo>
                  <a:lnTo>
                    <a:pt x="508" y="578"/>
                  </a:lnTo>
                  <a:lnTo>
                    <a:pt x="522" y="592"/>
                  </a:lnTo>
                  <a:lnTo>
                    <a:pt x="520" y="594"/>
                  </a:lnTo>
                  <a:lnTo>
                    <a:pt x="520" y="596"/>
                  </a:lnTo>
                  <a:lnTo>
                    <a:pt x="520" y="596"/>
                  </a:lnTo>
                  <a:lnTo>
                    <a:pt x="518" y="605"/>
                  </a:lnTo>
                  <a:lnTo>
                    <a:pt x="518" y="607"/>
                  </a:lnTo>
                  <a:lnTo>
                    <a:pt x="518" y="612"/>
                  </a:lnTo>
                  <a:lnTo>
                    <a:pt x="517" y="616"/>
                  </a:lnTo>
                  <a:lnTo>
                    <a:pt x="497" y="643"/>
                  </a:lnTo>
                  <a:lnTo>
                    <a:pt x="497" y="645"/>
                  </a:lnTo>
                  <a:lnTo>
                    <a:pt x="497" y="646"/>
                  </a:lnTo>
                  <a:lnTo>
                    <a:pt x="495" y="646"/>
                  </a:lnTo>
                  <a:lnTo>
                    <a:pt x="495" y="648"/>
                  </a:lnTo>
                  <a:lnTo>
                    <a:pt x="493" y="652"/>
                  </a:lnTo>
                  <a:lnTo>
                    <a:pt x="477" y="683"/>
                  </a:lnTo>
                  <a:lnTo>
                    <a:pt x="477" y="683"/>
                  </a:lnTo>
                  <a:lnTo>
                    <a:pt x="475" y="683"/>
                  </a:lnTo>
                  <a:lnTo>
                    <a:pt x="475" y="683"/>
                  </a:lnTo>
                  <a:lnTo>
                    <a:pt x="473" y="693"/>
                  </a:lnTo>
                  <a:lnTo>
                    <a:pt x="475" y="702"/>
                  </a:lnTo>
                  <a:lnTo>
                    <a:pt x="488" y="722"/>
                  </a:lnTo>
                  <a:lnTo>
                    <a:pt x="489" y="728"/>
                  </a:lnTo>
                  <a:lnTo>
                    <a:pt x="489" y="730"/>
                  </a:lnTo>
                  <a:lnTo>
                    <a:pt x="491" y="731"/>
                  </a:lnTo>
                  <a:lnTo>
                    <a:pt x="491" y="731"/>
                  </a:lnTo>
                  <a:lnTo>
                    <a:pt x="491" y="733"/>
                  </a:lnTo>
                  <a:lnTo>
                    <a:pt x="491" y="735"/>
                  </a:lnTo>
                  <a:lnTo>
                    <a:pt x="491" y="735"/>
                  </a:lnTo>
                  <a:lnTo>
                    <a:pt x="497" y="746"/>
                  </a:lnTo>
                  <a:lnTo>
                    <a:pt x="499" y="748"/>
                  </a:lnTo>
                  <a:lnTo>
                    <a:pt x="499" y="753"/>
                  </a:lnTo>
                  <a:lnTo>
                    <a:pt x="499" y="755"/>
                  </a:lnTo>
                  <a:lnTo>
                    <a:pt x="500" y="760"/>
                  </a:lnTo>
                  <a:lnTo>
                    <a:pt x="500" y="764"/>
                  </a:lnTo>
                  <a:lnTo>
                    <a:pt x="504" y="771"/>
                  </a:lnTo>
                  <a:lnTo>
                    <a:pt x="511" y="784"/>
                  </a:lnTo>
                  <a:lnTo>
                    <a:pt x="515" y="789"/>
                  </a:lnTo>
                  <a:lnTo>
                    <a:pt x="517" y="793"/>
                  </a:lnTo>
                  <a:lnTo>
                    <a:pt x="517" y="798"/>
                  </a:lnTo>
                  <a:lnTo>
                    <a:pt x="518" y="807"/>
                  </a:lnTo>
                  <a:lnTo>
                    <a:pt x="518" y="809"/>
                  </a:lnTo>
                  <a:lnTo>
                    <a:pt x="520" y="814"/>
                  </a:lnTo>
                  <a:lnTo>
                    <a:pt x="522" y="816"/>
                  </a:lnTo>
                  <a:lnTo>
                    <a:pt x="524" y="823"/>
                  </a:lnTo>
                  <a:lnTo>
                    <a:pt x="526" y="829"/>
                  </a:lnTo>
                  <a:lnTo>
                    <a:pt x="526" y="831"/>
                  </a:lnTo>
                  <a:lnTo>
                    <a:pt x="527" y="842"/>
                  </a:lnTo>
                  <a:lnTo>
                    <a:pt x="527" y="845"/>
                  </a:lnTo>
                  <a:lnTo>
                    <a:pt x="527" y="847"/>
                  </a:lnTo>
                  <a:lnTo>
                    <a:pt x="526" y="849"/>
                  </a:lnTo>
                  <a:lnTo>
                    <a:pt x="524" y="847"/>
                  </a:lnTo>
                  <a:lnTo>
                    <a:pt x="522" y="845"/>
                  </a:lnTo>
                  <a:lnTo>
                    <a:pt x="509" y="849"/>
                  </a:lnTo>
                  <a:lnTo>
                    <a:pt x="506" y="852"/>
                  </a:lnTo>
                  <a:lnTo>
                    <a:pt x="508" y="854"/>
                  </a:lnTo>
                  <a:lnTo>
                    <a:pt x="511" y="858"/>
                  </a:lnTo>
                  <a:lnTo>
                    <a:pt x="513" y="860"/>
                  </a:lnTo>
                  <a:lnTo>
                    <a:pt x="513" y="861"/>
                  </a:lnTo>
                  <a:lnTo>
                    <a:pt x="508" y="867"/>
                  </a:lnTo>
                  <a:lnTo>
                    <a:pt x="508" y="867"/>
                  </a:lnTo>
                  <a:lnTo>
                    <a:pt x="508" y="869"/>
                  </a:lnTo>
                  <a:lnTo>
                    <a:pt x="508" y="869"/>
                  </a:lnTo>
                  <a:lnTo>
                    <a:pt x="508" y="872"/>
                  </a:lnTo>
                  <a:lnTo>
                    <a:pt x="508" y="883"/>
                  </a:lnTo>
                  <a:lnTo>
                    <a:pt x="508" y="888"/>
                  </a:lnTo>
                  <a:lnTo>
                    <a:pt x="502" y="896"/>
                  </a:lnTo>
                  <a:lnTo>
                    <a:pt x="500" y="899"/>
                  </a:lnTo>
                  <a:lnTo>
                    <a:pt x="502" y="901"/>
                  </a:lnTo>
                  <a:lnTo>
                    <a:pt x="509" y="901"/>
                  </a:lnTo>
                  <a:lnTo>
                    <a:pt x="513" y="903"/>
                  </a:lnTo>
                  <a:lnTo>
                    <a:pt x="513" y="907"/>
                  </a:lnTo>
                  <a:lnTo>
                    <a:pt x="513" y="908"/>
                  </a:lnTo>
                  <a:lnTo>
                    <a:pt x="511" y="908"/>
                  </a:lnTo>
                  <a:lnTo>
                    <a:pt x="511" y="910"/>
                  </a:lnTo>
                  <a:lnTo>
                    <a:pt x="511" y="910"/>
                  </a:lnTo>
                  <a:lnTo>
                    <a:pt x="511" y="912"/>
                  </a:lnTo>
                  <a:lnTo>
                    <a:pt x="513" y="912"/>
                  </a:lnTo>
                  <a:lnTo>
                    <a:pt x="513" y="912"/>
                  </a:lnTo>
                  <a:lnTo>
                    <a:pt x="513" y="914"/>
                  </a:lnTo>
                  <a:lnTo>
                    <a:pt x="511" y="916"/>
                  </a:lnTo>
                  <a:lnTo>
                    <a:pt x="504" y="917"/>
                  </a:lnTo>
                  <a:lnTo>
                    <a:pt x="502" y="919"/>
                  </a:lnTo>
                  <a:lnTo>
                    <a:pt x="500" y="923"/>
                  </a:lnTo>
                  <a:lnTo>
                    <a:pt x="500" y="928"/>
                  </a:lnTo>
                  <a:lnTo>
                    <a:pt x="502" y="937"/>
                  </a:lnTo>
                  <a:lnTo>
                    <a:pt x="506" y="946"/>
                  </a:lnTo>
                  <a:lnTo>
                    <a:pt x="509" y="952"/>
                  </a:lnTo>
                  <a:lnTo>
                    <a:pt x="515" y="952"/>
                  </a:lnTo>
                  <a:lnTo>
                    <a:pt x="524" y="952"/>
                  </a:lnTo>
                  <a:lnTo>
                    <a:pt x="526" y="954"/>
                  </a:lnTo>
                  <a:lnTo>
                    <a:pt x="527" y="954"/>
                  </a:lnTo>
                  <a:lnTo>
                    <a:pt x="527" y="955"/>
                  </a:lnTo>
                  <a:lnTo>
                    <a:pt x="527" y="955"/>
                  </a:lnTo>
                  <a:lnTo>
                    <a:pt x="527" y="957"/>
                  </a:lnTo>
                  <a:lnTo>
                    <a:pt x="526" y="959"/>
                  </a:lnTo>
                  <a:lnTo>
                    <a:pt x="526" y="959"/>
                  </a:lnTo>
                  <a:lnTo>
                    <a:pt x="526" y="961"/>
                  </a:lnTo>
                  <a:lnTo>
                    <a:pt x="527" y="961"/>
                  </a:lnTo>
                  <a:lnTo>
                    <a:pt x="527" y="963"/>
                  </a:lnTo>
                  <a:lnTo>
                    <a:pt x="529" y="964"/>
                  </a:lnTo>
                  <a:lnTo>
                    <a:pt x="531" y="966"/>
                  </a:lnTo>
                  <a:lnTo>
                    <a:pt x="529" y="970"/>
                  </a:lnTo>
                  <a:lnTo>
                    <a:pt x="529" y="972"/>
                  </a:lnTo>
                  <a:lnTo>
                    <a:pt x="527" y="972"/>
                  </a:lnTo>
                  <a:lnTo>
                    <a:pt x="518" y="977"/>
                  </a:lnTo>
                  <a:lnTo>
                    <a:pt x="518" y="977"/>
                  </a:lnTo>
                  <a:lnTo>
                    <a:pt x="518" y="977"/>
                  </a:lnTo>
                  <a:lnTo>
                    <a:pt x="518" y="979"/>
                  </a:lnTo>
                  <a:lnTo>
                    <a:pt x="518" y="979"/>
                  </a:lnTo>
                  <a:lnTo>
                    <a:pt x="520" y="979"/>
                  </a:lnTo>
                  <a:lnTo>
                    <a:pt x="520" y="981"/>
                  </a:lnTo>
                  <a:lnTo>
                    <a:pt x="520" y="981"/>
                  </a:lnTo>
                  <a:lnTo>
                    <a:pt x="520" y="982"/>
                  </a:lnTo>
                  <a:lnTo>
                    <a:pt x="520" y="982"/>
                  </a:lnTo>
                  <a:lnTo>
                    <a:pt x="520" y="982"/>
                  </a:lnTo>
                  <a:lnTo>
                    <a:pt x="520" y="984"/>
                  </a:lnTo>
                  <a:lnTo>
                    <a:pt x="520" y="984"/>
                  </a:lnTo>
                  <a:lnTo>
                    <a:pt x="520" y="984"/>
                  </a:lnTo>
                  <a:lnTo>
                    <a:pt x="520" y="984"/>
                  </a:lnTo>
                  <a:lnTo>
                    <a:pt x="520" y="986"/>
                  </a:lnTo>
                  <a:lnTo>
                    <a:pt x="522" y="986"/>
                  </a:lnTo>
                  <a:lnTo>
                    <a:pt x="524" y="990"/>
                  </a:lnTo>
                  <a:lnTo>
                    <a:pt x="524" y="991"/>
                  </a:lnTo>
                  <a:lnTo>
                    <a:pt x="524" y="995"/>
                  </a:lnTo>
                  <a:lnTo>
                    <a:pt x="522" y="997"/>
                  </a:lnTo>
                  <a:lnTo>
                    <a:pt x="524" y="1000"/>
                  </a:lnTo>
                  <a:lnTo>
                    <a:pt x="526" y="1002"/>
                  </a:lnTo>
                  <a:lnTo>
                    <a:pt x="529" y="1004"/>
                  </a:lnTo>
                  <a:lnTo>
                    <a:pt x="536" y="1006"/>
                  </a:lnTo>
                  <a:lnTo>
                    <a:pt x="540" y="1009"/>
                  </a:lnTo>
                  <a:lnTo>
                    <a:pt x="542" y="1011"/>
                  </a:lnTo>
                  <a:lnTo>
                    <a:pt x="542" y="1013"/>
                  </a:lnTo>
                  <a:lnTo>
                    <a:pt x="544" y="1015"/>
                  </a:lnTo>
                  <a:lnTo>
                    <a:pt x="545" y="1015"/>
                  </a:lnTo>
                  <a:lnTo>
                    <a:pt x="547" y="1017"/>
                  </a:lnTo>
                  <a:lnTo>
                    <a:pt x="549" y="1019"/>
                  </a:lnTo>
                  <a:lnTo>
                    <a:pt x="549" y="1020"/>
                  </a:lnTo>
                  <a:lnTo>
                    <a:pt x="547" y="1022"/>
                  </a:lnTo>
                  <a:lnTo>
                    <a:pt x="547" y="1024"/>
                  </a:lnTo>
                  <a:lnTo>
                    <a:pt x="549" y="1026"/>
                  </a:lnTo>
                  <a:lnTo>
                    <a:pt x="549" y="1029"/>
                  </a:lnTo>
                  <a:lnTo>
                    <a:pt x="551" y="1033"/>
                  </a:lnTo>
                  <a:lnTo>
                    <a:pt x="551" y="1037"/>
                  </a:lnTo>
                  <a:lnTo>
                    <a:pt x="549" y="1040"/>
                  </a:lnTo>
                  <a:lnTo>
                    <a:pt x="547" y="1044"/>
                  </a:lnTo>
                  <a:lnTo>
                    <a:pt x="547" y="1044"/>
                  </a:lnTo>
                  <a:lnTo>
                    <a:pt x="538" y="1055"/>
                  </a:lnTo>
                  <a:lnTo>
                    <a:pt x="535" y="1062"/>
                  </a:lnTo>
                  <a:lnTo>
                    <a:pt x="531" y="1067"/>
                  </a:lnTo>
                  <a:lnTo>
                    <a:pt x="524" y="1069"/>
                  </a:lnTo>
                  <a:lnTo>
                    <a:pt x="520" y="1073"/>
                  </a:lnTo>
                  <a:lnTo>
                    <a:pt x="520" y="1073"/>
                  </a:lnTo>
                  <a:lnTo>
                    <a:pt x="520" y="1076"/>
                  </a:lnTo>
                  <a:lnTo>
                    <a:pt x="533" y="1091"/>
                  </a:lnTo>
                  <a:lnTo>
                    <a:pt x="540" y="1096"/>
                  </a:lnTo>
                  <a:lnTo>
                    <a:pt x="544" y="1100"/>
                  </a:lnTo>
                  <a:lnTo>
                    <a:pt x="544" y="1103"/>
                  </a:lnTo>
                  <a:lnTo>
                    <a:pt x="545" y="1103"/>
                  </a:lnTo>
                  <a:lnTo>
                    <a:pt x="562" y="1114"/>
                  </a:lnTo>
                  <a:lnTo>
                    <a:pt x="569" y="1123"/>
                  </a:lnTo>
                  <a:lnTo>
                    <a:pt x="580" y="1131"/>
                  </a:lnTo>
                  <a:lnTo>
                    <a:pt x="582" y="1132"/>
                  </a:lnTo>
                  <a:lnTo>
                    <a:pt x="582" y="1134"/>
                  </a:lnTo>
                  <a:lnTo>
                    <a:pt x="583" y="1136"/>
                  </a:lnTo>
                  <a:lnTo>
                    <a:pt x="583" y="1138"/>
                  </a:lnTo>
                  <a:lnTo>
                    <a:pt x="583" y="1140"/>
                  </a:lnTo>
                  <a:lnTo>
                    <a:pt x="583" y="1143"/>
                  </a:lnTo>
                  <a:lnTo>
                    <a:pt x="583" y="1145"/>
                  </a:lnTo>
                  <a:lnTo>
                    <a:pt x="585" y="1147"/>
                  </a:lnTo>
                  <a:lnTo>
                    <a:pt x="589" y="1149"/>
                  </a:lnTo>
                  <a:lnTo>
                    <a:pt x="591" y="1150"/>
                  </a:lnTo>
                  <a:lnTo>
                    <a:pt x="592" y="1156"/>
                  </a:lnTo>
                  <a:lnTo>
                    <a:pt x="594" y="1156"/>
                  </a:lnTo>
                  <a:lnTo>
                    <a:pt x="594" y="1158"/>
                  </a:lnTo>
                  <a:lnTo>
                    <a:pt x="596" y="1159"/>
                  </a:lnTo>
                  <a:lnTo>
                    <a:pt x="598" y="1161"/>
                  </a:lnTo>
                  <a:lnTo>
                    <a:pt x="598" y="1165"/>
                  </a:lnTo>
                  <a:lnTo>
                    <a:pt x="600" y="1165"/>
                  </a:lnTo>
                  <a:lnTo>
                    <a:pt x="594" y="1174"/>
                  </a:lnTo>
                  <a:lnTo>
                    <a:pt x="592" y="1179"/>
                  </a:lnTo>
                  <a:lnTo>
                    <a:pt x="592" y="1183"/>
                  </a:lnTo>
                  <a:lnTo>
                    <a:pt x="589" y="1194"/>
                  </a:lnTo>
                  <a:lnTo>
                    <a:pt x="589" y="1196"/>
                  </a:lnTo>
                  <a:lnTo>
                    <a:pt x="587" y="1199"/>
                  </a:lnTo>
                  <a:lnTo>
                    <a:pt x="585" y="1203"/>
                  </a:lnTo>
                  <a:lnTo>
                    <a:pt x="583" y="1206"/>
                  </a:lnTo>
                  <a:lnTo>
                    <a:pt x="583" y="1210"/>
                  </a:lnTo>
                  <a:lnTo>
                    <a:pt x="582" y="1210"/>
                  </a:lnTo>
                  <a:lnTo>
                    <a:pt x="582" y="1210"/>
                  </a:lnTo>
                  <a:lnTo>
                    <a:pt x="582" y="1210"/>
                  </a:lnTo>
                  <a:lnTo>
                    <a:pt x="580" y="1212"/>
                  </a:lnTo>
                  <a:lnTo>
                    <a:pt x="578" y="1214"/>
                  </a:lnTo>
                  <a:lnTo>
                    <a:pt x="578" y="1215"/>
                  </a:lnTo>
                  <a:lnTo>
                    <a:pt x="578" y="1217"/>
                  </a:lnTo>
                  <a:lnTo>
                    <a:pt x="571" y="1224"/>
                  </a:lnTo>
                  <a:lnTo>
                    <a:pt x="569" y="1226"/>
                  </a:lnTo>
                  <a:lnTo>
                    <a:pt x="569" y="1230"/>
                  </a:lnTo>
                  <a:lnTo>
                    <a:pt x="567" y="1232"/>
                  </a:lnTo>
                  <a:lnTo>
                    <a:pt x="567" y="1232"/>
                  </a:lnTo>
                  <a:lnTo>
                    <a:pt x="560" y="1237"/>
                  </a:lnTo>
                  <a:lnTo>
                    <a:pt x="556" y="1241"/>
                  </a:lnTo>
                  <a:lnTo>
                    <a:pt x="555" y="1243"/>
                  </a:lnTo>
                  <a:lnTo>
                    <a:pt x="553" y="1243"/>
                  </a:lnTo>
                  <a:lnTo>
                    <a:pt x="553" y="1244"/>
                  </a:lnTo>
                  <a:lnTo>
                    <a:pt x="551" y="1248"/>
                  </a:lnTo>
                  <a:lnTo>
                    <a:pt x="545" y="1257"/>
                  </a:lnTo>
                  <a:lnTo>
                    <a:pt x="538" y="1264"/>
                  </a:lnTo>
                  <a:lnTo>
                    <a:pt x="538" y="1264"/>
                  </a:lnTo>
                  <a:lnTo>
                    <a:pt x="538" y="1264"/>
                  </a:lnTo>
                  <a:lnTo>
                    <a:pt x="527" y="1279"/>
                  </a:lnTo>
                  <a:lnTo>
                    <a:pt x="520" y="1293"/>
                  </a:lnTo>
                  <a:lnTo>
                    <a:pt x="513" y="1300"/>
                  </a:lnTo>
                  <a:lnTo>
                    <a:pt x="513" y="1300"/>
                  </a:lnTo>
                  <a:lnTo>
                    <a:pt x="511" y="1306"/>
                  </a:lnTo>
                  <a:lnTo>
                    <a:pt x="509" y="1306"/>
                  </a:lnTo>
                  <a:lnTo>
                    <a:pt x="502" y="1315"/>
                  </a:lnTo>
                  <a:lnTo>
                    <a:pt x="500" y="1317"/>
                  </a:lnTo>
                  <a:lnTo>
                    <a:pt x="499" y="1318"/>
                  </a:lnTo>
                  <a:lnTo>
                    <a:pt x="497" y="1318"/>
                  </a:lnTo>
                  <a:lnTo>
                    <a:pt x="497" y="1320"/>
                  </a:lnTo>
                  <a:lnTo>
                    <a:pt x="495" y="1324"/>
                  </a:lnTo>
                  <a:lnTo>
                    <a:pt x="495" y="1326"/>
                  </a:lnTo>
                  <a:lnTo>
                    <a:pt x="488" y="1333"/>
                  </a:lnTo>
                  <a:lnTo>
                    <a:pt x="486" y="1336"/>
                  </a:lnTo>
                  <a:lnTo>
                    <a:pt x="484" y="1336"/>
                  </a:lnTo>
                  <a:lnTo>
                    <a:pt x="484" y="1338"/>
                  </a:lnTo>
                  <a:lnTo>
                    <a:pt x="480" y="1344"/>
                  </a:lnTo>
                  <a:lnTo>
                    <a:pt x="477" y="1345"/>
                  </a:lnTo>
                  <a:lnTo>
                    <a:pt x="470" y="1351"/>
                  </a:lnTo>
                  <a:lnTo>
                    <a:pt x="468" y="1353"/>
                  </a:lnTo>
                  <a:lnTo>
                    <a:pt x="464" y="1356"/>
                  </a:lnTo>
                  <a:lnTo>
                    <a:pt x="461" y="1358"/>
                  </a:lnTo>
                  <a:lnTo>
                    <a:pt x="461" y="1360"/>
                  </a:lnTo>
                  <a:lnTo>
                    <a:pt x="459" y="1362"/>
                  </a:lnTo>
                  <a:lnTo>
                    <a:pt x="455" y="1365"/>
                  </a:lnTo>
                  <a:lnTo>
                    <a:pt x="455" y="1367"/>
                  </a:lnTo>
                  <a:lnTo>
                    <a:pt x="453" y="1369"/>
                  </a:lnTo>
                  <a:lnTo>
                    <a:pt x="453" y="1369"/>
                  </a:lnTo>
                  <a:lnTo>
                    <a:pt x="453" y="1369"/>
                  </a:lnTo>
                  <a:lnTo>
                    <a:pt x="453" y="1369"/>
                  </a:lnTo>
                  <a:lnTo>
                    <a:pt x="452" y="1373"/>
                  </a:lnTo>
                  <a:lnTo>
                    <a:pt x="448" y="1373"/>
                  </a:lnTo>
                  <a:lnTo>
                    <a:pt x="444" y="1374"/>
                  </a:lnTo>
                  <a:lnTo>
                    <a:pt x="437" y="1383"/>
                  </a:lnTo>
                  <a:lnTo>
                    <a:pt x="434" y="1391"/>
                  </a:lnTo>
                  <a:lnTo>
                    <a:pt x="428" y="1392"/>
                  </a:lnTo>
                  <a:lnTo>
                    <a:pt x="421" y="1403"/>
                  </a:lnTo>
                  <a:lnTo>
                    <a:pt x="419" y="1405"/>
                  </a:lnTo>
                  <a:lnTo>
                    <a:pt x="415" y="1409"/>
                  </a:lnTo>
                  <a:lnTo>
                    <a:pt x="412" y="1414"/>
                  </a:lnTo>
                  <a:lnTo>
                    <a:pt x="410" y="1416"/>
                  </a:lnTo>
                  <a:lnTo>
                    <a:pt x="410" y="1416"/>
                  </a:lnTo>
                  <a:lnTo>
                    <a:pt x="412" y="1416"/>
                  </a:lnTo>
                  <a:lnTo>
                    <a:pt x="412" y="1416"/>
                  </a:lnTo>
                  <a:lnTo>
                    <a:pt x="414" y="1414"/>
                  </a:lnTo>
                  <a:lnTo>
                    <a:pt x="414" y="1412"/>
                  </a:lnTo>
                  <a:lnTo>
                    <a:pt x="414" y="1416"/>
                  </a:lnTo>
                  <a:lnTo>
                    <a:pt x="415" y="1416"/>
                  </a:lnTo>
                  <a:lnTo>
                    <a:pt x="423" y="1418"/>
                  </a:lnTo>
                  <a:lnTo>
                    <a:pt x="423" y="1416"/>
                  </a:lnTo>
                  <a:lnTo>
                    <a:pt x="424" y="1416"/>
                  </a:lnTo>
                  <a:lnTo>
                    <a:pt x="426" y="1416"/>
                  </a:lnTo>
                  <a:lnTo>
                    <a:pt x="426" y="1416"/>
                  </a:lnTo>
                  <a:lnTo>
                    <a:pt x="428" y="1416"/>
                  </a:lnTo>
                  <a:lnTo>
                    <a:pt x="428" y="1416"/>
                  </a:lnTo>
                  <a:lnTo>
                    <a:pt x="428" y="1416"/>
                  </a:lnTo>
                  <a:lnTo>
                    <a:pt x="428" y="1416"/>
                  </a:lnTo>
                  <a:lnTo>
                    <a:pt x="428" y="1414"/>
                  </a:lnTo>
                  <a:lnTo>
                    <a:pt x="428" y="1414"/>
                  </a:lnTo>
                  <a:lnTo>
                    <a:pt x="430" y="1414"/>
                  </a:lnTo>
                  <a:lnTo>
                    <a:pt x="430" y="1414"/>
                  </a:lnTo>
                  <a:lnTo>
                    <a:pt x="432" y="1414"/>
                  </a:lnTo>
                  <a:lnTo>
                    <a:pt x="432" y="1414"/>
                  </a:lnTo>
                  <a:lnTo>
                    <a:pt x="434" y="1414"/>
                  </a:lnTo>
                  <a:lnTo>
                    <a:pt x="434" y="1410"/>
                  </a:lnTo>
                  <a:lnTo>
                    <a:pt x="435" y="1410"/>
                  </a:lnTo>
                  <a:lnTo>
                    <a:pt x="435" y="1410"/>
                  </a:lnTo>
                  <a:lnTo>
                    <a:pt x="435" y="1409"/>
                  </a:lnTo>
                  <a:lnTo>
                    <a:pt x="435" y="1409"/>
                  </a:lnTo>
                  <a:lnTo>
                    <a:pt x="437" y="1409"/>
                  </a:lnTo>
                  <a:lnTo>
                    <a:pt x="437" y="1409"/>
                  </a:lnTo>
                  <a:lnTo>
                    <a:pt x="437" y="1409"/>
                  </a:lnTo>
                  <a:lnTo>
                    <a:pt x="439" y="1410"/>
                  </a:lnTo>
                  <a:lnTo>
                    <a:pt x="437" y="1409"/>
                  </a:lnTo>
                  <a:lnTo>
                    <a:pt x="437" y="1409"/>
                  </a:lnTo>
                  <a:lnTo>
                    <a:pt x="437" y="1407"/>
                  </a:lnTo>
                  <a:lnTo>
                    <a:pt x="437" y="1407"/>
                  </a:lnTo>
                  <a:lnTo>
                    <a:pt x="437" y="1407"/>
                  </a:lnTo>
                  <a:lnTo>
                    <a:pt x="439" y="1407"/>
                  </a:lnTo>
                  <a:lnTo>
                    <a:pt x="441" y="1407"/>
                  </a:lnTo>
                  <a:lnTo>
                    <a:pt x="441" y="1405"/>
                  </a:lnTo>
                  <a:lnTo>
                    <a:pt x="441" y="1403"/>
                  </a:lnTo>
                  <a:lnTo>
                    <a:pt x="443" y="1401"/>
                  </a:lnTo>
                  <a:lnTo>
                    <a:pt x="444" y="1401"/>
                  </a:lnTo>
                  <a:lnTo>
                    <a:pt x="446" y="1401"/>
                  </a:lnTo>
                  <a:lnTo>
                    <a:pt x="446" y="1401"/>
                  </a:lnTo>
                  <a:lnTo>
                    <a:pt x="446" y="1401"/>
                  </a:lnTo>
                  <a:lnTo>
                    <a:pt x="450" y="1401"/>
                  </a:lnTo>
                  <a:lnTo>
                    <a:pt x="450" y="1400"/>
                  </a:lnTo>
                  <a:lnTo>
                    <a:pt x="452" y="1400"/>
                  </a:lnTo>
                  <a:lnTo>
                    <a:pt x="453" y="1398"/>
                  </a:lnTo>
                  <a:lnTo>
                    <a:pt x="453" y="1396"/>
                  </a:lnTo>
                  <a:lnTo>
                    <a:pt x="455" y="1396"/>
                  </a:lnTo>
                  <a:lnTo>
                    <a:pt x="457" y="1396"/>
                  </a:lnTo>
                  <a:lnTo>
                    <a:pt x="457" y="1400"/>
                  </a:lnTo>
                  <a:lnTo>
                    <a:pt x="457" y="1401"/>
                  </a:lnTo>
                  <a:lnTo>
                    <a:pt x="455" y="1401"/>
                  </a:lnTo>
                  <a:lnTo>
                    <a:pt x="455" y="1401"/>
                  </a:lnTo>
                  <a:lnTo>
                    <a:pt x="453" y="1401"/>
                  </a:lnTo>
                  <a:lnTo>
                    <a:pt x="453" y="1401"/>
                  </a:lnTo>
                  <a:lnTo>
                    <a:pt x="453" y="1403"/>
                  </a:lnTo>
                  <a:lnTo>
                    <a:pt x="455" y="1407"/>
                  </a:lnTo>
                  <a:lnTo>
                    <a:pt x="455" y="1407"/>
                  </a:lnTo>
                  <a:lnTo>
                    <a:pt x="453" y="1409"/>
                  </a:lnTo>
                  <a:lnTo>
                    <a:pt x="453" y="1410"/>
                  </a:lnTo>
                  <a:lnTo>
                    <a:pt x="453" y="1412"/>
                  </a:lnTo>
                  <a:lnTo>
                    <a:pt x="453" y="1414"/>
                  </a:lnTo>
                  <a:lnTo>
                    <a:pt x="453" y="1416"/>
                  </a:lnTo>
                  <a:lnTo>
                    <a:pt x="455" y="1418"/>
                  </a:lnTo>
                  <a:lnTo>
                    <a:pt x="455" y="1420"/>
                  </a:lnTo>
                  <a:lnTo>
                    <a:pt x="457" y="1421"/>
                  </a:lnTo>
                  <a:lnTo>
                    <a:pt x="455" y="1423"/>
                  </a:lnTo>
                  <a:lnTo>
                    <a:pt x="455" y="1423"/>
                  </a:lnTo>
                  <a:lnTo>
                    <a:pt x="453" y="1423"/>
                  </a:lnTo>
                  <a:lnTo>
                    <a:pt x="452" y="1421"/>
                  </a:lnTo>
                  <a:lnTo>
                    <a:pt x="448" y="1418"/>
                  </a:lnTo>
                  <a:lnTo>
                    <a:pt x="448" y="1418"/>
                  </a:lnTo>
                  <a:lnTo>
                    <a:pt x="446" y="1416"/>
                  </a:lnTo>
                  <a:lnTo>
                    <a:pt x="446" y="1414"/>
                  </a:lnTo>
                  <a:lnTo>
                    <a:pt x="446" y="1414"/>
                  </a:lnTo>
                  <a:lnTo>
                    <a:pt x="446" y="1412"/>
                  </a:lnTo>
                  <a:lnTo>
                    <a:pt x="444" y="1412"/>
                  </a:lnTo>
                  <a:lnTo>
                    <a:pt x="444" y="1412"/>
                  </a:lnTo>
                  <a:lnTo>
                    <a:pt x="443" y="1414"/>
                  </a:lnTo>
                  <a:lnTo>
                    <a:pt x="444" y="1416"/>
                  </a:lnTo>
                  <a:lnTo>
                    <a:pt x="446" y="1421"/>
                  </a:lnTo>
                  <a:lnTo>
                    <a:pt x="452" y="1430"/>
                  </a:lnTo>
                  <a:lnTo>
                    <a:pt x="452" y="1432"/>
                  </a:lnTo>
                  <a:lnTo>
                    <a:pt x="452" y="1432"/>
                  </a:lnTo>
                  <a:lnTo>
                    <a:pt x="455" y="1434"/>
                  </a:lnTo>
                  <a:lnTo>
                    <a:pt x="457" y="1434"/>
                  </a:lnTo>
                  <a:lnTo>
                    <a:pt x="457" y="1436"/>
                  </a:lnTo>
                  <a:lnTo>
                    <a:pt x="459" y="1436"/>
                  </a:lnTo>
                  <a:lnTo>
                    <a:pt x="461" y="1436"/>
                  </a:lnTo>
                  <a:lnTo>
                    <a:pt x="461" y="1434"/>
                  </a:lnTo>
                  <a:lnTo>
                    <a:pt x="461" y="1434"/>
                  </a:lnTo>
                  <a:lnTo>
                    <a:pt x="461" y="1432"/>
                  </a:lnTo>
                  <a:lnTo>
                    <a:pt x="462" y="1434"/>
                  </a:lnTo>
                  <a:lnTo>
                    <a:pt x="462" y="1436"/>
                  </a:lnTo>
                  <a:lnTo>
                    <a:pt x="462" y="1438"/>
                  </a:lnTo>
                  <a:lnTo>
                    <a:pt x="464" y="1439"/>
                  </a:lnTo>
                  <a:lnTo>
                    <a:pt x="466" y="1441"/>
                  </a:lnTo>
                  <a:lnTo>
                    <a:pt x="468" y="1441"/>
                  </a:lnTo>
                  <a:lnTo>
                    <a:pt x="468" y="1443"/>
                  </a:lnTo>
                  <a:lnTo>
                    <a:pt x="470" y="1448"/>
                  </a:lnTo>
                  <a:lnTo>
                    <a:pt x="471" y="1450"/>
                  </a:lnTo>
                  <a:lnTo>
                    <a:pt x="473" y="1452"/>
                  </a:lnTo>
                  <a:lnTo>
                    <a:pt x="475" y="1452"/>
                  </a:lnTo>
                  <a:lnTo>
                    <a:pt x="484" y="1452"/>
                  </a:lnTo>
                  <a:lnTo>
                    <a:pt x="491" y="1452"/>
                  </a:lnTo>
                  <a:lnTo>
                    <a:pt x="491" y="1452"/>
                  </a:lnTo>
                  <a:lnTo>
                    <a:pt x="493" y="1452"/>
                  </a:lnTo>
                  <a:lnTo>
                    <a:pt x="497" y="1450"/>
                  </a:lnTo>
                  <a:lnTo>
                    <a:pt x="506" y="1450"/>
                  </a:lnTo>
                  <a:lnTo>
                    <a:pt x="513" y="1454"/>
                  </a:lnTo>
                  <a:lnTo>
                    <a:pt x="515" y="1456"/>
                  </a:lnTo>
                  <a:lnTo>
                    <a:pt x="517" y="1456"/>
                  </a:lnTo>
                  <a:lnTo>
                    <a:pt x="517" y="1457"/>
                  </a:lnTo>
                  <a:lnTo>
                    <a:pt x="515" y="1459"/>
                  </a:lnTo>
                  <a:lnTo>
                    <a:pt x="515" y="1459"/>
                  </a:lnTo>
                  <a:lnTo>
                    <a:pt x="517" y="1461"/>
                  </a:lnTo>
                  <a:lnTo>
                    <a:pt x="517" y="1463"/>
                  </a:lnTo>
                  <a:lnTo>
                    <a:pt x="517" y="1463"/>
                  </a:lnTo>
                  <a:lnTo>
                    <a:pt x="518" y="1463"/>
                  </a:lnTo>
                  <a:lnTo>
                    <a:pt x="518" y="1466"/>
                  </a:lnTo>
                  <a:lnTo>
                    <a:pt x="520" y="1468"/>
                  </a:lnTo>
                  <a:lnTo>
                    <a:pt x="531" y="1470"/>
                  </a:lnTo>
                  <a:lnTo>
                    <a:pt x="533" y="1470"/>
                  </a:lnTo>
                  <a:lnTo>
                    <a:pt x="533" y="1472"/>
                  </a:lnTo>
                  <a:lnTo>
                    <a:pt x="533" y="1474"/>
                  </a:lnTo>
                  <a:lnTo>
                    <a:pt x="533" y="1474"/>
                  </a:lnTo>
                  <a:lnTo>
                    <a:pt x="531" y="1476"/>
                  </a:lnTo>
                  <a:lnTo>
                    <a:pt x="533" y="1477"/>
                  </a:lnTo>
                  <a:lnTo>
                    <a:pt x="531" y="1479"/>
                  </a:lnTo>
                  <a:lnTo>
                    <a:pt x="531" y="1481"/>
                  </a:lnTo>
                  <a:lnTo>
                    <a:pt x="529" y="1483"/>
                  </a:lnTo>
                  <a:lnTo>
                    <a:pt x="527" y="1483"/>
                  </a:lnTo>
                  <a:lnTo>
                    <a:pt x="515" y="1477"/>
                  </a:lnTo>
                  <a:lnTo>
                    <a:pt x="511" y="1476"/>
                  </a:lnTo>
                  <a:lnTo>
                    <a:pt x="497" y="1474"/>
                  </a:lnTo>
                  <a:lnTo>
                    <a:pt x="484" y="1470"/>
                  </a:lnTo>
                  <a:lnTo>
                    <a:pt x="479" y="1470"/>
                  </a:lnTo>
                  <a:lnTo>
                    <a:pt x="477" y="1470"/>
                  </a:lnTo>
                  <a:lnTo>
                    <a:pt x="475" y="1472"/>
                  </a:lnTo>
                  <a:lnTo>
                    <a:pt x="473" y="1476"/>
                  </a:lnTo>
                  <a:lnTo>
                    <a:pt x="471" y="1477"/>
                  </a:lnTo>
                  <a:lnTo>
                    <a:pt x="471" y="1477"/>
                  </a:lnTo>
                  <a:lnTo>
                    <a:pt x="470" y="1477"/>
                  </a:lnTo>
                  <a:lnTo>
                    <a:pt x="473" y="1479"/>
                  </a:lnTo>
                  <a:lnTo>
                    <a:pt x="473" y="1481"/>
                  </a:lnTo>
                  <a:lnTo>
                    <a:pt x="471" y="1485"/>
                  </a:lnTo>
                  <a:lnTo>
                    <a:pt x="470" y="1486"/>
                  </a:lnTo>
                  <a:lnTo>
                    <a:pt x="470" y="1486"/>
                  </a:lnTo>
                  <a:lnTo>
                    <a:pt x="470" y="1486"/>
                  </a:lnTo>
                  <a:lnTo>
                    <a:pt x="468" y="1488"/>
                  </a:lnTo>
                  <a:lnTo>
                    <a:pt x="466" y="1488"/>
                  </a:lnTo>
                  <a:lnTo>
                    <a:pt x="466" y="1488"/>
                  </a:lnTo>
                  <a:lnTo>
                    <a:pt x="466" y="1488"/>
                  </a:lnTo>
                  <a:lnTo>
                    <a:pt x="462" y="1490"/>
                  </a:lnTo>
                  <a:lnTo>
                    <a:pt x="462" y="1492"/>
                  </a:lnTo>
                  <a:lnTo>
                    <a:pt x="462" y="1490"/>
                  </a:lnTo>
                  <a:lnTo>
                    <a:pt x="461" y="1490"/>
                  </a:lnTo>
                  <a:lnTo>
                    <a:pt x="459" y="1490"/>
                  </a:lnTo>
                  <a:lnTo>
                    <a:pt x="457" y="1490"/>
                  </a:lnTo>
                  <a:lnTo>
                    <a:pt x="457" y="1492"/>
                  </a:lnTo>
                  <a:lnTo>
                    <a:pt x="455" y="1490"/>
                  </a:lnTo>
                  <a:lnTo>
                    <a:pt x="455" y="1490"/>
                  </a:lnTo>
                  <a:lnTo>
                    <a:pt x="455" y="1488"/>
                  </a:lnTo>
                  <a:lnTo>
                    <a:pt x="455" y="1488"/>
                  </a:lnTo>
                  <a:lnTo>
                    <a:pt x="455" y="1488"/>
                  </a:lnTo>
                  <a:lnTo>
                    <a:pt x="453" y="1488"/>
                  </a:lnTo>
                  <a:lnTo>
                    <a:pt x="452" y="1486"/>
                  </a:lnTo>
                  <a:lnTo>
                    <a:pt x="450" y="1486"/>
                  </a:lnTo>
                  <a:lnTo>
                    <a:pt x="448" y="1485"/>
                  </a:lnTo>
                  <a:lnTo>
                    <a:pt x="448" y="1485"/>
                  </a:lnTo>
                  <a:lnTo>
                    <a:pt x="446" y="1483"/>
                  </a:lnTo>
                  <a:lnTo>
                    <a:pt x="446" y="1485"/>
                  </a:lnTo>
                  <a:lnTo>
                    <a:pt x="444" y="1485"/>
                  </a:lnTo>
                  <a:lnTo>
                    <a:pt x="443" y="1486"/>
                  </a:lnTo>
                  <a:lnTo>
                    <a:pt x="443" y="1488"/>
                  </a:lnTo>
                  <a:lnTo>
                    <a:pt x="443" y="1490"/>
                  </a:lnTo>
                  <a:lnTo>
                    <a:pt x="443" y="1495"/>
                  </a:lnTo>
                  <a:lnTo>
                    <a:pt x="443" y="1499"/>
                  </a:lnTo>
                  <a:lnTo>
                    <a:pt x="441" y="1501"/>
                  </a:lnTo>
                  <a:lnTo>
                    <a:pt x="439" y="1503"/>
                  </a:lnTo>
                  <a:lnTo>
                    <a:pt x="437" y="1503"/>
                  </a:lnTo>
                  <a:lnTo>
                    <a:pt x="432" y="1501"/>
                  </a:lnTo>
                  <a:lnTo>
                    <a:pt x="432" y="1499"/>
                  </a:lnTo>
                  <a:lnTo>
                    <a:pt x="432" y="1495"/>
                  </a:lnTo>
                  <a:lnTo>
                    <a:pt x="430" y="1494"/>
                  </a:lnTo>
                  <a:lnTo>
                    <a:pt x="428" y="1492"/>
                  </a:lnTo>
                  <a:lnTo>
                    <a:pt x="426" y="1490"/>
                  </a:lnTo>
                  <a:lnTo>
                    <a:pt x="424" y="1490"/>
                  </a:lnTo>
                  <a:lnTo>
                    <a:pt x="424" y="1490"/>
                  </a:lnTo>
                  <a:lnTo>
                    <a:pt x="421" y="1494"/>
                  </a:lnTo>
                  <a:lnTo>
                    <a:pt x="421" y="1495"/>
                  </a:lnTo>
                  <a:lnTo>
                    <a:pt x="421" y="1499"/>
                  </a:lnTo>
                  <a:lnTo>
                    <a:pt x="421" y="1499"/>
                  </a:lnTo>
                  <a:lnTo>
                    <a:pt x="421" y="1501"/>
                  </a:lnTo>
                  <a:lnTo>
                    <a:pt x="421" y="1504"/>
                  </a:lnTo>
                  <a:lnTo>
                    <a:pt x="423" y="1506"/>
                  </a:lnTo>
                  <a:lnTo>
                    <a:pt x="424" y="1512"/>
                  </a:lnTo>
                  <a:lnTo>
                    <a:pt x="424" y="1517"/>
                  </a:lnTo>
                  <a:lnTo>
                    <a:pt x="423" y="1521"/>
                  </a:lnTo>
                  <a:lnTo>
                    <a:pt x="423" y="1522"/>
                  </a:lnTo>
                  <a:lnTo>
                    <a:pt x="424" y="1524"/>
                  </a:lnTo>
                  <a:lnTo>
                    <a:pt x="426" y="1526"/>
                  </a:lnTo>
                  <a:lnTo>
                    <a:pt x="428" y="1528"/>
                  </a:lnTo>
                  <a:lnTo>
                    <a:pt x="428" y="1530"/>
                  </a:lnTo>
                  <a:lnTo>
                    <a:pt x="428" y="1530"/>
                  </a:lnTo>
                  <a:lnTo>
                    <a:pt x="430" y="1532"/>
                  </a:lnTo>
                  <a:lnTo>
                    <a:pt x="430" y="1532"/>
                  </a:lnTo>
                  <a:lnTo>
                    <a:pt x="430" y="1533"/>
                  </a:lnTo>
                  <a:lnTo>
                    <a:pt x="428" y="1533"/>
                  </a:lnTo>
                  <a:lnTo>
                    <a:pt x="426" y="1535"/>
                  </a:lnTo>
                  <a:lnTo>
                    <a:pt x="423" y="1535"/>
                  </a:lnTo>
                  <a:lnTo>
                    <a:pt x="421" y="1535"/>
                  </a:lnTo>
                  <a:lnTo>
                    <a:pt x="424" y="1537"/>
                  </a:lnTo>
                  <a:lnTo>
                    <a:pt x="426" y="1537"/>
                  </a:lnTo>
                  <a:lnTo>
                    <a:pt x="424" y="1539"/>
                  </a:lnTo>
                  <a:lnTo>
                    <a:pt x="419" y="1539"/>
                  </a:lnTo>
                  <a:lnTo>
                    <a:pt x="415" y="1541"/>
                  </a:lnTo>
                  <a:lnTo>
                    <a:pt x="415" y="1542"/>
                  </a:lnTo>
                  <a:lnTo>
                    <a:pt x="415" y="1542"/>
                  </a:lnTo>
                  <a:lnTo>
                    <a:pt x="415" y="1546"/>
                  </a:lnTo>
                  <a:lnTo>
                    <a:pt x="414" y="1553"/>
                  </a:lnTo>
                  <a:lnTo>
                    <a:pt x="410" y="1560"/>
                  </a:lnTo>
                  <a:lnTo>
                    <a:pt x="410" y="1562"/>
                  </a:lnTo>
                  <a:lnTo>
                    <a:pt x="406" y="1568"/>
                  </a:lnTo>
                  <a:lnTo>
                    <a:pt x="406" y="1569"/>
                  </a:lnTo>
                  <a:lnTo>
                    <a:pt x="406" y="1571"/>
                  </a:lnTo>
                  <a:lnTo>
                    <a:pt x="406" y="1571"/>
                  </a:lnTo>
                  <a:lnTo>
                    <a:pt x="401" y="1575"/>
                  </a:lnTo>
                  <a:lnTo>
                    <a:pt x="396" y="1580"/>
                  </a:lnTo>
                  <a:lnTo>
                    <a:pt x="394" y="1586"/>
                  </a:lnTo>
                  <a:lnTo>
                    <a:pt x="392" y="1591"/>
                  </a:lnTo>
                  <a:lnTo>
                    <a:pt x="392" y="1597"/>
                  </a:lnTo>
                  <a:lnTo>
                    <a:pt x="394" y="1602"/>
                  </a:lnTo>
                  <a:lnTo>
                    <a:pt x="396" y="1613"/>
                  </a:lnTo>
                  <a:lnTo>
                    <a:pt x="399" y="1627"/>
                  </a:lnTo>
                  <a:lnTo>
                    <a:pt x="396" y="1634"/>
                  </a:lnTo>
                  <a:lnTo>
                    <a:pt x="396" y="1638"/>
                  </a:lnTo>
                  <a:lnTo>
                    <a:pt x="396" y="1644"/>
                  </a:lnTo>
                  <a:lnTo>
                    <a:pt x="397" y="1645"/>
                  </a:lnTo>
                  <a:lnTo>
                    <a:pt x="397" y="1647"/>
                  </a:lnTo>
                  <a:lnTo>
                    <a:pt x="399" y="1653"/>
                  </a:lnTo>
                  <a:lnTo>
                    <a:pt x="403" y="1656"/>
                  </a:lnTo>
                  <a:lnTo>
                    <a:pt x="403" y="1658"/>
                  </a:lnTo>
                  <a:lnTo>
                    <a:pt x="403" y="1662"/>
                  </a:lnTo>
                  <a:lnTo>
                    <a:pt x="403" y="1663"/>
                  </a:lnTo>
                  <a:lnTo>
                    <a:pt x="403" y="1663"/>
                  </a:lnTo>
                  <a:lnTo>
                    <a:pt x="405" y="1665"/>
                  </a:lnTo>
                  <a:lnTo>
                    <a:pt x="405" y="1667"/>
                  </a:lnTo>
                  <a:lnTo>
                    <a:pt x="405" y="1669"/>
                  </a:lnTo>
                  <a:lnTo>
                    <a:pt x="405" y="1669"/>
                  </a:lnTo>
                  <a:lnTo>
                    <a:pt x="405" y="1671"/>
                  </a:lnTo>
                  <a:lnTo>
                    <a:pt x="405" y="1672"/>
                  </a:lnTo>
                  <a:lnTo>
                    <a:pt x="405" y="1672"/>
                  </a:lnTo>
                  <a:lnTo>
                    <a:pt x="410" y="1674"/>
                  </a:lnTo>
                  <a:lnTo>
                    <a:pt x="410" y="1676"/>
                  </a:lnTo>
                  <a:lnTo>
                    <a:pt x="410" y="1678"/>
                  </a:lnTo>
                  <a:lnTo>
                    <a:pt x="410" y="1678"/>
                  </a:lnTo>
                  <a:lnTo>
                    <a:pt x="408" y="1680"/>
                  </a:lnTo>
                  <a:lnTo>
                    <a:pt x="406" y="1680"/>
                  </a:lnTo>
                  <a:lnTo>
                    <a:pt x="399" y="1681"/>
                  </a:lnTo>
                  <a:lnTo>
                    <a:pt x="397" y="1681"/>
                  </a:lnTo>
                  <a:lnTo>
                    <a:pt x="397" y="1681"/>
                  </a:lnTo>
                  <a:lnTo>
                    <a:pt x="397" y="1681"/>
                  </a:lnTo>
                  <a:lnTo>
                    <a:pt x="399" y="1683"/>
                  </a:lnTo>
                  <a:lnTo>
                    <a:pt x="397" y="1683"/>
                  </a:lnTo>
                  <a:lnTo>
                    <a:pt x="396" y="1685"/>
                  </a:lnTo>
                  <a:lnTo>
                    <a:pt x="396" y="1685"/>
                  </a:lnTo>
                  <a:lnTo>
                    <a:pt x="396" y="1687"/>
                  </a:lnTo>
                  <a:lnTo>
                    <a:pt x="396" y="1690"/>
                  </a:lnTo>
                  <a:lnTo>
                    <a:pt x="396" y="1690"/>
                  </a:lnTo>
                  <a:lnTo>
                    <a:pt x="396" y="1692"/>
                  </a:lnTo>
                  <a:lnTo>
                    <a:pt x="392" y="1692"/>
                  </a:lnTo>
                  <a:lnTo>
                    <a:pt x="390" y="1694"/>
                  </a:lnTo>
                  <a:lnTo>
                    <a:pt x="390" y="1694"/>
                  </a:lnTo>
                  <a:lnTo>
                    <a:pt x="390" y="1696"/>
                  </a:lnTo>
                  <a:lnTo>
                    <a:pt x="390" y="1696"/>
                  </a:lnTo>
                  <a:lnTo>
                    <a:pt x="390" y="1696"/>
                  </a:lnTo>
                  <a:lnTo>
                    <a:pt x="390" y="1698"/>
                  </a:lnTo>
                  <a:lnTo>
                    <a:pt x="390" y="1698"/>
                  </a:lnTo>
                  <a:lnTo>
                    <a:pt x="390" y="1698"/>
                  </a:lnTo>
                  <a:lnTo>
                    <a:pt x="390" y="1700"/>
                  </a:lnTo>
                  <a:lnTo>
                    <a:pt x="390" y="1701"/>
                  </a:lnTo>
                  <a:lnTo>
                    <a:pt x="390" y="1701"/>
                  </a:lnTo>
                  <a:lnTo>
                    <a:pt x="390" y="1701"/>
                  </a:lnTo>
                  <a:lnTo>
                    <a:pt x="388" y="1701"/>
                  </a:lnTo>
                  <a:lnTo>
                    <a:pt x="388" y="1701"/>
                  </a:lnTo>
                  <a:lnTo>
                    <a:pt x="388" y="1703"/>
                  </a:lnTo>
                  <a:lnTo>
                    <a:pt x="387" y="1703"/>
                  </a:lnTo>
                  <a:lnTo>
                    <a:pt x="387" y="1705"/>
                  </a:lnTo>
                  <a:lnTo>
                    <a:pt x="388" y="1705"/>
                  </a:lnTo>
                  <a:lnTo>
                    <a:pt x="388" y="1707"/>
                  </a:lnTo>
                  <a:lnTo>
                    <a:pt x="388" y="1709"/>
                  </a:lnTo>
                  <a:lnTo>
                    <a:pt x="397" y="1709"/>
                  </a:lnTo>
                  <a:lnTo>
                    <a:pt x="397" y="1712"/>
                  </a:lnTo>
                  <a:lnTo>
                    <a:pt x="397" y="1714"/>
                  </a:lnTo>
                  <a:lnTo>
                    <a:pt x="397" y="1716"/>
                  </a:lnTo>
                  <a:lnTo>
                    <a:pt x="396" y="1718"/>
                  </a:lnTo>
                  <a:lnTo>
                    <a:pt x="397" y="1719"/>
                  </a:lnTo>
                  <a:lnTo>
                    <a:pt x="403" y="1721"/>
                  </a:lnTo>
                  <a:lnTo>
                    <a:pt x="406" y="1725"/>
                  </a:lnTo>
                  <a:lnTo>
                    <a:pt x="406" y="1725"/>
                  </a:lnTo>
                  <a:lnTo>
                    <a:pt x="412" y="1728"/>
                  </a:lnTo>
                  <a:lnTo>
                    <a:pt x="412" y="1728"/>
                  </a:lnTo>
                  <a:lnTo>
                    <a:pt x="414" y="1730"/>
                  </a:lnTo>
                  <a:lnTo>
                    <a:pt x="414" y="1732"/>
                  </a:lnTo>
                  <a:lnTo>
                    <a:pt x="414" y="1737"/>
                  </a:lnTo>
                  <a:lnTo>
                    <a:pt x="412" y="1741"/>
                  </a:lnTo>
                  <a:lnTo>
                    <a:pt x="412" y="1743"/>
                  </a:lnTo>
                  <a:lnTo>
                    <a:pt x="410" y="1745"/>
                  </a:lnTo>
                  <a:lnTo>
                    <a:pt x="406" y="1746"/>
                  </a:lnTo>
                  <a:lnTo>
                    <a:pt x="405" y="1748"/>
                  </a:lnTo>
                  <a:lnTo>
                    <a:pt x="406" y="1748"/>
                  </a:lnTo>
                  <a:lnTo>
                    <a:pt x="406" y="1750"/>
                  </a:lnTo>
                  <a:lnTo>
                    <a:pt x="408" y="1750"/>
                  </a:lnTo>
                  <a:lnTo>
                    <a:pt x="408" y="1754"/>
                  </a:lnTo>
                  <a:lnTo>
                    <a:pt x="408" y="1754"/>
                  </a:lnTo>
                  <a:lnTo>
                    <a:pt x="408" y="1756"/>
                  </a:lnTo>
                  <a:lnTo>
                    <a:pt x="406" y="1757"/>
                  </a:lnTo>
                  <a:lnTo>
                    <a:pt x="406" y="1757"/>
                  </a:lnTo>
                  <a:lnTo>
                    <a:pt x="406" y="1759"/>
                  </a:lnTo>
                  <a:lnTo>
                    <a:pt x="406" y="1761"/>
                  </a:lnTo>
                  <a:lnTo>
                    <a:pt x="403" y="1768"/>
                  </a:lnTo>
                  <a:lnTo>
                    <a:pt x="403" y="1772"/>
                  </a:lnTo>
                  <a:lnTo>
                    <a:pt x="403" y="1772"/>
                  </a:lnTo>
                  <a:lnTo>
                    <a:pt x="405" y="1772"/>
                  </a:lnTo>
                  <a:lnTo>
                    <a:pt x="408" y="1770"/>
                  </a:lnTo>
                  <a:lnTo>
                    <a:pt x="410" y="1768"/>
                  </a:lnTo>
                  <a:lnTo>
                    <a:pt x="412" y="1770"/>
                  </a:lnTo>
                  <a:lnTo>
                    <a:pt x="414" y="1770"/>
                  </a:lnTo>
                  <a:lnTo>
                    <a:pt x="415" y="1772"/>
                  </a:lnTo>
                  <a:lnTo>
                    <a:pt x="417" y="1774"/>
                  </a:lnTo>
                  <a:lnTo>
                    <a:pt x="417" y="1775"/>
                  </a:lnTo>
                  <a:lnTo>
                    <a:pt x="415" y="1777"/>
                  </a:lnTo>
                  <a:lnTo>
                    <a:pt x="415" y="1779"/>
                  </a:lnTo>
                  <a:lnTo>
                    <a:pt x="414" y="1781"/>
                  </a:lnTo>
                  <a:lnTo>
                    <a:pt x="415" y="1783"/>
                  </a:lnTo>
                  <a:lnTo>
                    <a:pt x="419" y="1786"/>
                  </a:lnTo>
                  <a:lnTo>
                    <a:pt x="421" y="1788"/>
                  </a:lnTo>
                  <a:lnTo>
                    <a:pt x="421" y="1792"/>
                  </a:lnTo>
                  <a:lnTo>
                    <a:pt x="421" y="1793"/>
                  </a:lnTo>
                  <a:lnTo>
                    <a:pt x="421" y="1795"/>
                  </a:lnTo>
                  <a:lnTo>
                    <a:pt x="423" y="1795"/>
                  </a:lnTo>
                  <a:lnTo>
                    <a:pt x="426" y="1797"/>
                  </a:lnTo>
                  <a:lnTo>
                    <a:pt x="428" y="1799"/>
                  </a:lnTo>
                  <a:lnTo>
                    <a:pt x="428" y="1799"/>
                  </a:lnTo>
                  <a:lnTo>
                    <a:pt x="426" y="1801"/>
                  </a:lnTo>
                  <a:lnTo>
                    <a:pt x="426" y="1801"/>
                  </a:lnTo>
                  <a:lnTo>
                    <a:pt x="426" y="1802"/>
                  </a:lnTo>
                  <a:lnTo>
                    <a:pt x="426" y="1802"/>
                  </a:lnTo>
                  <a:lnTo>
                    <a:pt x="426" y="1804"/>
                  </a:lnTo>
                  <a:lnTo>
                    <a:pt x="428" y="1808"/>
                  </a:lnTo>
                  <a:lnTo>
                    <a:pt x="430" y="1808"/>
                  </a:lnTo>
                  <a:lnTo>
                    <a:pt x="430" y="1810"/>
                  </a:lnTo>
                  <a:lnTo>
                    <a:pt x="430" y="1812"/>
                  </a:lnTo>
                  <a:lnTo>
                    <a:pt x="430" y="1815"/>
                  </a:lnTo>
                  <a:lnTo>
                    <a:pt x="430" y="1817"/>
                  </a:lnTo>
                  <a:lnTo>
                    <a:pt x="432" y="1822"/>
                  </a:lnTo>
                  <a:lnTo>
                    <a:pt x="432" y="1824"/>
                  </a:lnTo>
                  <a:lnTo>
                    <a:pt x="432" y="1824"/>
                  </a:lnTo>
                  <a:lnTo>
                    <a:pt x="432" y="1826"/>
                  </a:lnTo>
                  <a:lnTo>
                    <a:pt x="432" y="1826"/>
                  </a:lnTo>
                  <a:lnTo>
                    <a:pt x="430" y="1826"/>
                  </a:lnTo>
                  <a:lnTo>
                    <a:pt x="430" y="1830"/>
                  </a:lnTo>
                  <a:lnTo>
                    <a:pt x="430" y="1831"/>
                  </a:lnTo>
                  <a:lnTo>
                    <a:pt x="430" y="1833"/>
                  </a:lnTo>
                  <a:lnTo>
                    <a:pt x="428" y="1835"/>
                  </a:lnTo>
                  <a:lnTo>
                    <a:pt x="430" y="1837"/>
                  </a:lnTo>
                  <a:lnTo>
                    <a:pt x="434" y="1840"/>
                  </a:lnTo>
                  <a:lnTo>
                    <a:pt x="434" y="1842"/>
                  </a:lnTo>
                  <a:lnTo>
                    <a:pt x="435" y="1844"/>
                  </a:lnTo>
                  <a:lnTo>
                    <a:pt x="437" y="1844"/>
                  </a:lnTo>
                  <a:lnTo>
                    <a:pt x="437" y="1842"/>
                  </a:lnTo>
                  <a:lnTo>
                    <a:pt x="439" y="1840"/>
                  </a:lnTo>
                  <a:lnTo>
                    <a:pt x="441" y="1840"/>
                  </a:lnTo>
                  <a:lnTo>
                    <a:pt x="448" y="1839"/>
                  </a:lnTo>
                  <a:lnTo>
                    <a:pt x="450" y="1839"/>
                  </a:lnTo>
                  <a:lnTo>
                    <a:pt x="452" y="1840"/>
                  </a:lnTo>
                  <a:lnTo>
                    <a:pt x="452" y="1840"/>
                  </a:lnTo>
                  <a:lnTo>
                    <a:pt x="453" y="1842"/>
                  </a:lnTo>
                  <a:lnTo>
                    <a:pt x="455" y="1844"/>
                  </a:lnTo>
                  <a:lnTo>
                    <a:pt x="455" y="1846"/>
                  </a:lnTo>
                  <a:lnTo>
                    <a:pt x="455" y="1848"/>
                  </a:lnTo>
                  <a:lnTo>
                    <a:pt x="455" y="1849"/>
                  </a:lnTo>
                  <a:lnTo>
                    <a:pt x="457" y="1851"/>
                  </a:lnTo>
                  <a:lnTo>
                    <a:pt x="457" y="1853"/>
                  </a:lnTo>
                  <a:lnTo>
                    <a:pt x="461" y="1853"/>
                  </a:lnTo>
                  <a:lnTo>
                    <a:pt x="462" y="1853"/>
                  </a:lnTo>
                  <a:lnTo>
                    <a:pt x="462" y="1851"/>
                  </a:lnTo>
                  <a:lnTo>
                    <a:pt x="464" y="1849"/>
                  </a:lnTo>
                  <a:lnTo>
                    <a:pt x="468" y="1848"/>
                  </a:lnTo>
                  <a:lnTo>
                    <a:pt x="468" y="1848"/>
                  </a:lnTo>
                  <a:lnTo>
                    <a:pt x="468" y="1848"/>
                  </a:lnTo>
                  <a:lnTo>
                    <a:pt x="468" y="1848"/>
                  </a:lnTo>
                  <a:lnTo>
                    <a:pt x="470" y="1846"/>
                  </a:lnTo>
                  <a:lnTo>
                    <a:pt x="473" y="1846"/>
                  </a:lnTo>
                  <a:lnTo>
                    <a:pt x="475" y="1846"/>
                  </a:lnTo>
                  <a:lnTo>
                    <a:pt x="479" y="1846"/>
                  </a:lnTo>
                  <a:lnTo>
                    <a:pt x="480" y="1848"/>
                  </a:lnTo>
                  <a:lnTo>
                    <a:pt x="482" y="1849"/>
                  </a:lnTo>
                  <a:lnTo>
                    <a:pt x="489" y="1851"/>
                  </a:lnTo>
                  <a:lnTo>
                    <a:pt x="491" y="1853"/>
                  </a:lnTo>
                  <a:lnTo>
                    <a:pt x="491" y="1853"/>
                  </a:lnTo>
                  <a:lnTo>
                    <a:pt x="493" y="1855"/>
                  </a:lnTo>
                  <a:lnTo>
                    <a:pt x="493" y="1855"/>
                  </a:lnTo>
                  <a:lnTo>
                    <a:pt x="493" y="1857"/>
                  </a:lnTo>
                  <a:lnTo>
                    <a:pt x="493" y="1857"/>
                  </a:lnTo>
                  <a:lnTo>
                    <a:pt x="493" y="1857"/>
                  </a:lnTo>
                  <a:lnTo>
                    <a:pt x="493" y="1857"/>
                  </a:lnTo>
                  <a:lnTo>
                    <a:pt x="491" y="1857"/>
                  </a:lnTo>
                  <a:lnTo>
                    <a:pt x="491" y="1857"/>
                  </a:lnTo>
                  <a:lnTo>
                    <a:pt x="491" y="1857"/>
                  </a:lnTo>
                  <a:lnTo>
                    <a:pt x="491" y="1857"/>
                  </a:lnTo>
                  <a:lnTo>
                    <a:pt x="489" y="1858"/>
                  </a:lnTo>
                  <a:lnTo>
                    <a:pt x="489" y="1858"/>
                  </a:lnTo>
                  <a:lnTo>
                    <a:pt x="489" y="1862"/>
                  </a:lnTo>
                  <a:lnTo>
                    <a:pt x="489" y="1862"/>
                  </a:lnTo>
                  <a:lnTo>
                    <a:pt x="488" y="1866"/>
                  </a:lnTo>
                  <a:lnTo>
                    <a:pt x="488" y="1866"/>
                  </a:lnTo>
                  <a:lnTo>
                    <a:pt x="488" y="1867"/>
                  </a:lnTo>
                  <a:lnTo>
                    <a:pt x="489" y="1869"/>
                  </a:lnTo>
                  <a:lnTo>
                    <a:pt x="491" y="1871"/>
                  </a:lnTo>
                  <a:lnTo>
                    <a:pt x="495" y="1875"/>
                  </a:lnTo>
                  <a:lnTo>
                    <a:pt x="495" y="1877"/>
                  </a:lnTo>
                  <a:lnTo>
                    <a:pt x="497" y="1875"/>
                  </a:lnTo>
                  <a:lnTo>
                    <a:pt x="500" y="1871"/>
                  </a:lnTo>
                  <a:lnTo>
                    <a:pt x="506" y="1867"/>
                  </a:lnTo>
                  <a:lnTo>
                    <a:pt x="506" y="1867"/>
                  </a:lnTo>
                  <a:lnTo>
                    <a:pt x="509" y="1869"/>
                  </a:lnTo>
                  <a:lnTo>
                    <a:pt x="511" y="1867"/>
                  </a:lnTo>
                  <a:lnTo>
                    <a:pt x="513" y="1864"/>
                  </a:lnTo>
                  <a:lnTo>
                    <a:pt x="515" y="1862"/>
                  </a:lnTo>
                  <a:lnTo>
                    <a:pt x="517" y="1862"/>
                  </a:lnTo>
                  <a:lnTo>
                    <a:pt x="518" y="1860"/>
                  </a:lnTo>
                  <a:lnTo>
                    <a:pt x="520" y="1862"/>
                  </a:lnTo>
                  <a:lnTo>
                    <a:pt x="526" y="1864"/>
                  </a:lnTo>
                  <a:lnTo>
                    <a:pt x="527" y="1862"/>
                  </a:lnTo>
                  <a:lnTo>
                    <a:pt x="529" y="1860"/>
                  </a:lnTo>
                  <a:lnTo>
                    <a:pt x="531" y="1860"/>
                  </a:lnTo>
                  <a:lnTo>
                    <a:pt x="531" y="1860"/>
                  </a:lnTo>
                  <a:lnTo>
                    <a:pt x="533" y="1862"/>
                  </a:lnTo>
                  <a:lnTo>
                    <a:pt x="535" y="1862"/>
                  </a:lnTo>
                  <a:lnTo>
                    <a:pt x="544" y="1866"/>
                  </a:lnTo>
                  <a:lnTo>
                    <a:pt x="545" y="1866"/>
                  </a:lnTo>
                  <a:lnTo>
                    <a:pt x="545" y="1867"/>
                  </a:lnTo>
                  <a:lnTo>
                    <a:pt x="545" y="1867"/>
                  </a:lnTo>
                  <a:lnTo>
                    <a:pt x="544" y="1869"/>
                  </a:lnTo>
                  <a:lnTo>
                    <a:pt x="545" y="1869"/>
                  </a:lnTo>
                  <a:lnTo>
                    <a:pt x="549" y="1871"/>
                  </a:lnTo>
                  <a:lnTo>
                    <a:pt x="551" y="1873"/>
                  </a:lnTo>
                  <a:lnTo>
                    <a:pt x="551" y="1873"/>
                  </a:lnTo>
                  <a:lnTo>
                    <a:pt x="551" y="1873"/>
                  </a:lnTo>
                  <a:lnTo>
                    <a:pt x="551" y="1875"/>
                  </a:lnTo>
                  <a:lnTo>
                    <a:pt x="551" y="1875"/>
                  </a:lnTo>
                  <a:lnTo>
                    <a:pt x="551" y="1877"/>
                  </a:lnTo>
                  <a:lnTo>
                    <a:pt x="551" y="1877"/>
                  </a:lnTo>
                  <a:lnTo>
                    <a:pt x="553" y="1878"/>
                  </a:lnTo>
                  <a:lnTo>
                    <a:pt x="553" y="1878"/>
                  </a:lnTo>
                  <a:lnTo>
                    <a:pt x="555" y="1878"/>
                  </a:lnTo>
                  <a:lnTo>
                    <a:pt x="556" y="1878"/>
                  </a:lnTo>
                  <a:lnTo>
                    <a:pt x="556" y="1880"/>
                  </a:lnTo>
                  <a:lnTo>
                    <a:pt x="556" y="1880"/>
                  </a:lnTo>
                  <a:lnTo>
                    <a:pt x="558" y="1884"/>
                  </a:lnTo>
                  <a:lnTo>
                    <a:pt x="560" y="1884"/>
                  </a:lnTo>
                  <a:lnTo>
                    <a:pt x="562" y="1884"/>
                  </a:lnTo>
                  <a:lnTo>
                    <a:pt x="564" y="1882"/>
                  </a:lnTo>
                  <a:lnTo>
                    <a:pt x="565" y="1884"/>
                  </a:lnTo>
                  <a:lnTo>
                    <a:pt x="567" y="1886"/>
                  </a:lnTo>
                  <a:lnTo>
                    <a:pt x="567" y="1886"/>
                  </a:lnTo>
                  <a:lnTo>
                    <a:pt x="567" y="1889"/>
                  </a:lnTo>
                  <a:lnTo>
                    <a:pt x="565" y="1893"/>
                  </a:lnTo>
                  <a:lnTo>
                    <a:pt x="567" y="1893"/>
                  </a:lnTo>
                  <a:lnTo>
                    <a:pt x="567" y="1893"/>
                  </a:lnTo>
                  <a:lnTo>
                    <a:pt x="567" y="1895"/>
                  </a:lnTo>
                  <a:lnTo>
                    <a:pt x="565" y="1895"/>
                  </a:lnTo>
                  <a:lnTo>
                    <a:pt x="565" y="1896"/>
                  </a:lnTo>
                  <a:lnTo>
                    <a:pt x="565" y="1898"/>
                  </a:lnTo>
                  <a:lnTo>
                    <a:pt x="567" y="1898"/>
                  </a:lnTo>
                  <a:lnTo>
                    <a:pt x="567" y="1900"/>
                  </a:lnTo>
                  <a:lnTo>
                    <a:pt x="567" y="1902"/>
                  </a:lnTo>
                  <a:lnTo>
                    <a:pt x="567" y="1904"/>
                  </a:lnTo>
                  <a:lnTo>
                    <a:pt x="564" y="1905"/>
                  </a:lnTo>
                  <a:lnTo>
                    <a:pt x="562" y="1907"/>
                  </a:lnTo>
                  <a:lnTo>
                    <a:pt x="562" y="1909"/>
                  </a:lnTo>
                  <a:lnTo>
                    <a:pt x="560" y="1911"/>
                  </a:lnTo>
                  <a:lnTo>
                    <a:pt x="562" y="1913"/>
                  </a:lnTo>
                  <a:lnTo>
                    <a:pt x="562" y="1913"/>
                  </a:lnTo>
                  <a:lnTo>
                    <a:pt x="564" y="1914"/>
                  </a:lnTo>
                  <a:lnTo>
                    <a:pt x="565" y="1914"/>
                  </a:lnTo>
                  <a:lnTo>
                    <a:pt x="565" y="1918"/>
                  </a:lnTo>
                  <a:lnTo>
                    <a:pt x="565" y="1918"/>
                  </a:lnTo>
                  <a:lnTo>
                    <a:pt x="569" y="1920"/>
                  </a:lnTo>
                  <a:lnTo>
                    <a:pt x="569" y="1922"/>
                  </a:lnTo>
                  <a:lnTo>
                    <a:pt x="569" y="1922"/>
                  </a:lnTo>
                  <a:lnTo>
                    <a:pt x="569" y="1923"/>
                  </a:lnTo>
                  <a:lnTo>
                    <a:pt x="569" y="1923"/>
                  </a:lnTo>
                  <a:lnTo>
                    <a:pt x="569" y="1923"/>
                  </a:lnTo>
                  <a:lnTo>
                    <a:pt x="569" y="1923"/>
                  </a:lnTo>
                  <a:lnTo>
                    <a:pt x="569" y="1923"/>
                  </a:lnTo>
                  <a:lnTo>
                    <a:pt x="571" y="1923"/>
                  </a:lnTo>
                  <a:lnTo>
                    <a:pt x="571" y="1923"/>
                  </a:lnTo>
                  <a:lnTo>
                    <a:pt x="571" y="1925"/>
                  </a:lnTo>
                  <a:lnTo>
                    <a:pt x="571" y="1925"/>
                  </a:lnTo>
                  <a:lnTo>
                    <a:pt x="569" y="1927"/>
                  </a:lnTo>
                  <a:lnTo>
                    <a:pt x="569" y="1927"/>
                  </a:lnTo>
                  <a:lnTo>
                    <a:pt x="569" y="1927"/>
                  </a:lnTo>
                  <a:lnTo>
                    <a:pt x="571" y="1929"/>
                  </a:lnTo>
                  <a:lnTo>
                    <a:pt x="571" y="1931"/>
                  </a:lnTo>
                  <a:lnTo>
                    <a:pt x="571" y="1933"/>
                  </a:lnTo>
                  <a:lnTo>
                    <a:pt x="571" y="1934"/>
                  </a:lnTo>
                  <a:lnTo>
                    <a:pt x="571" y="1934"/>
                  </a:lnTo>
                  <a:lnTo>
                    <a:pt x="567" y="1934"/>
                  </a:lnTo>
                  <a:lnTo>
                    <a:pt x="567" y="1934"/>
                  </a:lnTo>
                  <a:lnTo>
                    <a:pt x="567" y="1934"/>
                  </a:lnTo>
                  <a:lnTo>
                    <a:pt x="567" y="1936"/>
                  </a:lnTo>
                  <a:lnTo>
                    <a:pt x="567" y="1936"/>
                  </a:lnTo>
                  <a:lnTo>
                    <a:pt x="567" y="1938"/>
                  </a:lnTo>
                  <a:lnTo>
                    <a:pt x="567" y="1940"/>
                  </a:lnTo>
                  <a:lnTo>
                    <a:pt x="565" y="1940"/>
                  </a:lnTo>
                  <a:lnTo>
                    <a:pt x="564" y="1942"/>
                  </a:lnTo>
                  <a:lnTo>
                    <a:pt x="562" y="1942"/>
                  </a:lnTo>
                  <a:lnTo>
                    <a:pt x="562" y="1943"/>
                  </a:lnTo>
                  <a:lnTo>
                    <a:pt x="562" y="1943"/>
                  </a:lnTo>
                  <a:lnTo>
                    <a:pt x="562" y="1947"/>
                  </a:lnTo>
                  <a:lnTo>
                    <a:pt x="562" y="1947"/>
                  </a:lnTo>
                  <a:lnTo>
                    <a:pt x="560" y="1949"/>
                  </a:lnTo>
                  <a:lnTo>
                    <a:pt x="560" y="1951"/>
                  </a:lnTo>
                  <a:lnTo>
                    <a:pt x="560" y="1952"/>
                  </a:lnTo>
                  <a:lnTo>
                    <a:pt x="560" y="1954"/>
                  </a:lnTo>
                  <a:lnTo>
                    <a:pt x="560" y="1954"/>
                  </a:lnTo>
                  <a:lnTo>
                    <a:pt x="562" y="1956"/>
                  </a:lnTo>
                  <a:lnTo>
                    <a:pt x="571" y="1961"/>
                  </a:lnTo>
                  <a:lnTo>
                    <a:pt x="571" y="1963"/>
                  </a:lnTo>
                  <a:lnTo>
                    <a:pt x="571" y="1965"/>
                  </a:lnTo>
                  <a:lnTo>
                    <a:pt x="573" y="1963"/>
                  </a:lnTo>
                  <a:lnTo>
                    <a:pt x="576" y="1965"/>
                  </a:lnTo>
                  <a:lnTo>
                    <a:pt x="578" y="1967"/>
                  </a:lnTo>
                  <a:lnTo>
                    <a:pt x="580" y="1969"/>
                  </a:lnTo>
                  <a:lnTo>
                    <a:pt x="578" y="1972"/>
                  </a:lnTo>
                  <a:lnTo>
                    <a:pt x="576" y="1976"/>
                  </a:lnTo>
                  <a:lnTo>
                    <a:pt x="574" y="1979"/>
                  </a:lnTo>
                  <a:lnTo>
                    <a:pt x="576" y="1981"/>
                  </a:lnTo>
                  <a:lnTo>
                    <a:pt x="580" y="1981"/>
                  </a:lnTo>
                  <a:lnTo>
                    <a:pt x="580" y="1983"/>
                  </a:lnTo>
                  <a:lnTo>
                    <a:pt x="580" y="1983"/>
                  </a:lnTo>
                  <a:lnTo>
                    <a:pt x="582" y="1983"/>
                  </a:lnTo>
                  <a:lnTo>
                    <a:pt x="582" y="1985"/>
                  </a:lnTo>
                  <a:lnTo>
                    <a:pt x="583" y="1990"/>
                  </a:lnTo>
                  <a:lnTo>
                    <a:pt x="583" y="1990"/>
                  </a:lnTo>
                  <a:lnTo>
                    <a:pt x="585" y="1992"/>
                  </a:lnTo>
                  <a:lnTo>
                    <a:pt x="585" y="1992"/>
                  </a:lnTo>
                  <a:lnTo>
                    <a:pt x="585" y="1994"/>
                  </a:lnTo>
                  <a:lnTo>
                    <a:pt x="585" y="1999"/>
                  </a:lnTo>
                  <a:lnTo>
                    <a:pt x="587" y="2001"/>
                  </a:lnTo>
                  <a:lnTo>
                    <a:pt x="587" y="2003"/>
                  </a:lnTo>
                  <a:lnTo>
                    <a:pt x="594" y="2008"/>
                  </a:lnTo>
                  <a:lnTo>
                    <a:pt x="596" y="2010"/>
                  </a:lnTo>
                  <a:lnTo>
                    <a:pt x="598" y="2010"/>
                  </a:lnTo>
                  <a:lnTo>
                    <a:pt x="600" y="2010"/>
                  </a:lnTo>
                  <a:lnTo>
                    <a:pt x="605" y="2014"/>
                  </a:lnTo>
                  <a:lnTo>
                    <a:pt x="607" y="2014"/>
                  </a:lnTo>
                  <a:lnTo>
                    <a:pt x="607" y="2014"/>
                  </a:lnTo>
                  <a:lnTo>
                    <a:pt x="609" y="2014"/>
                  </a:lnTo>
                  <a:lnTo>
                    <a:pt x="609" y="2014"/>
                  </a:lnTo>
                  <a:lnTo>
                    <a:pt x="609" y="2016"/>
                  </a:lnTo>
                  <a:lnTo>
                    <a:pt x="609" y="2017"/>
                  </a:lnTo>
                  <a:lnTo>
                    <a:pt x="610" y="2017"/>
                  </a:lnTo>
                  <a:lnTo>
                    <a:pt x="610" y="2017"/>
                  </a:lnTo>
                  <a:lnTo>
                    <a:pt x="612" y="2017"/>
                  </a:lnTo>
                  <a:lnTo>
                    <a:pt x="612" y="2017"/>
                  </a:lnTo>
                  <a:lnTo>
                    <a:pt x="612" y="2017"/>
                  </a:lnTo>
                  <a:lnTo>
                    <a:pt x="612" y="2017"/>
                  </a:lnTo>
                  <a:lnTo>
                    <a:pt x="612" y="2017"/>
                  </a:lnTo>
                  <a:lnTo>
                    <a:pt x="614" y="2023"/>
                  </a:lnTo>
                  <a:lnTo>
                    <a:pt x="612" y="2023"/>
                  </a:lnTo>
                  <a:lnTo>
                    <a:pt x="612" y="2023"/>
                  </a:lnTo>
                  <a:lnTo>
                    <a:pt x="612" y="2025"/>
                  </a:lnTo>
                  <a:lnTo>
                    <a:pt x="612" y="2025"/>
                  </a:lnTo>
                  <a:lnTo>
                    <a:pt x="612" y="2026"/>
                  </a:lnTo>
                  <a:lnTo>
                    <a:pt x="612" y="2032"/>
                  </a:lnTo>
                  <a:lnTo>
                    <a:pt x="610" y="2034"/>
                  </a:lnTo>
                  <a:lnTo>
                    <a:pt x="609" y="2037"/>
                  </a:lnTo>
                  <a:lnTo>
                    <a:pt x="609" y="2039"/>
                  </a:lnTo>
                  <a:lnTo>
                    <a:pt x="610" y="2039"/>
                  </a:lnTo>
                  <a:lnTo>
                    <a:pt x="614" y="2041"/>
                  </a:lnTo>
                  <a:lnTo>
                    <a:pt x="625" y="2037"/>
                  </a:lnTo>
                  <a:lnTo>
                    <a:pt x="627" y="2037"/>
                  </a:lnTo>
                  <a:lnTo>
                    <a:pt x="629" y="2041"/>
                  </a:lnTo>
                  <a:lnTo>
                    <a:pt x="636" y="2043"/>
                  </a:lnTo>
                  <a:lnTo>
                    <a:pt x="638" y="2043"/>
                  </a:lnTo>
                  <a:lnTo>
                    <a:pt x="639" y="2046"/>
                  </a:lnTo>
                  <a:lnTo>
                    <a:pt x="639" y="2046"/>
                  </a:lnTo>
                  <a:lnTo>
                    <a:pt x="643" y="2046"/>
                  </a:lnTo>
                  <a:lnTo>
                    <a:pt x="643" y="2046"/>
                  </a:lnTo>
                  <a:lnTo>
                    <a:pt x="645" y="2046"/>
                  </a:lnTo>
                  <a:lnTo>
                    <a:pt x="645" y="2048"/>
                  </a:lnTo>
                  <a:lnTo>
                    <a:pt x="645" y="2048"/>
                  </a:lnTo>
                  <a:lnTo>
                    <a:pt x="645" y="2050"/>
                  </a:lnTo>
                  <a:lnTo>
                    <a:pt x="645" y="2050"/>
                  </a:lnTo>
                  <a:lnTo>
                    <a:pt x="645" y="2050"/>
                  </a:lnTo>
                  <a:lnTo>
                    <a:pt x="641" y="2052"/>
                  </a:lnTo>
                  <a:lnTo>
                    <a:pt x="641" y="2052"/>
                  </a:lnTo>
                  <a:lnTo>
                    <a:pt x="641" y="2054"/>
                  </a:lnTo>
                  <a:lnTo>
                    <a:pt x="641" y="2055"/>
                  </a:lnTo>
                  <a:lnTo>
                    <a:pt x="641" y="2057"/>
                  </a:lnTo>
                  <a:lnTo>
                    <a:pt x="643" y="2059"/>
                  </a:lnTo>
                  <a:lnTo>
                    <a:pt x="643" y="2061"/>
                  </a:lnTo>
                  <a:lnTo>
                    <a:pt x="645" y="2061"/>
                  </a:lnTo>
                  <a:lnTo>
                    <a:pt x="648" y="2063"/>
                  </a:lnTo>
                  <a:lnTo>
                    <a:pt x="648" y="2063"/>
                  </a:lnTo>
                  <a:lnTo>
                    <a:pt x="650" y="2064"/>
                  </a:lnTo>
                  <a:lnTo>
                    <a:pt x="650" y="2064"/>
                  </a:lnTo>
                  <a:lnTo>
                    <a:pt x="650" y="2064"/>
                  </a:lnTo>
                  <a:lnTo>
                    <a:pt x="650" y="2066"/>
                  </a:lnTo>
                  <a:lnTo>
                    <a:pt x="650" y="2064"/>
                  </a:lnTo>
                  <a:lnTo>
                    <a:pt x="652" y="2064"/>
                  </a:lnTo>
                  <a:lnTo>
                    <a:pt x="652" y="2064"/>
                  </a:lnTo>
                  <a:lnTo>
                    <a:pt x="654" y="2064"/>
                  </a:lnTo>
                  <a:lnTo>
                    <a:pt x="654" y="2064"/>
                  </a:lnTo>
                  <a:lnTo>
                    <a:pt x="654" y="2066"/>
                  </a:lnTo>
                  <a:lnTo>
                    <a:pt x="654" y="2066"/>
                  </a:lnTo>
                  <a:lnTo>
                    <a:pt x="654" y="2068"/>
                  </a:lnTo>
                  <a:lnTo>
                    <a:pt x="654" y="2068"/>
                  </a:lnTo>
                  <a:lnTo>
                    <a:pt x="656" y="2068"/>
                  </a:lnTo>
                  <a:lnTo>
                    <a:pt x="656" y="2068"/>
                  </a:lnTo>
                  <a:lnTo>
                    <a:pt x="657" y="2070"/>
                  </a:lnTo>
                  <a:lnTo>
                    <a:pt x="657" y="2070"/>
                  </a:lnTo>
                  <a:lnTo>
                    <a:pt x="656" y="2075"/>
                  </a:lnTo>
                  <a:lnTo>
                    <a:pt x="657" y="2077"/>
                  </a:lnTo>
                  <a:lnTo>
                    <a:pt x="656" y="2079"/>
                  </a:lnTo>
                  <a:lnTo>
                    <a:pt x="656" y="2079"/>
                  </a:lnTo>
                  <a:lnTo>
                    <a:pt x="654" y="2079"/>
                  </a:lnTo>
                  <a:lnTo>
                    <a:pt x="654" y="2079"/>
                  </a:lnTo>
                  <a:lnTo>
                    <a:pt x="650" y="2079"/>
                  </a:lnTo>
                  <a:lnTo>
                    <a:pt x="650" y="2079"/>
                  </a:lnTo>
                  <a:lnTo>
                    <a:pt x="650" y="2081"/>
                  </a:lnTo>
                  <a:lnTo>
                    <a:pt x="650" y="2081"/>
                  </a:lnTo>
                  <a:lnTo>
                    <a:pt x="650" y="2081"/>
                  </a:lnTo>
                  <a:lnTo>
                    <a:pt x="648" y="2081"/>
                  </a:lnTo>
                  <a:lnTo>
                    <a:pt x="647" y="2081"/>
                  </a:lnTo>
                  <a:lnTo>
                    <a:pt x="645" y="2081"/>
                  </a:lnTo>
                  <a:lnTo>
                    <a:pt x="643" y="2081"/>
                  </a:lnTo>
                  <a:lnTo>
                    <a:pt x="643" y="2082"/>
                  </a:lnTo>
                  <a:lnTo>
                    <a:pt x="645" y="2082"/>
                  </a:lnTo>
                  <a:lnTo>
                    <a:pt x="645" y="2082"/>
                  </a:lnTo>
                  <a:lnTo>
                    <a:pt x="645" y="2084"/>
                  </a:lnTo>
                  <a:lnTo>
                    <a:pt x="645" y="2086"/>
                  </a:lnTo>
                  <a:lnTo>
                    <a:pt x="643" y="2088"/>
                  </a:lnTo>
                  <a:lnTo>
                    <a:pt x="641" y="2090"/>
                  </a:lnTo>
                  <a:lnTo>
                    <a:pt x="641" y="2090"/>
                  </a:lnTo>
                  <a:lnTo>
                    <a:pt x="639" y="2091"/>
                  </a:lnTo>
                  <a:lnTo>
                    <a:pt x="638" y="2091"/>
                  </a:lnTo>
                  <a:lnTo>
                    <a:pt x="636" y="2093"/>
                  </a:lnTo>
                  <a:lnTo>
                    <a:pt x="634" y="2095"/>
                  </a:lnTo>
                  <a:lnTo>
                    <a:pt x="632" y="2095"/>
                  </a:lnTo>
                  <a:lnTo>
                    <a:pt x="632" y="2095"/>
                  </a:lnTo>
                  <a:lnTo>
                    <a:pt x="632" y="2097"/>
                  </a:lnTo>
                  <a:lnTo>
                    <a:pt x="632" y="2097"/>
                  </a:lnTo>
                  <a:lnTo>
                    <a:pt x="632" y="2097"/>
                  </a:lnTo>
                  <a:lnTo>
                    <a:pt x="632" y="2097"/>
                  </a:lnTo>
                  <a:lnTo>
                    <a:pt x="632" y="2097"/>
                  </a:lnTo>
                  <a:lnTo>
                    <a:pt x="630" y="2097"/>
                  </a:lnTo>
                  <a:lnTo>
                    <a:pt x="630" y="2097"/>
                  </a:lnTo>
                  <a:lnTo>
                    <a:pt x="630" y="2097"/>
                  </a:lnTo>
                  <a:lnTo>
                    <a:pt x="629" y="2097"/>
                  </a:lnTo>
                  <a:lnTo>
                    <a:pt x="627" y="2099"/>
                  </a:lnTo>
                  <a:lnTo>
                    <a:pt x="627" y="2099"/>
                  </a:lnTo>
                  <a:lnTo>
                    <a:pt x="625" y="2099"/>
                  </a:lnTo>
                  <a:lnTo>
                    <a:pt x="621" y="2097"/>
                  </a:lnTo>
                  <a:lnTo>
                    <a:pt x="620" y="2097"/>
                  </a:lnTo>
                  <a:lnTo>
                    <a:pt x="620" y="2099"/>
                  </a:lnTo>
                  <a:lnTo>
                    <a:pt x="618" y="2099"/>
                  </a:lnTo>
                  <a:lnTo>
                    <a:pt x="616" y="2099"/>
                  </a:lnTo>
                  <a:lnTo>
                    <a:pt x="614" y="2097"/>
                  </a:lnTo>
                  <a:lnTo>
                    <a:pt x="614" y="2097"/>
                  </a:lnTo>
                  <a:lnTo>
                    <a:pt x="612" y="2097"/>
                  </a:lnTo>
                  <a:lnTo>
                    <a:pt x="610" y="2097"/>
                  </a:lnTo>
                  <a:lnTo>
                    <a:pt x="610" y="2095"/>
                  </a:lnTo>
                  <a:lnTo>
                    <a:pt x="610" y="2091"/>
                  </a:lnTo>
                  <a:lnTo>
                    <a:pt x="609" y="2090"/>
                  </a:lnTo>
                  <a:lnTo>
                    <a:pt x="609" y="2090"/>
                  </a:lnTo>
                  <a:lnTo>
                    <a:pt x="605" y="2090"/>
                  </a:lnTo>
                  <a:lnTo>
                    <a:pt x="605" y="2090"/>
                  </a:lnTo>
                  <a:lnTo>
                    <a:pt x="601" y="2088"/>
                  </a:lnTo>
                  <a:lnTo>
                    <a:pt x="601" y="2088"/>
                  </a:lnTo>
                  <a:lnTo>
                    <a:pt x="600" y="2088"/>
                  </a:lnTo>
                  <a:lnTo>
                    <a:pt x="598" y="2090"/>
                  </a:lnTo>
                  <a:lnTo>
                    <a:pt x="596" y="2090"/>
                  </a:lnTo>
                  <a:lnTo>
                    <a:pt x="594" y="2090"/>
                  </a:lnTo>
                  <a:lnTo>
                    <a:pt x="592" y="2090"/>
                  </a:lnTo>
                  <a:lnTo>
                    <a:pt x="591" y="2091"/>
                  </a:lnTo>
                  <a:lnTo>
                    <a:pt x="589" y="2095"/>
                  </a:lnTo>
                  <a:lnTo>
                    <a:pt x="589" y="2095"/>
                  </a:lnTo>
                  <a:lnTo>
                    <a:pt x="589" y="2095"/>
                  </a:lnTo>
                  <a:lnTo>
                    <a:pt x="589" y="2097"/>
                  </a:lnTo>
                  <a:lnTo>
                    <a:pt x="589" y="2097"/>
                  </a:lnTo>
                  <a:lnTo>
                    <a:pt x="589" y="2099"/>
                  </a:lnTo>
                  <a:lnTo>
                    <a:pt x="589" y="2099"/>
                  </a:lnTo>
                  <a:lnTo>
                    <a:pt x="587" y="2099"/>
                  </a:lnTo>
                  <a:lnTo>
                    <a:pt x="587" y="2099"/>
                  </a:lnTo>
                  <a:lnTo>
                    <a:pt x="585" y="2104"/>
                  </a:lnTo>
                  <a:lnTo>
                    <a:pt x="583" y="2104"/>
                  </a:lnTo>
                  <a:lnTo>
                    <a:pt x="587" y="2108"/>
                  </a:lnTo>
                  <a:lnTo>
                    <a:pt x="589" y="2110"/>
                  </a:lnTo>
                  <a:lnTo>
                    <a:pt x="589" y="2113"/>
                  </a:lnTo>
                  <a:lnTo>
                    <a:pt x="591" y="2115"/>
                  </a:lnTo>
                  <a:lnTo>
                    <a:pt x="592" y="2117"/>
                  </a:lnTo>
                  <a:lnTo>
                    <a:pt x="594" y="2117"/>
                  </a:lnTo>
                  <a:lnTo>
                    <a:pt x="594" y="2119"/>
                  </a:lnTo>
                  <a:lnTo>
                    <a:pt x="596" y="2119"/>
                  </a:lnTo>
                  <a:lnTo>
                    <a:pt x="596" y="2119"/>
                  </a:lnTo>
                  <a:lnTo>
                    <a:pt x="596" y="2120"/>
                  </a:lnTo>
                  <a:lnTo>
                    <a:pt x="598" y="2122"/>
                  </a:lnTo>
                  <a:lnTo>
                    <a:pt x="598" y="2122"/>
                  </a:lnTo>
                  <a:lnTo>
                    <a:pt x="598" y="2122"/>
                  </a:lnTo>
                  <a:lnTo>
                    <a:pt x="600" y="2124"/>
                  </a:lnTo>
                  <a:lnTo>
                    <a:pt x="600" y="2126"/>
                  </a:lnTo>
                  <a:lnTo>
                    <a:pt x="600" y="2128"/>
                  </a:lnTo>
                  <a:lnTo>
                    <a:pt x="598" y="2129"/>
                  </a:lnTo>
                  <a:lnTo>
                    <a:pt x="594" y="2131"/>
                  </a:lnTo>
                  <a:lnTo>
                    <a:pt x="594" y="2131"/>
                  </a:lnTo>
                  <a:lnTo>
                    <a:pt x="596" y="2133"/>
                  </a:lnTo>
                  <a:lnTo>
                    <a:pt x="598" y="2137"/>
                  </a:lnTo>
                  <a:lnTo>
                    <a:pt x="600" y="2140"/>
                  </a:lnTo>
                  <a:lnTo>
                    <a:pt x="600" y="2140"/>
                  </a:lnTo>
                  <a:lnTo>
                    <a:pt x="601" y="2142"/>
                  </a:lnTo>
                  <a:lnTo>
                    <a:pt x="603" y="2144"/>
                  </a:lnTo>
                  <a:lnTo>
                    <a:pt x="601" y="2144"/>
                  </a:lnTo>
                  <a:lnTo>
                    <a:pt x="601" y="2144"/>
                  </a:lnTo>
                  <a:lnTo>
                    <a:pt x="600" y="2144"/>
                  </a:lnTo>
                  <a:lnTo>
                    <a:pt x="600" y="2144"/>
                  </a:lnTo>
                  <a:lnTo>
                    <a:pt x="600" y="2144"/>
                  </a:lnTo>
                  <a:lnTo>
                    <a:pt x="600" y="2146"/>
                  </a:lnTo>
                  <a:lnTo>
                    <a:pt x="600" y="2146"/>
                  </a:lnTo>
                  <a:lnTo>
                    <a:pt x="598" y="2146"/>
                  </a:lnTo>
                  <a:lnTo>
                    <a:pt x="598" y="2147"/>
                  </a:lnTo>
                  <a:lnTo>
                    <a:pt x="600" y="2147"/>
                  </a:lnTo>
                  <a:lnTo>
                    <a:pt x="600" y="2149"/>
                  </a:lnTo>
                  <a:lnTo>
                    <a:pt x="601" y="2151"/>
                  </a:lnTo>
                  <a:lnTo>
                    <a:pt x="600" y="2153"/>
                  </a:lnTo>
                  <a:lnTo>
                    <a:pt x="600" y="2155"/>
                  </a:lnTo>
                  <a:lnTo>
                    <a:pt x="601" y="2157"/>
                  </a:lnTo>
                  <a:lnTo>
                    <a:pt x="601" y="2157"/>
                  </a:lnTo>
                  <a:lnTo>
                    <a:pt x="601" y="2158"/>
                  </a:lnTo>
                  <a:lnTo>
                    <a:pt x="601" y="2158"/>
                  </a:lnTo>
                  <a:lnTo>
                    <a:pt x="601" y="2160"/>
                  </a:lnTo>
                  <a:lnTo>
                    <a:pt x="601" y="2162"/>
                  </a:lnTo>
                  <a:lnTo>
                    <a:pt x="600" y="2162"/>
                  </a:lnTo>
                  <a:lnTo>
                    <a:pt x="600" y="2162"/>
                  </a:lnTo>
                  <a:lnTo>
                    <a:pt x="601" y="2166"/>
                  </a:lnTo>
                  <a:lnTo>
                    <a:pt x="601" y="2166"/>
                  </a:lnTo>
                  <a:lnTo>
                    <a:pt x="603" y="2166"/>
                  </a:lnTo>
                  <a:lnTo>
                    <a:pt x="603" y="2167"/>
                  </a:lnTo>
                  <a:lnTo>
                    <a:pt x="605" y="2167"/>
                  </a:lnTo>
                  <a:lnTo>
                    <a:pt x="607" y="2167"/>
                  </a:lnTo>
                  <a:lnTo>
                    <a:pt x="605" y="2167"/>
                  </a:lnTo>
                  <a:lnTo>
                    <a:pt x="605" y="2169"/>
                  </a:lnTo>
                  <a:lnTo>
                    <a:pt x="605" y="2171"/>
                  </a:lnTo>
                  <a:lnTo>
                    <a:pt x="605" y="2171"/>
                  </a:lnTo>
                  <a:lnTo>
                    <a:pt x="605" y="2173"/>
                  </a:lnTo>
                  <a:lnTo>
                    <a:pt x="607" y="2173"/>
                  </a:lnTo>
                  <a:lnTo>
                    <a:pt x="609" y="2175"/>
                  </a:lnTo>
                  <a:lnTo>
                    <a:pt x="609" y="2176"/>
                  </a:lnTo>
                  <a:lnTo>
                    <a:pt x="609" y="2176"/>
                  </a:lnTo>
                  <a:lnTo>
                    <a:pt x="609" y="2180"/>
                  </a:lnTo>
                  <a:lnTo>
                    <a:pt x="612" y="2180"/>
                  </a:lnTo>
                  <a:lnTo>
                    <a:pt x="614" y="2180"/>
                  </a:lnTo>
                  <a:lnTo>
                    <a:pt x="616" y="2180"/>
                  </a:lnTo>
                  <a:lnTo>
                    <a:pt x="616" y="2182"/>
                  </a:lnTo>
                  <a:lnTo>
                    <a:pt x="616" y="2184"/>
                  </a:lnTo>
                  <a:lnTo>
                    <a:pt x="616" y="2185"/>
                  </a:lnTo>
                  <a:lnTo>
                    <a:pt x="616" y="2185"/>
                  </a:lnTo>
                  <a:lnTo>
                    <a:pt x="618" y="2185"/>
                  </a:lnTo>
                  <a:lnTo>
                    <a:pt x="620" y="2184"/>
                  </a:lnTo>
                  <a:lnTo>
                    <a:pt x="621" y="2184"/>
                  </a:lnTo>
                  <a:lnTo>
                    <a:pt x="625" y="2185"/>
                  </a:lnTo>
                  <a:lnTo>
                    <a:pt x="627" y="2184"/>
                  </a:lnTo>
                  <a:lnTo>
                    <a:pt x="632" y="2182"/>
                  </a:lnTo>
                  <a:lnTo>
                    <a:pt x="636" y="2180"/>
                  </a:lnTo>
                  <a:lnTo>
                    <a:pt x="636" y="2176"/>
                  </a:lnTo>
                  <a:lnTo>
                    <a:pt x="638" y="2171"/>
                  </a:lnTo>
                  <a:lnTo>
                    <a:pt x="638" y="2169"/>
                  </a:lnTo>
                  <a:lnTo>
                    <a:pt x="638" y="2169"/>
                  </a:lnTo>
                  <a:lnTo>
                    <a:pt x="639" y="2169"/>
                  </a:lnTo>
                  <a:lnTo>
                    <a:pt x="639" y="2169"/>
                  </a:lnTo>
                  <a:lnTo>
                    <a:pt x="639" y="2167"/>
                  </a:lnTo>
                  <a:lnTo>
                    <a:pt x="639" y="2167"/>
                  </a:lnTo>
                  <a:lnTo>
                    <a:pt x="638" y="2166"/>
                  </a:lnTo>
                  <a:lnTo>
                    <a:pt x="638" y="2164"/>
                  </a:lnTo>
                  <a:lnTo>
                    <a:pt x="639" y="2162"/>
                  </a:lnTo>
                  <a:lnTo>
                    <a:pt x="641" y="2162"/>
                  </a:lnTo>
                  <a:lnTo>
                    <a:pt x="645" y="2162"/>
                  </a:lnTo>
                  <a:lnTo>
                    <a:pt x="648" y="2162"/>
                  </a:lnTo>
                  <a:lnTo>
                    <a:pt x="657" y="2167"/>
                  </a:lnTo>
                  <a:lnTo>
                    <a:pt x="659" y="2167"/>
                  </a:lnTo>
                  <a:lnTo>
                    <a:pt x="661" y="2167"/>
                  </a:lnTo>
                  <a:lnTo>
                    <a:pt x="663" y="2167"/>
                  </a:lnTo>
                  <a:lnTo>
                    <a:pt x="665" y="2167"/>
                  </a:lnTo>
                  <a:lnTo>
                    <a:pt x="666" y="2167"/>
                  </a:lnTo>
                  <a:lnTo>
                    <a:pt x="666" y="2167"/>
                  </a:lnTo>
                  <a:lnTo>
                    <a:pt x="668" y="2167"/>
                  </a:lnTo>
                  <a:lnTo>
                    <a:pt x="672" y="2164"/>
                  </a:lnTo>
                  <a:lnTo>
                    <a:pt x="674" y="2162"/>
                  </a:lnTo>
                  <a:lnTo>
                    <a:pt x="674" y="2162"/>
                  </a:lnTo>
                  <a:lnTo>
                    <a:pt x="675" y="2164"/>
                  </a:lnTo>
                  <a:lnTo>
                    <a:pt x="675" y="2164"/>
                  </a:lnTo>
                  <a:lnTo>
                    <a:pt x="675" y="2162"/>
                  </a:lnTo>
                  <a:lnTo>
                    <a:pt x="675" y="2162"/>
                  </a:lnTo>
                  <a:lnTo>
                    <a:pt x="677" y="2162"/>
                  </a:lnTo>
                  <a:lnTo>
                    <a:pt x="677" y="2160"/>
                  </a:lnTo>
                  <a:lnTo>
                    <a:pt x="679" y="2160"/>
                  </a:lnTo>
                  <a:lnTo>
                    <a:pt x="679" y="2158"/>
                  </a:lnTo>
                  <a:lnTo>
                    <a:pt x="681" y="2158"/>
                  </a:lnTo>
                  <a:lnTo>
                    <a:pt x="681" y="2158"/>
                  </a:lnTo>
                  <a:lnTo>
                    <a:pt x="686" y="2158"/>
                  </a:lnTo>
                  <a:lnTo>
                    <a:pt x="690" y="2158"/>
                  </a:lnTo>
                  <a:lnTo>
                    <a:pt x="690" y="2158"/>
                  </a:lnTo>
                  <a:lnTo>
                    <a:pt x="692" y="2160"/>
                  </a:lnTo>
                  <a:lnTo>
                    <a:pt x="692" y="2160"/>
                  </a:lnTo>
                  <a:lnTo>
                    <a:pt x="692" y="2160"/>
                  </a:lnTo>
                  <a:lnTo>
                    <a:pt x="694" y="2160"/>
                  </a:lnTo>
                  <a:lnTo>
                    <a:pt x="694" y="2160"/>
                  </a:lnTo>
                  <a:lnTo>
                    <a:pt x="695" y="2158"/>
                  </a:lnTo>
                  <a:lnTo>
                    <a:pt x="695" y="2158"/>
                  </a:lnTo>
                  <a:lnTo>
                    <a:pt x="695" y="2160"/>
                  </a:lnTo>
                  <a:lnTo>
                    <a:pt x="695" y="2164"/>
                  </a:lnTo>
                  <a:lnTo>
                    <a:pt x="697" y="2164"/>
                  </a:lnTo>
                  <a:lnTo>
                    <a:pt x="697" y="2164"/>
                  </a:lnTo>
                  <a:lnTo>
                    <a:pt x="701" y="2160"/>
                  </a:lnTo>
                  <a:lnTo>
                    <a:pt x="706" y="2158"/>
                  </a:lnTo>
                  <a:lnTo>
                    <a:pt x="708" y="2158"/>
                  </a:lnTo>
                  <a:lnTo>
                    <a:pt x="710" y="2158"/>
                  </a:lnTo>
                  <a:lnTo>
                    <a:pt x="712" y="2158"/>
                  </a:lnTo>
                  <a:lnTo>
                    <a:pt x="712" y="2160"/>
                  </a:lnTo>
                  <a:lnTo>
                    <a:pt x="712" y="2160"/>
                  </a:lnTo>
                  <a:lnTo>
                    <a:pt x="713" y="2162"/>
                  </a:lnTo>
                  <a:lnTo>
                    <a:pt x="713" y="2164"/>
                  </a:lnTo>
                  <a:lnTo>
                    <a:pt x="717" y="2164"/>
                  </a:lnTo>
                  <a:lnTo>
                    <a:pt x="717" y="2166"/>
                  </a:lnTo>
                  <a:lnTo>
                    <a:pt x="719" y="2169"/>
                  </a:lnTo>
                  <a:lnTo>
                    <a:pt x="719" y="2169"/>
                  </a:lnTo>
                  <a:lnTo>
                    <a:pt x="722" y="2171"/>
                  </a:lnTo>
                  <a:lnTo>
                    <a:pt x="722" y="2173"/>
                  </a:lnTo>
                  <a:lnTo>
                    <a:pt x="724" y="2175"/>
                  </a:lnTo>
                  <a:lnTo>
                    <a:pt x="724" y="2175"/>
                  </a:lnTo>
                  <a:lnTo>
                    <a:pt x="724" y="2176"/>
                  </a:lnTo>
                  <a:lnTo>
                    <a:pt x="724" y="2176"/>
                  </a:lnTo>
                  <a:lnTo>
                    <a:pt x="724" y="2178"/>
                  </a:lnTo>
                  <a:lnTo>
                    <a:pt x="724" y="2180"/>
                  </a:lnTo>
                  <a:lnTo>
                    <a:pt x="724" y="2180"/>
                  </a:lnTo>
                  <a:lnTo>
                    <a:pt x="724" y="2182"/>
                  </a:lnTo>
                  <a:lnTo>
                    <a:pt x="724" y="2184"/>
                  </a:lnTo>
                  <a:lnTo>
                    <a:pt x="724" y="2185"/>
                  </a:lnTo>
                  <a:lnTo>
                    <a:pt x="726" y="2187"/>
                  </a:lnTo>
                  <a:lnTo>
                    <a:pt x="726" y="2189"/>
                  </a:lnTo>
                  <a:lnTo>
                    <a:pt x="726" y="2189"/>
                  </a:lnTo>
                  <a:lnTo>
                    <a:pt x="726" y="2191"/>
                  </a:lnTo>
                  <a:lnTo>
                    <a:pt x="726" y="2191"/>
                  </a:lnTo>
                  <a:lnTo>
                    <a:pt x="728" y="2191"/>
                  </a:lnTo>
                  <a:lnTo>
                    <a:pt x="730" y="2193"/>
                  </a:lnTo>
                  <a:lnTo>
                    <a:pt x="731" y="2194"/>
                  </a:lnTo>
                  <a:lnTo>
                    <a:pt x="731" y="2194"/>
                  </a:lnTo>
                  <a:lnTo>
                    <a:pt x="731" y="2196"/>
                  </a:lnTo>
                  <a:lnTo>
                    <a:pt x="733" y="2196"/>
                  </a:lnTo>
                  <a:lnTo>
                    <a:pt x="733" y="2196"/>
                  </a:lnTo>
                  <a:lnTo>
                    <a:pt x="733" y="2198"/>
                  </a:lnTo>
                  <a:lnTo>
                    <a:pt x="733" y="2198"/>
                  </a:lnTo>
                  <a:lnTo>
                    <a:pt x="733" y="2198"/>
                  </a:lnTo>
                  <a:lnTo>
                    <a:pt x="735" y="2198"/>
                  </a:lnTo>
                  <a:lnTo>
                    <a:pt x="735" y="2198"/>
                  </a:lnTo>
                  <a:lnTo>
                    <a:pt x="735" y="2198"/>
                  </a:lnTo>
                  <a:lnTo>
                    <a:pt x="737" y="2200"/>
                  </a:lnTo>
                  <a:lnTo>
                    <a:pt x="739" y="2200"/>
                  </a:lnTo>
                  <a:lnTo>
                    <a:pt x="741" y="2202"/>
                  </a:lnTo>
                  <a:lnTo>
                    <a:pt x="741" y="2202"/>
                  </a:lnTo>
                  <a:lnTo>
                    <a:pt x="742" y="2205"/>
                  </a:lnTo>
                  <a:lnTo>
                    <a:pt x="742" y="2209"/>
                  </a:lnTo>
                  <a:lnTo>
                    <a:pt x="741" y="2211"/>
                  </a:lnTo>
                  <a:lnTo>
                    <a:pt x="739" y="2213"/>
                  </a:lnTo>
                  <a:lnTo>
                    <a:pt x="737" y="2211"/>
                  </a:lnTo>
                  <a:lnTo>
                    <a:pt x="728" y="2214"/>
                  </a:lnTo>
                  <a:lnTo>
                    <a:pt x="726" y="2214"/>
                  </a:lnTo>
                  <a:lnTo>
                    <a:pt x="726" y="2216"/>
                  </a:lnTo>
                  <a:lnTo>
                    <a:pt x="726" y="2218"/>
                  </a:lnTo>
                  <a:lnTo>
                    <a:pt x="728" y="2218"/>
                  </a:lnTo>
                  <a:lnTo>
                    <a:pt x="728" y="2218"/>
                  </a:lnTo>
                  <a:lnTo>
                    <a:pt x="728" y="2220"/>
                  </a:lnTo>
                  <a:lnTo>
                    <a:pt x="728" y="2222"/>
                  </a:lnTo>
                  <a:lnTo>
                    <a:pt x="730" y="2222"/>
                  </a:lnTo>
                  <a:lnTo>
                    <a:pt x="730" y="2222"/>
                  </a:lnTo>
                  <a:lnTo>
                    <a:pt x="731" y="2225"/>
                  </a:lnTo>
                  <a:lnTo>
                    <a:pt x="731" y="2225"/>
                  </a:lnTo>
                  <a:lnTo>
                    <a:pt x="733" y="2227"/>
                  </a:lnTo>
                  <a:lnTo>
                    <a:pt x="733" y="2229"/>
                  </a:lnTo>
                  <a:lnTo>
                    <a:pt x="733" y="2229"/>
                  </a:lnTo>
                  <a:lnTo>
                    <a:pt x="731" y="2231"/>
                  </a:lnTo>
                  <a:lnTo>
                    <a:pt x="731" y="2232"/>
                  </a:lnTo>
                  <a:lnTo>
                    <a:pt x="731" y="2232"/>
                  </a:lnTo>
                  <a:lnTo>
                    <a:pt x="731" y="2232"/>
                  </a:lnTo>
                  <a:lnTo>
                    <a:pt x="731" y="2234"/>
                  </a:lnTo>
                  <a:lnTo>
                    <a:pt x="731" y="2234"/>
                  </a:lnTo>
                  <a:lnTo>
                    <a:pt x="731" y="2236"/>
                  </a:lnTo>
                  <a:lnTo>
                    <a:pt x="731" y="2236"/>
                  </a:lnTo>
                  <a:lnTo>
                    <a:pt x="730" y="2236"/>
                  </a:lnTo>
                  <a:lnTo>
                    <a:pt x="730" y="2236"/>
                  </a:lnTo>
                  <a:lnTo>
                    <a:pt x="731" y="2238"/>
                  </a:lnTo>
                  <a:lnTo>
                    <a:pt x="731" y="2238"/>
                  </a:lnTo>
                  <a:lnTo>
                    <a:pt x="733" y="2240"/>
                  </a:lnTo>
                  <a:lnTo>
                    <a:pt x="733" y="2240"/>
                  </a:lnTo>
                  <a:lnTo>
                    <a:pt x="735" y="2240"/>
                  </a:lnTo>
                  <a:lnTo>
                    <a:pt x="735" y="2240"/>
                  </a:lnTo>
                  <a:lnTo>
                    <a:pt x="737" y="2238"/>
                  </a:lnTo>
                  <a:lnTo>
                    <a:pt x="737" y="2241"/>
                  </a:lnTo>
                  <a:lnTo>
                    <a:pt x="735" y="2243"/>
                  </a:lnTo>
                  <a:lnTo>
                    <a:pt x="733" y="2247"/>
                  </a:lnTo>
                  <a:lnTo>
                    <a:pt x="730" y="2249"/>
                  </a:lnTo>
                  <a:lnTo>
                    <a:pt x="733" y="2250"/>
                  </a:lnTo>
                  <a:lnTo>
                    <a:pt x="735" y="2250"/>
                  </a:lnTo>
                  <a:lnTo>
                    <a:pt x="737" y="2250"/>
                  </a:lnTo>
                  <a:lnTo>
                    <a:pt x="739" y="2249"/>
                  </a:lnTo>
                  <a:lnTo>
                    <a:pt x="741" y="2247"/>
                  </a:lnTo>
                  <a:lnTo>
                    <a:pt x="742" y="2249"/>
                  </a:lnTo>
                  <a:lnTo>
                    <a:pt x="746" y="2249"/>
                  </a:lnTo>
                  <a:lnTo>
                    <a:pt x="748" y="2250"/>
                  </a:lnTo>
                  <a:lnTo>
                    <a:pt x="750" y="2249"/>
                  </a:lnTo>
                  <a:lnTo>
                    <a:pt x="751" y="2249"/>
                  </a:lnTo>
                  <a:lnTo>
                    <a:pt x="753" y="2250"/>
                  </a:lnTo>
                  <a:lnTo>
                    <a:pt x="753" y="2250"/>
                  </a:lnTo>
                  <a:lnTo>
                    <a:pt x="753" y="2252"/>
                  </a:lnTo>
                  <a:lnTo>
                    <a:pt x="753" y="2254"/>
                  </a:lnTo>
                  <a:lnTo>
                    <a:pt x="755" y="2254"/>
                  </a:lnTo>
                  <a:lnTo>
                    <a:pt x="755" y="2254"/>
                  </a:lnTo>
                  <a:lnTo>
                    <a:pt x="759" y="2254"/>
                  </a:lnTo>
                  <a:lnTo>
                    <a:pt x="762" y="2254"/>
                  </a:lnTo>
                  <a:lnTo>
                    <a:pt x="766" y="2252"/>
                  </a:lnTo>
                  <a:lnTo>
                    <a:pt x="769" y="2250"/>
                  </a:lnTo>
                  <a:lnTo>
                    <a:pt x="769" y="2250"/>
                  </a:lnTo>
                  <a:lnTo>
                    <a:pt x="769" y="2252"/>
                  </a:lnTo>
                  <a:lnTo>
                    <a:pt x="771" y="2252"/>
                  </a:lnTo>
                  <a:lnTo>
                    <a:pt x="773" y="2252"/>
                  </a:lnTo>
                  <a:lnTo>
                    <a:pt x="773" y="2250"/>
                  </a:lnTo>
                  <a:lnTo>
                    <a:pt x="775" y="2250"/>
                  </a:lnTo>
                  <a:lnTo>
                    <a:pt x="775" y="2252"/>
                  </a:lnTo>
                  <a:lnTo>
                    <a:pt x="777" y="2252"/>
                  </a:lnTo>
                  <a:lnTo>
                    <a:pt x="777" y="2254"/>
                  </a:lnTo>
                  <a:lnTo>
                    <a:pt x="777" y="2261"/>
                  </a:lnTo>
                  <a:lnTo>
                    <a:pt x="778" y="2263"/>
                  </a:lnTo>
                  <a:lnTo>
                    <a:pt x="780" y="2265"/>
                  </a:lnTo>
                  <a:lnTo>
                    <a:pt x="782" y="2265"/>
                  </a:lnTo>
                  <a:lnTo>
                    <a:pt x="786" y="2265"/>
                  </a:lnTo>
                  <a:lnTo>
                    <a:pt x="787" y="2265"/>
                  </a:lnTo>
                  <a:lnTo>
                    <a:pt x="787" y="2265"/>
                  </a:lnTo>
                  <a:lnTo>
                    <a:pt x="789" y="2265"/>
                  </a:lnTo>
                  <a:lnTo>
                    <a:pt x="789" y="2267"/>
                  </a:lnTo>
                  <a:lnTo>
                    <a:pt x="789" y="2267"/>
                  </a:lnTo>
                  <a:lnTo>
                    <a:pt x="787" y="2268"/>
                  </a:lnTo>
                  <a:lnTo>
                    <a:pt x="786" y="2268"/>
                  </a:lnTo>
                  <a:lnTo>
                    <a:pt x="786" y="2270"/>
                  </a:lnTo>
                  <a:lnTo>
                    <a:pt x="786" y="2272"/>
                  </a:lnTo>
                  <a:lnTo>
                    <a:pt x="786" y="2272"/>
                  </a:lnTo>
                  <a:lnTo>
                    <a:pt x="786" y="2272"/>
                  </a:lnTo>
                  <a:lnTo>
                    <a:pt x="787" y="2274"/>
                  </a:lnTo>
                  <a:lnTo>
                    <a:pt x="787" y="2274"/>
                  </a:lnTo>
                  <a:lnTo>
                    <a:pt x="789" y="2274"/>
                  </a:lnTo>
                  <a:lnTo>
                    <a:pt x="789" y="2276"/>
                  </a:lnTo>
                  <a:lnTo>
                    <a:pt x="787" y="2276"/>
                  </a:lnTo>
                  <a:lnTo>
                    <a:pt x="789" y="2278"/>
                  </a:lnTo>
                  <a:lnTo>
                    <a:pt x="789" y="2279"/>
                  </a:lnTo>
                  <a:lnTo>
                    <a:pt x="789" y="2279"/>
                  </a:lnTo>
                  <a:lnTo>
                    <a:pt x="791" y="2281"/>
                  </a:lnTo>
                  <a:lnTo>
                    <a:pt x="791" y="2283"/>
                  </a:lnTo>
                  <a:lnTo>
                    <a:pt x="791" y="2283"/>
                  </a:lnTo>
                  <a:lnTo>
                    <a:pt x="791" y="2285"/>
                  </a:lnTo>
                  <a:lnTo>
                    <a:pt x="791" y="2285"/>
                  </a:lnTo>
                  <a:lnTo>
                    <a:pt x="793" y="2285"/>
                  </a:lnTo>
                  <a:lnTo>
                    <a:pt x="793" y="2287"/>
                  </a:lnTo>
                  <a:lnTo>
                    <a:pt x="793" y="2287"/>
                  </a:lnTo>
                  <a:lnTo>
                    <a:pt x="793" y="2288"/>
                  </a:lnTo>
                  <a:lnTo>
                    <a:pt x="793" y="2290"/>
                  </a:lnTo>
                  <a:lnTo>
                    <a:pt x="793" y="2292"/>
                  </a:lnTo>
                  <a:lnTo>
                    <a:pt x="795" y="2294"/>
                  </a:lnTo>
                  <a:lnTo>
                    <a:pt x="791" y="2296"/>
                  </a:lnTo>
                  <a:lnTo>
                    <a:pt x="789" y="2297"/>
                  </a:lnTo>
                  <a:lnTo>
                    <a:pt x="791" y="2297"/>
                  </a:lnTo>
                  <a:lnTo>
                    <a:pt x="793" y="2308"/>
                  </a:lnTo>
                  <a:lnTo>
                    <a:pt x="793" y="2310"/>
                  </a:lnTo>
                  <a:lnTo>
                    <a:pt x="795" y="2310"/>
                  </a:lnTo>
                  <a:lnTo>
                    <a:pt x="796" y="2310"/>
                  </a:lnTo>
                  <a:lnTo>
                    <a:pt x="798" y="2310"/>
                  </a:lnTo>
                  <a:lnTo>
                    <a:pt x="798" y="2312"/>
                  </a:lnTo>
                  <a:lnTo>
                    <a:pt x="798" y="2312"/>
                  </a:lnTo>
                  <a:lnTo>
                    <a:pt x="800" y="2315"/>
                  </a:lnTo>
                  <a:lnTo>
                    <a:pt x="800" y="2315"/>
                  </a:lnTo>
                  <a:lnTo>
                    <a:pt x="800" y="2317"/>
                  </a:lnTo>
                  <a:lnTo>
                    <a:pt x="800" y="2319"/>
                  </a:lnTo>
                  <a:lnTo>
                    <a:pt x="802" y="2319"/>
                  </a:lnTo>
                  <a:lnTo>
                    <a:pt x="804" y="2319"/>
                  </a:lnTo>
                  <a:lnTo>
                    <a:pt x="804" y="2319"/>
                  </a:lnTo>
                  <a:lnTo>
                    <a:pt x="806" y="2321"/>
                  </a:lnTo>
                  <a:lnTo>
                    <a:pt x="806" y="2319"/>
                  </a:lnTo>
                  <a:lnTo>
                    <a:pt x="806" y="2319"/>
                  </a:lnTo>
                  <a:lnTo>
                    <a:pt x="807" y="2319"/>
                  </a:lnTo>
                  <a:lnTo>
                    <a:pt x="807" y="2317"/>
                  </a:lnTo>
                  <a:lnTo>
                    <a:pt x="807" y="2317"/>
                  </a:lnTo>
                  <a:lnTo>
                    <a:pt x="809" y="2317"/>
                  </a:lnTo>
                  <a:lnTo>
                    <a:pt x="809" y="2317"/>
                  </a:lnTo>
                  <a:lnTo>
                    <a:pt x="811" y="2315"/>
                  </a:lnTo>
                  <a:lnTo>
                    <a:pt x="811" y="2315"/>
                  </a:lnTo>
                  <a:lnTo>
                    <a:pt x="811" y="2314"/>
                  </a:lnTo>
                  <a:lnTo>
                    <a:pt x="813" y="2314"/>
                  </a:lnTo>
                  <a:lnTo>
                    <a:pt x="813" y="2314"/>
                  </a:lnTo>
                  <a:lnTo>
                    <a:pt x="818" y="2314"/>
                  </a:lnTo>
                  <a:lnTo>
                    <a:pt x="827" y="2314"/>
                  </a:lnTo>
                  <a:lnTo>
                    <a:pt x="827" y="2314"/>
                  </a:lnTo>
                  <a:lnTo>
                    <a:pt x="829" y="2315"/>
                  </a:lnTo>
                  <a:lnTo>
                    <a:pt x="829" y="2317"/>
                  </a:lnTo>
                  <a:lnTo>
                    <a:pt x="834" y="2324"/>
                  </a:lnTo>
                  <a:lnTo>
                    <a:pt x="836" y="2324"/>
                  </a:lnTo>
                  <a:lnTo>
                    <a:pt x="838" y="2324"/>
                  </a:lnTo>
                  <a:lnTo>
                    <a:pt x="838" y="2324"/>
                  </a:lnTo>
                  <a:lnTo>
                    <a:pt x="840" y="2324"/>
                  </a:lnTo>
                  <a:lnTo>
                    <a:pt x="840" y="2323"/>
                  </a:lnTo>
                  <a:lnTo>
                    <a:pt x="842" y="2323"/>
                  </a:lnTo>
                  <a:lnTo>
                    <a:pt x="842" y="2323"/>
                  </a:lnTo>
                  <a:lnTo>
                    <a:pt x="842" y="2323"/>
                  </a:lnTo>
                  <a:lnTo>
                    <a:pt x="843" y="2323"/>
                  </a:lnTo>
                  <a:lnTo>
                    <a:pt x="843" y="2324"/>
                  </a:lnTo>
                  <a:lnTo>
                    <a:pt x="845" y="2324"/>
                  </a:lnTo>
                  <a:lnTo>
                    <a:pt x="847" y="2324"/>
                  </a:lnTo>
                  <a:lnTo>
                    <a:pt x="847" y="2324"/>
                  </a:lnTo>
                  <a:lnTo>
                    <a:pt x="849" y="2326"/>
                  </a:lnTo>
                  <a:lnTo>
                    <a:pt x="849" y="2326"/>
                  </a:lnTo>
                  <a:lnTo>
                    <a:pt x="849" y="2326"/>
                  </a:lnTo>
                  <a:lnTo>
                    <a:pt x="849" y="2328"/>
                  </a:lnTo>
                  <a:lnTo>
                    <a:pt x="847" y="2328"/>
                  </a:lnTo>
                  <a:lnTo>
                    <a:pt x="849" y="2330"/>
                  </a:lnTo>
                  <a:lnTo>
                    <a:pt x="849" y="2330"/>
                  </a:lnTo>
                  <a:lnTo>
                    <a:pt x="851" y="2330"/>
                  </a:lnTo>
                  <a:lnTo>
                    <a:pt x="851" y="2330"/>
                  </a:lnTo>
                  <a:lnTo>
                    <a:pt x="852" y="2330"/>
                  </a:lnTo>
                  <a:lnTo>
                    <a:pt x="852" y="2330"/>
                  </a:lnTo>
                  <a:lnTo>
                    <a:pt x="854" y="2330"/>
                  </a:lnTo>
                  <a:lnTo>
                    <a:pt x="854" y="2328"/>
                  </a:lnTo>
                  <a:lnTo>
                    <a:pt x="854" y="2326"/>
                  </a:lnTo>
                  <a:lnTo>
                    <a:pt x="856" y="2326"/>
                  </a:lnTo>
                  <a:lnTo>
                    <a:pt x="863" y="2321"/>
                  </a:lnTo>
                  <a:lnTo>
                    <a:pt x="867" y="2321"/>
                  </a:lnTo>
                  <a:lnTo>
                    <a:pt x="871" y="2319"/>
                  </a:lnTo>
                  <a:lnTo>
                    <a:pt x="874" y="2321"/>
                  </a:lnTo>
                  <a:lnTo>
                    <a:pt x="881" y="2319"/>
                  </a:lnTo>
                  <a:lnTo>
                    <a:pt x="883" y="2317"/>
                  </a:lnTo>
                  <a:lnTo>
                    <a:pt x="885" y="2314"/>
                  </a:lnTo>
                  <a:lnTo>
                    <a:pt x="887" y="2314"/>
                  </a:lnTo>
                  <a:lnTo>
                    <a:pt x="892" y="2314"/>
                  </a:lnTo>
                  <a:lnTo>
                    <a:pt x="894" y="2314"/>
                  </a:lnTo>
                  <a:lnTo>
                    <a:pt x="894" y="2315"/>
                  </a:lnTo>
                  <a:lnTo>
                    <a:pt x="894" y="2317"/>
                  </a:lnTo>
                  <a:lnTo>
                    <a:pt x="896" y="2321"/>
                  </a:lnTo>
                  <a:lnTo>
                    <a:pt x="899" y="2323"/>
                  </a:lnTo>
                  <a:lnTo>
                    <a:pt x="901" y="2324"/>
                  </a:lnTo>
                  <a:lnTo>
                    <a:pt x="901" y="2326"/>
                  </a:lnTo>
                  <a:lnTo>
                    <a:pt x="901" y="2328"/>
                  </a:lnTo>
                  <a:lnTo>
                    <a:pt x="901" y="2330"/>
                  </a:lnTo>
                  <a:lnTo>
                    <a:pt x="901" y="2330"/>
                  </a:lnTo>
                  <a:lnTo>
                    <a:pt x="901" y="2332"/>
                  </a:lnTo>
                  <a:lnTo>
                    <a:pt x="903" y="2334"/>
                  </a:lnTo>
                  <a:lnTo>
                    <a:pt x="908" y="2341"/>
                  </a:lnTo>
                  <a:lnTo>
                    <a:pt x="910" y="2343"/>
                  </a:lnTo>
                  <a:lnTo>
                    <a:pt x="914" y="2344"/>
                  </a:lnTo>
                  <a:lnTo>
                    <a:pt x="916" y="2344"/>
                  </a:lnTo>
                  <a:lnTo>
                    <a:pt x="917" y="2346"/>
                  </a:lnTo>
                  <a:lnTo>
                    <a:pt x="919" y="2348"/>
                  </a:lnTo>
                  <a:lnTo>
                    <a:pt x="921" y="2352"/>
                  </a:lnTo>
                  <a:lnTo>
                    <a:pt x="921" y="2352"/>
                  </a:lnTo>
                  <a:lnTo>
                    <a:pt x="921" y="2353"/>
                  </a:lnTo>
                  <a:lnTo>
                    <a:pt x="921" y="2353"/>
                  </a:lnTo>
                  <a:lnTo>
                    <a:pt x="921" y="2355"/>
                  </a:lnTo>
                  <a:lnTo>
                    <a:pt x="923" y="2353"/>
                  </a:lnTo>
                  <a:lnTo>
                    <a:pt x="925" y="2352"/>
                  </a:lnTo>
                  <a:lnTo>
                    <a:pt x="925" y="2352"/>
                  </a:lnTo>
                  <a:lnTo>
                    <a:pt x="927" y="2352"/>
                  </a:lnTo>
                  <a:lnTo>
                    <a:pt x="927" y="2353"/>
                  </a:lnTo>
                  <a:lnTo>
                    <a:pt x="927" y="2353"/>
                  </a:lnTo>
                  <a:lnTo>
                    <a:pt x="930" y="2352"/>
                  </a:lnTo>
                  <a:lnTo>
                    <a:pt x="930" y="2348"/>
                  </a:lnTo>
                  <a:lnTo>
                    <a:pt x="930" y="2344"/>
                  </a:lnTo>
                  <a:lnTo>
                    <a:pt x="930" y="2343"/>
                  </a:lnTo>
                  <a:lnTo>
                    <a:pt x="930" y="2341"/>
                  </a:lnTo>
                  <a:lnTo>
                    <a:pt x="934" y="2343"/>
                  </a:lnTo>
                  <a:lnTo>
                    <a:pt x="936" y="2343"/>
                  </a:lnTo>
                  <a:lnTo>
                    <a:pt x="937" y="2343"/>
                  </a:lnTo>
                  <a:lnTo>
                    <a:pt x="937" y="2343"/>
                  </a:lnTo>
                  <a:lnTo>
                    <a:pt x="939" y="2348"/>
                  </a:lnTo>
                  <a:lnTo>
                    <a:pt x="939" y="2348"/>
                  </a:lnTo>
                  <a:lnTo>
                    <a:pt x="941" y="2348"/>
                  </a:lnTo>
                  <a:lnTo>
                    <a:pt x="943" y="2348"/>
                  </a:lnTo>
                  <a:lnTo>
                    <a:pt x="943" y="2350"/>
                  </a:lnTo>
                  <a:lnTo>
                    <a:pt x="945" y="2350"/>
                  </a:lnTo>
                  <a:lnTo>
                    <a:pt x="946" y="2350"/>
                  </a:lnTo>
                  <a:lnTo>
                    <a:pt x="950" y="2350"/>
                  </a:lnTo>
                  <a:lnTo>
                    <a:pt x="952" y="2350"/>
                  </a:lnTo>
                  <a:lnTo>
                    <a:pt x="954" y="2350"/>
                  </a:lnTo>
                  <a:lnTo>
                    <a:pt x="954" y="2350"/>
                  </a:lnTo>
                  <a:lnTo>
                    <a:pt x="955" y="2350"/>
                  </a:lnTo>
                  <a:lnTo>
                    <a:pt x="955" y="2350"/>
                  </a:lnTo>
                  <a:lnTo>
                    <a:pt x="955" y="2350"/>
                  </a:lnTo>
                  <a:lnTo>
                    <a:pt x="955" y="2352"/>
                  </a:lnTo>
                  <a:lnTo>
                    <a:pt x="955" y="2352"/>
                  </a:lnTo>
                  <a:lnTo>
                    <a:pt x="955" y="2353"/>
                  </a:lnTo>
                  <a:lnTo>
                    <a:pt x="955" y="2353"/>
                  </a:lnTo>
                  <a:lnTo>
                    <a:pt x="959" y="2355"/>
                  </a:lnTo>
                  <a:lnTo>
                    <a:pt x="964" y="2357"/>
                  </a:lnTo>
                  <a:lnTo>
                    <a:pt x="966" y="2359"/>
                  </a:lnTo>
                  <a:lnTo>
                    <a:pt x="966" y="2361"/>
                  </a:lnTo>
                  <a:lnTo>
                    <a:pt x="968" y="2362"/>
                  </a:lnTo>
                  <a:lnTo>
                    <a:pt x="973" y="2361"/>
                  </a:lnTo>
                  <a:lnTo>
                    <a:pt x="973" y="2361"/>
                  </a:lnTo>
                  <a:lnTo>
                    <a:pt x="975" y="2361"/>
                  </a:lnTo>
                  <a:lnTo>
                    <a:pt x="977" y="2359"/>
                  </a:lnTo>
                  <a:lnTo>
                    <a:pt x="977" y="2357"/>
                  </a:lnTo>
                  <a:lnTo>
                    <a:pt x="979" y="2357"/>
                  </a:lnTo>
                  <a:lnTo>
                    <a:pt x="981" y="2357"/>
                  </a:lnTo>
                  <a:lnTo>
                    <a:pt x="981" y="2357"/>
                  </a:lnTo>
                  <a:lnTo>
                    <a:pt x="984" y="2364"/>
                  </a:lnTo>
                  <a:lnTo>
                    <a:pt x="984" y="2366"/>
                  </a:lnTo>
                  <a:lnTo>
                    <a:pt x="986" y="2368"/>
                  </a:lnTo>
                  <a:lnTo>
                    <a:pt x="988" y="2368"/>
                  </a:lnTo>
                  <a:lnTo>
                    <a:pt x="990" y="2368"/>
                  </a:lnTo>
                  <a:lnTo>
                    <a:pt x="992" y="2366"/>
                  </a:lnTo>
                  <a:lnTo>
                    <a:pt x="993" y="2366"/>
                  </a:lnTo>
                  <a:lnTo>
                    <a:pt x="995" y="2368"/>
                  </a:lnTo>
                  <a:lnTo>
                    <a:pt x="997" y="2368"/>
                  </a:lnTo>
                  <a:lnTo>
                    <a:pt x="999" y="2368"/>
                  </a:lnTo>
                  <a:lnTo>
                    <a:pt x="1001" y="2368"/>
                  </a:lnTo>
                  <a:lnTo>
                    <a:pt x="1001" y="2370"/>
                  </a:lnTo>
                  <a:lnTo>
                    <a:pt x="1001" y="2373"/>
                  </a:lnTo>
                  <a:lnTo>
                    <a:pt x="1002" y="2377"/>
                  </a:lnTo>
                  <a:lnTo>
                    <a:pt x="1004" y="2377"/>
                  </a:lnTo>
                  <a:lnTo>
                    <a:pt x="1006" y="2379"/>
                  </a:lnTo>
                  <a:lnTo>
                    <a:pt x="1008" y="2379"/>
                  </a:lnTo>
                  <a:lnTo>
                    <a:pt x="1011" y="2382"/>
                  </a:lnTo>
                  <a:lnTo>
                    <a:pt x="1011" y="2382"/>
                  </a:lnTo>
                  <a:lnTo>
                    <a:pt x="1013" y="2382"/>
                  </a:lnTo>
                  <a:lnTo>
                    <a:pt x="1015" y="2382"/>
                  </a:lnTo>
                  <a:lnTo>
                    <a:pt x="1017" y="2380"/>
                  </a:lnTo>
                  <a:lnTo>
                    <a:pt x="1017" y="2380"/>
                  </a:lnTo>
                  <a:lnTo>
                    <a:pt x="1020" y="2377"/>
                  </a:lnTo>
                  <a:lnTo>
                    <a:pt x="1022" y="2377"/>
                  </a:lnTo>
                  <a:lnTo>
                    <a:pt x="1022" y="2377"/>
                  </a:lnTo>
                  <a:lnTo>
                    <a:pt x="1028" y="2379"/>
                  </a:lnTo>
                  <a:lnTo>
                    <a:pt x="1028" y="2379"/>
                  </a:lnTo>
                  <a:lnTo>
                    <a:pt x="1028" y="2379"/>
                  </a:lnTo>
                  <a:lnTo>
                    <a:pt x="1028" y="2380"/>
                  </a:lnTo>
                  <a:lnTo>
                    <a:pt x="1028" y="2382"/>
                  </a:lnTo>
                  <a:lnTo>
                    <a:pt x="1026" y="2382"/>
                  </a:lnTo>
                  <a:lnTo>
                    <a:pt x="1024" y="2384"/>
                  </a:lnTo>
                  <a:lnTo>
                    <a:pt x="1024" y="2386"/>
                  </a:lnTo>
                  <a:lnTo>
                    <a:pt x="1024" y="2388"/>
                  </a:lnTo>
                  <a:lnTo>
                    <a:pt x="1024" y="2391"/>
                  </a:lnTo>
                  <a:lnTo>
                    <a:pt x="1026" y="2393"/>
                  </a:lnTo>
                  <a:lnTo>
                    <a:pt x="1029" y="2397"/>
                  </a:lnTo>
                  <a:lnTo>
                    <a:pt x="1029" y="2399"/>
                  </a:lnTo>
                  <a:lnTo>
                    <a:pt x="1029" y="2399"/>
                  </a:lnTo>
                  <a:lnTo>
                    <a:pt x="1029" y="2402"/>
                  </a:lnTo>
                  <a:lnTo>
                    <a:pt x="1029" y="2404"/>
                  </a:lnTo>
                  <a:lnTo>
                    <a:pt x="1028" y="2406"/>
                  </a:lnTo>
                  <a:lnTo>
                    <a:pt x="1028" y="2406"/>
                  </a:lnTo>
                  <a:lnTo>
                    <a:pt x="1026" y="2408"/>
                  </a:lnTo>
                  <a:lnTo>
                    <a:pt x="1024" y="2409"/>
                  </a:lnTo>
                  <a:lnTo>
                    <a:pt x="1024" y="2411"/>
                  </a:lnTo>
                  <a:lnTo>
                    <a:pt x="1020" y="2413"/>
                  </a:lnTo>
                  <a:lnTo>
                    <a:pt x="1019" y="2415"/>
                  </a:lnTo>
                  <a:lnTo>
                    <a:pt x="1019" y="2417"/>
                  </a:lnTo>
                  <a:lnTo>
                    <a:pt x="1019" y="2417"/>
                  </a:lnTo>
                  <a:lnTo>
                    <a:pt x="1019" y="2418"/>
                  </a:lnTo>
                  <a:lnTo>
                    <a:pt x="1017" y="2420"/>
                  </a:lnTo>
                  <a:lnTo>
                    <a:pt x="1017" y="2420"/>
                  </a:lnTo>
                  <a:lnTo>
                    <a:pt x="1017" y="2420"/>
                  </a:lnTo>
                  <a:lnTo>
                    <a:pt x="1015" y="2420"/>
                  </a:lnTo>
                  <a:lnTo>
                    <a:pt x="1013" y="2420"/>
                  </a:lnTo>
                  <a:lnTo>
                    <a:pt x="1010" y="2422"/>
                  </a:lnTo>
                  <a:lnTo>
                    <a:pt x="1006" y="2422"/>
                  </a:lnTo>
                  <a:lnTo>
                    <a:pt x="1006" y="2422"/>
                  </a:lnTo>
                  <a:lnTo>
                    <a:pt x="1006" y="2426"/>
                  </a:lnTo>
                  <a:lnTo>
                    <a:pt x="1006" y="2427"/>
                  </a:lnTo>
                  <a:lnTo>
                    <a:pt x="1008" y="2427"/>
                  </a:lnTo>
                  <a:lnTo>
                    <a:pt x="1008" y="2427"/>
                  </a:lnTo>
                  <a:lnTo>
                    <a:pt x="1008" y="2429"/>
                  </a:lnTo>
                  <a:lnTo>
                    <a:pt x="1010" y="2431"/>
                  </a:lnTo>
                  <a:lnTo>
                    <a:pt x="1010" y="2431"/>
                  </a:lnTo>
                  <a:lnTo>
                    <a:pt x="1011" y="2431"/>
                  </a:lnTo>
                  <a:lnTo>
                    <a:pt x="1015" y="2433"/>
                  </a:lnTo>
                  <a:lnTo>
                    <a:pt x="1017" y="2433"/>
                  </a:lnTo>
                  <a:lnTo>
                    <a:pt x="1017" y="2433"/>
                  </a:lnTo>
                  <a:lnTo>
                    <a:pt x="1017" y="2433"/>
                  </a:lnTo>
                  <a:lnTo>
                    <a:pt x="1019" y="2435"/>
                  </a:lnTo>
                  <a:lnTo>
                    <a:pt x="1019" y="2435"/>
                  </a:lnTo>
                  <a:lnTo>
                    <a:pt x="1020" y="2435"/>
                  </a:lnTo>
                  <a:lnTo>
                    <a:pt x="1020" y="2433"/>
                  </a:lnTo>
                  <a:lnTo>
                    <a:pt x="1022" y="2431"/>
                  </a:lnTo>
                  <a:lnTo>
                    <a:pt x="1024" y="2433"/>
                  </a:lnTo>
                  <a:lnTo>
                    <a:pt x="1024" y="2433"/>
                  </a:lnTo>
                  <a:lnTo>
                    <a:pt x="1024" y="2435"/>
                  </a:lnTo>
                  <a:lnTo>
                    <a:pt x="1024" y="2436"/>
                  </a:lnTo>
                  <a:lnTo>
                    <a:pt x="1022" y="2438"/>
                  </a:lnTo>
                  <a:lnTo>
                    <a:pt x="1020" y="2440"/>
                  </a:lnTo>
                  <a:lnTo>
                    <a:pt x="1019" y="2440"/>
                  </a:lnTo>
                  <a:lnTo>
                    <a:pt x="1013" y="2438"/>
                  </a:lnTo>
                  <a:lnTo>
                    <a:pt x="1011" y="2438"/>
                  </a:lnTo>
                  <a:lnTo>
                    <a:pt x="1011" y="2438"/>
                  </a:lnTo>
                  <a:lnTo>
                    <a:pt x="1010" y="2438"/>
                  </a:lnTo>
                  <a:lnTo>
                    <a:pt x="1010" y="2440"/>
                  </a:lnTo>
                  <a:lnTo>
                    <a:pt x="1010" y="2440"/>
                  </a:lnTo>
                  <a:lnTo>
                    <a:pt x="1008" y="2442"/>
                  </a:lnTo>
                  <a:lnTo>
                    <a:pt x="1008" y="2442"/>
                  </a:lnTo>
                  <a:lnTo>
                    <a:pt x="1006" y="2442"/>
                  </a:lnTo>
                  <a:lnTo>
                    <a:pt x="1004" y="2453"/>
                  </a:lnTo>
                  <a:lnTo>
                    <a:pt x="1002" y="2455"/>
                  </a:lnTo>
                  <a:lnTo>
                    <a:pt x="1004" y="2455"/>
                  </a:lnTo>
                  <a:lnTo>
                    <a:pt x="1006" y="2455"/>
                  </a:lnTo>
                  <a:lnTo>
                    <a:pt x="1011" y="2455"/>
                  </a:lnTo>
                  <a:lnTo>
                    <a:pt x="1013" y="2456"/>
                  </a:lnTo>
                  <a:lnTo>
                    <a:pt x="1015" y="2456"/>
                  </a:lnTo>
                  <a:lnTo>
                    <a:pt x="1015" y="2458"/>
                  </a:lnTo>
                  <a:lnTo>
                    <a:pt x="1015" y="2460"/>
                  </a:lnTo>
                  <a:lnTo>
                    <a:pt x="1015" y="2460"/>
                  </a:lnTo>
                  <a:lnTo>
                    <a:pt x="1015" y="2460"/>
                  </a:lnTo>
                  <a:lnTo>
                    <a:pt x="1015" y="2460"/>
                  </a:lnTo>
                  <a:lnTo>
                    <a:pt x="1015" y="2462"/>
                  </a:lnTo>
                  <a:lnTo>
                    <a:pt x="1015" y="2462"/>
                  </a:lnTo>
                  <a:lnTo>
                    <a:pt x="1013" y="2462"/>
                  </a:lnTo>
                  <a:lnTo>
                    <a:pt x="1013" y="2462"/>
                  </a:lnTo>
                  <a:lnTo>
                    <a:pt x="1013" y="2462"/>
                  </a:lnTo>
                  <a:lnTo>
                    <a:pt x="1015" y="2464"/>
                  </a:lnTo>
                  <a:lnTo>
                    <a:pt x="1015" y="2464"/>
                  </a:lnTo>
                  <a:lnTo>
                    <a:pt x="1017" y="2467"/>
                  </a:lnTo>
                  <a:lnTo>
                    <a:pt x="1017" y="2469"/>
                  </a:lnTo>
                  <a:lnTo>
                    <a:pt x="1017" y="2471"/>
                  </a:lnTo>
                  <a:lnTo>
                    <a:pt x="1019" y="2471"/>
                  </a:lnTo>
                  <a:lnTo>
                    <a:pt x="1017" y="2471"/>
                  </a:lnTo>
                  <a:lnTo>
                    <a:pt x="1015" y="2473"/>
                  </a:lnTo>
                  <a:lnTo>
                    <a:pt x="1013" y="2476"/>
                  </a:lnTo>
                  <a:lnTo>
                    <a:pt x="1015" y="2478"/>
                  </a:lnTo>
                  <a:lnTo>
                    <a:pt x="1017" y="2478"/>
                  </a:lnTo>
                  <a:lnTo>
                    <a:pt x="1019" y="2476"/>
                  </a:lnTo>
                  <a:lnTo>
                    <a:pt x="1020" y="2476"/>
                  </a:lnTo>
                  <a:lnTo>
                    <a:pt x="1020" y="2478"/>
                  </a:lnTo>
                  <a:lnTo>
                    <a:pt x="1020" y="2480"/>
                  </a:lnTo>
                  <a:lnTo>
                    <a:pt x="1020" y="2482"/>
                  </a:lnTo>
                  <a:lnTo>
                    <a:pt x="1020" y="2482"/>
                  </a:lnTo>
                  <a:lnTo>
                    <a:pt x="1017" y="2483"/>
                  </a:lnTo>
                  <a:lnTo>
                    <a:pt x="1017" y="2485"/>
                  </a:lnTo>
                  <a:lnTo>
                    <a:pt x="1013" y="2491"/>
                  </a:lnTo>
                  <a:lnTo>
                    <a:pt x="1013" y="2491"/>
                  </a:lnTo>
                  <a:lnTo>
                    <a:pt x="1013" y="2492"/>
                  </a:lnTo>
                  <a:lnTo>
                    <a:pt x="1013" y="2496"/>
                  </a:lnTo>
                  <a:lnTo>
                    <a:pt x="1013" y="2496"/>
                  </a:lnTo>
                  <a:lnTo>
                    <a:pt x="1013" y="2496"/>
                  </a:lnTo>
                  <a:lnTo>
                    <a:pt x="1013" y="2496"/>
                  </a:lnTo>
                  <a:lnTo>
                    <a:pt x="1011" y="2496"/>
                  </a:lnTo>
                  <a:lnTo>
                    <a:pt x="1010" y="2496"/>
                  </a:lnTo>
                  <a:lnTo>
                    <a:pt x="1010" y="2498"/>
                  </a:lnTo>
                  <a:lnTo>
                    <a:pt x="1010" y="2498"/>
                  </a:lnTo>
                  <a:lnTo>
                    <a:pt x="1010" y="2498"/>
                  </a:lnTo>
                  <a:lnTo>
                    <a:pt x="1011" y="2500"/>
                  </a:lnTo>
                  <a:lnTo>
                    <a:pt x="1011" y="2502"/>
                  </a:lnTo>
                  <a:lnTo>
                    <a:pt x="1011" y="2502"/>
                  </a:lnTo>
                  <a:lnTo>
                    <a:pt x="1011" y="2503"/>
                  </a:lnTo>
                  <a:lnTo>
                    <a:pt x="1011" y="2503"/>
                  </a:lnTo>
                  <a:lnTo>
                    <a:pt x="1011" y="2505"/>
                  </a:lnTo>
                  <a:lnTo>
                    <a:pt x="1010" y="2505"/>
                  </a:lnTo>
                  <a:lnTo>
                    <a:pt x="1010" y="2505"/>
                  </a:lnTo>
                  <a:lnTo>
                    <a:pt x="1011" y="2507"/>
                  </a:lnTo>
                  <a:lnTo>
                    <a:pt x="1011" y="2507"/>
                  </a:lnTo>
                  <a:lnTo>
                    <a:pt x="1010" y="2509"/>
                  </a:lnTo>
                  <a:lnTo>
                    <a:pt x="1010" y="2511"/>
                  </a:lnTo>
                  <a:lnTo>
                    <a:pt x="1008" y="2512"/>
                  </a:lnTo>
                  <a:lnTo>
                    <a:pt x="1006" y="2512"/>
                  </a:lnTo>
                  <a:lnTo>
                    <a:pt x="1002" y="2511"/>
                  </a:lnTo>
                  <a:lnTo>
                    <a:pt x="1001" y="2511"/>
                  </a:lnTo>
                  <a:lnTo>
                    <a:pt x="997" y="2512"/>
                  </a:lnTo>
                  <a:lnTo>
                    <a:pt x="995" y="2512"/>
                  </a:lnTo>
                  <a:lnTo>
                    <a:pt x="995" y="2511"/>
                  </a:lnTo>
                  <a:lnTo>
                    <a:pt x="992" y="2512"/>
                  </a:lnTo>
                  <a:lnTo>
                    <a:pt x="992" y="2512"/>
                  </a:lnTo>
                  <a:lnTo>
                    <a:pt x="990" y="2512"/>
                  </a:lnTo>
                  <a:lnTo>
                    <a:pt x="988" y="2511"/>
                  </a:lnTo>
                  <a:lnTo>
                    <a:pt x="988" y="2511"/>
                  </a:lnTo>
                  <a:lnTo>
                    <a:pt x="981" y="2511"/>
                  </a:lnTo>
                  <a:lnTo>
                    <a:pt x="979" y="2511"/>
                  </a:lnTo>
                  <a:lnTo>
                    <a:pt x="977" y="2512"/>
                  </a:lnTo>
                  <a:lnTo>
                    <a:pt x="975" y="2511"/>
                  </a:lnTo>
                  <a:lnTo>
                    <a:pt x="973" y="2509"/>
                  </a:lnTo>
                  <a:lnTo>
                    <a:pt x="973" y="2509"/>
                  </a:lnTo>
                  <a:lnTo>
                    <a:pt x="966" y="2509"/>
                  </a:lnTo>
                  <a:lnTo>
                    <a:pt x="963" y="2511"/>
                  </a:lnTo>
                  <a:lnTo>
                    <a:pt x="961" y="2512"/>
                  </a:lnTo>
                  <a:lnTo>
                    <a:pt x="961" y="2516"/>
                  </a:lnTo>
                  <a:lnTo>
                    <a:pt x="959" y="2518"/>
                  </a:lnTo>
                  <a:lnTo>
                    <a:pt x="959" y="2521"/>
                  </a:lnTo>
                  <a:lnTo>
                    <a:pt x="959" y="2523"/>
                  </a:lnTo>
                  <a:lnTo>
                    <a:pt x="957" y="2523"/>
                  </a:lnTo>
                  <a:lnTo>
                    <a:pt x="955" y="2521"/>
                  </a:lnTo>
                  <a:lnTo>
                    <a:pt x="955" y="2523"/>
                  </a:lnTo>
                  <a:lnTo>
                    <a:pt x="954" y="2523"/>
                  </a:lnTo>
                  <a:lnTo>
                    <a:pt x="952" y="2525"/>
                  </a:lnTo>
                  <a:lnTo>
                    <a:pt x="950" y="2527"/>
                  </a:lnTo>
                  <a:lnTo>
                    <a:pt x="950" y="2527"/>
                  </a:lnTo>
                  <a:lnTo>
                    <a:pt x="939" y="2529"/>
                  </a:lnTo>
                  <a:lnTo>
                    <a:pt x="937" y="2529"/>
                  </a:lnTo>
                  <a:lnTo>
                    <a:pt x="936" y="2530"/>
                  </a:lnTo>
                  <a:lnTo>
                    <a:pt x="936" y="2534"/>
                  </a:lnTo>
                  <a:lnTo>
                    <a:pt x="934" y="2536"/>
                  </a:lnTo>
                  <a:lnTo>
                    <a:pt x="936" y="2541"/>
                  </a:lnTo>
                  <a:lnTo>
                    <a:pt x="934" y="2543"/>
                  </a:lnTo>
                  <a:lnTo>
                    <a:pt x="934" y="2547"/>
                  </a:lnTo>
                  <a:lnTo>
                    <a:pt x="932" y="2548"/>
                  </a:lnTo>
                  <a:lnTo>
                    <a:pt x="930" y="2548"/>
                  </a:lnTo>
                  <a:lnTo>
                    <a:pt x="930" y="2550"/>
                  </a:lnTo>
                  <a:lnTo>
                    <a:pt x="932" y="2552"/>
                  </a:lnTo>
                  <a:lnTo>
                    <a:pt x="932" y="2552"/>
                  </a:lnTo>
                  <a:lnTo>
                    <a:pt x="934" y="2550"/>
                  </a:lnTo>
                  <a:lnTo>
                    <a:pt x="936" y="2552"/>
                  </a:lnTo>
                  <a:lnTo>
                    <a:pt x="936" y="2552"/>
                  </a:lnTo>
                  <a:lnTo>
                    <a:pt x="937" y="2552"/>
                  </a:lnTo>
                  <a:lnTo>
                    <a:pt x="936" y="2554"/>
                  </a:lnTo>
                  <a:lnTo>
                    <a:pt x="936" y="2556"/>
                  </a:lnTo>
                  <a:lnTo>
                    <a:pt x="936" y="2556"/>
                  </a:lnTo>
                  <a:lnTo>
                    <a:pt x="934" y="2556"/>
                  </a:lnTo>
                  <a:lnTo>
                    <a:pt x="932" y="2558"/>
                  </a:lnTo>
                  <a:lnTo>
                    <a:pt x="932" y="2559"/>
                  </a:lnTo>
                  <a:lnTo>
                    <a:pt x="932" y="2561"/>
                  </a:lnTo>
                  <a:lnTo>
                    <a:pt x="932" y="2563"/>
                  </a:lnTo>
                  <a:lnTo>
                    <a:pt x="932" y="2565"/>
                  </a:lnTo>
                  <a:lnTo>
                    <a:pt x="932" y="2565"/>
                  </a:lnTo>
                  <a:lnTo>
                    <a:pt x="936" y="2565"/>
                  </a:lnTo>
                  <a:lnTo>
                    <a:pt x="943" y="2563"/>
                  </a:lnTo>
                  <a:lnTo>
                    <a:pt x="945" y="2563"/>
                  </a:lnTo>
                  <a:lnTo>
                    <a:pt x="945" y="2561"/>
                  </a:lnTo>
                  <a:lnTo>
                    <a:pt x="945" y="2561"/>
                  </a:lnTo>
                  <a:lnTo>
                    <a:pt x="945" y="2559"/>
                  </a:lnTo>
                  <a:lnTo>
                    <a:pt x="946" y="2559"/>
                  </a:lnTo>
                  <a:lnTo>
                    <a:pt x="946" y="2559"/>
                  </a:lnTo>
                  <a:lnTo>
                    <a:pt x="946" y="2559"/>
                  </a:lnTo>
                  <a:lnTo>
                    <a:pt x="948" y="2558"/>
                  </a:lnTo>
                  <a:lnTo>
                    <a:pt x="950" y="2556"/>
                  </a:lnTo>
                  <a:lnTo>
                    <a:pt x="952" y="2556"/>
                  </a:lnTo>
                  <a:lnTo>
                    <a:pt x="959" y="2554"/>
                  </a:lnTo>
                  <a:lnTo>
                    <a:pt x="961" y="2554"/>
                  </a:lnTo>
                  <a:lnTo>
                    <a:pt x="961" y="2554"/>
                  </a:lnTo>
                  <a:lnTo>
                    <a:pt x="961" y="2554"/>
                  </a:lnTo>
                  <a:lnTo>
                    <a:pt x="961" y="2552"/>
                  </a:lnTo>
                  <a:lnTo>
                    <a:pt x="963" y="2552"/>
                  </a:lnTo>
                  <a:lnTo>
                    <a:pt x="963" y="2552"/>
                  </a:lnTo>
                  <a:lnTo>
                    <a:pt x="963" y="2552"/>
                  </a:lnTo>
                  <a:lnTo>
                    <a:pt x="963" y="2554"/>
                  </a:lnTo>
                  <a:lnTo>
                    <a:pt x="961" y="2554"/>
                  </a:lnTo>
                  <a:lnTo>
                    <a:pt x="961" y="2554"/>
                  </a:lnTo>
                  <a:lnTo>
                    <a:pt x="952" y="2556"/>
                  </a:lnTo>
                  <a:lnTo>
                    <a:pt x="950" y="2558"/>
                  </a:lnTo>
                  <a:lnTo>
                    <a:pt x="948" y="2558"/>
                  </a:lnTo>
                  <a:lnTo>
                    <a:pt x="948" y="2559"/>
                  </a:lnTo>
                  <a:lnTo>
                    <a:pt x="948" y="2559"/>
                  </a:lnTo>
                  <a:lnTo>
                    <a:pt x="946" y="2559"/>
                  </a:lnTo>
                  <a:lnTo>
                    <a:pt x="946" y="2561"/>
                  </a:lnTo>
                  <a:lnTo>
                    <a:pt x="945" y="2563"/>
                  </a:lnTo>
                  <a:lnTo>
                    <a:pt x="946" y="2563"/>
                  </a:lnTo>
                  <a:lnTo>
                    <a:pt x="948" y="2565"/>
                  </a:lnTo>
                  <a:lnTo>
                    <a:pt x="948" y="2565"/>
                  </a:lnTo>
                  <a:lnTo>
                    <a:pt x="950" y="2565"/>
                  </a:lnTo>
                  <a:lnTo>
                    <a:pt x="950" y="2563"/>
                  </a:lnTo>
                  <a:lnTo>
                    <a:pt x="950" y="2563"/>
                  </a:lnTo>
                  <a:lnTo>
                    <a:pt x="950" y="2563"/>
                  </a:lnTo>
                  <a:lnTo>
                    <a:pt x="950" y="2563"/>
                  </a:lnTo>
                  <a:lnTo>
                    <a:pt x="950" y="2563"/>
                  </a:lnTo>
                  <a:lnTo>
                    <a:pt x="954" y="2563"/>
                  </a:lnTo>
                  <a:lnTo>
                    <a:pt x="954" y="2563"/>
                  </a:lnTo>
                  <a:lnTo>
                    <a:pt x="955" y="2561"/>
                  </a:lnTo>
                  <a:lnTo>
                    <a:pt x="957" y="2561"/>
                  </a:lnTo>
                  <a:lnTo>
                    <a:pt x="961" y="2561"/>
                  </a:lnTo>
                  <a:lnTo>
                    <a:pt x="963" y="2561"/>
                  </a:lnTo>
                  <a:lnTo>
                    <a:pt x="964" y="2561"/>
                  </a:lnTo>
                  <a:lnTo>
                    <a:pt x="964" y="2561"/>
                  </a:lnTo>
                  <a:lnTo>
                    <a:pt x="964" y="2559"/>
                  </a:lnTo>
                  <a:lnTo>
                    <a:pt x="966" y="2559"/>
                  </a:lnTo>
                  <a:lnTo>
                    <a:pt x="968" y="2559"/>
                  </a:lnTo>
                  <a:lnTo>
                    <a:pt x="968" y="2559"/>
                  </a:lnTo>
                  <a:lnTo>
                    <a:pt x="968" y="2558"/>
                  </a:lnTo>
                  <a:lnTo>
                    <a:pt x="968" y="2556"/>
                  </a:lnTo>
                  <a:lnTo>
                    <a:pt x="968" y="2554"/>
                  </a:lnTo>
                  <a:lnTo>
                    <a:pt x="970" y="2554"/>
                  </a:lnTo>
                  <a:lnTo>
                    <a:pt x="972" y="2554"/>
                  </a:lnTo>
                  <a:lnTo>
                    <a:pt x="973" y="2554"/>
                  </a:lnTo>
                  <a:lnTo>
                    <a:pt x="973" y="2554"/>
                  </a:lnTo>
                  <a:lnTo>
                    <a:pt x="975" y="2552"/>
                  </a:lnTo>
                  <a:lnTo>
                    <a:pt x="975" y="2552"/>
                  </a:lnTo>
                  <a:lnTo>
                    <a:pt x="977" y="2552"/>
                  </a:lnTo>
                  <a:lnTo>
                    <a:pt x="977" y="2552"/>
                  </a:lnTo>
                  <a:lnTo>
                    <a:pt x="979" y="2552"/>
                  </a:lnTo>
                  <a:lnTo>
                    <a:pt x="979" y="2552"/>
                  </a:lnTo>
                  <a:lnTo>
                    <a:pt x="981" y="2552"/>
                  </a:lnTo>
                  <a:lnTo>
                    <a:pt x="982" y="2554"/>
                  </a:lnTo>
                  <a:lnTo>
                    <a:pt x="984" y="2554"/>
                  </a:lnTo>
                  <a:lnTo>
                    <a:pt x="986" y="2556"/>
                  </a:lnTo>
                  <a:lnTo>
                    <a:pt x="986" y="2558"/>
                  </a:lnTo>
                  <a:lnTo>
                    <a:pt x="986" y="2558"/>
                  </a:lnTo>
                  <a:lnTo>
                    <a:pt x="984" y="2559"/>
                  </a:lnTo>
                  <a:lnTo>
                    <a:pt x="984" y="2559"/>
                  </a:lnTo>
                  <a:lnTo>
                    <a:pt x="984" y="2559"/>
                  </a:lnTo>
                  <a:lnTo>
                    <a:pt x="984" y="2559"/>
                  </a:lnTo>
                  <a:lnTo>
                    <a:pt x="984" y="2561"/>
                  </a:lnTo>
                  <a:lnTo>
                    <a:pt x="984" y="2563"/>
                  </a:lnTo>
                  <a:lnTo>
                    <a:pt x="984" y="2563"/>
                  </a:lnTo>
                  <a:lnTo>
                    <a:pt x="984" y="2565"/>
                  </a:lnTo>
                  <a:lnTo>
                    <a:pt x="984" y="2565"/>
                  </a:lnTo>
                  <a:lnTo>
                    <a:pt x="986" y="2567"/>
                  </a:lnTo>
                  <a:lnTo>
                    <a:pt x="986" y="2565"/>
                  </a:lnTo>
                  <a:lnTo>
                    <a:pt x="988" y="2563"/>
                  </a:lnTo>
                  <a:lnTo>
                    <a:pt x="990" y="2563"/>
                  </a:lnTo>
                  <a:lnTo>
                    <a:pt x="992" y="2565"/>
                  </a:lnTo>
                  <a:lnTo>
                    <a:pt x="990" y="2565"/>
                  </a:lnTo>
                  <a:lnTo>
                    <a:pt x="988" y="2565"/>
                  </a:lnTo>
                  <a:lnTo>
                    <a:pt x="986" y="2567"/>
                  </a:lnTo>
                  <a:lnTo>
                    <a:pt x="986" y="2568"/>
                  </a:lnTo>
                  <a:lnTo>
                    <a:pt x="986" y="2570"/>
                  </a:lnTo>
                  <a:lnTo>
                    <a:pt x="986" y="2572"/>
                  </a:lnTo>
                  <a:lnTo>
                    <a:pt x="984" y="2572"/>
                  </a:lnTo>
                  <a:lnTo>
                    <a:pt x="979" y="2570"/>
                  </a:lnTo>
                  <a:lnTo>
                    <a:pt x="979" y="2570"/>
                  </a:lnTo>
                  <a:lnTo>
                    <a:pt x="979" y="2572"/>
                  </a:lnTo>
                  <a:lnTo>
                    <a:pt x="977" y="2572"/>
                  </a:lnTo>
                  <a:lnTo>
                    <a:pt x="977" y="2572"/>
                  </a:lnTo>
                  <a:lnTo>
                    <a:pt x="977" y="2572"/>
                  </a:lnTo>
                  <a:lnTo>
                    <a:pt x="977" y="2570"/>
                  </a:lnTo>
                  <a:lnTo>
                    <a:pt x="975" y="2570"/>
                  </a:lnTo>
                  <a:lnTo>
                    <a:pt x="975" y="2570"/>
                  </a:lnTo>
                  <a:lnTo>
                    <a:pt x="975" y="2570"/>
                  </a:lnTo>
                  <a:lnTo>
                    <a:pt x="975" y="2570"/>
                  </a:lnTo>
                  <a:lnTo>
                    <a:pt x="973" y="2572"/>
                  </a:lnTo>
                  <a:lnTo>
                    <a:pt x="972" y="2574"/>
                  </a:lnTo>
                  <a:lnTo>
                    <a:pt x="970" y="2576"/>
                  </a:lnTo>
                  <a:lnTo>
                    <a:pt x="968" y="2577"/>
                  </a:lnTo>
                  <a:lnTo>
                    <a:pt x="968" y="2577"/>
                  </a:lnTo>
                  <a:lnTo>
                    <a:pt x="966" y="2577"/>
                  </a:lnTo>
                  <a:lnTo>
                    <a:pt x="964" y="2577"/>
                  </a:lnTo>
                  <a:lnTo>
                    <a:pt x="964" y="2577"/>
                  </a:lnTo>
                  <a:lnTo>
                    <a:pt x="963" y="2579"/>
                  </a:lnTo>
                  <a:lnTo>
                    <a:pt x="961" y="2581"/>
                  </a:lnTo>
                  <a:lnTo>
                    <a:pt x="959" y="2581"/>
                  </a:lnTo>
                  <a:lnTo>
                    <a:pt x="957" y="2583"/>
                  </a:lnTo>
                  <a:lnTo>
                    <a:pt x="955" y="2583"/>
                  </a:lnTo>
                  <a:lnTo>
                    <a:pt x="952" y="2583"/>
                  </a:lnTo>
                  <a:lnTo>
                    <a:pt x="950" y="2583"/>
                  </a:lnTo>
                  <a:lnTo>
                    <a:pt x="950" y="2585"/>
                  </a:lnTo>
                  <a:lnTo>
                    <a:pt x="945" y="2583"/>
                  </a:lnTo>
                  <a:lnTo>
                    <a:pt x="945" y="2583"/>
                  </a:lnTo>
                  <a:lnTo>
                    <a:pt x="943" y="2585"/>
                  </a:lnTo>
                  <a:lnTo>
                    <a:pt x="943" y="2585"/>
                  </a:lnTo>
                  <a:lnTo>
                    <a:pt x="941" y="2586"/>
                  </a:lnTo>
                  <a:lnTo>
                    <a:pt x="941" y="2586"/>
                  </a:lnTo>
                  <a:lnTo>
                    <a:pt x="941" y="2588"/>
                  </a:lnTo>
                  <a:lnTo>
                    <a:pt x="941" y="2588"/>
                  </a:lnTo>
                  <a:lnTo>
                    <a:pt x="941" y="2588"/>
                  </a:lnTo>
                  <a:lnTo>
                    <a:pt x="941" y="2590"/>
                  </a:lnTo>
                  <a:lnTo>
                    <a:pt x="939" y="2590"/>
                  </a:lnTo>
                  <a:lnTo>
                    <a:pt x="939" y="2592"/>
                  </a:lnTo>
                  <a:lnTo>
                    <a:pt x="941" y="2592"/>
                  </a:lnTo>
                  <a:lnTo>
                    <a:pt x="941" y="2594"/>
                  </a:lnTo>
                  <a:lnTo>
                    <a:pt x="941" y="2594"/>
                  </a:lnTo>
                  <a:lnTo>
                    <a:pt x="941" y="2592"/>
                  </a:lnTo>
                  <a:lnTo>
                    <a:pt x="941" y="2592"/>
                  </a:lnTo>
                  <a:lnTo>
                    <a:pt x="943" y="2592"/>
                  </a:lnTo>
                  <a:lnTo>
                    <a:pt x="945" y="2592"/>
                  </a:lnTo>
                  <a:lnTo>
                    <a:pt x="946" y="2592"/>
                  </a:lnTo>
                  <a:lnTo>
                    <a:pt x="950" y="2594"/>
                  </a:lnTo>
                  <a:lnTo>
                    <a:pt x="950" y="2594"/>
                  </a:lnTo>
                  <a:lnTo>
                    <a:pt x="950" y="2595"/>
                  </a:lnTo>
                  <a:lnTo>
                    <a:pt x="952" y="2595"/>
                  </a:lnTo>
                  <a:lnTo>
                    <a:pt x="952" y="2597"/>
                  </a:lnTo>
                  <a:lnTo>
                    <a:pt x="950" y="2597"/>
                  </a:lnTo>
                  <a:lnTo>
                    <a:pt x="945" y="2599"/>
                  </a:lnTo>
                  <a:lnTo>
                    <a:pt x="937" y="2595"/>
                  </a:lnTo>
                  <a:lnTo>
                    <a:pt x="937" y="2595"/>
                  </a:lnTo>
                  <a:lnTo>
                    <a:pt x="936" y="2594"/>
                  </a:lnTo>
                  <a:lnTo>
                    <a:pt x="936" y="2594"/>
                  </a:lnTo>
                  <a:lnTo>
                    <a:pt x="936" y="2592"/>
                  </a:lnTo>
                  <a:lnTo>
                    <a:pt x="936" y="2592"/>
                  </a:lnTo>
                  <a:lnTo>
                    <a:pt x="934" y="2592"/>
                  </a:lnTo>
                  <a:lnTo>
                    <a:pt x="934" y="2594"/>
                  </a:lnTo>
                  <a:lnTo>
                    <a:pt x="932" y="2595"/>
                  </a:lnTo>
                  <a:lnTo>
                    <a:pt x="932" y="2595"/>
                  </a:lnTo>
                  <a:lnTo>
                    <a:pt x="928" y="2595"/>
                  </a:lnTo>
                  <a:lnTo>
                    <a:pt x="928" y="2595"/>
                  </a:lnTo>
                  <a:lnTo>
                    <a:pt x="927" y="2595"/>
                  </a:lnTo>
                  <a:lnTo>
                    <a:pt x="925" y="2599"/>
                  </a:lnTo>
                  <a:lnTo>
                    <a:pt x="923" y="2599"/>
                  </a:lnTo>
                  <a:lnTo>
                    <a:pt x="921" y="2601"/>
                  </a:lnTo>
                  <a:lnTo>
                    <a:pt x="917" y="2601"/>
                  </a:lnTo>
                  <a:lnTo>
                    <a:pt x="916" y="2599"/>
                  </a:lnTo>
                  <a:lnTo>
                    <a:pt x="914" y="2601"/>
                  </a:lnTo>
                  <a:lnTo>
                    <a:pt x="912" y="2599"/>
                  </a:lnTo>
                  <a:lnTo>
                    <a:pt x="910" y="2597"/>
                  </a:lnTo>
                  <a:lnTo>
                    <a:pt x="908" y="2595"/>
                  </a:lnTo>
                  <a:lnTo>
                    <a:pt x="908" y="2597"/>
                  </a:lnTo>
                  <a:lnTo>
                    <a:pt x="908" y="2597"/>
                  </a:lnTo>
                  <a:lnTo>
                    <a:pt x="908" y="2597"/>
                  </a:lnTo>
                  <a:lnTo>
                    <a:pt x="908" y="2597"/>
                  </a:lnTo>
                  <a:lnTo>
                    <a:pt x="908" y="2597"/>
                  </a:lnTo>
                  <a:lnTo>
                    <a:pt x="908" y="2599"/>
                  </a:lnTo>
                  <a:lnTo>
                    <a:pt x="910" y="2601"/>
                  </a:lnTo>
                  <a:lnTo>
                    <a:pt x="910" y="2603"/>
                  </a:lnTo>
                  <a:lnTo>
                    <a:pt x="912" y="2606"/>
                  </a:lnTo>
                  <a:lnTo>
                    <a:pt x="912" y="2608"/>
                  </a:lnTo>
                  <a:lnTo>
                    <a:pt x="912" y="2610"/>
                  </a:lnTo>
                  <a:lnTo>
                    <a:pt x="914" y="2612"/>
                  </a:lnTo>
                  <a:lnTo>
                    <a:pt x="914" y="2612"/>
                  </a:lnTo>
                  <a:lnTo>
                    <a:pt x="917" y="2615"/>
                  </a:lnTo>
                  <a:lnTo>
                    <a:pt x="919" y="2619"/>
                  </a:lnTo>
                  <a:lnTo>
                    <a:pt x="921" y="2619"/>
                  </a:lnTo>
                  <a:lnTo>
                    <a:pt x="923" y="2619"/>
                  </a:lnTo>
                  <a:lnTo>
                    <a:pt x="921" y="2619"/>
                  </a:lnTo>
                  <a:lnTo>
                    <a:pt x="921" y="2617"/>
                  </a:lnTo>
                  <a:lnTo>
                    <a:pt x="921" y="2617"/>
                  </a:lnTo>
                  <a:lnTo>
                    <a:pt x="921" y="2617"/>
                  </a:lnTo>
                  <a:lnTo>
                    <a:pt x="921" y="2615"/>
                  </a:lnTo>
                  <a:lnTo>
                    <a:pt x="925" y="2615"/>
                  </a:lnTo>
                  <a:lnTo>
                    <a:pt x="927" y="2617"/>
                  </a:lnTo>
                  <a:lnTo>
                    <a:pt x="928" y="2617"/>
                  </a:lnTo>
                  <a:lnTo>
                    <a:pt x="932" y="2623"/>
                  </a:lnTo>
                  <a:lnTo>
                    <a:pt x="934" y="2624"/>
                  </a:lnTo>
                  <a:lnTo>
                    <a:pt x="936" y="2626"/>
                  </a:lnTo>
                  <a:lnTo>
                    <a:pt x="936" y="2626"/>
                  </a:lnTo>
                  <a:lnTo>
                    <a:pt x="936" y="2628"/>
                  </a:lnTo>
                  <a:lnTo>
                    <a:pt x="937" y="2630"/>
                  </a:lnTo>
                  <a:lnTo>
                    <a:pt x="950" y="2637"/>
                  </a:lnTo>
                  <a:lnTo>
                    <a:pt x="950" y="2637"/>
                  </a:lnTo>
                  <a:lnTo>
                    <a:pt x="950" y="2639"/>
                  </a:lnTo>
                  <a:lnTo>
                    <a:pt x="950" y="2641"/>
                  </a:lnTo>
                  <a:lnTo>
                    <a:pt x="950" y="2642"/>
                  </a:lnTo>
                  <a:lnTo>
                    <a:pt x="950" y="2642"/>
                  </a:lnTo>
                  <a:lnTo>
                    <a:pt x="948" y="2642"/>
                  </a:lnTo>
                  <a:lnTo>
                    <a:pt x="948" y="2642"/>
                  </a:lnTo>
                  <a:lnTo>
                    <a:pt x="948" y="2642"/>
                  </a:lnTo>
                  <a:lnTo>
                    <a:pt x="946" y="2642"/>
                  </a:lnTo>
                  <a:lnTo>
                    <a:pt x="946" y="2642"/>
                  </a:lnTo>
                  <a:lnTo>
                    <a:pt x="946" y="2642"/>
                  </a:lnTo>
                  <a:lnTo>
                    <a:pt x="945" y="2642"/>
                  </a:lnTo>
                  <a:lnTo>
                    <a:pt x="943" y="2642"/>
                  </a:lnTo>
                  <a:lnTo>
                    <a:pt x="943" y="2642"/>
                  </a:lnTo>
                  <a:lnTo>
                    <a:pt x="939" y="2639"/>
                  </a:lnTo>
                  <a:lnTo>
                    <a:pt x="937" y="2639"/>
                  </a:lnTo>
                  <a:lnTo>
                    <a:pt x="936" y="2635"/>
                  </a:lnTo>
                  <a:lnTo>
                    <a:pt x="934" y="2635"/>
                  </a:lnTo>
                  <a:lnTo>
                    <a:pt x="934" y="2635"/>
                  </a:lnTo>
                  <a:lnTo>
                    <a:pt x="932" y="2635"/>
                  </a:lnTo>
                  <a:lnTo>
                    <a:pt x="930" y="2635"/>
                  </a:lnTo>
                  <a:lnTo>
                    <a:pt x="930" y="2637"/>
                  </a:lnTo>
                  <a:lnTo>
                    <a:pt x="930" y="2637"/>
                  </a:lnTo>
                  <a:lnTo>
                    <a:pt x="930" y="2641"/>
                  </a:lnTo>
                  <a:lnTo>
                    <a:pt x="930" y="2642"/>
                  </a:lnTo>
                  <a:lnTo>
                    <a:pt x="928" y="2642"/>
                  </a:lnTo>
                  <a:lnTo>
                    <a:pt x="928" y="2642"/>
                  </a:lnTo>
                  <a:lnTo>
                    <a:pt x="928" y="2646"/>
                  </a:lnTo>
                  <a:lnTo>
                    <a:pt x="928" y="2648"/>
                  </a:lnTo>
                  <a:lnTo>
                    <a:pt x="927" y="2648"/>
                  </a:lnTo>
                  <a:lnTo>
                    <a:pt x="927" y="2648"/>
                  </a:lnTo>
                  <a:lnTo>
                    <a:pt x="927" y="2650"/>
                  </a:lnTo>
                  <a:lnTo>
                    <a:pt x="925" y="2653"/>
                  </a:lnTo>
                  <a:lnTo>
                    <a:pt x="925" y="2655"/>
                  </a:lnTo>
                  <a:lnTo>
                    <a:pt x="923" y="2657"/>
                  </a:lnTo>
                  <a:lnTo>
                    <a:pt x="925" y="2657"/>
                  </a:lnTo>
                  <a:lnTo>
                    <a:pt x="923" y="2659"/>
                  </a:lnTo>
                  <a:lnTo>
                    <a:pt x="923" y="2659"/>
                  </a:lnTo>
                  <a:lnTo>
                    <a:pt x="921" y="2657"/>
                  </a:lnTo>
                  <a:lnTo>
                    <a:pt x="923" y="2655"/>
                  </a:lnTo>
                  <a:lnTo>
                    <a:pt x="925" y="2653"/>
                  </a:lnTo>
                  <a:lnTo>
                    <a:pt x="925" y="2651"/>
                  </a:lnTo>
                  <a:lnTo>
                    <a:pt x="925" y="2650"/>
                  </a:lnTo>
                  <a:lnTo>
                    <a:pt x="925" y="2650"/>
                  </a:lnTo>
                  <a:lnTo>
                    <a:pt x="925" y="2648"/>
                  </a:lnTo>
                  <a:lnTo>
                    <a:pt x="925" y="2648"/>
                  </a:lnTo>
                  <a:lnTo>
                    <a:pt x="923" y="2648"/>
                  </a:lnTo>
                  <a:lnTo>
                    <a:pt x="923" y="2648"/>
                  </a:lnTo>
                  <a:lnTo>
                    <a:pt x="923" y="2646"/>
                  </a:lnTo>
                  <a:lnTo>
                    <a:pt x="925" y="2646"/>
                  </a:lnTo>
                  <a:lnTo>
                    <a:pt x="925" y="2644"/>
                  </a:lnTo>
                  <a:lnTo>
                    <a:pt x="925" y="2644"/>
                  </a:lnTo>
                  <a:lnTo>
                    <a:pt x="925" y="2642"/>
                  </a:lnTo>
                  <a:lnTo>
                    <a:pt x="925" y="2642"/>
                  </a:lnTo>
                  <a:lnTo>
                    <a:pt x="923" y="2644"/>
                  </a:lnTo>
                  <a:lnTo>
                    <a:pt x="923" y="2642"/>
                  </a:lnTo>
                  <a:lnTo>
                    <a:pt x="925" y="2642"/>
                  </a:lnTo>
                  <a:lnTo>
                    <a:pt x="927" y="2641"/>
                  </a:lnTo>
                  <a:lnTo>
                    <a:pt x="927" y="2641"/>
                  </a:lnTo>
                  <a:lnTo>
                    <a:pt x="927" y="2641"/>
                  </a:lnTo>
                  <a:lnTo>
                    <a:pt x="923" y="2641"/>
                  </a:lnTo>
                  <a:lnTo>
                    <a:pt x="919" y="2642"/>
                  </a:lnTo>
                  <a:lnTo>
                    <a:pt x="919" y="2644"/>
                  </a:lnTo>
                  <a:lnTo>
                    <a:pt x="917" y="2646"/>
                  </a:lnTo>
                  <a:lnTo>
                    <a:pt x="916" y="2648"/>
                  </a:lnTo>
                  <a:lnTo>
                    <a:pt x="916" y="2657"/>
                  </a:lnTo>
                  <a:lnTo>
                    <a:pt x="914" y="2659"/>
                  </a:lnTo>
                  <a:lnTo>
                    <a:pt x="914" y="2662"/>
                  </a:lnTo>
                  <a:lnTo>
                    <a:pt x="912" y="2662"/>
                  </a:lnTo>
                  <a:lnTo>
                    <a:pt x="912" y="2664"/>
                  </a:lnTo>
                  <a:lnTo>
                    <a:pt x="912" y="2664"/>
                  </a:lnTo>
                  <a:lnTo>
                    <a:pt x="910" y="2664"/>
                  </a:lnTo>
                  <a:lnTo>
                    <a:pt x="905" y="2669"/>
                  </a:lnTo>
                  <a:lnTo>
                    <a:pt x="905" y="2669"/>
                  </a:lnTo>
                  <a:lnTo>
                    <a:pt x="905" y="2669"/>
                  </a:lnTo>
                  <a:lnTo>
                    <a:pt x="905" y="2669"/>
                  </a:lnTo>
                  <a:lnTo>
                    <a:pt x="905" y="2671"/>
                  </a:lnTo>
                  <a:lnTo>
                    <a:pt x="907" y="2671"/>
                  </a:lnTo>
                  <a:lnTo>
                    <a:pt x="907" y="2671"/>
                  </a:lnTo>
                  <a:lnTo>
                    <a:pt x="907" y="2673"/>
                  </a:lnTo>
                  <a:lnTo>
                    <a:pt x="907" y="2671"/>
                  </a:lnTo>
                  <a:lnTo>
                    <a:pt x="905" y="2671"/>
                  </a:lnTo>
                  <a:lnTo>
                    <a:pt x="905" y="2673"/>
                  </a:lnTo>
                  <a:lnTo>
                    <a:pt x="905" y="2673"/>
                  </a:lnTo>
                  <a:lnTo>
                    <a:pt x="905" y="2671"/>
                  </a:lnTo>
                  <a:lnTo>
                    <a:pt x="903" y="2671"/>
                  </a:lnTo>
                  <a:lnTo>
                    <a:pt x="903" y="2671"/>
                  </a:lnTo>
                  <a:lnTo>
                    <a:pt x="903" y="2669"/>
                  </a:lnTo>
                  <a:lnTo>
                    <a:pt x="903" y="2669"/>
                  </a:lnTo>
                  <a:lnTo>
                    <a:pt x="903" y="2669"/>
                  </a:lnTo>
                  <a:lnTo>
                    <a:pt x="901" y="2669"/>
                  </a:lnTo>
                  <a:lnTo>
                    <a:pt x="901" y="2669"/>
                  </a:lnTo>
                  <a:lnTo>
                    <a:pt x="901" y="2671"/>
                  </a:lnTo>
                  <a:lnTo>
                    <a:pt x="901" y="2673"/>
                  </a:lnTo>
                  <a:lnTo>
                    <a:pt x="901" y="2677"/>
                  </a:lnTo>
                  <a:lnTo>
                    <a:pt x="901" y="2680"/>
                  </a:lnTo>
                  <a:lnTo>
                    <a:pt x="901" y="2682"/>
                  </a:lnTo>
                  <a:lnTo>
                    <a:pt x="901" y="2686"/>
                  </a:lnTo>
                  <a:lnTo>
                    <a:pt x="901" y="2686"/>
                  </a:lnTo>
                  <a:lnTo>
                    <a:pt x="901" y="2686"/>
                  </a:lnTo>
                  <a:lnTo>
                    <a:pt x="901" y="2688"/>
                  </a:lnTo>
                  <a:lnTo>
                    <a:pt x="903" y="2688"/>
                  </a:lnTo>
                  <a:lnTo>
                    <a:pt x="903" y="2686"/>
                  </a:lnTo>
                  <a:lnTo>
                    <a:pt x="903" y="2684"/>
                  </a:lnTo>
                  <a:lnTo>
                    <a:pt x="903" y="2680"/>
                  </a:lnTo>
                  <a:lnTo>
                    <a:pt x="903" y="2680"/>
                  </a:lnTo>
                  <a:lnTo>
                    <a:pt x="903" y="2680"/>
                  </a:lnTo>
                  <a:lnTo>
                    <a:pt x="905" y="2680"/>
                  </a:lnTo>
                  <a:lnTo>
                    <a:pt x="905" y="2680"/>
                  </a:lnTo>
                  <a:lnTo>
                    <a:pt x="905" y="2680"/>
                  </a:lnTo>
                  <a:lnTo>
                    <a:pt x="905" y="2680"/>
                  </a:lnTo>
                  <a:lnTo>
                    <a:pt x="903" y="2680"/>
                  </a:lnTo>
                  <a:lnTo>
                    <a:pt x="903" y="2680"/>
                  </a:lnTo>
                  <a:lnTo>
                    <a:pt x="903" y="2679"/>
                  </a:lnTo>
                  <a:lnTo>
                    <a:pt x="903" y="2679"/>
                  </a:lnTo>
                  <a:lnTo>
                    <a:pt x="903" y="2679"/>
                  </a:lnTo>
                  <a:lnTo>
                    <a:pt x="903" y="2679"/>
                  </a:lnTo>
                  <a:lnTo>
                    <a:pt x="903" y="2677"/>
                  </a:lnTo>
                  <a:lnTo>
                    <a:pt x="903" y="2677"/>
                  </a:lnTo>
                  <a:lnTo>
                    <a:pt x="905" y="2677"/>
                  </a:lnTo>
                  <a:lnTo>
                    <a:pt x="905" y="2677"/>
                  </a:lnTo>
                  <a:lnTo>
                    <a:pt x="903" y="2677"/>
                  </a:lnTo>
                  <a:lnTo>
                    <a:pt x="903" y="2675"/>
                  </a:lnTo>
                  <a:lnTo>
                    <a:pt x="903" y="2673"/>
                  </a:lnTo>
                  <a:lnTo>
                    <a:pt x="903" y="2673"/>
                  </a:lnTo>
                  <a:lnTo>
                    <a:pt x="903" y="2673"/>
                  </a:lnTo>
                  <a:lnTo>
                    <a:pt x="903" y="2675"/>
                  </a:lnTo>
                  <a:lnTo>
                    <a:pt x="905" y="2675"/>
                  </a:lnTo>
                  <a:lnTo>
                    <a:pt x="905" y="2675"/>
                  </a:lnTo>
                  <a:lnTo>
                    <a:pt x="905" y="2675"/>
                  </a:lnTo>
                  <a:lnTo>
                    <a:pt x="907" y="2677"/>
                  </a:lnTo>
                  <a:lnTo>
                    <a:pt x="907" y="2677"/>
                  </a:lnTo>
                  <a:lnTo>
                    <a:pt x="907" y="2679"/>
                  </a:lnTo>
                  <a:lnTo>
                    <a:pt x="907" y="2682"/>
                  </a:lnTo>
                  <a:lnTo>
                    <a:pt x="905" y="2682"/>
                  </a:lnTo>
                  <a:lnTo>
                    <a:pt x="907" y="2682"/>
                  </a:lnTo>
                  <a:lnTo>
                    <a:pt x="908" y="2684"/>
                  </a:lnTo>
                  <a:lnTo>
                    <a:pt x="908" y="2684"/>
                  </a:lnTo>
                  <a:lnTo>
                    <a:pt x="908" y="2686"/>
                  </a:lnTo>
                  <a:lnTo>
                    <a:pt x="908" y="2684"/>
                  </a:lnTo>
                  <a:lnTo>
                    <a:pt x="907" y="2684"/>
                  </a:lnTo>
                  <a:lnTo>
                    <a:pt x="907" y="2684"/>
                  </a:lnTo>
                  <a:lnTo>
                    <a:pt x="907" y="2686"/>
                  </a:lnTo>
                  <a:lnTo>
                    <a:pt x="907" y="2686"/>
                  </a:lnTo>
                  <a:lnTo>
                    <a:pt x="908" y="2688"/>
                  </a:lnTo>
                  <a:lnTo>
                    <a:pt x="907" y="2689"/>
                  </a:lnTo>
                  <a:lnTo>
                    <a:pt x="908" y="2689"/>
                  </a:lnTo>
                  <a:lnTo>
                    <a:pt x="908" y="2688"/>
                  </a:lnTo>
                  <a:lnTo>
                    <a:pt x="908" y="2688"/>
                  </a:lnTo>
                  <a:lnTo>
                    <a:pt x="908" y="2688"/>
                  </a:lnTo>
                  <a:lnTo>
                    <a:pt x="908" y="2688"/>
                  </a:lnTo>
                  <a:lnTo>
                    <a:pt x="908" y="2689"/>
                  </a:lnTo>
                  <a:lnTo>
                    <a:pt x="908" y="2689"/>
                  </a:lnTo>
                  <a:lnTo>
                    <a:pt x="908" y="2689"/>
                  </a:lnTo>
                  <a:lnTo>
                    <a:pt x="907" y="2691"/>
                  </a:lnTo>
                  <a:lnTo>
                    <a:pt x="907" y="2691"/>
                  </a:lnTo>
                  <a:lnTo>
                    <a:pt x="907" y="2691"/>
                  </a:lnTo>
                  <a:lnTo>
                    <a:pt x="907" y="2691"/>
                  </a:lnTo>
                  <a:lnTo>
                    <a:pt x="907" y="2691"/>
                  </a:lnTo>
                  <a:lnTo>
                    <a:pt x="907" y="2693"/>
                  </a:lnTo>
                  <a:lnTo>
                    <a:pt x="907" y="2693"/>
                  </a:lnTo>
                  <a:lnTo>
                    <a:pt x="907" y="2693"/>
                  </a:lnTo>
                  <a:lnTo>
                    <a:pt x="907" y="2693"/>
                  </a:lnTo>
                  <a:lnTo>
                    <a:pt x="907" y="2693"/>
                  </a:lnTo>
                  <a:lnTo>
                    <a:pt x="908" y="2695"/>
                  </a:lnTo>
                  <a:lnTo>
                    <a:pt x="908" y="2695"/>
                  </a:lnTo>
                  <a:lnTo>
                    <a:pt x="908" y="2695"/>
                  </a:lnTo>
                  <a:lnTo>
                    <a:pt x="908" y="2695"/>
                  </a:lnTo>
                  <a:lnTo>
                    <a:pt x="907" y="2695"/>
                  </a:lnTo>
                  <a:lnTo>
                    <a:pt x="907" y="2695"/>
                  </a:lnTo>
                  <a:lnTo>
                    <a:pt x="905" y="2695"/>
                  </a:lnTo>
                  <a:lnTo>
                    <a:pt x="905" y="2695"/>
                  </a:lnTo>
                  <a:lnTo>
                    <a:pt x="905" y="2695"/>
                  </a:lnTo>
                  <a:lnTo>
                    <a:pt x="905" y="2695"/>
                  </a:lnTo>
                  <a:lnTo>
                    <a:pt x="903" y="2695"/>
                  </a:lnTo>
                  <a:lnTo>
                    <a:pt x="903" y="2693"/>
                  </a:lnTo>
                  <a:lnTo>
                    <a:pt x="903" y="2693"/>
                  </a:lnTo>
                  <a:lnTo>
                    <a:pt x="903" y="2693"/>
                  </a:lnTo>
                  <a:lnTo>
                    <a:pt x="903" y="2695"/>
                  </a:lnTo>
                  <a:lnTo>
                    <a:pt x="901" y="2695"/>
                  </a:lnTo>
                  <a:lnTo>
                    <a:pt x="901" y="2697"/>
                  </a:lnTo>
                  <a:lnTo>
                    <a:pt x="899" y="2695"/>
                  </a:lnTo>
                  <a:lnTo>
                    <a:pt x="901" y="2695"/>
                  </a:lnTo>
                  <a:lnTo>
                    <a:pt x="901" y="2695"/>
                  </a:lnTo>
                  <a:lnTo>
                    <a:pt x="901" y="2695"/>
                  </a:lnTo>
                  <a:lnTo>
                    <a:pt x="901" y="2693"/>
                  </a:lnTo>
                  <a:lnTo>
                    <a:pt x="901" y="2693"/>
                  </a:lnTo>
                  <a:lnTo>
                    <a:pt x="901" y="2693"/>
                  </a:lnTo>
                  <a:lnTo>
                    <a:pt x="901" y="2693"/>
                  </a:lnTo>
                  <a:lnTo>
                    <a:pt x="899" y="2693"/>
                  </a:lnTo>
                  <a:lnTo>
                    <a:pt x="899" y="2691"/>
                  </a:lnTo>
                  <a:lnTo>
                    <a:pt x="899" y="2691"/>
                  </a:lnTo>
                  <a:lnTo>
                    <a:pt x="898" y="2691"/>
                  </a:lnTo>
                  <a:lnTo>
                    <a:pt x="898" y="2693"/>
                  </a:lnTo>
                  <a:lnTo>
                    <a:pt x="896" y="2693"/>
                  </a:lnTo>
                  <a:lnTo>
                    <a:pt x="898" y="2691"/>
                  </a:lnTo>
                  <a:lnTo>
                    <a:pt x="898" y="2689"/>
                  </a:lnTo>
                  <a:lnTo>
                    <a:pt x="896" y="2691"/>
                  </a:lnTo>
                  <a:lnTo>
                    <a:pt x="894" y="2693"/>
                  </a:lnTo>
                  <a:lnTo>
                    <a:pt x="894" y="2693"/>
                  </a:lnTo>
                  <a:lnTo>
                    <a:pt x="892" y="2693"/>
                  </a:lnTo>
                  <a:lnTo>
                    <a:pt x="890" y="2693"/>
                  </a:lnTo>
                  <a:lnTo>
                    <a:pt x="890" y="2695"/>
                  </a:lnTo>
                  <a:lnTo>
                    <a:pt x="890" y="2693"/>
                  </a:lnTo>
                  <a:lnTo>
                    <a:pt x="889" y="2693"/>
                  </a:lnTo>
                  <a:lnTo>
                    <a:pt x="880" y="2693"/>
                  </a:lnTo>
                  <a:lnTo>
                    <a:pt x="880" y="2693"/>
                  </a:lnTo>
                  <a:lnTo>
                    <a:pt x="880" y="2695"/>
                  </a:lnTo>
                  <a:lnTo>
                    <a:pt x="880" y="2695"/>
                  </a:lnTo>
                  <a:lnTo>
                    <a:pt x="881" y="2695"/>
                  </a:lnTo>
                  <a:lnTo>
                    <a:pt x="881" y="2695"/>
                  </a:lnTo>
                  <a:lnTo>
                    <a:pt x="885" y="2695"/>
                  </a:lnTo>
                  <a:lnTo>
                    <a:pt x="887" y="2697"/>
                  </a:lnTo>
                  <a:lnTo>
                    <a:pt x="887" y="2697"/>
                  </a:lnTo>
                  <a:lnTo>
                    <a:pt x="885" y="2697"/>
                  </a:lnTo>
                  <a:lnTo>
                    <a:pt x="883" y="2697"/>
                  </a:lnTo>
                  <a:lnTo>
                    <a:pt x="883" y="2698"/>
                  </a:lnTo>
                  <a:lnTo>
                    <a:pt x="881" y="2698"/>
                  </a:lnTo>
                  <a:lnTo>
                    <a:pt x="880" y="2698"/>
                  </a:lnTo>
                  <a:lnTo>
                    <a:pt x="878" y="2700"/>
                  </a:lnTo>
                  <a:lnTo>
                    <a:pt x="876" y="2700"/>
                  </a:lnTo>
                  <a:lnTo>
                    <a:pt x="876" y="2700"/>
                  </a:lnTo>
                  <a:lnTo>
                    <a:pt x="874" y="2698"/>
                  </a:lnTo>
                  <a:lnTo>
                    <a:pt x="874" y="2698"/>
                  </a:lnTo>
                  <a:lnTo>
                    <a:pt x="874" y="2698"/>
                  </a:lnTo>
                  <a:lnTo>
                    <a:pt x="874" y="2698"/>
                  </a:lnTo>
                  <a:lnTo>
                    <a:pt x="876" y="2697"/>
                  </a:lnTo>
                  <a:lnTo>
                    <a:pt x="876" y="2697"/>
                  </a:lnTo>
                  <a:lnTo>
                    <a:pt x="876" y="2697"/>
                  </a:lnTo>
                  <a:lnTo>
                    <a:pt x="878" y="2695"/>
                  </a:lnTo>
                  <a:lnTo>
                    <a:pt x="878" y="2695"/>
                  </a:lnTo>
                  <a:lnTo>
                    <a:pt x="878" y="2695"/>
                  </a:lnTo>
                  <a:lnTo>
                    <a:pt x="878" y="2693"/>
                  </a:lnTo>
                  <a:lnTo>
                    <a:pt x="878" y="2693"/>
                  </a:lnTo>
                  <a:lnTo>
                    <a:pt x="878" y="2693"/>
                  </a:lnTo>
                  <a:lnTo>
                    <a:pt x="876" y="2693"/>
                  </a:lnTo>
                  <a:lnTo>
                    <a:pt x="874" y="2691"/>
                  </a:lnTo>
                  <a:lnTo>
                    <a:pt x="867" y="2686"/>
                  </a:lnTo>
                  <a:lnTo>
                    <a:pt x="865" y="2686"/>
                  </a:lnTo>
                  <a:lnTo>
                    <a:pt x="865" y="2686"/>
                  </a:lnTo>
                  <a:lnTo>
                    <a:pt x="863" y="2686"/>
                  </a:lnTo>
                  <a:lnTo>
                    <a:pt x="863" y="2686"/>
                  </a:lnTo>
                  <a:lnTo>
                    <a:pt x="856" y="2689"/>
                  </a:lnTo>
                  <a:lnTo>
                    <a:pt x="856" y="2691"/>
                  </a:lnTo>
                  <a:lnTo>
                    <a:pt x="854" y="2693"/>
                  </a:lnTo>
                  <a:lnTo>
                    <a:pt x="854" y="2693"/>
                  </a:lnTo>
                  <a:lnTo>
                    <a:pt x="856" y="2693"/>
                  </a:lnTo>
                  <a:lnTo>
                    <a:pt x="858" y="2689"/>
                  </a:lnTo>
                  <a:lnTo>
                    <a:pt x="858" y="2689"/>
                  </a:lnTo>
                  <a:lnTo>
                    <a:pt x="860" y="2689"/>
                  </a:lnTo>
                  <a:lnTo>
                    <a:pt x="860" y="2689"/>
                  </a:lnTo>
                  <a:lnTo>
                    <a:pt x="860" y="2689"/>
                  </a:lnTo>
                  <a:lnTo>
                    <a:pt x="861" y="2689"/>
                  </a:lnTo>
                  <a:lnTo>
                    <a:pt x="861" y="2691"/>
                  </a:lnTo>
                  <a:lnTo>
                    <a:pt x="863" y="2691"/>
                  </a:lnTo>
                  <a:lnTo>
                    <a:pt x="863" y="2691"/>
                  </a:lnTo>
                  <a:lnTo>
                    <a:pt x="863" y="2691"/>
                  </a:lnTo>
                  <a:lnTo>
                    <a:pt x="861" y="2691"/>
                  </a:lnTo>
                  <a:lnTo>
                    <a:pt x="861" y="2691"/>
                  </a:lnTo>
                  <a:lnTo>
                    <a:pt x="861" y="2693"/>
                  </a:lnTo>
                  <a:lnTo>
                    <a:pt x="861" y="2693"/>
                  </a:lnTo>
                  <a:lnTo>
                    <a:pt x="861" y="2695"/>
                  </a:lnTo>
                  <a:lnTo>
                    <a:pt x="861" y="2695"/>
                  </a:lnTo>
                  <a:lnTo>
                    <a:pt x="861" y="2693"/>
                  </a:lnTo>
                  <a:lnTo>
                    <a:pt x="861" y="2691"/>
                  </a:lnTo>
                  <a:lnTo>
                    <a:pt x="860" y="2691"/>
                  </a:lnTo>
                  <a:lnTo>
                    <a:pt x="860" y="2691"/>
                  </a:lnTo>
                  <a:lnTo>
                    <a:pt x="860" y="2693"/>
                  </a:lnTo>
                  <a:lnTo>
                    <a:pt x="860" y="2693"/>
                  </a:lnTo>
                  <a:lnTo>
                    <a:pt x="860" y="2695"/>
                  </a:lnTo>
                  <a:lnTo>
                    <a:pt x="861" y="2695"/>
                  </a:lnTo>
                  <a:lnTo>
                    <a:pt x="869" y="2695"/>
                  </a:lnTo>
                  <a:lnTo>
                    <a:pt x="869" y="2693"/>
                  </a:lnTo>
                  <a:lnTo>
                    <a:pt x="869" y="2693"/>
                  </a:lnTo>
                  <a:lnTo>
                    <a:pt x="871" y="2695"/>
                  </a:lnTo>
                  <a:lnTo>
                    <a:pt x="871" y="2695"/>
                  </a:lnTo>
                  <a:lnTo>
                    <a:pt x="871" y="2697"/>
                  </a:lnTo>
                  <a:lnTo>
                    <a:pt x="869" y="2697"/>
                  </a:lnTo>
                  <a:lnTo>
                    <a:pt x="869" y="2697"/>
                  </a:lnTo>
                  <a:lnTo>
                    <a:pt x="869" y="2697"/>
                  </a:lnTo>
                  <a:lnTo>
                    <a:pt x="865" y="2698"/>
                  </a:lnTo>
                  <a:lnTo>
                    <a:pt x="863" y="2698"/>
                  </a:lnTo>
                  <a:lnTo>
                    <a:pt x="863" y="2700"/>
                  </a:lnTo>
                  <a:lnTo>
                    <a:pt x="863" y="2700"/>
                  </a:lnTo>
                  <a:lnTo>
                    <a:pt x="861" y="2700"/>
                  </a:lnTo>
                  <a:lnTo>
                    <a:pt x="861" y="2700"/>
                  </a:lnTo>
                  <a:lnTo>
                    <a:pt x="860" y="2700"/>
                  </a:lnTo>
                  <a:lnTo>
                    <a:pt x="858" y="2702"/>
                  </a:lnTo>
                  <a:lnTo>
                    <a:pt x="856" y="2702"/>
                  </a:lnTo>
                  <a:lnTo>
                    <a:pt x="851" y="2702"/>
                  </a:lnTo>
                  <a:lnTo>
                    <a:pt x="851" y="2702"/>
                  </a:lnTo>
                  <a:lnTo>
                    <a:pt x="851" y="2702"/>
                  </a:lnTo>
                  <a:lnTo>
                    <a:pt x="851" y="2704"/>
                  </a:lnTo>
                  <a:lnTo>
                    <a:pt x="851" y="2704"/>
                  </a:lnTo>
                  <a:lnTo>
                    <a:pt x="851" y="2704"/>
                  </a:lnTo>
                  <a:lnTo>
                    <a:pt x="851" y="2704"/>
                  </a:lnTo>
                  <a:lnTo>
                    <a:pt x="854" y="2707"/>
                  </a:lnTo>
                  <a:lnTo>
                    <a:pt x="856" y="2709"/>
                  </a:lnTo>
                  <a:lnTo>
                    <a:pt x="858" y="2709"/>
                  </a:lnTo>
                  <a:lnTo>
                    <a:pt x="858" y="2709"/>
                  </a:lnTo>
                  <a:lnTo>
                    <a:pt x="860" y="2709"/>
                  </a:lnTo>
                  <a:lnTo>
                    <a:pt x="861" y="2707"/>
                  </a:lnTo>
                  <a:lnTo>
                    <a:pt x="863" y="2709"/>
                  </a:lnTo>
                  <a:lnTo>
                    <a:pt x="869" y="2711"/>
                  </a:lnTo>
                  <a:lnTo>
                    <a:pt x="872" y="2713"/>
                  </a:lnTo>
                  <a:lnTo>
                    <a:pt x="874" y="2715"/>
                  </a:lnTo>
                  <a:lnTo>
                    <a:pt x="876" y="2715"/>
                  </a:lnTo>
                  <a:lnTo>
                    <a:pt x="878" y="2716"/>
                  </a:lnTo>
                  <a:lnTo>
                    <a:pt x="878" y="2716"/>
                  </a:lnTo>
                  <a:lnTo>
                    <a:pt x="880" y="2716"/>
                  </a:lnTo>
                  <a:lnTo>
                    <a:pt x="880" y="2716"/>
                  </a:lnTo>
                  <a:lnTo>
                    <a:pt x="881" y="2716"/>
                  </a:lnTo>
                  <a:lnTo>
                    <a:pt x="885" y="2722"/>
                  </a:lnTo>
                  <a:lnTo>
                    <a:pt x="887" y="2722"/>
                  </a:lnTo>
                  <a:lnTo>
                    <a:pt x="887" y="2724"/>
                  </a:lnTo>
                  <a:lnTo>
                    <a:pt x="887" y="2725"/>
                  </a:lnTo>
                  <a:lnTo>
                    <a:pt x="887" y="2725"/>
                  </a:lnTo>
                  <a:lnTo>
                    <a:pt x="887" y="2727"/>
                  </a:lnTo>
                  <a:lnTo>
                    <a:pt x="889" y="2733"/>
                  </a:lnTo>
                  <a:lnTo>
                    <a:pt x="890" y="2735"/>
                  </a:lnTo>
                  <a:lnTo>
                    <a:pt x="890" y="2735"/>
                  </a:lnTo>
                  <a:lnTo>
                    <a:pt x="894" y="2736"/>
                  </a:lnTo>
                  <a:lnTo>
                    <a:pt x="894" y="2736"/>
                  </a:lnTo>
                  <a:lnTo>
                    <a:pt x="894" y="2738"/>
                  </a:lnTo>
                  <a:lnTo>
                    <a:pt x="896" y="2740"/>
                  </a:lnTo>
                  <a:lnTo>
                    <a:pt x="896" y="2740"/>
                  </a:lnTo>
                  <a:lnTo>
                    <a:pt x="898" y="2740"/>
                  </a:lnTo>
                  <a:lnTo>
                    <a:pt x="898" y="2740"/>
                  </a:lnTo>
                  <a:lnTo>
                    <a:pt x="898" y="2740"/>
                  </a:lnTo>
                  <a:lnTo>
                    <a:pt x="899" y="2740"/>
                  </a:lnTo>
                  <a:lnTo>
                    <a:pt x="899" y="2740"/>
                  </a:lnTo>
                  <a:lnTo>
                    <a:pt x="901" y="2740"/>
                  </a:lnTo>
                  <a:lnTo>
                    <a:pt x="901" y="2740"/>
                  </a:lnTo>
                  <a:lnTo>
                    <a:pt x="903" y="2740"/>
                  </a:lnTo>
                  <a:lnTo>
                    <a:pt x="905" y="2740"/>
                  </a:lnTo>
                  <a:lnTo>
                    <a:pt x="907" y="2742"/>
                  </a:lnTo>
                  <a:lnTo>
                    <a:pt x="908" y="2742"/>
                  </a:lnTo>
                  <a:lnTo>
                    <a:pt x="910" y="2742"/>
                  </a:lnTo>
                  <a:lnTo>
                    <a:pt x="912" y="2742"/>
                  </a:lnTo>
                  <a:lnTo>
                    <a:pt x="912" y="2742"/>
                  </a:lnTo>
                  <a:lnTo>
                    <a:pt x="912" y="2740"/>
                  </a:lnTo>
                  <a:lnTo>
                    <a:pt x="912" y="2738"/>
                  </a:lnTo>
                  <a:lnTo>
                    <a:pt x="910" y="2736"/>
                  </a:lnTo>
                  <a:lnTo>
                    <a:pt x="910" y="2735"/>
                  </a:lnTo>
                  <a:lnTo>
                    <a:pt x="912" y="2736"/>
                  </a:lnTo>
                  <a:lnTo>
                    <a:pt x="914" y="2738"/>
                  </a:lnTo>
                  <a:lnTo>
                    <a:pt x="914" y="2738"/>
                  </a:lnTo>
                  <a:lnTo>
                    <a:pt x="916" y="2738"/>
                  </a:lnTo>
                  <a:lnTo>
                    <a:pt x="917" y="2742"/>
                  </a:lnTo>
                  <a:lnTo>
                    <a:pt x="917" y="2742"/>
                  </a:lnTo>
                  <a:lnTo>
                    <a:pt x="917" y="2742"/>
                  </a:lnTo>
                  <a:lnTo>
                    <a:pt x="917" y="2744"/>
                  </a:lnTo>
                  <a:lnTo>
                    <a:pt x="917" y="2744"/>
                  </a:lnTo>
                  <a:lnTo>
                    <a:pt x="917" y="2744"/>
                  </a:lnTo>
                  <a:lnTo>
                    <a:pt x="917" y="2744"/>
                  </a:lnTo>
                  <a:lnTo>
                    <a:pt x="919" y="2745"/>
                  </a:lnTo>
                  <a:lnTo>
                    <a:pt x="921" y="2747"/>
                  </a:lnTo>
                  <a:lnTo>
                    <a:pt x="921" y="2747"/>
                  </a:lnTo>
                  <a:lnTo>
                    <a:pt x="923" y="2747"/>
                  </a:lnTo>
                  <a:lnTo>
                    <a:pt x="923" y="2747"/>
                  </a:lnTo>
                  <a:lnTo>
                    <a:pt x="925" y="2747"/>
                  </a:lnTo>
                  <a:lnTo>
                    <a:pt x="925" y="2749"/>
                  </a:lnTo>
                  <a:lnTo>
                    <a:pt x="925" y="2751"/>
                  </a:lnTo>
                  <a:lnTo>
                    <a:pt x="927" y="2751"/>
                  </a:lnTo>
                  <a:lnTo>
                    <a:pt x="928" y="2754"/>
                  </a:lnTo>
                  <a:lnTo>
                    <a:pt x="928" y="2756"/>
                  </a:lnTo>
                  <a:lnTo>
                    <a:pt x="930" y="2758"/>
                  </a:lnTo>
                  <a:lnTo>
                    <a:pt x="932" y="2760"/>
                  </a:lnTo>
                  <a:lnTo>
                    <a:pt x="936" y="2760"/>
                  </a:lnTo>
                  <a:lnTo>
                    <a:pt x="936" y="2760"/>
                  </a:lnTo>
                  <a:lnTo>
                    <a:pt x="937" y="2762"/>
                  </a:lnTo>
                  <a:lnTo>
                    <a:pt x="952" y="2763"/>
                  </a:lnTo>
                  <a:lnTo>
                    <a:pt x="957" y="2765"/>
                  </a:lnTo>
                  <a:lnTo>
                    <a:pt x="959" y="2767"/>
                  </a:lnTo>
                  <a:lnTo>
                    <a:pt x="959" y="2767"/>
                  </a:lnTo>
                  <a:lnTo>
                    <a:pt x="961" y="2769"/>
                  </a:lnTo>
                  <a:lnTo>
                    <a:pt x="964" y="2774"/>
                  </a:lnTo>
                  <a:lnTo>
                    <a:pt x="964" y="2774"/>
                  </a:lnTo>
                  <a:lnTo>
                    <a:pt x="966" y="2774"/>
                  </a:lnTo>
                  <a:lnTo>
                    <a:pt x="968" y="2774"/>
                  </a:lnTo>
                  <a:lnTo>
                    <a:pt x="970" y="2776"/>
                  </a:lnTo>
                  <a:lnTo>
                    <a:pt x="970" y="2776"/>
                  </a:lnTo>
                  <a:lnTo>
                    <a:pt x="972" y="2776"/>
                  </a:lnTo>
                  <a:lnTo>
                    <a:pt x="972" y="2780"/>
                  </a:lnTo>
                  <a:lnTo>
                    <a:pt x="973" y="2780"/>
                  </a:lnTo>
                  <a:lnTo>
                    <a:pt x="973" y="2780"/>
                  </a:lnTo>
                  <a:lnTo>
                    <a:pt x="975" y="2781"/>
                  </a:lnTo>
                  <a:lnTo>
                    <a:pt x="975" y="2783"/>
                  </a:lnTo>
                  <a:lnTo>
                    <a:pt x="977" y="2785"/>
                  </a:lnTo>
                  <a:lnTo>
                    <a:pt x="988" y="2794"/>
                  </a:lnTo>
                  <a:lnTo>
                    <a:pt x="992" y="2798"/>
                  </a:lnTo>
                  <a:lnTo>
                    <a:pt x="995" y="2801"/>
                  </a:lnTo>
                  <a:lnTo>
                    <a:pt x="1001" y="2809"/>
                  </a:lnTo>
                  <a:lnTo>
                    <a:pt x="1002" y="2810"/>
                  </a:lnTo>
                  <a:lnTo>
                    <a:pt x="1002" y="2812"/>
                  </a:lnTo>
                  <a:lnTo>
                    <a:pt x="1006" y="2812"/>
                  </a:lnTo>
                  <a:lnTo>
                    <a:pt x="1006" y="2812"/>
                  </a:lnTo>
                  <a:lnTo>
                    <a:pt x="1006" y="2814"/>
                  </a:lnTo>
                  <a:lnTo>
                    <a:pt x="1006" y="2816"/>
                  </a:lnTo>
                  <a:lnTo>
                    <a:pt x="1008" y="2816"/>
                  </a:lnTo>
                  <a:lnTo>
                    <a:pt x="1008" y="2816"/>
                  </a:lnTo>
                  <a:lnTo>
                    <a:pt x="1008" y="2816"/>
                  </a:lnTo>
                  <a:lnTo>
                    <a:pt x="1010" y="2818"/>
                  </a:lnTo>
                  <a:lnTo>
                    <a:pt x="1013" y="2819"/>
                  </a:lnTo>
                  <a:lnTo>
                    <a:pt x="1015" y="2821"/>
                  </a:lnTo>
                  <a:lnTo>
                    <a:pt x="1015" y="2823"/>
                  </a:lnTo>
                  <a:lnTo>
                    <a:pt x="1017" y="2825"/>
                  </a:lnTo>
                  <a:lnTo>
                    <a:pt x="1017" y="2827"/>
                  </a:lnTo>
                  <a:lnTo>
                    <a:pt x="1019" y="2827"/>
                  </a:lnTo>
                  <a:lnTo>
                    <a:pt x="1020" y="2828"/>
                  </a:lnTo>
                  <a:lnTo>
                    <a:pt x="1020" y="2828"/>
                  </a:lnTo>
                  <a:lnTo>
                    <a:pt x="1020" y="2828"/>
                  </a:lnTo>
                  <a:lnTo>
                    <a:pt x="1020" y="2827"/>
                  </a:lnTo>
                  <a:lnTo>
                    <a:pt x="1024" y="2818"/>
                  </a:lnTo>
                  <a:lnTo>
                    <a:pt x="1026" y="2818"/>
                  </a:lnTo>
                  <a:lnTo>
                    <a:pt x="1026" y="2816"/>
                  </a:lnTo>
                  <a:lnTo>
                    <a:pt x="1029" y="2816"/>
                  </a:lnTo>
                  <a:lnTo>
                    <a:pt x="1033" y="2816"/>
                  </a:lnTo>
                  <a:lnTo>
                    <a:pt x="1046" y="2819"/>
                  </a:lnTo>
                  <a:lnTo>
                    <a:pt x="1047" y="2821"/>
                  </a:lnTo>
                  <a:lnTo>
                    <a:pt x="1049" y="2819"/>
                  </a:lnTo>
                  <a:lnTo>
                    <a:pt x="1053" y="2818"/>
                  </a:lnTo>
                  <a:lnTo>
                    <a:pt x="1055" y="2818"/>
                  </a:lnTo>
                  <a:lnTo>
                    <a:pt x="1057" y="2819"/>
                  </a:lnTo>
                  <a:lnTo>
                    <a:pt x="1057" y="2819"/>
                  </a:lnTo>
                  <a:lnTo>
                    <a:pt x="1058" y="2821"/>
                  </a:lnTo>
                  <a:lnTo>
                    <a:pt x="1064" y="2823"/>
                  </a:lnTo>
                  <a:lnTo>
                    <a:pt x="1066" y="2823"/>
                  </a:lnTo>
                  <a:lnTo>
                    <a:pt x="1073" y="2830"/>
                  </a:lnTo>
                  <a:lnTo>
                    <a:pt x="1075" y="2830"/>
                  </a:lnTo>
                  <a:lnTo>
                    <a:pt x="1078" y="2828"/>
                  </a:lnTo>
                  <a:lnTo>
                    <a:pt x="1080" y="2830"/>
                  </a:lnTo>
                  <a:lnTo>
                    <a:pt x="1082" y="2830"/>
                  </a:lnTo>
                  <a:lnTo>
                    <a:pt x="1084" y="2832"/>
                  </a:lnTo>
                  <a:lnTo>
                    <a:pt x="1085" y="2832"/>
                  </a:lnTo>
                  <a:lnTo>
                    <a:pt x="1089" y="2832"/>
                  </a:lnTo>
                  <a:lnTo>
                    <a:pt x="1091" y="2832"/>
                  </a:lnTo>
                  <a:lnTo>
                    <a:pt x="1091" y="2832"/>
                  </a:lnTo>
                  <a:lnTo>
                    <a:pt x="1093" y="2834"/>
                  </a:lnTo>
                  <a:lnTo>
                    <a:pt x="1093" y="2836"/>
                  </a:lnTo>
                  <a:lnTo>
                    <a:pt x="1093" y="2836"/>
                  </a:lnTo>
                  <a:lnTo>
                    <a:pt x="1096" y="2836"/>
                  </a:lnTo>
                  <a:lnTo>
                    <a:pt x="1096" y="2837"/>
                  </a:lnTo>
                  <a:lnTo>
                    <a:pt x="1100" y="2839"/>
                  </a:lnTo>
                  <a:lnTo>
                    <a:pt x="1100" y="2841"/>
                  </a:lnTo>
                  <a:lnTo>
                    <a:pt x="1102" y="2841"/>
                  </a:lnTo>
                  <a:lnTo>
                    <a:pt x="1105" y="2839"/>
                  </a:lnTo>
                  <a:lnTo>
                    <a:pt x="1107" y="2841"/>
                  </a:lnTo>
                  <a:lnTo>
                    <a:pt x="1111" y="2841"/>
                  </a:lnTo>
                  <a:lnTo>
                    <a:pt x="1113" y="2841"/>
                  </a:lnTo>
                  <a:lnTo>
                    <a:pt x="1116" y="2841"/>
                  </a:lnTo>
                  <a:lnTo>
                    <a:pt x="1118" y="2841"/>
                  </a:lnTo>
                  <a:lnTo>
                    <a:pt x="1120" y="2841"/>
                  </a:lnTo>
                  <a:lnTo>
                    <a:pt x="1122" y="2843"/>
                  </a:lnTo>
                  <a:lnTo>
                    <a:pt x="1122" y="2843"/>
                  </a:lnTo>
                  <a:lnTo>
                    <a:pt x="1123" y="2843"/>
                  </a:lnTo>
                  <a:lnTo>
                    <a:pt x="1125" y="2843"/>
                  </a:lnTo>
                  <a:lnTo>
                    <a:pt x="1129" y="2841"/>
                  </a:lnTo>
                  <a:lnTo>
                    <a:pt x="1131" y="2839"/>
                  </a:lnTo>
                  <a:lnTo>
                    <a:pt x="1131" y="2839"/>
                  </a:lnTo>
                  <a:lnTo>
                    <a:pt x="1140" y="2839"/>
                  </a:lnTo>
                  <a:lnTo>
                    <a:pt x="1140" y="2839"/>
                  </a:lnTo>
                  <a:lnTo>
                    <a:pt x="1143" y="2839"/>
                  </a:lnTo>
                  <a:lnTo>
                    <a:pt x="1145" y="2841"/>
                  </a:lnTo>
                  <a:lnTo>
                    <a:pt x="1147" y="2843"/>
                  </a:lnTo>
                  <a:lnTo>
                    <a:pt x="1149" y="2845"/>
                  </a:lnTo>
                  <a:lnTo>
                    <a:pt x="1152" y="2845"/>
                  </a:lnTo>
                  <a:lnTo>
                    <a:pt x="1152" y="2847"/>
                  </a:lnTo>
                  <a:lnTo>
                    <a:pt x="1154" y="2845"/>
                  </a:lnTo>
                  <a:lnTo>
                    <a:pt x="1154" y="2845"/>
                  </a:lnTo>
                  <a:lnTo>
                    <a:pt x="1156" y="2843"/>
                  </a:lnTo>
                  <a:lnTo>
                    <a:pt x="1158" y="2843"/>
                  </a:lnTo>
                  <a:lnTo>
                    <a:pt x="1159" y="2843"/>
                  </a:lnTo>
                  <a:lnTo>
                    <a:pt x="1161" y="2843"/>
                  </a:lnTo>
                  <a:lnTo>
                    <a:pt x="1163" y="2843"/>
                  </a:lnTo>
                  <a:lnTo>
                    <a:pt x="1165" y="2845"/>
                  </a:lnTo>
                  <a:lnTo>
                    <a:pt x="1167" y="2847"/>
                  </a:lnTo>
                  <a:lnTo>
                    <a:pt x="1167" y="2847"/>
                  </a:lnTo>
                  <a:lnTo>
                    <a:pt x="1172" y="2848"/>
                  </a:lnTo>
                  <a:lnTo>
                    <a:pt x="1172" y="2850"/>
                  </a:lnTo>
                  <a:lnTo>
                    <a:pt x="1172" y="2850"/>
                  </a:lnTo>
                  <a:lnTo>
                    <a:pt x="1172" y="2852"/>
                  </a:lnTo>
                  <a:lnTo>
                    <a:pt x="1172" y="2852"/>
                  </a:lnTo>
                  <a:lnTo>
                    <a:pt x="1174" y="2854"/>
                  </a:lnTo>
                  <a:lnTo>
                    <a:pt x="1179" y="2859"/>
                  </a:lnTo>
                  <a:lnTo>
                    <a:pt x="1181" y="2859"/>
                  </a:lnTo>
                  <a:lnTo>
                    <a:pt x="1181" y="2861"/>
                  </a:lnTo>
                  <a:lnTo>
                    <a:pt x="1190" y="2863"/>
                  </a:lnTo>
                  <a:lnTo>
                    <a:pt x="1196" y="2865"/>
                  </a:lnTo>
                  <a:lnTo>
                    <a:pt x="1197" y="2865"/>
                  </a:lnTo>
                  <a:lnTo>
                    <a:pt x="1201" y="2866"/>
                  </a:lnTo>
                  <a:lnTo>
                    <a:pt x="1203" y="2866"/>
                  </a:lnTo>
                  <a:lnTo>
                    <a:pt x="1205" y="2870"/>
                  </a:lnTo>
                  <a:lnTo>
                    <a:pt x="1205" y="2870"/>
                  </a:lnTo>
                  <a:lnTo>
                    <a:pt x="1210" y="2872"/>
                  </a:lnTo>
                  <a:lnTo>
                    <a:pt x="1210" y="2872"/>
                  </a:lnTo>
                  <a:lnTo>
                    <a:pt x="1212" y="2872"/>
                  </a:lnTo>
                  <a:lnTo>
                    <a:pt x="1212" y="2874"/>
                  </a:lnTo>
                  <a:lnTo>
                    <a:pt x="1212" y="2875"/>
                  </a:lnTo>
                  <a:lnTo>
                    <a:pt x="1210" y="2877"/>
                  </a:lnTo>
                  <a:lnTo>
                    <a:pt x="1208" y="2879"/>
                  </a:lnTo>
                  <a:lnTo>
                    <a:pt x="1208" y="2881"/>
                  </a:lnTo>
                  <a:lnTo>
                    <a:pt x="1210" y="2883"/>
                  </a:lnTo>
                  <a:lnTo>
                    <a:pt x="1212" y="2883"/>
                  </a:lnTo>
                  <a:lnTo>
                    <a:pt x="1214" y="2883"/>
                  </a:lnTo>
                  <a:lnTo>
                    <a:pt x="1215" y="2884"/>
                  </a:lnTo>
                  <a:lnTo>
                    <a:pt x="1217" y="2884"/>
                  </a:lnTo>
                  <a:lnTo>
                    <a:pt x="1217" y="2884"/>
                  </a:lnTo>
                  <a:lnTo>
                    <a:pt x="1219" y="2886"/>
                  </a:lnTo>
                  <a:lnTo>
                    <a:pt x="1219" y="2886"/>
                  </a:lnTo>
                  <a:lnTo>
                    <a:pt x="1221" y="2884"/>
                  </a:lnTo>
                  <a:lnTo>
                    <a:pt x="1221" y="2883"/>
                  </a:lnTo>
                  <a:lnTo>
                    <a:pt x="1223" y="2883"/>
                  </a:lnTo>
                  <a:lnTo>
                    <a:pt x="1224" y="2881"/>
                  </a:lnTo>
                  <a:lnTo>
                    <a:pt x="1230" y="2881"/>
                  </a:lnTo>
                  <a:lnTo>
                    <a:pt x="1232" y="2881"/>
                  </a:lnTo>
                  <a:lnTo>
                    <a:pt x="1232" y="2881"/>
                  </a:lnTo>
                  <a:lnTo>
                    <a:pt x="1232" y="2879"/>
                  </a:lnTo>
                  <a:lnTo>
                    <a:pt x="1234" y="2879"/>
                  </a:lnTo>
                  <a:lnTo>
                    <a:pt x="1234" y="2877"/>
                  </a:lnTo>
                  <a:lnTo>
                    <a:pt x="1235" y="2875"/>
                  </a:lnTo>
                  <a:lnTo>
                    <a:pt x="1241" y="2875"/>
                  </a:lnTo>
                  <a:lnTo>
                    <a:pt x="1243" y="2875"/>
                  </a:lnTo>
                  <a:lnTo>
                    <a:pt x="1246" y="2872"/>
                  </a:lnTo>
                  <a:lnTo>
                    <a:pt x="1248" y="2872"/>
                  </a:lnTo>
                  <a:lnTo>
                    <a:pt x="1250" y="2872"/>
                  </a:lnTo>
                  <a:lnTo>
                    <a:pt x="1252" y="2872"/>
                  </a:lnTo>
                  <a:lnTo>
                    <a:pt x="1253" y="2874"/>
                  </a:lnTo>
                  <a:lnTo>
                    <a:pt x="1253" y="2874"/>
                  </a:lnTo>
                  <a:lnTo>
                    <a:pt x="1255" y="2874"/>
                  </a:lnTo>
                  <a:lnTo>
                    <a:pt x="1257" y="2875"/>
                  </a:lnTo>
                  <a:lnTo>
                    <a:pt x="1259" y="2875"/>
                  </a:lnTo>
                  <a:lnTo>
                    <a:pt x="1259" y="2877"/>
                  </a:lnTo>
                  <a:lnTo>
                    <a:pt x="1261" y="2881"/>
                  </a:lnTo>
                  <a:lnTo>
                    <a:pt x="1261" y="2881"/>
                  </a:lnTo>
                  <a:lnTo>
                    <a:pt x="1261" y="2881"/>
                  </a:lnTo>
                  <a:lnTo>
                    <a:pt x="1262" y="2877"/>
                  </a:lnTo>
                  <a:lnTo>
                    <a:pt x="1262" y="2874"/>
                  </a:lnTo>
                  <a:lnTo>
                    <a:pt x="1264" y="2874"/>
                  </a:lnTo>
                  <a:lnTo>
                    <a:pt x="1264" y="2872"/>
                  </a:lnTo>
                  <a:lnTo>
                    <a:pt x="1268" y="2872"/>
                  </a:lnTo>
                  <a:lnTo>
                    <a:pt x="1273" y="2875"/>
                  </a:lnTo>
                  <a:lnTo>
                    <a:pt x="1273" y="2875"/>
                  </a:lnTo>
                  <a:lnTo>
                    <a:pt x="1275" y="2877"/>
                  </a:lnTo>
                  <a:lnTo>
                    <a:pt x="1275" y="2875"/>
                  </a:lnTo>
                  <a:lnTo>
                    <a:pt x="1275" y="2875"/>
                  </a:lnTo>
                  <a:lnTo>
                    <a:pt x="1277" y="2875"/>
                  </a:lnTo>
                  <a:lnTo>
                    <a:pt x="1279" y="2875"/>
                  </a:lnTo>
                  <a:lnTo>
                    <a:pt x="1280" y="2875"/>
                  </a:lnTo>
                  <a:lnTo>
                    <a:pt x="1280" y="2877"/>
                  </a:lnTo>
                  <a:lnTo>
                    <a:pt x="1286" y="2883"/>
                  </a:lnTo>
                  <a:lnTo>
                    <a:pt x="1286" y="2884"/>
                  </a:lnTo>
                  <a:lnTo>
                    <a:pt x="1288" y="2884"/>
                  </a:lnTo>
                  <a:lnTo>
                    <a:pt x="1288" y="2886"/>
                  </a:lnTo>
                  <a:lnTo>
                    <a:pt x="1288" y="2886"/>
                  </a:lnTo>
                  <a:lnTo>
                    <a:pt x="1289" y="2888"/>
                  </a:lnTo>
                  <a:lnTo>
                    <a:pt x="1291" y="2888"/>
                  </a:lnTo>
                  <a:lnTo>
                    <a:pt x="1297" y="2886"/>
                  </a:lnTo>
                  <a:lnTo>
                    <a:pt x="1299" y="2886"/>
                  </a:lnTo>
                  <a:lnTo>
                    <a:pt x="1302" y="2886"/>
                  </a:lnTo>
                  <a:lnTo>
                    <a:pt x="1308" y="2888"/>
                  </a:lnTo>
                  <a:lnTo>
                    <a:pt x="1309" y="2892"/>
                  </a:lnTo>
                  <a:lnTo>
                    <a:pt x="1309" y="2892"/>
                  </a:lnTo>
                  <a:lnTo>
                    <a:pt x="1309" y="2893"/>
                  </a:lnTo>
                  <a:lnTo>
                    <a:pt x="1302" y="2908"/>
                  </a:lnTo>
                  <a:lnTo>
                    <a:pt x="1304" y="2910"/>
                  </a:lnTo>
                  <a:lnTo>
                    <a:pt x="1306" y="2910"/>
                  </a:lnTo>
                  <a:lnTo>
                    <a:pt x="1308" y="2912"/>
                  </a:lnTo>
                  <a:lnTo>
                    <a:pt x="1313" y="2915"/>
                  </a:lnTo>
                  <a:lnTo>
                    <a:pt x="1317" y="2915"/>
                  </a:lnTo>
                  <a:lnTo>
                    <a:pt x="1317" y="2917"/>
                  </a:lnTo>
                  <a:lnTo>
                    <a:pt x="1318" y="2921"/>
                  </a:lnTo>
                  <a:lnTo>
                    <a:pt x="1318" y="2921"/>
                  </a:lnTo>
                  <a:lnTo>
                    <a:pt x="1318" y="2921"/>
                  </a:lnTo>
                  <a:lnTo>
                    <a:pt x="1320" y="2921"/>
                  </a:lnTo>
                  <a:lnTo>
                    <a:pt x="1320" y="2921"/>
                  </a:lnTo>
                  <a:lnTo>
                    <a:pt x="1322" y="2921"/>
                  </a:lnTo>
                  <a:lnTo>
                    <a:pt x="1322" y="2921"/>
                  </a:lnTo>
                  <a:lnTo>
                    <a:pt x="1322" y="2921"/>
                  </a:lnTo>
                  <a:lnTo>
                    <a:pt x="1322" y="2921"/>
                  </a:lnTo>
                  <a:lnTo>
                    <a:pt x="1324" y="2922"/>
                  </a:lnTo>
                  <a:lnTo>
                    <a:pt x="1324" y="2922"/>
                  </a:lnTo>
                  <a:lnTo>
                    <a:pt x="1326" y="2921"/>
                  </a:lnTo>
                  <a:lnTo>
                    <a:pt x="1326" y="2922"/>
                  </a:lnTo>
                  <a:lnTo>
                    <a:pt x="1326" y="2922"/>
                  </a:lnTo>
                  <a:lnTo>
                    <a:pt x="1327" y="2924"/>
                  </a:lnTo>
                  <a:lnTo>
                    <a:pt x="1329" y="2924"/>
                  </a:lnTo>
                  <a:lnTo>
                    <a:pt x="1331" y="2922"/>
                  </a:lnTo>
                  <a:lnTo>
                    <a:pt x="1331" y="2922"/>
                  </a:lnTo>
                  <a:lnTo>
                    <a:pt x="1331" y="2922"/>
                  </a:lnTo>
                  <a:lnTo>
                    <a:pt x="1331" y="2922"/>
                  </a:lnTo>
                  <a:lnTo>
                    <a:pt x="1333" y="2922"/>
                  </a:lnTo>
                  <a:lnTo>
                    <a:pt x="1333" y="2922"/>
                  </a:lnTo>
                  <a:lnTo>
                    <a:pt x="1333" y="2922"/>
                  </a:lnTo>
                  <a:lnTo>
                    <a:pt x="1335" y="2924"/>
                  </a:lnTo>
                  <a:lnTo>
                    <a:pt x="1336" y="2926"/>
                  </a:lnTo>
                  <a:lnTo>
                    <a:pt x="1338" y="2928"/>
                  </a:lnTo>
                  <a:lnTo>
                    <a:pt x="1342" y="2928"/>
                  </a:lnTo>
                  <a:lnTo>
                    <a:pt x="1342" y="2928"/>
                  </a:lnTo>
                  <a:lnTo>
                    <a:pt x="1344" y="2930"/>
                  </a:lnTo>
                  <a:lnTo>
                    <a:pt x="1344" y="2930"/>
                  </a:lnTo>
                  <a:lnTo>
                    <a:pt x="1345" y="2930"/>
                  </a:lnTo>
                  <a:lnTo>
                    <a:pt x="1349" y="2931"/>
                  </a:lnTo>
                  <a:lnTo>
                    <a:pt x="1349" y="2931"/>
                  </a:lnTo>
                  <a:lnTo>
                    <a:pt x="1349" y="2933"/>
                  </a:lnTo>
                  <a:lnTo>
                    <a:pt x="1349" y="2935"/>
                  </a:lnTo>
                  <a:lnTo>
                    <a:pt x="1349" y="2937"/>
                  </a:lnTo>
                  <a:lnTo>
                    <a:pt x="1351" y="2937"/>
                  </a:lnTo>
                  <a:lnTo>
                    <a:pt x="1351" y="2937"/>
                  </a:lnTo>
                  <a:lnTo>
                    <a:pt x="1353" y="2937"/>
                  </a:lnTo>
                  <a:lnTo>
                    <a:pt x="1354" y="2935"/>
                  </a:lnTo>
                  <a:lnTo>
                    <a:pt x="1354" y="2935"/>
                  </a:lnTo>
                  <a:lnTo>
                    <a:pt x="1356" y="2935"/>
                  </a:lnTo>
                  <a:lnTo>
                    <a:pt x="1358" y="2933"/>
                  </a:lnTo>
                  <a:lnTo>
                    <a:pt x="1358" y="2933"/>
                  </a:lnTo>
                  <a:lnTo>
                    <a:pt x="1358" y="2933"/>
                  </a:lnTo>
                  <a:lnTo>
                    <a:pt x="1358" y="2933"/>
                  </a:lnTo>
                  <a:lnTo>
                    <a:pt x="1360" y="2933"/>
                  </a:lnTo>
                  <a:lnTo>
                    <a:pt x="1360" y="2937"/>
                  </a:lnTo>
                  <a:lnTo>
                    <a:pt x="1360" y="2937"/>
                  </a:lnTo>
                  <a:lnTo>
                    <a:pt x="1360" y="2939"/>
                  </a:lnTo>
                  <a:lnTo>
                    <a:pt x="1364" y="2940"/>
                  </a:lnTo>
                  <a:lnTo>
                    <a:pt x="1365" y="2940"/>
                  </a:lnTo>
                  <a:lnTo>
                    <a:pt x="1365" y="2942"/>
                  </a:lnTo>
                  <a:lnTo>
                    <a:pt x="1367" y="2942"/>
                  </a:lnTo>
                  <a:lnTo>
                    <a:pt x="1367" y="2942"/>
                  </a:lnTo>
                  <a:lnTo>
                    <a:pt x="1367" y="2942"/>
                  </a:lnTo>
                  <a:lnTo>
                    <a:pt x="1367" y="2944"/>
                  </a:lnTo>
                  <a:lnTo>
                    <a:pt x="1367" y="2944"/>
                  </a:lnTo>
                  <a:lnTo>
                    <a:pt x="1369" y="2946"/>
                  </a:lnTo>
                  <a:lnTo>
                    <a:pt x="1371" y="2948"/>
                  </a:lnTo>
                  <a:lnTo>
                    <a:pt x="1373" y="2949"/>
                  </a:lnTo>
                  <a:lnTo>
                    <a:pt x="1373" y="2951"/>
                  </a:lnTo>
                  <a:lnTo>
                    <a:pt x="1373" y="2953"/>
                  </a:lnTo>
                  <a:lnTo>
                    <a:pt x="1373" y="2953"/>
                  </a:lnTo>
                  <a:lnTo>
                    <a:pt x="1376" y="2951"/>
                  </a:lnTo>
                  <a:lnTo>
                    <a:pt x="1376" y="2951"/>
                  </a:lnTo>
                  <a:lnTo>
                    <a:pt x="1378" y="2951"/>
                  </a:lnTo>
                  <a:lnTo>
                    <a:pt x="1378" y="2951"/>
                  </a:lnTo>
                  <a:lnTo>
                    <a:pt x="1380" y="2953"/>
                  </a:lnTo>
                  <a:lnTo>
                    <a:pt x="1380" y="2953"/>
                  </a:lnTo>
                  <a:lnTo>
                    <a:pt x="1380" y="2955"/>
                  </a:lnTo>
                  <a:lnTo>
                    <a:pt x="1380" y="2957"/>
                  </a:lnTo>
                  <a:lnTo>
                    <a:pt x="1382" y="2957"/>
                  </a:lnTo>
                  <a:lnTo>
                    <a:pt x="1382" y="2957"/>
                  </a:lnTo>
                  <a:lnTo>
                    <a:pt x="1382" y="2957"/>
                  </a:lnTo>
                  <a:lnTo>
                    <a:pt x="1382" y="2959"/>
                  </a:lnTo>
                  <a:lnTo>
                    <a:pt x="1382" y="2959"/>
                  </a:lnTo>
                  <a:lnTo>
                    <a:pt x="1382" y="2959"/>
                  </a:lnTo>
                  <a:lnTo>
                    <a:pt x="1383" y="2960"/>
                  </a:lnTo>
                  <a:lnTo>
                    <a:pt x="1383" y="2962"/>
                  </a:lnTo>
                  <a:lnTo>
                    <a:pt x="1383" y="2964"/>
                  </a:lnTo>
                  <a:lnTo>
                    <a:pt x="1383" y="2968"/>
                  </a:lnTo>
                  <a:lnTo>
                    <a:pt x="1385" y="2968"/>
                  </a:lnTo>
                  <a:lnTo>
                    <a:pt x="1385" y="2969"/>
                  </a:lnTo>
                  <a:lnTo>
                    <a:pt x="1389" y="2971"/>
                  </a:lnTo>
                  <a:lnTo>
                    <a:pt x="1391" y="2971"/>
                  </a:lnTo>
                  <a:lnTo>
                    <a:pt x="1391" y="2973"/>
                  </a:lnTo>
                  <a:lnTo>
                    <a:pt x="1396" y="2973"/>
                  </a:lnTo>
                  <a:lnTo>
                    <a:pt x="1398" y="2973"/>
                  </a:lnTo>
                  <a:lnTo>
                    <a:pt x="1398" y="2975"/>
                  </a:lnTo>
                  <a:lnTo>
                    <a:pt x="1400" y="2977"/>
                  </a:lnTo>
                  <a:lnTo>
                    <a:pt x="1400" y="2977"/>
                  </a:lnTo>
                  <a:lnTo>
                    <a:pt x="1401" y="2975"/>
                  </a:lnTo>
                  <a:lnTo>
                    <a:pt x="1403" y="2975"/>
                  </a:lnTo>
                  <a:lnTo>
                    <a:pt x="1403" y="2975"/>
                  </a:lnTo>
                  <a:lnTo>
                    <a:pt x="1407" y="2975"/>
                  </a:lnTo>
                  <a:lnTo>
                    <a:pt x="1409" y="2977"/>
                  </a:lnTo>
                  <a:lnTo>
                    <a:pt x="1409" y="2977"/>
                  </a:lnTo>
                  <a:lnTo>
                    <a:pt x="1412" y="2977"/>
                  </a:lnTo>
                  <a:lnTo>
                    <a:pt x="1414" y="2977"/>
                  </a:lnTo>
                  <a:lnTo>
                    <a:pt x="1416" y="2975"/>
                  </a:lnTo>
                  <a:lnTo>
                    <a:pt x="1416" y="2975"/>
                  </a:lnTo>
                  <a:lnTo>
                    <a:pt x="1418" y="2975"/>
                  </a:lnTo>
                  <a:lnTo>
                    <a:pt x="1416" y="2973"/>
                  </a:lnTo>
                  <a:lnTo>
                    <a:pt x="1416" y="2971"/>
                  </a:lnTo>
                  <a:lnTo>
                    <a:pt x="1416" y="2971"/>
                  </a:lnTo>
                  <a:lnTo>
                    <a:pt x="1418" y="2969"/>
                  </a:lnTo>
                  <a:lnTo>
                    <a:pt x="1418" y="2969"/>
                  </a:lnTo>
                  <a:lnTo>
                    <a:pt x="1418" y="2969"/>
                  </a:lnTo>
                  <a:lnTo>
                    <a:pt x="1420" y="2968"/>
                  </a:lnTo>
                  <a:lnTo>
                    <a:pt x="1420" y="2966"/>
                  </a:lnTo>
                  <a:lnTo>
                    <a:pt x="1420" y="2966"/>
                  </a:lnTo>
                  <a:lnTo>
                    <a:pt x="1421" y="2966"/>
                  </a:lnTo>
                  <a:lnTo>
                    <a:pt x="1421" y="2966"/>
                  </a:lnTo>
                  <a:lnTo>
                    <a:pt x="1423" y="2960"/>
                  </a:lnTo>
                  <a:lnTo>
                    <a:pt x="1425" y="2959"/>
                  </a:lnTo>
                  <a:lnTo>
                    <a:pt x="1427" y="2959"/>
                  </a:lnTo>
                  <a:lnTo>
                    <a:pt x="1432" y="2957"/>
                  </a:lnTo>
                  <a:lnTo>
                    <a:pt x="1434" y="2957"/>
                  </a:lnTo>
                  <a:lnTo>
                    <a:pt x="1436" y="2953"/>
                  </a:lnTo>
                  <a:lnTo>
                    <a:pt x="1441" y="2951"/>
                  </a:lnTo>
                  <a:lnTo>
                    <a:pt x="1441" y="2949"/>
                  </a:lnTo>
                  <a:lnTo>
                    <a:pt x="1443" y="2948"/>
                  </a:lnTo>
                  <a:lnTo>
                    <a:pt x="1445" y="2942"/>
                  </a:lnTo>
                  <a:lnTo>
                    <a:pt x="1445" y="2942"/>
                  </a:lnTo>
                  <a:lnTo>
                    <a:pt x="1448" y="2937"/>
                  </a:lnTo>
                  <a:lnTo>
                    <a:pt x="1450" y="2933"/>
                  </a:lnTo>
                  <a:lnTo>
                    <a:pt x="1450" y="2933"/>
                  </a:lnTo>
                  <a:lnTo>
                    <a:pt x="1450" y="2931"/>
                  </a:lnTo>
                  <a:lnTo>
                    <a:pt x="1448" y="2930"/>
                  </a:lnTo>
                  <a:lnTo>
                    <a:pt x="1445" y="2930"/>
                  </a:lnTo>
                  <a:lnTo>
                    <a:pt x="1443" y="2928"/>
                  </a:lnTo>
                  <a:lnTo>
                    <a:pt x="1441" y="2928"/>
                  </a:lnTo>
                  <a:lnTo>
                    <a:pt x="1438" y="2921"/>
                  </a:lnTo>
                  <a:lnTo>
                    <a:pt x="1438" y="2919"/>
                  </a:lnTo>
                  <a:lnTo>
                    <a:pt x="1438" y="2917"/>
                  </a:lnTo>
                  <a:lnTo>
                    <a:pt x="1438" y="2915"/>
                  </a:lnTo>
                  <a:lnTo>
                    <a:pt x="1436" y="2915"/>
                  </a:lnTo>
                  <a:lnTo>
                    <a:pt x="1434" y="2913"/>
                  </a:lnTo>
                  <a:lnTo>
                    <a:pt x="1434" y="2912"/>
                  </a:lnTo>
                  <a:lnTo>
                    <a:pt x="1427" y="2899"/>
                  </a:lnTo>
                  <a:lnTo>
                    <a:pt x="1427" y="2899"/>
                  </a:lnTo>
                  <a:lnTo>
                    <a:pt x="1423" y="2897"/>
                  </a:lnTo>
                  <a:lnTo>
                    <a:pt x="1421" y="2895"/>
                  </a:lnTo>
                  <a:lnTo>
                    <a:pt x="1420" y="2890"/>
                  </a:lnTo>
                  <a:lnTo>
                    <a:pt x="1416" y="2883"/>
                  </a:lnTo>
                  <a:lnTo>
                    <a:pt x="1414" y="2883"/>
                  </a:lnTo>
                  <a:lnTo>
                    <a:pt x="1410" y="2879"/>
                  </a:lnTo>
                  <a:lnTo>
                    <a:pt x="1409" y="2877"/>
                  </a:lnTo>
                  <a:lnTo>
                    <a:pt x="1409" y="2875"/>
                  </a:lnTo>
                  <a:lnTo>
                    <a:pt x="1407" y="2874"/>
                  </a:lnTo>
                  <a:lnTo>
                    <a:pt x="1409" y="2872"/>
                  </a:lnTo>
                  <a:lnTo>
                    <a:pt x="1409" y="2872"/>
                  </a:lnTo>
                  <a:lnTo>
                    <a:pt x="1407" y="2872"/>
                  </a:lnTo>
                  <a:lnTo>
                    <a:pt x="1409" y="2870"/>
                  </a:lnTo>
                  <a:lnTo>
                    <a:pt x="1407" y="2866"/>
                  </a:lnTo>
                  <a:lnTo>
                    <a:pt x="1407" y="2866"/>
                  </a:lnTo>
                  <a:lnTo>
                    <a:pt x="1407" y="2866"/>
                  </a:lnTo>
                  <a:lnTo>
                    <a:pt x="1407" y="2865"/>
                  </a:lnTo>
                  <a:lnTo>
                    <a:pt x="1407" y="2865"/>
                  </a:lnTo>
                  <a:lnTo>
                    <a:pt x="1403" y="2861"/>
                  </a:lnTo>
                  <a:lnTo>
                    <a:pt x="1401" y="2861"/>
                  </a:lnTo>
                  <a:lnTo>
                    <a:pt x="1401" y="2859"/>
                  </a:lnTo>
                  <a:lnTo>
                    <a:pt x="1401" y="2859"/>
                  </a:lnTo>
                  <a:lnTo>
                    <a:pt x="1398" y="2857"/>
                  </a:lnTo>
                  <a:lnTo>
                    <a:pt x="1394" y="2854"/>
                  </a:lnTo>
                  <a:lnTo>
                    <a:pt x="1394" y="2850"/>
                  </a:lnTo>
                  <a:lnTo>
                    <a:pt x="1394" y="2848"/>
                  </a:lnTo>
                  <a:lnTo>
                    <a:pt x="1394" y="2848"/>
                  </a:lnTo>
                  <a:lnTo>
                    <a:pt x="1396" y="2847"/>
                  </a:lnTo>
                  <a:lnTo>
                    <a:pt x="1396" y="2847"/>
                  </a:lnTo>
                  <a:lnTo>
                    <a:pt x="1396" y="2847"/>
                  </a:lnTo>
                  <a:lnTo>
                    <a:pt x="1396" y="2845"/>
                  </a:lnTo>
                  <a:lnTo>
                    <a:pt x="1396" y="2845"/>
                  </a:lnTo>
                  <a:lnTo>
                    <a:pt x="1396" y="2843"/>
                  </a:lnTo>
                  <a:lnTo>
                    <a:pt x="1396" y="2843"/>
                  </a:lnTo>
                  <a:lnTo>
                    <a:pt x="1396" y="2841"/>
                  </a:lnTo>
                  <a:lnTo>
                    <a:pt x="1396" y="2841"/>
                  </a:lnTo>
                  <a:lnTo>
                    <a:pt x="1398" y="2839"/>
                  </a:lnTo>
                  <a:lnTo>
                    <a:pt x="1398" y="2839"/>
                  </a:lnTo>
                  <a:lnTo>
                    <a:pt x="1400" y="2837"/>
                  </a:lnTo>
                  <a:lnTo>
                    <a:pt x="1400" y="2837"/>
                  </a:lnTo>
                  <a:lnTo>
                    <a:pt x="1401" y="2836"/>
                  </a:lnTo>
                  <a:lnTo>
                    <a:pt x="1401" y="2836"/>
                  </a:lnTo>
                  <a:lnTo>
                    <a:pt x="1401" y="2834"/>
                  </a:lnTo>
                  <a:lnTo>
                    <a:pt x="1401" y="2834"/>
                  </a:lnTo>
                  <a:lnTo>
                    <a:pt x="1401" y="2834"/>
                  </a:lnTo>
                  <a:lnTo>
                    <a:pt x="1401" y="2832"/>
                  </a:lnTo>
                  <a:lnTo>
                    <a:pt x="1400" y="2832"/>
                  </a:lnTo>
                  <a:lnTo>
                    <a:pt x="1400" y="2832"/>
                  </a:lnTo>
                  <a:lnTo>
                    <a:pt x="1398" y="2834"/>
                  </a:lnTo>
                  <a:lnTo>
                    <a:pt x="1398" y="2836"/>
                  </a:lnTo>
                  <a:lnTo>
                    <a:pt x="1396" y="2836"/>
                  </a:lnTo>
                  <a:lnTo>
                    <a:pt x="1396" y="2834"/>
                  </a:lnTo>
                  <a:lnTo>
                    <a:pt x="1396" y="2832"/>
                  </a:lnTo>
                  <a:lnTo>
                    <a:pt x="1396" y="2832"/>
                  </a:lnTo>
                  <a:lnTo>
                    <a:pt x="1396" y="2828"/>
                  </a:lnTo>
                  <a:lnTo>
                    <a:pt x="1396" y="2827"/>
                  </a:lnTo>
                  <a:lnTo>
                    <a:pt x="1396" y="2823"/>
                  </a:lnTo>
                  <a:lnTo>
                    <a:pt x="1398" y="2819"/>
                  </a:lnTo>
                  <a:lnTo>
                    <a:pt x="1400" y="2812"/>
                  </a:lnTo>
                  <a:lnTo>
                    <a:pt x="1401" y="2803"/>
                  </a:lnTo>
                  <a:lnTo>
                    <a:pt x="1405" y="2798"/>
                  </a:lnTo>
                  <a:lnTo>
                    <a:pt x="1407" y="2794"/>
                  </a:lnTo>
                  <a:lnTo>
                    <a:pt x="1405" y="2794"/>
                  </a:lnTo>
                  <a:lnTo>
                    <a:pt x="1405" y="2794"/>
                  </a:lnTo>
                  <a:lnTo>
                    <a:pt x="1403" y="2792"/>
                  </a:lnTo>
                  <a:lnTo>
                    <a:pt x="1401" y="2792"/>
                  </a:lnTo>
                  <a:lnTo>
                    <a:pt x="1401" y="2794"/>
                  </a:lnTo>
                  <a:lnTo>
                    <a:pt x="1400" y="2794"/>
                  </a:lnTo>
                  <a:lnTo>
                    <a:pt x="1400" y="2796"/>
                  </a:lnTo>
                  <a:lnTo>
                    <a:pt x="1400" y="2796"/>
                  </a:lnTo>
                  <a:lnTo>
                    <a:pt x="1400" y="2798"/>
                  </a:lnTo>
                  <a:lnTo>
                    <a:pt x="1400" y="2800"/>
                  </a:lnTo>
                  <a:lnTo>
                    <a:pt x="1398" y="2801"/>
                  </a:lnTo>
                  <a:lnTo>
                    <a:pt x="1398" y="2803"/>
                  </a:lnTo>
                  <a:lnTo>
                    <a:pt x="1398" y="2805"/>
                  </a:lnTo>
                  <a:lnTo>
                    <a:pt x="1398" y="2807"/>
                  </a:lnTo>
                  <a:lnTo>
                    <a:pt x="1398" y="2809"/>
                  </a:lnTo>
                  <a:lnTo>
                    <a:pt x="1398" y="2809"/>
                  </a:lnTo>
                  <a:lnTo>
                    <a:pt x="1396" y="2810"/>
                  </a:lnTo>
                  <a:lnTo>
                    <a:pt x="1396" y="2810"/>
                  </a:lnTo>
                  <a:lnTo>
                    <a:pt x="1396" y="2810"/>
                  </a:lnTo>
                  <a:lnTo>
                    <a:pt x="1396" y="2812"/>
                  </a:lnTo>
                  <a:lnTo>
                    <a:pt x="1396" y="2814"/>
                  </a:lnTo>
                  <a:lnTo>
                    <a:pt x="1396" y="2818"/>
                  </a:lnTo>
                  <a:lnTo>
                    <a:pt x="1394" y="2819"/>
                  </a:lnTo>
                  <a:lnTo>
                    <a:pt x="1392" y="2821"/>
                  </a:lnTo>
                  <a:lnTo>
                    <a:pt x="1392" y="2819"/>
                  </a:lnTo>
                  <a:lnTo>
                    <a:pt x="1392" y="2819"/>
                  </a:lnTo>
                  <a:lnTo>
                    <a:pt x="1392" y="2818"/>
                  </a:lnTo>
                  <a:lnTo>
                    <a:pt x="1391" y="2818"/>
                  </a:lnTo>
                  <a:lnTo>
                    <a:pt x="1391" y="2818"/>
                  </a:lnTo>
                  <a:lnTo>
                    <a:pt x="1391" y="2816"/>
                  </a:lnTo>
                  <a:lnTo>
                    <a:pt x="1391" y="2814"/>
                  </a:lnTo>
                  <a:lnTo>
                    <a:pt x="1391" y="2812"/>
                  </a:lnTo>
                  <a:lnTo>
                    <a:pt x="1391" y="2812"/>
                  </a:lnTo>
                  <a:lnTo>
                    <a:pt x="1391" y="2812"/>
                  </a:lnTo>
                  <a:lnTo>
                    <a:pt x="1392" y="2814"/>
                  </a:lnTo>
                  <a:lnTo>
                    <a:pt x="1392" y="2812"/>
                  </a:lnTo>
                  <a:lnTo>
                    <a:pt x="1394" y="2809"/>
                  </a:lnTo>
                  <a:lnTo>
                    <a:pt x="1394" y="2809"/>
                  </a:lnTo>
                  <a:lnTo>
                    <a:pt x="1394" y="2809"/>
                  </a:lnTo>
                  <a:lnTo>
                    <a:pt x="1394" y="2809"/>
                  </a:lnTo>
                  <a:lnTo>
                    <a:pt x="1394" y="2809"/>
                  </a:lnTo>
                  <a:lnTo>
                    <a:pt x="1394" y="2807"/>
                  </a:lnTo>
                  <a:lnTo>
                    <a:pt x="1394" y="2805"/>
                  </a:lnTo>
                  <a:lnTo>
                    <a:pt x="1394" y="2803"/>
                  </a:lnTo>
                  <a:lnTo>
                    <a:pt x="1394" y="2803"/>
                  </a:lnTo>
                  <a:lnTo>
                    <a:pt x="1396" y="2803"/>
                  </a:lnTo>
                  <a:lnTo>
                    <a:pt x="1396" y="2803"/>
                  </a:lnTo>
                  <a:lnTo>
                    <a:pt x="1398" y="2801"/>
                  </a:lnTo>
                  <a:lnTo>
                    <a:pt x="1398" y="2801"/>
                  </a:lnTo>
                  <a:lnTo>
                    <a:pt x="1396" y="2800"/>
                  </a:lnTo>
                  <a:lnTo>
                    <a:pt x="1396" y="2798"/>
                  </a:lnTo>
                  <a:lnTo>
                    <a:pt x="1396" y="2798"/>
                  </a:lnTo>
                  <a:lnTo>
                    <a:pt x="1394" y="2798"/>
                  </a:lnTo>
                  <a:lnTo>
                    <a:pt x="1394" y="2800"/>
                  </a:lnTo>
                  <a:lnTo>
                    <a:pt x="1394" y="2798"/>
                  </a:lnTo>
                  <a:lnTo>
                    <a:pt x="1394" y="2796"/>
                  </a:lnTo>
                  <a:lnTo>
                    <a:pt x="1394" y="2796"/>
                  </a:lnTo>
                  <a:lnTo>
                    <a:pt x="1394" y="2796"/>
                  </a:lnTo>
                  <a:lnTo>
                    <a:pt x="1394" y="2794"/>
                  </a:lnTo>
                  <a:lnTo>
                    <a:pt x="1394" y="2794"/>
                  </a:lnTo>
                  <a:lnTo>
                    <a:pt x="1392" y="2792"/>
                  </a:lnTo>
                  <a:lnTo>
                    <a:pt x="1392" y="2792"/>
                  </a:lnTo>
                  <a:lnTo>
                    <a:pt x="1391" y="2789"/>
                  </a:lnTo>
                  <a:lnTo>
                    <a:pt x="1391" y="2785"/>
                  </a:lnTo>
                  <a:lnTo>
                    <a:pt x="1389" y="2783"/>
                  </a:lnTo>
                  <a:lnTo>
                    <a:pt x="1389" y="2783"/>
                  </a:lnTo>
                  <a:lnTo>
                    <a:pt x="1387" y="2781"/>
                  </a:lnTo>
                  <a:lnTo>
                    <a:pt x="1387" y="2780"/>
                  </a:lnTo>
                  <a:lnTo>
                    <a:pt x="1385" y="2774"/>
                  </a:lnTo>
                  <a:lnTo>
                    <a:pt x="1383" y="2772"/>
                  </a:lnTo>
                  <a:lnTo>
                    <a:pt x="1383" y="2771"/>
                  </a:lnTo>
                  <a:lnTo>
                    <a:pt x="1382" y="2771"/>
                  </a:lnTo>
                  <a:lnTo>
                    <a:pt x="1382" y="2772"/>
                  </a:lnTo>
                  <a:lnTo>
                    <a:pt x="1382" y="2772"/>
                  </a:lnTo>
                  <a:lnTo>
                    <a:pt x="1380" y="2772"/>
                  </a:lnTo>
                  <a:lnTo>
                    <a:pt x="1380" y="2771"/>
                  </a:lnTo>
                  <a:lnTo>
                    <a:pt x="1378" y="2771"/>
                  </a:lnTo>
                  <a:lnTo>
                    <a:pt x="1378" y="2771"/>
                  </a:lnTo>
                  <a:lnTo>
                    <a:pt x="1378" y="2771"/>
                  </a:lnTo>
                  <a:lnTo>
                    <a:pt x="1376" y="2769"/>
                  </a:lnTo>
                  <a:lnTo>
                    <a:pt x="1376" y="2767"/>
                  </a:lnTo>
                  <a:lnTo>
                    <a:pt x="1376" y="2767"/>
                  </a:lnTo>
                  <a:lnTo>
                    <a:pt x="1374" y="2763"/>
                  </a:lnTo>
                  <a:lnTo>
                    <a:pt x="1374" y="2762"/>
                  </a:lnTo>
                  <a:lnTo>
                    <a:pt x="1373" y="2762"/>
                  </a:lnTo>
                  <a:lnTo>
                    <a:pt x="1373" y="2762"/>
                  </a:lnTo>
                  <a:lnTo>
                    <a:pt x="1365" y="2758"/>
                  </a:lnTo>
                  <a:lnTo>
                    <a:pt x="1364" y="2758"/>
                  </a:lnTo>
                  <a:lnTo>
                    <a:pt x="1364" y="2758"/>
                  </a:lnTo>
                  <a:lnTo>
                    <a:pt x="1360" y="2758"/>
                  </a:lnTo>
                  <a:lnTo>
                    <a:pt x="1360" y="2758"/>
                  </a:lnTo>
                  <a:lnTo>
                    <a:pt x="1358" y="2758"/>
                  </a:lnTo>
                  <a:lnTo>
                    <a:pt x="1358" y="2756"/>
                  </a:lnTo>
                  <a:lnTo>
                    <a:pt x="1356" y="2754"/>
                  </a:lnTo>
                  <a:lnTo>
                    <a:pt x="1356" y="2754"/>
                  </a:lnTo>
                  <a:lnTo>
                    <a:pt x="1356" y="2751"/>
                  </a:lnTo>
                  <a:lnTo>
                    <a:pt x="1356" y="2749"/>
                  </a:lnTo>
                  <a:lnTo>
                    <a:pt x="1356" y="2749"/>
                  </a:lnTo>
                  <a:lnTo>
                    <a:pt x="1356" y="2749"/>
                  </a:lnTo>
                  <a:lnTo>
                    <a:pt x="1358" y="2749"/>
                  </a:lnTo>
                  <a:lnTo>
                    <a:pt x="1358" y="2749"/>
                  </a:lnTo>
                  <a:lnTo>
                    <a:pt x="1358" y="2747"/>
                  </a:lnTo>
                  <a:lnTo>
                    <a:pt x="1358" y="2747"/>
                  </a:lnTo>
                  <a:lnTo>
                    <a:pt x="1358" y="2747"/>
                  </a:lnTo>
                  <a:lnTo>
                    <a:pt x="1358" y="2747"/>
                  </a:lnTo>
                  <a:lnTo>
                    <a:pt x="1358" y="2742"/>
                  </a:lnTo>
                  <a:lnTo>
                    <a:pt x="1358" y="2740"/>
                  </a:lnTo>
                  <a:lnTo>
                    <a:pt x="1360" y="2740"/>
                  </a:lnTo>
                  <a:lnTo>
                    <a:pt x="1360" y="2738"/>
                  </a:lnTo>
                  <a:lnTo>
                    <a:pt x="1362" y="2736"/>
                  </a:lnTo>
                  <a:lnTo>
                    <a:pt x="1364" y="2738"/>
                  </a:lnTo>
                  <a:lnTo>
                    <a:pt x="1364" y="2736"/>
                  </a:lnTo>
                  <a:lnTo>
                    <a:pt x="1365" y="2736"/>
                  </a:lnTo>
                  <a:lnTo>
                    <a:pt x="1365" y="2735"/>
                  </a:lnTo>
                  <a:lnTo>
                    <a:pt x="1367" y="2735"/>
                  </a:lnTo>
                  <a:lnTo>
                    <a:pt x="1369" y="2733"/>
                  </a:lnTo>
                  <a:lnTo>
                    <a:pt x="1369" y="2733"/>
                  </a:lnTo>
                  <a:lnTo>
                    <a:pt x="1371" y="2733"/>
                  </a:lnTo>
                  <a:lnTo>
                    <a:pt x="1371" y="2731"/>
                  </a:lnTo>
                  <a:lnTo>
                    <a:pt x="1373" y="2729"/>
                  </a:lnTo>
                  <a:lnTo>
                    <a:pt x="1373" y="2729"/>
                  </a:lnTo>
                  <a:lnTo>
                    <a:pt x="1373" y="2727"/>
                  </a:lnTo>
                  <a:lnTo>
                    <a:pt x="1371" y="2725"/>
                  </a:lnTo>
                  <a:lnTo>
                    <a:pt x="1371" y="2724"/>
                  </a:lnTo>
                  <a:lnTo>
                    <a:pt x="1371" y="2722"/>
                  </a:lnTo>
                  <a:lnTo>
                    <a:pt x="1373" y="2722"/>
                  </a:lnTo>
                  <a:lnTo>
                    <a:pt x="1373" y="2724"/>
                  </a:lnTo>
                  <a:lnTo>
                    <a:pt x="1373" y="2725"/>
                  </a:lnTo>
                  <a:lnTo>
                    <a:pt x="1373" y="2727"/>
                  </a:lnTo>
                  <a:lnTo>
                    <a:pt x="1374" y="2731"/>
                  </a:lnTo>
                  <a:lnTo>
                    <a:pt x="1376" y="2731"/>
                  </a:lnTo>
                  <a:lnTo>
                    <a:pt x="1376" y="2731"/>
                  </a:lnTo>
                  <a:lnTo>
                    <a:pt x="1376" y="2731"/>
                  </a:lnTo>
                  <a:lnTo>
                    <a:pt x="1376" y="2729"/>
                  </a:lnTo>
                  <a:lnTo>
                    <a:pt x="1378" y="2725"/>
                  </a:lnTo>
                  <a:lnTo>
                    <a:pt x="1376" y="2720"/>
                  </a:lnTo>
                  <a:lnTo>
                    <a:pt x="1376" y="2720"/>
                  </a:lnTo>
                  <a:lnTo>
                    <a:pt x="1378" y="2720"/>
                  </a:lnTo>
                  <a:lnTo>
                    <a:pt x="1378" y="2720"/>
                  </a:lnTo>
                  <a:lnTo>
                    <a:pt x="1380" y="2720"/>
                  </a:lnTo>
                  <a:lnTo>
                    <a:pt x="1380" y="2722"/>
                  </a:lnTo>
                  <a:lnTo>
                    <a:pt x="1380" y="2720"/>
                  </a:lnTo>
                  <a:lnTo>
                    <a:pt x="1380" y="2718"/>
                  </a:lnTo>
                  <a:lnTo>
                    <a:pt x="1382" y="2718"/>
                  </a:lnTo>
                  <a:lnTo>
                    <a:pt x="1382" y="2718"/>
                  </a:lnTo>
                  <a:lnTo>
                    <a:pt x="1383" y="2716"/>
                  </a:lnTo>
                  <a:lnTo>
                    <a:pt x="1383" y="2715"/>
                  </a:lnTo>
                  <a:lnTo>
                    <a:pt x="1385" y="2711"/>
                  </a:lnTo>
                  <a:lnTo>
                    <a:pt x="1385" y="2711"/>
                  </a:lnTo>
                  <a:lnTo>
                    <a:pt x="1385" y="2707"/>
                  </a:lnTo>
                  <a:lnTo>
                    <a:pt x="1387" y="2704"/>
                  </a:lnTo>
                  <a:lnTo>
                    <a:pt x="1387" y="2704"/>
                  </a:lnTo>
                  <a:lnTo>
                    <a:pt x="1387" y="2702"/>
                  </a:lnTo>
                  <a:lnTo>
                    <a:pt x="1389" y="2702"/>
                  </a:lnTo>
                  <a:lnTo>
                    <a:pt x="1391" y="2704"/>
                  </a:lnTo>
                  <a:lnTo>
                    <a:pt x="1391" y="2704"/>
                  </a:lnTo>
                  <a:lnTo>
                    <a:pt x="1391" y="2702"/>
                  </a:lnTo>
                  <a:lnTo>
                    <a:pt x="1391" y="2697"/>
                  </a:lnTo>
                  <a:lnTo>
                    <a:pt x="1391" y="2695"/>
                  </a:lnTo>
                  <a:lnTo>
                    <a:pt x="1392" y="2693"/>
                  </a:lnTo>
                  <a:lnTo>
                    <a:pt x="1392" y="2691"/>
                  </a:lnTo>
                  <a:lnTo>
                    <a:pt x="1392" y="2691"/>
                  </a:lnTo>
                  <a:lnTo>
                    <a:pt x="1394" y="2691"/>
                  </a:lnTo>
                  <a:lnTo>
                    <a:pt x="1394" y="2689"/>
                  </a:lnTo>
                  <a:lnTo>
                    <a:pt x="1394" y="2689"/>
                  </a:lnTo>
                  <a:lnTo>
                    <a:pt x="1394" y="2689"/>
                  </a:lnTo>
                  <a:lnTo>
                    <a:pt x="1394" y="2689"/>
                  </a:lnTo>
                  <a:lnTo>
                    <a:pt x="1394" y="2688"/>
                  </a:lnTo>
                  <a:lnTo>
                    <a:pt x="1394" y="2688"/>
                  </a:lnTo>
                  <a:lnTo>
                    <a:pt x="1392" y="2688"/>
                  </a:lnTo>
                  <a:lnTo>
                    <a:pt x="1391" y="2688"/>
                  </a:lnTo>
                  <a:lnTo>
                    <a:pt x="1392" y="2686"/>
                  </a:lnTo>
                  <a:lnTo>
                    <a:pt x="1392" y="2686"/>
                  </a:lnTo>
                  <a:lnTo>
                    <a:pt x="1396" y="2686"/>
                  </a:lnTo>
                  <a:lnTo>
                    <a:pt x="1396" y="2686"/>
                  </a:lnTo>
                  <a:lnTo>
                    <a:pt x="1396" y="2686"/>
                  </a:lnTo>
                  <a:lnTo>
                    <a:pt x="1396" y="2684"/>
                  </a:lnTo>
                  <a:lnTo>
                    <a:pt x="1396" y="2682"/>
                  </a:lnTo>
                  <a:lnTo>
                    <a:pt x="1398" y="2682"/>
                  </a:lnTo>
                  <a:lnTo>
                    <a:pt x="1398" y="2680"/>
                  </a:lnTo>
                  <a:lnTo>
                    <a:pt x="1400" y="2680"/>
                  </a:lnTo>
                  <a:lnTo>
                    <a:pt x="1400" y="2680"/>
                  </a:lnTo>
                  <a:lnTo>
                    <a:pt x="1398" y="2679"/>
                  </a:lnTo>
                  <a:lnTo>
                    <a:pt x="1398" y="2677"/>
                  </a:lnTo>
                  <a:lnTo>
                    <a:pt x="1396" y="2677"/>
                  </a:lnTo>
                  <a:lnTo>
                    <a:pt x="1396" y="2675"/>
                  </a:lnTo>
                  <a:lnTo>
                    <a:pt x="1396" y="2675"/>
                  </a:lnTo>
                  <a:lnTo>
                    <a:pt x="1398" y="2675"/>
                  </a:lnTo>
                  <a:lnTo>
                    <a:pt x="1398" y="2677"/>
                  </a:lnTo>
                  <a:lnTo>
                    <a:pt x="1398" y="2677"/>
                  </a:lnTo>
                  <a:lnTo>
                    <a:pt x="1400" y="2679"/>
                  </a:lnTo>
                  <a:lnTo>
                    <a:pt x="1400" y="2679"/>
                  </a:lnTo>
                  <a:lnTo>
                    <a:pt x="1400" y="2679"/>
                  </a:lnTo>
                  <a:lnTo>
                    <a:pt x="1400" y="2677"/>
                  </a:lnTo>
                  <a:lnTo>
                    <a:pt x="1401" y="2677"/>
                  </a:lnTo>
                  <a:lnTo>
                    <a:pt x="1401" y="2677"/>
                  </a:lnTo>
                  <a:lnTo>
                    <a:pt x="1400" y="2675"/>
                  </a:lnTo>
                  <a:lnTo>
                    <a:pt x="1400" y="2673"/>
                  </a:lnTo>
                  <a:lnTo>
                    <a:pt x="1400" y="2673"/>
                  </a:lnTo>
                  <a:lnTo>
                    <a:pt x="1400" y="2673"/>
                  </a:lnTo>
                  <a:lnTo>
                    <a:pt x="1400" y="2671"/>
                  </a:lnTo>
                  <a:lnTo>
                    <a:pt x="1398" y="2671"/>
                  </a:lnTo>
                  <a:lnTo>
                    <a:pt x="1398" y="2669"/>
                  </a:lnTo>
                  <a:lnTo>
                    <a:pt x="1396" y="2669"/>
                  </a:lnTo>
                  <a:lnTo>
                    <a:pt x="1396" y="2669"/>
                  </a:lnTo>
                  <a:lnTo>
                    <a:pt x="1394" y="2669"/>
                  </a:lnTo>
                  <a:lnTo>
                    <a:pt x="1394" y="2668"/>
                  </a:lnTo>
                  <a:lnTo>
                    <a:pt x="1394" y="2668"/>
                  </a:lnTo>
                  <a:lnTo>
                    <a:pt x="1394" y="2668"/>
                  </a:lnTo>
                  <a:lnTo>
                    <a:pt x="1394" y="2668"/>
                  </a:lnTo>
                  <a:lnTo>
                    <a:pt x="1392" y="2668"/>
                  </a:lnTo>
                  <a:lnTo>
                    <a:pt x="1392" y="2668"/>
                  </a:lnTo>
                  <a:lnTo>
                    <a:pt x="1392" y="2668"/>
                  </a:lnTo>
                  <a:lnTo>
                    <a:pt x="1392" y="2666"/>
                  </a:lnTo>
                  <a:lnTo>
                    <a:pt x="1392" y="2666"/>
                  </a:lnTo>
                  <a:lnTo>
                    <a:pt x="1391" y="2664"/>
                  </a:lnTo>
                  <a:lnTo>
                    <a:pt x="1391" y="2664"/>
                  </a:lnTo>
                  <a:lnTo>
                    <a:pt x="1391" y="2662"/>
                  </a:lnTo>
                  <a:lnTo>
                    <a:pt x="1392" y="2662"/>
                  </a:lnTo>
                  <a:lnTo>
                    <a:pt x="1392" y="2662"/>
                  </a:lnTo>
                  <a:lnTo>
                    <a:pt x="1392" y="2664"/>
                  </a:lnTo>
                  <a:lnTo>
                    <a:pt x="1392" y="2664"/>
                  </a:lnTo>
                  <a:lnTo>
                    <a:pt x="1396" y="2664"/>
                  </a:lnTo>
                  <a:lnTo>
                    <a:pt x="1398" y="2666"/>
                  </a:lnTo>
                  <a:lnTo>
                    <a:pt x="1396" y="2666"/>
                  </a:lnTo>
                  <a:lnTo>
                    <a:pt x="1394" y="2666"/>
                  </a:lnTo>
                  <a:lnTo>
                    <a:pt x="1394" y="2666"/>
                  </a:lnTo>
                  <a:lnTo>
                    <a:pt x="1394" y="2666"/>
                  </a:lnTo>
                  <a:lnTo>
                    <a:pt x="1394" y="2668"/>
                  </a:lnTo>
                  <a:lnTo>
                    <a:pt x="1394" y="2668"/>
                  </a:lnTo>
                  <a:lnTo>
                    <a:pt x="1396" y="2668"/>
                  </a:lnTo>
                  <a:lnTo>
                    <a:pt x="1396" y="2669"/>
                  </a:lnTo>
                  <a:lnTo>
                    <a:pt x="1398" y="2669"/>
                  </a:lnTo>
                  <a:lnTo>
                    <a:pt x="1400" y="2669"/>
                  </a:lnTo>
                  <a:lnTo>
                    <a:pt x="1401" y="2671"/>
                  </a:lnTo>
                  <a:lnTo>
                    <a:pt x="1401" y="2673"/>
                  </a:lnTo>
                  <a:lnTo>
                    <a:pt x="1403" y="2677"/>
                  </a:lnTo>
                  <a:lnTo>
                    <a:pt x="1403" y="2677"/>
                  </a:lnTo>
                  <a:lnTo>
                    <a:pt x="1405" y="2677"/>
                  </a:lnTo>
                  <a:lnTo>
                    <a:pt x="1405" y="2675"/>
                  </a:lnTo>
                  <a:lnTo>
                    <a:pt x="1405" y="2675"/>
                  </a:lnTo>
                  <a:lnTo>
                    <a:pt x="1405" y="2673"/>
                  </a:lnTo>
                  <a:lnTo>
                    <a:pt x="1403" y="2671"/>
                  </a:lnTo>
                  <a:lnTo>
                    <a:pt x="1403" y="2671"/>
                  </a:lnTo>
                  <a:lnTo>
                    <a:pt x="1403" y="2669"/>
                  </a:lnTo>
                  <a:lnTo>
                    <a:pt x="1403" y="2669"/>
                  </a:lnTo>
                  <a:lnTo>
                    <a:pt x="1401" y="2669"/>
                  </a:lnTo>
                  <a:lnTo>
                    <a:pt x="1403" y="2669"/>
                  </a:lnTo>
                  <a:lnTo>
                    <a:pt x="1403" y="2669"/>
                  </a:lnTo>
                  <a:lnTo>
                    <a:pt x="1403" y="2669"/>
                  </a:lnTo>
                  <a:lnTo>
                    <a:pt x="1403" y="2668"/>
                  </a:lnTo>
                  <a:lnTo>
                    <a:pt x="1403" y="2668"/>
                  </a:lnTo>
                  <a:lnTo>
                    <a:pt x="1403" y="2668"/>
                  </a:lnTo>
                  <a:lnTo>
                    <a:pt x="1403" y="2666"/>
                  </a:lnTo>
                  <a:lnTo>
                    <a:pt x="1403" y="2666"/>
                  </a:lnTo>
                  <a:lnTo>
                    <a:pt x="1403" y="2666"/>
                  </a:lnTo>
                  <a:lnTo>
                    <a:pt x="1401" y="2666"/>
                  </a:lnTo>
                  <a:lnTo>
                    <a:pt x="1401" y="2666"/>
                  </a:lnTo>
                  <a:lnTo>
                    <a:pt x="1401" y="2664"/>
                  </a:lnTo>
                  <a:lnTo>
                    <a:pt x="1401" y="2664"/>
                  </a:lnTo>
                  <a:lnTo>
                    <a:pt x="1401" y="2664"/>
                  </a:lnTo>
                  <a:lnTo>
                    <a:pt x="1400" y="2664"/>
                  </a:lnTo>
                  <a:lnTo>
                    <a:pt x="1400" y="2664"/>
                  </a:lnTo>
                  <a:lnTo>
                    <a:pt x="1400" y="2662"/>
                  </a:lnTo>
                  <a:lnTo>
                    <a:pt x="1400" y="2662"/>
                  </a:lnTo>
                  <a:lnTo>
                    <a:pt x="1401" y="2662"/>
                  </a:lnTo>
                  <a:lnTo>
                    <a:pt x="1401" y="2662"/>
                  </a:lnTo>
                  <a:lnTo>
                    <a:pt x="1403" y="2662"/>
                  </a:lnTo>
                  <a:lnTo>
                    <a:pt x="1403" y="2662"/>
                  </a:lnTo>
                  <a:lnTo>
                    <a:pt x="1405" y="2664"/>
                  </a:lnTo>
                  <a:lnTo>
                    <a:pt x="1405" y="2664"/>
                  </a:lnTo>
                  <a:lnTo>
                    <a:pt x="1405" y="2666"/>
                  </a:lnTo>
                  <a:lnTo>
                    <a:pt x="1405" y="2666"/>
                  </a:lnTo>
                  <a:lnTo>
                    <a:pt x="1405" y="2666"/>
                  </a:lnTo>
                  <a:lnTo>
                    <a:pt x="1405" y="2666"/>
                  </a:lnTo>
                  <a:lnTo>
                    <a:pt x="1405" y="2666"/>
                  </a:lnTo>
                  <a:lnTo>
                    <a:pt x="1407" y="2666"/>
                  </a:lnTo>
                  <a:lnTo>
                    <a:pt x="1407" y="2666"/>
                  </a:lnTo>
                  <a:lnTo>
                    <a:pt x="1407" y="2666"/>
                  </a:lnTo>
                  <a:lnTo>
                    <a:pt x="1407" y="2666"/>
                  </a:lnTo>
                  <a:lnTo>
                    <a:pt x="1407" y="2666"/>
                  </a:lnTo>
                  <a:lnTo>
                    <a:pt x="1407" y="2666"/>
                  </a:lnTo>
                  <a:lnTo>
                    <a:pt x="1409" y="2666"/>
                  </a:lnTo>
                  <a:lnTo>
                    <a:pt x="1409" y="2668"/>
                  </a:lnTo>
                  <a:lnTo>
                    <a:pt x="1410" y="2668"/>
                  </a:lnTo>
                  <a:lnTo>
                    <a:pt x="1410" y="2668"/>
                  </a:lnTo>
                  <a:lnTo>
                    <a:pt x="1410" y="2669"/>
                  </a:lnTo>
                  <a:lnTo>
                    <a:pt x="1410" y="2669"/>
                  </a:lnTo>
                  <a:lnTo>
                    <a:pt x="1412" y="2673"/>
                  </a:lnTo>
                  <a:lnTo>
                    <a:pt x="1414" y="2673"/>
                  </a:lnTo>
                  <a:lnTo>
                    <a:pt x="1414" y="2671"/>
                  </a:lnTo>
                  <a:lnTo>
                    <a:pt x="1414" y="2671"/>
                  </a:lnTo>
                  <a:lnTo>
                    <a:pt x="1414" y="2671"/>
                  </a:lnTo>
                  <a:lnTo>
                    <a:pt x="1414" y="2669"/>
                  </a:lnTo>
                  <a:lnTo>
                    <a:pt x="1414" y="2669"/>
                  </a:lnTo>
                  <a:lnTo>
                    <a:pt x="1414" y="2668"/>
                  </a:lnTo>
                  <a:lnTo>
                    <a:pt x="1414" y="2666"/>
                  </a:lnTo>
                  <a:lnTo>
                    <a:pt x="1414" y="2666"/>
                  </a:lnTo>
                  <a:lnTo>
                    <a:pt x="1414" y="2664"/>
                  </a:lnTo>
                  <a:lnTo>
                    <a:pt x="1416" y="2666"/>
                  </a:lnTo>
                  <a:lnTo>
                    <a:pt x="1416" y="2666"/>
                  </a:lnTo>
                  <a:lnTo>
                    <a:pt x="1416" y="2668"/>
                  </a:lnTo>
                  <a:lnTo>
                    <a:pt x="1418" y="2668"/>
                  </a:lnTo>
                  <a:lnTo>
                    <a:pt x="1418" y="2666"/>
                  </a:lnTo>
                  <a:lnTo>
                    <a:pt x="1418" y="2666"/>
                  </a:lnTo>
                  <a:lnTo>
                    <a:pt x="1420" y="2664"/>
                  </a:lnTo>
                  <a:lnTo>
                    <a:pt x="1420" y="2664"/>
                  </a:lnTo>
                  <a:lnTo>
                    <a:pt x="1420" y="2664"/>
                  </a:lnTo>
                  <a:lnTo>
                    <a:pt x="1421" y="2664"/>
                  </a:lnTo>
                  <a:lnTo>
                    <a:pt x="1421" y="2664"/>
                  </a:lnTo>
                  <a:lnTo>
                    <a:pt x="1421" y="2664"/>
                  </a:lnTo>
                  <a:lnTo>
                    <a:pt x="1421" y="2666"/>
                  </a:lnTo>
                  <a:lnTo>
                    <a:pt x="1421" y="2666"/>
                  </a:lnTo>
                  <a:lnTo>
                    <a:pt x="1421" y="2666"/>
                  </a:lnTo>
                  <a:lnTo>
                    <a:pt x="1423" y="2666"/>
                  </a:lnTo>
                  <a:lnTo>
                    <a:pt x="1423" y="2666"/>
                  </a:lnTo>
                  <a:lnTo>
                    <a:pt x="1423" y="2666"/>
                  </a:lnTo>
                  <a:lnTo>
                    <a:pt x="1423" y="2666"/>
                  </a:lnTo>
                  <a:lnTo>
                    <a:pt x="1425" y="2664"/>
                  </a:lnTo>
                  <a:lnTo>
                    <a:pt x="1425" y="2664"/>
                  </a:lnTo>
                  <a:lnTo>
                    <a:pt x="1427" y="2662"/>
                  </a:lnTo>
                  <a:lnTo>
                    <a:pt x="1427" y="2662"/>
                  </a:lnTo>
                  <a:lnTo>
                    <a:pt x="1429" y="2664"/>
                  </a:lnTo>
                  <a:lnTo>
                    <a:pt x="1429" y="2664"/>
                  </a:lnTo>
                  <a:lnTo>
                    <a:pt x="1430" y="2664"/>
                  </a:lnTo>
                  <a:lnTo>
                    <a:pt x="1432" y="2664"/>
                  </a:lnTo>
                  <a:lnTo>
                    <a:pt x="1434" y="2666"/>
                  </a:lnTo>
                  <a:lnTo>
                    <a:pt x="1434" y="2664"/>
                  </a:lnTo>
                  <a:lnTo>
                    <a:pt x="1434" y="2664"/>
                  </a:lnTo>
                  <a:lnTo>
                    <a:pt x="1434" y="2664"/>
                  </a:lnTo>
                  <a:lnTo>
                    <a:pt x="1434" y="2662"/>
                  </a:lnTo>
                  <a:lnTo>
                    <a:pt x="1434" y="2662"/>
                  </a:lnTo>
                  <a:lnTo>
                    <a:pt x="1434" y="2662"/>
                  </a:lnTo>
                  <a:lnTo>
                    <a:pt x="1434" y="2662"/>
                  </a:lnTo>
                  <a:lnTo>
                    <a:pt x="1434" y="2662"/>
                  </a:lnTo>
                  <a:lnTo>
                    <a:pt x="1436" y="2660"/>
                  </a:lnTo>
                  <a:lnTo>
                    <a:pt x="1436" y="2660"/>
                  </a:lnTo>
                  <a:lnTo>
                    <a:pt x="1436" y="2659"/>
                  </a:lnTo>
                  <a:lnTo>
                    <a:pt x="1436" y="2659"/>
                  </a:lnTo>
                  <a:lnTo>
                    <a:pt x="1436" y="2657"/>
                  </a:lnTo>
                  <a:lnTo>
                    <a:pt x="1436" y="2657"/>
                  </a:lnTo>
                  <a:lnTo>
                    <a:pt x="1438" y="2657"/>
                  </a:lnTo>
                  <a:lnTo>
                    <a:pt x="1441" y="2657"/>
                  </a:lnTo>
                  <a:lnTo>
                    <a:pt x="1443" y="2657"/>
                  </a:lnTo>
                  <a:lnTo>
                    <a:pt x="1443" y="2655"/>
                  </a:lnTo>
                  <a:lnTo>
                    <a:pt x="1441" y="2655"/>
                  </a:lnTo>
                  <a:lnTo>
                    <a:pt x="1439" y="2655"/>
                  </a:lnTo>
                  <a:lnTo>
                    <a:pt x="1439" y="2655"/>
                  </a:lnTo>
                  <a:lnTo>
                    <a:pt x="1439" y="2653"/>
                  </a:lnTo>
                  <a:lnTo>
                    <a:pt x="1441" y="2653"/>
                  </a:lnTo>
                  <a:lnTo>
                    <a:pt x="1441" y="2655"/>
                  </a:lnTo>
                  <a:lnTo>
                    <a:pt x="1443" y="2653"/>
                  </a:lnTo>
                  <a:lnTo>
                    <a:pt x="1443" y="2651"/>
                  </a:lnTo>
                  <a:lnTo>
                    <a:pt x="1445" y="2650"/>
                  </a:lnTo>
                  <a:lnTo>
                    <a:pt x="1445" y="2650"/>
                  </a:lnTo>
                  <a:lnTo>
                    <a:pt x="1447" y="2650"/>
                  </a:lnTo>
                  <a:lnTo>
                    <a:pt x="1447" y="2650"/>
                  </a:lnTo>
                  <a:lnTo>
                    <a:pt x="1448" y="2650"/>
                  </a:lnTo>
                  <a:lnTo>
                    <a:pt x="1448" y="2650"/>
                  </a:lnTo>
                  <a:lnTo>
                    <a:pt x="1448" y="2648"/>
                  </a:lnTo>
                  <a:lnTo>
                    <a:pt x="1450" y="2648"/>
                  </a:lnTo>
                  <a:lnTo>
                    <a:pt x="1450" y="2648"/>
                  </a:lnTo>
                  <a:lnTo>
                    <a:pt x="1452" y="2648"/>
                  </a:lnTo>
                  <a:lnTo>
                    <a:pt x="1454" y="2650"/>
                  </a:lnTo>
                  <a:lnTo>
                    <a:pt x="1454" y="2650"/>
                  </a:lnTo>
                  <a:lnTo>
                    <a:pt x="1454" y="2651"/>
                  </a:lnTo>
                  <a:lnTo>
                    <a:pt x="1454" y="2651"/>
                  </a:lnTo>
                  <a:lnTo>
                    <a:pt x="1454" y="2651"/>
                  </a:lnTo>
                  <a:lnTo>
                    <a:pt x="1454" y="2651"/>
                  </a:lnTo>
                  <a:lnTo>
                    <a:pt x="1454" y="2651"/>
                  </a:lnTo>
                  <a:lnTo>
                    <a:pt x="1456" y="2651"/>
                  </a:lnTo>
                  <a:lnTo>
                    <a:pt x="1456" y="2653"/>
                  </a:lnTo>
                  <a:lnTo>
                    <a:pt x="1457" y="2653"/>
                  </a:lnTo>
                  <a:lnTo>
                    <a:pt x="1457" y="2653"/>
                  </a:lnTo>
                  <a:lnTo>
                    <a:pt x="1457" y="2655"/>
                  </a:lnTo>
                  <a:lnTo>
                    <a:pt x="1456" y="2657"/>
                  </a:lnTo>
                  <a:lnTo>
                    <a:pt x="1457" y="2657"/>
                  </a:lnTo>
                  <a:lnTo>
                    <a:pt x="1457" y="2659"/>
                  </a:lnTo>
                  <a:lnTo>
                    <a:pt x="1457" y="2657"/>
                  </a:lnTo>
                  <a:lnTo>
                    <a:pt x="1457" y="2657"/>
                  </a:lnTo>
                  <a:lnTo>
                    <a:pt x="1459" y="2657"/>
                  </a:lnTo>
                  <a:lnTo>
                    <a:pt x="1461" y="2655"/>
                  </a:lnTo>
                  <a:lnTo>
                    <a:pt x="1461" y="2655"/>
                  </a:lnTo>
                  <a:lnTo>
                    <a:pt x="1461" y="2657"/>
                  </a:lnTo>
                  <a:lnTo>
                    <a:pt x="1461" y="2655"/>
                  </a:lnTo>
                  <a:lnTo>
                    <a:pt x="1459" y="2653"/>
                  </a:lnTo>
                  <a:lnTo>
                    <a:pt x="1459" y="2651"/>
                  </a:lnTo>
                  <a:lnTo>
                    <a:pt x="1459" y="2651"/>
                  </a:lnTo>
                  <a:lnTo>
                    <a:pt x="1459" y="2651"/>
                  </a:lnTo>
                  <a:lnTo>
                    <a:pt x="1459" y="2651"/>
                  </a:lnTo>
                  <a:lnTo>
                    <a:pt x="1459" y="2650"/>
                  </a:lnTo>
                  <a:lnTo>
                    <a:pt x="1459" y="2648"/>
                  </a:lnTo>
                  <a:lnTo>
                    <a:pt x="1459" y="2648"/>
                  </a:lnTo>
                  <a:lnTo>
                    <a:pt x="1459" y="2648"/>
                  </a:lnTo>
                  <a:lnTo>
                    <a:pt x="1457" y="2648"/>
                  </a:lnTo>
                  <a:lnTo>
                    <a:pt x="1456" y="2648"/>
                  </a:lnTo>
                  <a:lnTo>
                    <a:pt x="1456" y="2648"/>
                  </a:lnTo>
                  <a:lnTo>
                    <a:pt x="1454" y="2648"/>
                  </a:lnTo>
                  <a:lnTo>
                    <a:pt x="1454" y="2648"/>
                  </a:lnTo>
                  <a:lnTo>
                    <a:pt x="1454" y="2648"/>
                  </a:lnTo>
                  <a:lnTo>
                    <a:pt x="1456" y="2646"/>
                  </a:lnTo>
                  <a:lnTo>
                    <a:pt x="1456" y="2646"/>
                  </a:lnTo>
                  <a:lnTo>
                    <a:pt x="1457" y="2646"/>
                  </a:lnTo>
                  <a:lnTo>
                    <a:pt x="1457" y="2646"/>
                  </a:lnTo>
                  <a:lnTo>
                    <a:pt x="1457" y="2644"/>
                  </a:lnTo>
                  <a:lnTo>
                    <a:pt x="1459" y="2644"/>
                  </a:lnTo>
                  <a:lnTo>
                    <a:pt x="1459" y="2644"/>
                  </a:lnTo>
                  <a:lnTo>
                    <a:pt x="1457" y="2642"/>
                  </a:lnTo>
                  <a:lnTo>
                    <a:pt x="1456" y="2641"/>
                  </a:lnTo>
                  <a:lnTo>
                    <a:pt x="1456" y="2641"/>
                  </a:lnTo>
                  <a:lnTo>
                    <a:pt x="1454" y="2639"/>
                  </a:lnTo>
                  <a:lnTo>
                    <a:pt x="1454" y="2639"/>
                  </a:lnTo>
                  <a:lnTo>
                    <a:pt x="1456" y="2639"/>
                  </a:lnTo>
                  <a:lnTo>
                    <a:pt x="1456" y="2639"/>
                  </a:lnTo>
                  <a:lnTo>
                    <a:pt x="1456" y="2639"/>
                  </a:lnTo>
                  <a:lnTo>
                    <a:pt x="1456" y="2637"/>
                  </a:lnTo>
                  <a:lnTo>
                    <a:pt x="1456" y="2637"/>
                  </a:lnTo>
                  <a:lnTo>
                    <a:pt x="1456" y="2637"/>
                  </a:lnTo>
                  <a:lnTo>
                    <a:pt x="1456" y="2637"/>
                  </a:lnTo>
                  <a:lnTo>
                    <a:pt x="1457" y="2637"/>
                  </a:lnTo>
                  <a:lnTo>
                    <a:pt x="1457" y="2637"/>
                  </a:lnTo>
                  <a:lnTo>
                    <a:pt x="1457" y="2635"/>
                  </a:lnTo>
                  <a:lnTo>
                    <a:pt x="1459" y="2637"/>
                  </a:lnTo>
                  <a:lnTo>
                    <a:pt x="1461" y="2639"/>
                  </a:lnTo>
                  <a:lnTo>
                    <a:pt x="1461" y="2639"/>
                  </a:lnTo>
                  <a:lnTo>
                    <a:pt x="1463" y="2641"/>
                  </a:lnTo>
                  <a:lnTo>
                    <a:pt x="1463" y="2641"/>
                  </a:lnTo>
                  <a:lnTo>
                    <a:pt x="1463" y="2641"/>
                  </a:lnTo>
                  <a:lnTo>
                    <a:pt x="1463" y="2641"/>
                  </a:lnTo>
                  <a:lnTo>
                    <a:pt x="1463" y="2639"/>
                  </a:lnTo>
                  <a:lnTo>
                    <a:pt x="1463" y="2637"/>
                  </a:lnTo>
                  <a:lnTo>
                    <a:pt x="1461" y="2635"/>
                  </a:lnTo>
                  <a:lnTo>
                    <a:pt x="1463" y="2637"/>
                  </a:lnTo>
                  <a:lnTo>
                    <a:pt x="1463" y="2637"/>
                  </a:lnTo>
                  <a:lnTo>
                    <a:pt x="1465" y="2639"/>
                  </a:lnTo>
                  <a:lnTo>
                    <a:pt x="1465" y="2641"/>
                  </a:lnTo>
                  <a:lnTo>
                    <a:pt x="1466" y="2639"/>
                  </a:lnTo>
                  <a:lnTo>
                    <a:pt x="1465" y="2639"/>
                  </a:lnTo>
                  <a:lnTo>
                    <a:pt x="1465" y="2637"/>
                  </a:lnTo>
                  <a:lnTo>
                    <a:pt x="1463" y="2635"/>
                  </a:lnTo>
                  <a:lnTo>
                    <a:pt x="1465" y="2635"/>
                  </a:lnTo>
                  <a:lnTo>
                    <a:pt x="1465" y="2635"/>
                  </a:lnTo>
                  <a:lnTo>
                    <a:pt x="1466" y="2637"/>
                  </a:lnTo>
                  <a:lnTo>
                    <a:pt x="1466" y="2637"/>
                  </a:lnTo>
                  <a:lnTo>
                    <a:pt x="1466" y="2637"/>
                  </a:lnTo>
                  <a:lnTo>
                    <a:pt x="1466" y="2635"/>
                  </a:lnTo>
                  <a:lnTo>
                    <a:pt x="1466" y="2633"/>
                  </a:lnTo>
                  <a:lnTo>
                    <a:pt x="1466" y="2635"/>
                  </a:lnTo>
                  <a:lnTo>
                    <a:pt x="1468" y="2635"/>
                  </a:lnTo>
                  <a:lnTo>
                    <a:pt x="1468" y="2637"/>
                  </a:lnTo>
                  <a:lnTo>
                    <a:pt x="1468" y="2639"/>
                  </a:lnTo>
                  <a:lnTo>
                    <a:pt x="1468" y="2639"/>
                  </a:lnTo>
                  <a:lnTo>
                    <a:pt x="1468" y="2639"/>
                  </a:lnTo>
                  <a:lnTo>
                    <a:pt x="1470" y="2639"/>
                  </a:lnTo>
                  <a:lnTo>
                    <a:pt x="1470" y="2637"/>
                  </a:lnTo>
                  <a:lnTo>
                    <a:pt x="1470" y="2637"/>
                  </a:lnTo>
                  <a:lnTo>
                    <a:pt x="1468" y="2635"/>
                  </a:lnTo>
                  <a:lnTo>
                    <a:pt x="1468" y="2635"/>
                  </a:lnTo>
                  <a:lnTo>
                    <a:pt x="1470" y="2635"/>
                  </a:lnTo>
                  <a:lnTo>
                    <a:pt x="1472" y="2633"/>
                  </a:lnTo>
                  <a:lnTo>
                    <a:pt x="1474" y="2632"/>
                  </a:lnTo>
                  <a:lnTo>
                    <a:pt x="1474" y="2632"/>
                  </a:lnTo>
                  <a:lnTo>
                    <a:pt x="1474" y="2632"/>
                  </a:lnTo>
                  <a:lnTo>
                    <a:pt x="1474" y="2632"/>
                  </a:lnTo>
                  <a:lnTo>
                    <a:pt x="1475" y="2632"/>
                  </a:lnTo>
                  <a:lnTo>
                    <a:pt x="1475" y="2632"/>
                  </a:lnTo>
                  <a:lnTo>
                    <a:pt x="1475" y="2633"/>
                  </a:lnTo>
                  <a:lnTo>
                    <a:pt x="1477" y="2633"/>
                  </a:lnTo>
                  <a:lnTo>
                    <a:pt x="1477" y="2633"/>
                  </a:lnTo>
                  <a:lnTo>
                    <a:pt x="1477" y="2633"/>
                  </a:lnTo>
                  <a:lnTo>
                    <a:pt x="1477" y="2630"/>
                  </a:lnTo>
                  <a:lnTo>
                    <a:pt x="1477" y="2628"/>
                  </a:lnTo>
                  <a:lnTo>
                    <a:pt x="1477" y="2628"/>
                  </a:lnTo>
                  <a:lnTo>
                    <a:pt x="1475" y="2626"/>
                  </a:lnTo>
                  <a:lnTo>
                    <a:pt x="1475" y="2626"/>
                  </a:lnTo>
                  <a:lnTo>
                    <a:pt x="1475" y="2626"/>
                  </a:lnTo>
                  <a:lnTo>
                    <a:pt x="1475" y="2626"/>
                  </a:lnTo>
                  <a:lnTo>
                    <a:pt x="1475" y="2624"/>
                  </a:lnTo>
                  <a:lnTo>
                    <a:pt x="1477" y="2624"/>
                  </a:lnTo>
                  <a:lnTo>
                    <a:pt x="1477" y="2623"/>
                  </a:lnTo>
                  <a:lnTo>
                    <a:pt x="1479" y="2621"/>
                  </a:lnTo>
                  <a:lnTo>
                    <a:pt x="1479" y="2621"/>
                  </a:lnTo>
                  <a:lnTo>
                    <a:pt x="1481" y="2621"/>
                  </a:lnTo>
                  <a:lnTo>
                    <a:pt x="1479" y="2623"/>
                  </a:lnTo>
                  <a:lnTo>
                    <a:pt x="1481" y="2624"/>
                  </a:lnTo>
                  <a:lnTo>
                    <a:pt x="1483" y="2624"/>
                  </a:lnTo>
                  <a:lnTo>
                    <a:pt x="1485" y="2626"/>
                  </a:lnTo>
                  <a:lnTo>
                    <a:pt x="1485" y="2626"/>
                  </a:lnTo>
                  <a:lnTo>
                    <a:pt x="1485" y="2626"/>
                  </a:lnTo>
                  <a:lnTo>
                    <a:pt x="1486" y="2628"/>
                  </a:lnTo>
                  <a:lnTo>
                    <a:pt x="1486" y="2626"/>
                  </a:lnTo>
                  <a:lnTo>
                    <a:pt x="1488" y="2626"/>
                  </a:lnTo>
                  <a:lnTo>
                    <a:pt x="1486" y="2626"/>
                  </a:lnTo>
                  <a:lnTo>
                    <a:pt x="1485" y="2624"/>
                  </a:lnTo>
                  <a:lnTo>
                    <a:pt x="1483" y="2621"/>
                  </a:lnTo>
                  <a:lnTo>
                    <a:pt x="1483" y="2621"/>
                  </a:lnTo>
                  <a:lnTo>
                    <a:pt x="1474" y="2615"/>
                  </a:lnTo>
                  <a:lnTo>
                    <a:pt x="1470" y="2614"/>
                  </a:lnTo>
                  <a:lnTo>
                    <a:pt x="1468" y="2612"/>
                  </a:lnTo>
                  <a:lnTo>
                    <a:pt x="1466" y="2610"/>
                  </a:lnTo>
                  <a:lnTo>
                    <a:pt x="1465" y="2610"/>
                  </a:lnTo>
                  <a:lnTo>
                    <a:pt x="1465" y="2610"/>
                  </a:lnTo>
                  <a:lnTo>
                    <a:pt x="1463" y="2610"/>
                  </a:lnTo>
                  <a:lnTo>
                    <a:pt x="1459" y="2608"/>
                  </a:lnTo>
                  <a:lnTo>
                    <a:pt x="1459" y="2606"/>
                  </a:lnTo>
                  <a:lnTo>
                    <a:pt x="1457" y="2606"/>
                  </a:lnTo>
                  <a:lnTo>
                    <a:pt x="1456" y="2604"/>
                  </a:lnTo>
                  <a:lnTo>
                    <a:pt x="1450" y="2604"/>
                  </a:lnTo>
                  <a:lnTo>
                    <a:pt x="1448" y="2604"/>
                  </a:lnTo>
                  <a:lnTo>
                    <a:pt x="1450" y="2603"/>
                  </a:lnTo>
                  <a:lnTo>
                    <a:pt x="1450" y="2603"/>
                  </a:lnTo>
                  <a:lnTo>
                    <a:pt x="1448" y="2601"/>
                  </a:lnTo>
                  <a:lnTo>
                    <a:pt x="1448" y="2599"/>
                  </a:lnTo>
                  <a:lnTo>
                    <a:pt x="1448" y="2599"/>
                  </a:lnTo>
                  <a:lnTo>
                    <a:pt x="1447" y="2597"/>
                  </a:lnTo>
                  <a:lnTo>
                    <a:pt x="1447" y="2597"/>
                  </a:lnTo>
                  <a:lnTo>
                    <a:pt x="1445" y="2597"/>
                  </a:lnTo>
                  <a:lnTo>
                    <a:pt x="1447" y="2595"/>
                  </a:lnTo>
                  <a:lnTo>
                    <a:pt x="1447" y="2592"/>
                  </a:lnTo>
                  <a:lnTo>
                    <a:pt x="1450" y="2590"/>
                  </a:lnTo>
                  <a:lnTo>
                    <a:pt x="1454" y="2590"/>
                  </a:lnTo>
                  <a:lnTo>
                    <a:pt x="1456" y="2590"/>
                  </a:lnTo>
                  <a:lnTo>
                    <a:pt x="1457" y="2592"/>
                  </a:lnTo>
                  <a:lnTo>
                    <a:pt x="1457" y="2592"/>
                  </a:lnTo>
                  <a:lnTo>
                    <a:pt x="1459" y="2595"/>
                  </a:lnTo>
                  <a:lnTo>
                    <a:pt x="1461" y="2595"/>
                  </a:lnTo>
                  <a:lnTo>
                    <a:pt x="1468" y="2594"/>
                  </a:lnTo>
                  <a:lnTo>
                    <a:pt x="1470" y="2594"/>
                  </a:lnTo>
                  <a:lnTo>
                    <a:pt x="1472" y="2590"/>
                  </a:lnTo>
                  <a:lnTo>
                    <a:pt x="1457" y="2565"/>
                  </a:lnTo>
                  <a:lnTo>
                    <a:pt x="1450" y="2545"/>
                  </a:lnTo>
                  <a:lnTo>
                    <a:pt x="1448" y="2543"/>
                  </a:lnTo>
                  <a:lnTo>
                    <a:pt x="1448" y="2543"/>
                  </a:lnTo>
                  <a:lnTo>
                    <a:pt x="1448" y="2541"/>
                  </a:lnTo>
                  <a:lnTo>
                    <a:pt x="1447" y="2541"/>
                  </a:lnTo>
                  <a:lnTo>
                    <a:pt x="1445" y="2541"/>
                  </a:lnTo>
                  <a:lnTo>
                    <a:pt x="1443" y="2539"/>
                  </a:lnTo>
                  <a:lnTo>
                    <a:pt x="1439" y="2536"/>
                  </a:lnTo>
                  <a:lnTo>
                    <a:pt x="1439" y="2536"/>
                  </a:lnTo>
                  <a:lnTo>
                    <a:pt x="1430" y="2520"/>
                  </a:lnTo>
                  <a:lnTo>
                    <a:pt x="1429" y="2518"/>
                  </a:lnTo>
                  <a:lnTo>
                    <a:pt x="1425" y="2516"/>
                  </a:lnTo>
                  <a:lnTo>
                    <a:pt x="1405" y="2516"/>
                  </a:lnTo>
                  <a:lnTo>
                    <a:pt x="1394" y="2511"/>
                  </a:lnTo>
                  <a:lnTo>
                    <a:pt x="1392" y="2511"/>
                  </a:lnTo>
                  <a:lnTo>
                    <a:pt x="1392" y="2512"/>
                  </a:lnTo>
                  <a:lnTo>
                    <a:pt x="1391" y="2512"/>
                  </a:lnTo>
                  <a:lnTo>
                    <a:pt x="1391" y="2518"/>
                  </a:lnTo>
                  <a:lnTo>
                    <a:pt x="1391" y="2521"/>
                  </a:lnTo>
                  <a:lnTo>
                    <a:pt x="1391" y="2521"/>
                  </a:lnTo>
                  <a:lnTo>
                    <a:pt x="1391" y="2523"/>
                  </a:lnTo>
                  <a:lnTo>
                    <a:pt x="1382" y="2516"/>
                  </a:lnTo>
                  <a:lnTo>
                    <a:pt x="1380" y="2514"/>
                  </a:lnTo>
                  <a:lnTo>
                    <a:pt x="1378" y="2512"/>
                  </a:lnTo>
                  <a:lnTo>
                    <a:pt x="1378" y="2512"/>
                  </a:lnTo>
                  <a:lnTo>
                    <a:pt x="1378" y="2511"/>
                  </a:lnTo>
                  <a:lnTo>
                    <a:pt x="1378" y="2511"/>
                  </a:lnTo>
                  <a:lnTo>
                    <a:pt x="1380" y="2509"/>
                  </a:lnTo>
                  <a:lnTo>
                    <a:pt x="1380" y="2509"/>
                  </a:lnTo>
                  <a:lnTo>
                    <a:pt x="1380" y="2509"/>
                  </a:lnTo>
                  <a:lnTo>
                    <a:pt x="1380" y="2509"/>
                  </a:lnTo>
                  <a:lnTo>
                    <a:pt x="1380" y="2509"/>
                  </a:lnTo>
                  <a:lnTo>
                    <a:pt x="1378" y="2505"/>
                  </a:lnTo>
                  <a:lnTo>
                    <a:pt x="1374" y="2502"/>
                  </a:lnTo>
                  <a:lnTo>
                    <a:pt x="1374" y="2500"/>
                  </a:lnTo>
                  <a:lnTo>
                    <a:pt x="1374" y="2500"/>
                  </a:lnTo>
                  <a:lnTo>
                    <a:pt x="1378" y="2496"/>
                  </a:lnTo>
                  <a:lnTo>
                    <a:pt x="1382" y="2494"/>
                  </a:lnTo>
                  <a:lnTo>
                    <a:pt x="1382" y="2494"/>
                  </a:lnTo>
                  <a:lnTo>
                    <a:pt x="1380" y="2492"/>
                  </a:lnTo>
                  <a:lnTo>
                    <a:pt x="1378" y="2492"/>
                  </a:lnTo>
                  <a:lnTo>
                    <a:pt x="1378" y="2491"/>
                  </a:lnTo>
                  <a:lnTo>
                    <a:pt x="1378" y="2491"/>
                  </a:lnTo>
                  <a:lnTo>
                    <a:pt x="1378" y="2489"/>
                  </a:lnTo>
                  <a:lnTo>
                    <a:pt x="1378" y="2487"/>
                  </a:lnTo>
                  <a:lnTo>
                    <a:pt x="1378" y="2485"/>
                  </a:lnTo>
                  <a:lnTo>
                    <a:pt x="1378" y="2485"/>
                  </a:lnTo>
                  <a:lnTo>
                    <a:pt x="1376" y="2483"/>
                  </a:lnTo>
                  <a:lnTo>
                    <a:pt x="1376" y="2483"/>
                  </a:lnTo>
                  <a:lnTo>
                    <a:pt x="1376" y="2483"/>
                  </a:lnTo>
                  <a:lnTo>
                    <a:pt x="1376" y="2482"/>
                  </a:lnTo>
                  <a:lnTo>
                    <a:pt x="1376" y="2482"/>
                  </a:lnTo>
                  <a:lnTo>
                    <a:pt x="1378" y="2480"/>
                  </a:lnTo>
                  <a:lnTo>
                    <a:pt x="1378" y="2480"/>
                  </a:lnTo>
                  <a:lnTo>
                    <a:pt x="1378" y="2480"/>
                  </a:lnTo>
                  <a:lnTo>
                    <a:pt x="1376" y="2478"/>
                  </a:lnTo>
                  <a:lnTo>
                    <a:pt x="1376" y="2478"/>
                  </a:lnTo>
                  <a:lnTo>
                    <a:pt x="1371" y="2476"/>
                  </a:lnTo>
                  <a:lnTo>
                    <a:pt x="1358" y="2473"/>
                  </a:lnTo>
                  <a:lnTo>
                    <a:pt x="1345" y="2467"/>
                  </a:lnTo>
                  <a:lnTo>
                    <a:pt x="1345" y="2467"/>
                  </a:lnTo>
                  <a:lnTo>
                    <a:pt x="1345" y="2467"/>
                  </a:lnTo>
                  <a:lnTo>
                    <a:pt x="1345" y="2467"/>
                  </a:lnTo>
                  <a:lnTo>
                    <a:pt x="1345" y="2467"/>
                  </a:lnTo>
                  <a:lnTo>
                    <a:pt x="1353" y="2449"/>
                  </a:lnTo>
                  <a:lnTo>
                    <a:pt x="1360" y="2429"/>
                  </a:lnTo>
                  <a:lnTo>
                    <a:pt x="1362" y="2427"/>
                  </a:lnTo>
                  <a:lnTo>
                    <a:pt x="1362" y="2427"/>
                  </a:lnTo>
                  <a:lnTo>
                    <a:pt x="1367" y="2426"/>
                  </a:lnTo>
                  <a:lnTo>
                    <a:pt x="1367" y="2424"/>
                  </a:lnTo>
                  <a:lnTo>
                    <a:pt x="1369" y="2424"/>
                  </a:lnTo>
                  <a:lnTo>
                    <a:pt x="1371" y="2420"/>
                  </a:lnTo>
                  <a:lnTo>
                    <a:pt x="1373" y="2417"/>
                  </a:lnTo>
                  <a:lnTo>
                    <a:pt x="1374" y="2411"/>
                  </a:lnTo>
                  <a:lnTo>
                    <a:pt x="1373" y="2408"/>
                  </a:lnTo>
                  <a:lnTo>
                    <a:pt x="1371" y="2404"/>
                  </a:lnTo>
                  <a:lnTo>
                    <a:pt x="1364" y="2399"/>
                  </a:lnTo>
                  <a:lnTo>
                    <a:pt x="1360" y="2399"/>
                  </a:lnTo>
                  <a:lnTo>
                    <a:pt x="1364" y="2379"/>
                  </a:lnTo>
                  <a:lnTo>
                    <a:pt x="1367" y="2361"/>
                  </a:lnTo>
                  <a:lnTo>
                    <a:pt x="1369" y="2357"/>
                  </a:lnTo>
                  <a:lnTo>
                    <a:pt x="1371" y="2355"/>
                  </a:lnTo>
                  <a:lnTo>
                    <a:pt x="1382" y="2350"/>
                  </a:lnTo>
                  <a:lnTo>
                    <a:pt x="1383" y="2348"/>
                  </a:lnTo>
                  <a:lnTo>
                    <a:pt x="1387" y="2343"/>
                  </a:lnTo>
                  <a:lnTo>
                    <a:pt x="1389" y="2341"/>
                  </a:lnTo>
                  <a:lnTo>
                    <a:pt x="1389" y="2337"/>
                  </a:lnTo>
                  <a:lnTo>
                    <a:pt x="1385" y="2334"/>
                  </a:lnTo>
                  <a:lnTo>
                    <a:pt x="1385" y="2332"/>
                  </a:lnTo>
                  <a:lnTo>
                    <a:pt x="1385" y="2332"/>
                  </a:lnTo>
                  <a:lnTo>
                    <a:pt x="1387" y="2330"/>
                  </a:lnTo>
                  <a:lnTo>
                    <a:pt x="1389" y="2328"/>
                  </a:lnTo>
                  <a:lnTo>
                    <a:pt x="1387" y="2326"/>
                  </a:lnTo>
                  <a:lnTo>
                    <a:pt x="1387" y="2326"/>
                  </a:lnTo>
                  <a:lnTo>
                    <a:pt x="1387" y="2324"/>
                  </a:lnTo>
                  <a:lnTo>
                    <a:pt x="1387" y="2323"/>
                  </a:lnTo>
                  <a:lnTo>
                    <a:pt x="1389" y="2323"/>
                  </a:lnTo>
                  <a:lnTo>
                    <a:pt x="1392" y="2321"/>
                  </a:lnTo>
                  <a:lnTo>
                    <a:pt x="1392" y="2321"/>
                  </a:lnTo>
                  <a:lnTo>
                    <a:pt x="1394" y="2317"/>
                  </a:lnTo>
                  <a:lnTo>
                    <a:pt x="1394" y="2317"/>
                  </a:lnTo>
                  <a:lnTo>
                    <a:pt x="1396" y="2314"/>
                  </a:lnTo>
                  <a:lnTo>
                    <a:pt x="1398" y="2312"/>
                  </a:lnTo>
                  <a:lnTo>
                    <a:pt x="1400" y="2312"/>
                  </a:lnTo>
                  <a:lnTo>
                    <a:pt x="1401" y="2312"/>
                  </a:lnTo>
                  <a:lnTo>
                    <a:pt x="1403" y="2312"/>
                  </a:lnTo>
                  <a:lnTo>
                    <a:pt x="1407" y="2317"/>
                  </a:lnTo>
                  <a:lnTo>
                    <a:pt x="1409" y="2317"/>
                  </a:lnTo>
                  <a:lnTo>
                    <a:pt x="1409" y="2319"/>
                  </a:lnTo>
                  <a:lnTo>
                    <a:pt x="1410" y="2319"/>
                  </a:lnTo>
                  <a:lnTo>
                    <a:pt x="1410" y="2321"/>
                  </a:lnTo>
                  <a:lnTo>
                    <a:pt x="1410" y="2321"/>
                  </a:lnTo>
                  <a:lnTo>
                    <a:pt x="1412" y="2321"/>
                  </a:lnTo>
                  <a:lnTo>
                    <a:pt x="1412" y="2321"/>
                  </a:lnTo>
                  <a:lnTo>
                    <a:pt x="1414" y="2324"/>
                  </a:lnTo>
                  <a:lnTo>
                    <a:pt x="1416" y="2326"/>
                  </a:lnTo>
                  <a:lnTo>
                    <a:pt x="1418" y="2328"/>
                  </a:lnTo>
                  <a:lnTo>
                    <a:pt x="1420" y="2330"/>
                  </a:lnTo>
                  <a:lnTo>
                    <a:pt x="1421" y="2332"/>
                  </a:lnTo>
                  <a:lnTo>
                    <a:pt x="1421" y="2334"/>
                  </a:lnTo>
                  <a:lnTo>
                    <a:pt x="1423" y="2334"/>
                  </a:lnTo>
                  <a:lnTo>
                    <a:pt x="1423" y="2335"/>
                  </a:lnTo>
                  <a:lnTo>
                    <a:pt x="1423" y="2337"/>
                  </a:lnTo>
                  <a:lnTo>
                    <a:pt x="1425" y="2339"/>
                  </a:lnTo>
                  <a:lnTo>
                    <a:pt x="1427" y="2341"/>
                  </a:lnTo>
                  <a:lnTo>
                    <a:pt x="1427" y="2343"/>
                  </a:lnTo>
                  <a:lnTo>
                    <a:pt x="1429" y="2344"/>
                  </a:lnTo>
                  <a:lnTo>
                    <a:pt x="1429" y="2346"/>
                  </a:lnTo>
                  <a:lnTo>
                    <a:pt x="1429" y="2348"/>
                  </a:lnTo>
                  <a:lnTo>
                    <a:pt x="1429" y="2350"/>
                  </a:lnTo>
                  <a:lnTo>
                    <a:pt x="1430" y="2350"/>
                  </a:lnTo>
                  <a:lnTo>
                    <a:pt x="1430" y="2350"/>
                  </a:lnTo>
                  <a:lnTo>
                    <a:pt x="1432" y="2352"/>
                  </a:lnTo>
                  <a:lnTo>
                    <a:pt x="1432" y="2353"/>
                  </a:lnTo>
                  <a:lnTo>
                    <a:pt x="1434" y="2355"/>
                  </a:lnTo>
                  <a:lnTo>
                    <a:pt x="1434" y="2357"/>
                  </a:lnTo>
                  <a:lnTo>
                    <a:pt x="1436" y="2357"/>
                  </a:lnTo>
                  <a:lnTo>
                    <a:pt x="1438" y="2357"/>
                  </a:lnTo>
                  <a:lnTo>
                    <a:pt x="1438" y="2357"/>
                  </a:lnTo>
                  <a:lnTo>
                    <a:pt x="1439" y="2359"/>
                  </a:lnTo>
                  <a:lnTo>
                    <a:pt x="1443" y="2361"/>
                  </a:lnTo>
                  <a:lnTo>
                    <a:pt x="1443" y="2361"/>
                  </a:lnTo>
                  <a:lnTo>
                    <a:pt x="1445" y="2361"/>
                  </a:lnTo>
                  <a:lnTo>
                    <a:pt x="1445" y="2359"/>
                  </a:lnTo>
                  <a:lnTo>
                    <a:pt x="1447" y="2359"/>
                  </a:lnTo>
                  <a:lnTo>
                    <a:pt x="1456" y="2355"/>
                  </a:lnTo>
                  <a:lnTo>
                    <a:pt x="1461" y="2352"/>
                  </a:lnTo>
                  <a:lnTo>
                    <a:pt x="1465" y="2348"/>
                  </a:lnTo>
                  <a:lnTo>
                    <a:pt x="1466" y="2346"/>
                  </a:lnTo>
                  <a:lnTo>
                    <a:pt x="1466" y="2344"/>
                  </a:lnTo>
                  <a:lnTo>
                    <a:pt x="1466" y="2344"/>
                  </a:lnTo>
                  <a:lnTo>
                    <a:pt x="1466" y="2341"/>
                  </a:lnTo>
                  <a:lnTo>
                    <a:pt x="1465" y="2339"/>
                  </a:lnTo>
                  <a:lnTo>
                    <a:pt x="1465" y="2339"/>
                  </a:lnTo>
                  <a:lnTo>
                    <a:pt x="1461" y="2337"/>
                  </a:lnTo>
                  <a:lnTo>
                    <a:pt x="1461" y="2335"/>
                  </a:lnTo>
                  <a:lnTo>
                    <a:pt x="1461" y="2334"/>
                  </a:lnTo>
                  <a:lnTo>
                    <a:pt x="1461" y="2330"/>
                  </a:lnTo>
                  <a:lnTo>
                    <a:pt x="1459" y="2326"/>
                  </a:lnTo>
                  <a:lnTo>
                    <a:pt x="1457" y="2321"/>
                  </a:lnTo>
                  <a:lnTo>
                    <a:pt x="1456" y="2310"/>
                  </a:lnTo>
                  <a:lnTo>
                    <a:pt x="1456" y="2303"/>
                  </a:lnTo>
                  <a:lnTo>
                    <a:pt x="1456" y="2301"/>
                  </a:lnTo>
                  <a:lnTo>
                    <a:pt x="1454" y="2299"/>
                  </a:lnTo>
                  <a:lnTo>
                    <a:pt x="1452" y="2299"/>
                  </a:lnTo>
                  <a:lnTo>
                    <a:pt x="1450" y="2297"/>
                  </a:lnTo>
                  <a:lnTo>
                    <a:pt x="1450" y="2297"/>
                  </a:lnTo>
                  <a:lnTo>
                    <a:pt x="1452" y="2296"/>
                  </a:lnTo>
                  <a:lnTo>
                    <a:pt x="1452" y="2296"/>
                  </a:lnTo>
                  <a:lnTo>
                    <a:pt x="1459" y="2299"/>
                  </a:lnTo>
                  <a:lnTo>
                    <a:pt x="1461" y="2301"/>
                  </a:lnTo>
                  <a:lnTo>
                    <a:pt x="1463" y="2299"/>
                  </a:lnTo>
                  <a:lnTo>
                    <a:pt x="1472" y="2294"/>
                  </a:lnTo>
                  <a:lnTo>
                    <a:pt x="1477" y="2287"/>
                  </a:lnTo>
                  <a:lnTo>
                    <a:pt x="1479" y="2285"/>
                  </a:lnTo>
                  <a:lnTo>
                    <a:pt x="1486" y="2283"/>
                  </a:lnTo>
                  <a:lnTo>
                    <a:pt x="1490" y="2281"/>
                  </a:lnTo>
                  <a:lnTo>
                    <a:pt x="1492" y="2279"/>
                  </a:lnTo>
                  <a:lnTo>
                    <a:pt x="1494" y="2278"/>
                  </a:lnTo>
                  <a:lnTo>
                    <a:pt x="1492" y="2276"/>
                  </a:lnTo>
                  <a:lnTo>
                    <a:pt x="1490" y="2272"/>
                  </a:lnTo>
                  <a:lnTo>
                    <a:pt x="1490" y="2270"/>
                  </a:lnTo>
                  <a:lnTo>
                    <a:pt x="1490" y="2268"/>
                  </a:lnTo>
                  <a:lnTo>
                    <a:pt x="1492" y="2267"/>
                  </a:lnTo>
                  <a:lnTo>
                    <a:pt x="1492" y="2265"/>
                  </a:lnTo>
                  <a:lnTo>
                    <a:pt x="1492" y="2263"/>
                  </a:lnTo>
                  <a:lnTo>
                    <a:pt x="1492" y="2261"/>
                  </a:lnTo>
                  <a:lnTo>
                    <a:pt x="1494" y="2259"/>
                  </a:lnTo>
                  <a:lnTo>
                    <a:pt x="1494" y="2259"/>
                  </a:lnTo>
                  <a:lnTo>
                    <a:pt x="1495" y="2259"/>
                  </a:lnTo>
                  <a:lnTo>
                    <a:pt x="1499" y="2259"/>
                  </a:lnTo>
                  <a:lnTo>
                    <a:pt x="1512" y="2259"/>
                  </a:lnTo>
                  <a:lnTo>
                    <a:pt x="1512" y="2259"/>
                  </a:lnTo>
                  <a:lnTo>
                    <a:pt x="1513" y="2256"/>
                  </a:lnTo>
                  <a:lnTo>
                    <a:pt x="1521" y="2250"/>
                  </a:lnTo>
                  <a:lnTo>
                    <a:pt x="1524" y="2249"/>
                  </a:lnTo>
                  <a:lnTo>
                    <a:pt x="1533" y="2247"/>
                  </a:lnTo>
                  <a:lnTo>
                    <a:pt x="1539" y="2243"/>
                  </a:lnTo>
                  <a:lnTo>
                    <a:pt x="1539" y="2243"/>
                  </a:lnTo>
                  <a:lnTo>
                    <a:pt x="1539" y="2243"/>
                  </a:lnTo>
                  <a:lnTo>
                    <a:pt x="1539" y="2241"/>
                  </a:lnTo>
                  <a:lnTo>
                    <a:pt x="1539" y="2240"/>
                  </a:lnTo>
                  <a:lnTo>
                    <a:pt x="1539" y="2238"/>
                  </a:lnTo>
                  <a:lnTo>
                    <a:pt x="1539" y="2238"/>
                  </a:lnTo>
                  <a:lnTo>
                    <a:pt x="1540" y="2238"/>
                  </a:lnTo>
                  <a:lnTo>
                    <a:pt x="1540" y="2236"/>
                  </a:lnTo>
                  <a:lnTo>
                    <a:pt x="1540" y="2236"/>
                  </a:lnTo>
                  <a:lnTo>
                    <a:pt x="1540" y="2236"/>
                  </a:lnTo>
                  <a:lnTo>
                    <a:pt x="1540" y="2234"/>
                  </a:lnTo>
                  <a:lnTo>
                    <a:pt x="1540" y="2234"/>
                  </a:lnTo>
                  <a:lnTo>
                    <a:pt x="1540" y="2234"/>
                  </a:lnTo>
                  <a:lnTo>
                    <a:pt x="1544" y="2234"/>
                  </a:lnTo>
                  <a:lnTo>
                    <a:pt x="1546" y="2234"/>
                  </a:lnTo>
                  <a:lnTo>
                    <a:pt x="1546" y="2232"/>
                  </a:lnTo>
                  <a:lnTo>
                    <a:pt x="1546" y="2232"/>
                  </a:lnTo>
                  <a:lnTo>
                    <a:pt x="1548" y="2232"/>
                  </a:lnTo>
                  <a:lnTo>
                    <a:pt x="1548" y="2231"/>
                  </a:lnTo>
                  <a:lnTo>
                    <a:pt x="1548" y="2231"/>
                  </a:lnTo>
                  <a:lnTo>
                    <a:pt x="1550" y="2229"/>
                  </a:lnTo>
                  <a:lnTo>
                    <a:pt x="1548" y="2223"/>
                  </a:lnTo>
                  <a:lnTo>
                    <a:pt x="1548" y="2223"/>
                  </a:lnTo>
                  <a:lnTo>
                    <a:pt x="1550" y="2222"/>
                  </a:lnTo>
                  <a:lnTo>
                    <a:pt x="1550" y="2222"/>
                  </a:lnTo>
                  <a:lnTo>
                    <a:pt x="1551" y="2222"/>
                  </a:lnTo>
                  <a:lnTo>
                    <a:pt x="1551" y="2220"/>
                  </a:lnTo>
                  <a:lnTo>
                    <a:pt x="1551" y="2218"/>
                  </a:lnTo>
                  <a:lnTo>
                    <a:pt x="1551" y="2218"/>
                  </a:lnTo>
                  <a:lnTo>
                    <a:pt x="1555" y="2218"/>
                  </a:lnTo>
                  <a:lnTo>
                    <a:pt x="1557" y="2220"/>
                  </a:lnTo>
                  <a:lnTo>
                    <a:pt x="1557" y="2220"/>
                  </a:lnTo>
                  <a:lnTo>
                    <a:pt x="1557" y="2220"/>
                  </a:lnTo>
                  <a:lnTo>
                    <a:pt x="1555" y="2222"/>
                  </a:lnTo>
                  <a:lnTo>
                    <a:pt x="1555" y="2223"/>
                  </a:lnTo>
                  <a:lnTo>
                    <a:pt x="1557" y="2223"/>
                  </a:lnTo>
                  <a:lnTo>
                    <a:pt x="1559" y="2223"/>
                  </a:lnTo>
                  <a:lnTo>
                    <a:pt x="1560" y="2222"/>
                  </a:lnTo>
                  <a:lnTo>
                    <a:pt x="1562" y="2220"/>
                  </a:lnTo>
                  <a:lnTo>
                    <a:pt x="1562" y="2218"/>
                  </a:lnTo>
                  <a:lnTo>
                    <a:pt x="1560" y="2211"/>
                  </a:lnTo>
                  <a:lnTo>
                    <a:pt x="1559" y="2209"/>
                  </a:lnTo>
                  <a:lnTo>
                    <a:pt x="1560" y="2207"/>
                  </a:lnTo>
                  <a:lnTo>
                    <a:pt x="1564" y="2207"/>
                  </a:lnTo>
                  <a:lnTo>
                    <a:pt x="1564" y="2209"/>
                  </a:lnTo>
                  <a:lnTo>
                    <a:pt x="1566" y="2209"/>
                  </a:lnTo>
                  <a:lnTo>
                    <a:pt x="1566" y="2211"/>
                  </a:lnTo>
                  <a:lnTo>
                    <a:pt x="1566" y="2213"/>
                  </a:lnTo>
                  <a:lnTo>
                    <a:pt x="1568" y="2213"/>
                  </a:lnTo>
                  <a:lnTo>
                    <a:pt x="1568" y="2214"/>
                  </a:lnTo>
                  <a:lnTo>
                    <a:pt x="1580" y="2214"/>
                  </a:lnTo>
                  <a:lnTo>
                    <a:pt x="1582" y="2214"/>
                  </a:lnTo>
                  <a:lnTo>
                    <a:pt x="1582" y="2214"/>
                  </a:lnTo>
                  <a:lnTo>
                    <a:pt x="1584" y="2213"/>
                  </a:lnTo>
                  <a:lnTo>
                    <a:pt x="1586" y="2214"/>
                  </a:lnTo>
                  <a:lnTo>
                    <a:pt x="1586" y="2216"/>
                  </a:lnTo>
                  <a:lnTo>
                    <a:pt x="1587" y="2216"/>
                  </a:lnTo>
                  <a:lnTo>
                    <a:pt x="1587" y="2218"/>
                  </a:lnTo>
                  <a:lnTo>
                    <a:pt x="1589" y="2218"/>
                  </a:lnTo>
                  <a:lnTo>
                    <a:pt x="1591" y="2218"/>
                  </a:lnTo>
                  <a:lnTo>
                    <a:pt x="1591" y="2220"/>
                  </a:lnTo>
                  <a:lnTo>
                    <a:pt x="1591" y="2222"/>
                  </a:lnTo>
                  <a:lnTo>
                    <a:pt x="1591" y="2222"/>
                  </a:lnTo>
                  <a:lnTo>
                    <a:pt x="1589" y="2223"/>
                  </a:lnTo>
                  <a:lnTo>
                    <a:pt x="1589" y="2223"/>
                  </a:lnTo>
                  <a:lnTo>
                    <a:pt x="1584" y="2225"/>
                  </a:lnTo>
                  <a:lnTo>
                    <a:pt x="1584" y="2225"/>
                  </a:lnTo>
                  <a:lnTo>
                    <a:pt x="1584" y="2227"/>
                  </a:lnTo>
                  <a:lnTo>
                    <a:pt x="1586" y="2227"/>
                  </a:lnTo>
                  <a:lnTo>
                    <a:pt x="1586" y="2229"/>
                  </a:lnTo>
                  <a:lnTo>
                    <a:pt x="1586" y="2229"/>
                  </a:lnTo>
                  <a:lnTo>
                    <a:pt x="1587" y="2231"/>
                  </a:lnTo>
                  <a:lnTo>
                    <a:pt x="1591" y="2231"/>
                  </a:lnTo>
                  <a:lnTo>
                    <a:pt x="1595" y="2231"/>
                  </a:lnTo>
                  <a:lnTo>
                    <a:pt x="1598" y="2229"/>
                  </a:lnTo>
                  <a:lnTo>
                    <a:pt x="1598" y="2227"/>
                  </a:lnTo>
                  <a:lnTo>
                    <a:pt x="1600" y="2227"/>
                  </a:lnTo>
                  <a:lnTo>
                    <a:pt x="1600" y="2225"/>
                  </a:lnTo>
                  <a:lnTo>
                    <a:pt x="1602" y="2225"/>
                  </a:lnTo>
                  <a:lnTo>
                    <a:pt x="1602" y="2225"/>
                  </a:lnTo>
                  <a:lnTo>
                    <a:pt x="1604" y="2227"/>
                  </a:lnTo>
                  <a:lnTo>
                    <a:pt x="1604" y="2227"/>
                  </a:lnTo>
                  <a:lnTo>
                    <a:pt x="1604" y="2229"/>
                  </a:lnTo>
                  <a:lnTo>
                    <a:pt x="1604" y="2232"/>
                  </a:lnTo>
                  <a:lnTo>
                    <a:pt x="1607" y="2232"/>
                  </a:lnTo>
                  <a:lnTo>
                    <a:pt x="1609" y="2231"/>
                  </a:lnTo>
                  <a:lnTo>
                    <a:pt x="1611" y="2229"/>
                  </a:lnTo>
                  <a:lnTo>
                    <a:pt x="1611" y="2225"/>
                  </a:lnTo>
                  <a:lnTo>
                    <a:pt x="1611" y="2223"/>
                  </a:lnTo>
                  <a:lnTo>
                    <a:pt x="1611" y="2222"/>
                  </a:lnTo>
                  <a:lnTo>
                    <a:pt x="1613" y="2218"/>
                  </a:lnTo>
                  <a:lnTo>
                    <a:pt x="1615" y="2214"/>
                  </a:lnTo>
                  <a:lnTo>
                    <a:pt x="1616" y="2214"/>
                  </a:lnTo>
                  <a:lnTo>
                    <a:pt x="1616" y="2214"/>
                  </a:lnTo>
                  <a:lnTo>
                    <a:pt x="1618" y="2214"/>
                  </a:lnTo>
                  <a:lnTo>
                    <a:pt x="1620" y="2214"/>
                  </a:lnTo>
                  <a:lnTo>
                    <a:pt x="1622" y="2216"/>
                  </a:lnTo>
                  <a:lnTo>
                    <a:pt x="1622" y="2216"/>
                  </a:lnTo>
                  <a:lnTo>
                    <a:pt x="1624" y="2216"/>
                  </a:lnTo>
                  <a:lnTo>
                    <a:pt x="1625" y="2216"/>
                  </a:lnTo>
                  <a:lnTo>
                    <a:pt x="1627" y="2216"/>
                  </a:lnTo>
                  <a:lnTo>
                    <a:pt x="1627" y="2214"/>
                  </a:lnTo>
                  <a:lnTo>
                    <a:pt x="1629" y="2213"/>
                  </a:lnTo>
                  <a:lnTo>
                    <a:pt x="1629" y="2211"/>
                  </a:lnTo>
                  <a:lnTo>
                    <a:pt x="1631" y="2211"/>
                  </a:lnTo>
                  <a:lnTo>
                    <a:pt x="1634" y="2211"/>
                  </a:lnTo>
                  <a:lnTo>
                    <a:pt x="1634" y="2211"/>
                  </a:lnTo>
                  <a:lnTo>
                    <a:pt x="1636" y="2209"/>
                  </a:lnTo>
                  <a:lnTo>
                    <a:pt x="1636" y="2207"/>
                  </a:lnTo>
                  <a:lnTo>
                    <a:pt x="1638" y="2205"/>
                  </a:lnTo>
                  <a:lnTo>
                    <a:pt x="1640" y="2207"/>
                  </a:lnTo>
                  <a:lnTo>
                    <a:pt x="1640" y="2209"/>
                  </a:lnTo>
                  <a:lnTo>
                    <a:pt x="1640" y="2213"/>
                  </a:lnTo>
                  <a:lnTo>
                    <a:pt x="1642" y="2216"/>
                  </a:lnTo>
                  <a:lnTo>
                    <a:pt x="1645" y="2222"/>
                  </a:lnTo>
                  <a:lnTo>
                    <a:pt x="1645" y="2227"/>
                  </a:lnTo>
                  <a:lnTo>
                    <a:pt x="1647" y="2227"/>
                  </a:lnTo>
                  <a:lnTo>
                    <a:pt x="1647" y="2229"/>
                  </a:lnTo>
                  <a:lnTo>
                    <a:pt x="1647" y="2231"/>
                  </a:lnTo>
                  <a:lnTo>
                    <a:pt x="1649" y="2231"/>
                  </a:lnTo>
                  <a:lnTo>
                    <a:pt x="1649" y="2231"/>
                  </a:lnTo>
                  <a:lnTo>
                    <a:pt x="1651" y="2232"/>
                  </a:lnTo>
                  <a:lnTo>
                    <a:pt x="1651" y="2231"/>
                  </a:lnTo>
                  <a:lnTo>
                    <a:pt x="1656" y="2231"/>
                  </a:lnTo>
                  <a:lnTo>
                    <a:pt x="1656" y="2232"/>
                  </a:lnTo>
                  <a:lnTo>
                    <a:pt x="1656" y="2231"/>
                  </a:lnTo>
                  <a:lnTo>
                    <a:pt x="1656" y="2231"/>
                  </a:lnTo>
                  <a:lnTo>
                    <a:pt x="1658" y="2231"/>
                  </a:lnTo>
                  <a:lnTo>
                    <a:pt x="1658" y="2229"/>
                  </a:lnTo>
                  <a:lnTo>
                    <a:pt x="1658" y="2229"/>
                  </a:lnTo>
                  <a:lnTo>
                    <a:pt x="1660" y="2229"/>
                  </a:lnTo>
                  <a:lnTo>
                    <a:pt x="1660" y="2229"/>
                  </a:lnTo>
                  <a:lnTo>
                    <a:pt x="1660" y="2229"/>
                  </a:lnTo>
                  <a:lnTo>
                    <a:pt x="1660" y="2227"/>
                  </a:lnTo>
                  <a:lnTo>
                    <a:pt x="1661" y="2227"/>
                  </a:lnTo>
                  <a:lnTo>
                    <a:pt x="1661" y="2227"/>
                  </a:lnTo>
                  <a:lnTo>
                    <a:pt x="1663" y="2229"/>
                  </a:lnTo>
                  <a:lnTo>
                    <a:pt x="1663" y="2229"/>
                  </a:lnTo>
                  <a:lnTo>
                    <a:pt x="1667" y="2229"/>
                  </a:lnTo>
                  <a:lnTo>
                    <a:pt x="1667" y="2229"/>
                  </a:lnTo>
                  <a:lnTo>
                    <a:pt x="1667" y="2231"/>
                  </a:lnTo>
                  <a:lnTo>
                    <a:pt x="1667" y="2231"/>
                  </a:lnTo>
                  <a:lnTo>
                    <a:pt x="1669" y="2232"/>
                  </a:lnTo>
                  <a:lnTo>
                    <a:pt x="1669" y="2232"/>
                  </a:lnTo>
                  <a:lnTo>
                    <a:pt x="1671" y="2232"/>
                  </a:lnTo>
                  <a:lnTo>
                    <a:pt x="1671" y="2231"/>
                  </a:lnTo>
                  <a:lnTo>
                    <a:pt x="1672" y="2231"/>
                  </a:lnTo>
                  <a:lnTo>
                    <a:pt x="1672" y="2231"/>
                  </a:lnTo>
                  <a:lnTo>
                    <a:pt x="1674" y="2229"/>
                  </a:lnTo>
                  <a:lnTo>
                    <a:pt x="1680" y="2229"/>
                  </a:lnTo>
                  <a:lnTo>
                    <a:pt x="1680" y="2227"/>
                  </a:lnTo>
                  <a:lnTo>
                    <a:pt x="1680" y="2227"/>
                  </a:lnTo>
                  <a:lnTo>
                    <a:pt x="1681" y="2227"/>
                  </a:lnTo>
                  <a:lnTo>
                    <a:pt x="1681" y="2227"/>
                  </a:lnTo>
                  <a:lnTo>
                    <a:pt x="1681" y="2227"/>
                  </a:lnTo>
                  <a:lnTo>
                    <a:pt x="1681" y="2227"/>
                  </a:lnTo>
                  <a:lnTo>
                    <a:pt x="1681" y="2229"/>
                  </a:lnTo>
                  <a:lnTo>
                    <a:pt x="1683" y="2229"/>
                  </a:lnTo>
                  <a:lnTo>
                    <a:pt x="1683" y="2229"/>
                  </a:lnTo>
                  <a:lnTo>
                    <a:pt x="1683" y="2229"/>
                  </a:lnTo>
                  <a:lnTo>
                    <a:pt x="1683" y="2229"/>
                  </a:lnTo>
                  <a:lnTo>
                    <a:pt x="1683" y="2229"/>
                  </a:lnTo>
                  <a:lnTo>
                    <a:pt x="1687" y="2229"/>
                  </a:lnTo>
                  <a:lnTo>
                    <a:pt x="1689" y="2229"/>
                  </a:lnTo>
                  <a:lnTo>
                    <a:pt x="1690" y="2229"/>
                  </a:lnTo>
                  <a:lnTo>
                    <a:pt x="1690" y="2229"/>
                  </a:lnTo>
                  <a:lnTo>
                    <a:pt x="1690" y="2229"/>
                  </a:lnTo>
                  <a:lnTo>
                    <a:pt x="1692" y="2229"/>
                  </a:lnTo>
                  <a:lnTo>
                    <a:pt x="1694" y="2231"/>
                  </a:lnTo>
                  <a:lnTo>
                    <a:pt x="1694" y="2232"/>
                  </a:lnTo>
                  <a:lnTo>
                    <a:pt x="1696" y="2232"/>
                  </a:lnTo>
                  <a:lnTo>
                    <a:pt x="1699" y="2234"/>
                  </a:lnTo>
                  <a:lnTo>
                    <a:pt x="1703" y="2236"/>
                  </a:lnTo>
                  <a:lnTo>
                    <a:pt x="1703" y="2238"/>
                  </a:lnTo>
                  <a:lnTo>
                    <a:pt x="1703" y="2238"/>
                  </a:lnTo>
                  <a:lnTo>
                    <a:pt x="1703" y="2240"/>
                  </a:lnTo>
                  <a:lnTo>
                    <a:pt x="1701" y="2240"/>
                  </a:lnTo>
                  <a:lnTo>
                    <a:pt x="1701" y="2241"/>
                  </a:lnTo>
                  <a:lnTo>
                    <a:pt x="1701" y="2243"/>
                  </a:lnTo>
                  <a:lnTo>
                    <a:pt x="1701" y="2243"/>
                  </a:lnTo>
                  <a:lnTo>
                    <a:pt x="1701" y="2245"/>
                  </a:lnTo>
                  <a:lnTo>
                    <a:pt x="1703" y="2247"/>
                  </a:lnTo>
                  <a:lnTo>
                    <a:pt x="1705" y="2247"/>
                  </a:lnTo>
                  <a:lnTo>
                    <a:pt x="1705" y="2249"/>
                  </a:lnTo>
                  <a:lnTo>
                    <a:pt x="1707" y="2250"/>
                  </a:lnTo>
                  <a:lnTo>
                    <a:pt x="1716" y="2254"/>
                  </a:lnTo>
                  <a:lnTo>
                    <a:pt x="1717" y="2252"/>
                  </a:lnTo>
                  <a:lnTo>
                    <a:pt x="1719" y="2254"/>
                  </a:lnTo>
                  <a:lnTo>
                    <a:pt x="1721" y="2254"/>
                  </a:lnTo>
                  <a:lnTo>
                    <a:pt x="1723" y="2256"/>
                  </a:lnTo>
                  <a:lnTo>
                    <a:pt x="1723" y="2258"/>
                  </a:lnTo>
                  <a:lnTo>
                    <a:pt x="1725" y="2259"/>
                  </a:lnTo>
                  <a:lnTo>
                    <a:pt x="1726" y="2259"/>
                  </a:lnTo>
                  <a:lnTo>
                    <a:pt x="1728" y="2261"/>
                  </a:lnTo>
                  <a:lnTo>
                    <a:pt x="1728" y="2261"/>
                  </a:lnTo>
                  <a:lnTo>
                    <a:pt x="1728" y="2265"/>
                  </a:lnTo>
                  <a:lnTo>
                    <a:pt x="1730" y="2265"/>
                  </a:lnTo>
                  <a:lnTo>
                    <a:pt x="1730" y="2267"/>
                  </a:lnTo>
                  <a:lnTo>
                    <a:pt x="1730" y="2267"/>
                  </a:lnTo>
                  <a:lnTo>
                    <a:pt x="1730" y="2268"/>
                  </a:lnTo>
                  <a:lnTo>
                    <a:pt x="1732" y="2270"/>
                  </a:lnTo>
                  <a:lnTo>
                    <a:pt x="1732" y="2272"/>
                  </a:lnTo>
                  <a:lnTo>
                    <a:pt x="1734" y="2272"/>
                  </a:lnTo>
                  <a:lnTo>
                    <a:pt x="1736" y="2274"/>
                  </a:lnTo>
                  <a:lnTo>
                    <a:pt x="1736" y="2274"/>
                  </a:lnTo>
                  <a:lnTo>
                    <a:pt x="1736" y="2276"/>
                  </a:lnTo>
                  <a:lnTo>
                    <a:pt x="1737" y="2276"/>
                  </a:lnTo>
                  <a:lnTo>
                    <a:pt x="1741" y="2278"/>
                  </a:lnTo>
                  <a:lnTo>
                    <a:pt x="1743" y="2278"/>
                  </a:lnTo>
                  <a:lnTo>
                    <a:pt x="1743" y="2278"/>
                  </a:lnTo>
                  <a:lnTo>
                    <a:pt x="1743" y="2279"/>
                  </a:lnTo>
                  <a:lnTo>
                    <a:pt x="1746" y="2279"/>
                  </a:lnTo>
                  <a:lnTo>
                    <a:pt x="1746" y="2279"/>
                  </a:lnTo>
                  <a:lnTo>
                    <a:pt x="1746" y="2281"/>
                  </a:lnTo>
                  <a:lnTo>
                    <a:pt x="1746" y="2281"/>
                  </a:lnTo>
                  <a:lnTo>
                    <a:pt x="1746" y="2281"/>
                  </a:lnTo>
                  <a:lnTo>
                    <a:pt x="1746" y="2283"/>
                  </a:lnTo>
                  <a:lnTo>
                    <a:pt x="1743" y="2287"/>
                  </a:lnTo>
                  <a:lnTo>
                    <a:pt x="1743" y="2288"/>
                  </a:lnTo>
                  <a:lnTo>
                    <a:pt x="1743" y="2292"/>
                  </a:lnTo>
                  <a:lnTo>
                    <a:pt x="1743" y="2294"/>
                  </a:lnTo>
                  <a:lnTo>
                    <a:pt x="1741" y="2297"/>
                  </a:lnTo>
                  <a:lnTo>
                    <a:pt x="1741" y="2297"/>
                  </a:lnTo>
                  <a:lnTo>
                    <a:pt x="1741" y="2299"/>
                  </a:lnTo>
                  <a:lnTo>
                    <a:pt x="1743" y="2301"/>
                  </a:lnTo>
                  <a:lnTo>
                    <a:pt x="1745" y="2305"/>
                  </a:lnTo>
                  <a:lnTo>
                    <a:pt x="1745" y="2305"/>
                  </a:lnTo>
                  <a:lnTo>
                    <a:pt x="1746" y="2305"/>
                  </a:lnTo>
                  <a:lnTo>
                    <a:pt x="1748" y="2306"/>
                  </a:lnTo>
                  <a:lnTo>
                    <a:pt x="1750" y="2305"/>
                  </a:lnTo>
                  <a:lnTo>
                    <a:pt x="1750" y="2305"/>
                  </a:lnTo>
                  <a:lnTo>
                    <a:pt x="1752" y="2305"/>
                  </a:lnTo>
                  <a:lnTo>
                    <a:pt x="1755" y="2301"/>
                  </a:lnTo>
                  <a:lnTo>
                    <a:pt x="1755" y="2299"/>
                  </a:lnTo>
                  <a:lnTo>
                    <a:pt x="1755" y="2297"/>
                  </a:lnTo>
                  <a:lnTo>
                    <a:pt x="1754" y="2292"/>
                  </a:lnTo>
                  <a:lnTo>
                    <a:pt x="1754" y="2290"/>
                  </a:lnTo>
                  <a:lnTo>
                    <a:pt x="1755" y="2287"/>
                  </a:lnTo>
                  <a:lnTo>
                    <a:pt x="1755" y="2285"/>
                  </a:lnTo>
                  <a:lnTo>
                    <a:pt x="1755" y="2285"/>
                  </a:lnTo>
                  <a:lnTo>
                    <a:pt x="1754" y="2283"/>
                  </a:lnTo>
                  <a:lnTo>
                    <a:pt x="1754" y="2283"/>
                  </a:lnTo>
                  <a:lnTo>
                    <a:pt x="1754" y="2283"/>
                  </a:lnTo>
                  <a:lnTo>
                    <a:pt x="1755" y="2281"/>
                  </a:lnTo>
                  <a:lnTo>
                    <a:pt x="1755" y="2279"/>
                  </a:lnTo>
                  <a:lnTo>
                    <a:pt x="1754" y="2278"/>
                  </a:lnTo>
                  <a:lnTo>
                    <a:pt x="1752" y="2276"/>
                  </a:lnTo>
                  <a:lnTo>
                    <a:pt x="1748" y="2274"/>
                  </a:lnTo>
                  <a:lnTo>
                    <a:pt x="1748" y="2274"/>
                  </a:lnTo>
                  <a:lnTo>
                    <a:pt x="1748" y="2272"/>
                  </a:lnTo>
                  <a:lnTo>
                    <a:pt x="1750" y="2272"/>
                  </a:lnTo>
                  <a:lnTo>
                    <a:pt x="1750" y="2272"/>
                  </a:lnTo>
                  <a:lnTo>
                    <a:pt x="1748" y="2268"/>
                  </a:lnTo>
                  <a:lnTo>
                    <a:pt x="1748" y="2268"/>
                  </a:lnTo>
                  <a:lnTo>
                    <a:pt x="1750" y="2267"/>
                  </a:lnTo>
                  <a:lnTo>
                    <a:pt x="1754" y="2267"/>
                  </a:lnTo>
                  <a:lnTo>
                    <a:pt x="1755" y="2267"/>
                  </a:lnTo>
                  <a:lnTo>
                    <a:pt x="1757" y="2267"/>
                  </a:lnTo>
                  <a:lnTo>
                    <a:pt x="1757" y="2267"/>
                  </a:lnTo>
                  <a:lnTo>
                    <a:pt x="1759" y="2268"/>
                  </a:lnTo>
                  <a:lnTo>
                    <a:pt x="1763" y="2270"/>
                  </a:lnTo>
                  <a:lnTo>
                    <a:pt x="1764" y="2272"/>
                  </a:lnTo>
                  <a:lnTo>
                    <a:pt x="1766" y="2274"/>
                  </a:lnTo>
                  <a:lnTo>
                    <a:pt x="1766" y="2276"/>
                  </a:lnTo>
                  <a:lnTo>
                    <a:pt x="1775" y="2278"/>
                  </a:lnTo>
                  <a:lnTo>
                    <a:pt x="1775" y="2279"/>
                  </a:lnTo>
                  <a:lnTo>
                    <a:pt x="1775" y="2283"/>
                  </a:lnTo>
                  <a:lnTo>
                    <a:pt x="1777" y="2285"/>
                  </a:lnTo>
                  <a:lnTo>
                    <a:pt x="1788" y="2294"/>
                  </a:lnTo>
                  <a:lnTo>
                    <a:pt x="1790" y="2296"/>
                  </a:lnTo>
                  <a:lnTo>
                    <a:pt x="1790" y="2296"/>
                  </a:lnTo>
                  <a:lnTo>
                    <a:pt x="1792" y="2296"/>
                  </a:lnTo>
                  <a:lnTo>
                    <a:pt x="1793" y="2296"/>
                  </a:lnTo>
                  <a:lnTo>
                    <a:pt x="1795" y="2296"/>
                  </a:lnTo>
                  <a:lnTo>
                    <a:pt x="1795" y="2296"/>
                  </a:lnTo>
                  <a:lnTo>
                    <a:pt x="1797" y="2296"/>
                  </a:lnTo>
                  <a:lnTo>
                    <a:pt x="1797" y="2297"/>
                  </a:lnTo>
                  <a:lnTo>
                    <a:pt x="1799" y="2299"/>
                  </a:lnTo>
                  <a:lnTo>
                    <a:pt x="1799" y="2299"/>
                  </a:lnTo>
                  <a:lnTo>
                    <a:pt x="1801" y="2301"/>
                  </a:lnTo>
                  <a:lnTo>
                    <a:pt x="1802" y="2301"/>
                  </a:lnTo>
                  <a:lnTo>
                    <a:pt x="1804" y="2303"/>
                  </a:lnTo>
                  <a:lnTo>
                    <a:pt x="1806" y="2305"/>
                  </a:lnTo>
                  <a:lnTo>
                    <a:pt x="1808" y="2305"/>
                  </a:lnTo>
                  <a:lnTo>
                    <a:pt x="1811" y="2301"/>
                  </a:lnTo>
                  <a:lnTo>
                    <a:pt x="1819" y="2296"/>
                  </a:lnTo>
                  <a:lnTo>
                    <a:pt x="1826" y="2290"/>
                  </a:lnTo>
                  <a:lnTo>
                    <a:pt x="1828" y="2288"/>
                  </a:lnTo>
                  <a:lnTo>
                    <a:pt x="1829" y="2278"/>
                  </a:lnTo>
                  <a:lnTo>
                    <a:pt x="1829" y="2276"/>
                  </a:lnTo>
                  <a:lnTo>
                    <a:pt x="1831" y="2276"/>
                  </a:lnTo>
                  <a:lnTo>
                    <a:pt x="1831" y="2276"/>
                  </a:lnTo>
                  <a:lnTo>
                    <a:pt x="1835" y="2278"/>
                  </a:lnTo>
                  <a:lnTo>
                    <a:pt x="1837" y="2278"/>
                  </a:lnTo>
                  <a:lnTo>
                    <a:pt x="1838" y="2278"/>
                  </a:lnTo>
                  <a:lnTo>
                    <a:pt x="1838" y="2276"/>
                  </a:lnTo>
                  <a:lnTo>
                    <a:pt x="1840" y="2276"/>
                  </a:lnTo>
                  <a:lnTo>
                    <a:pt x="1840" y="2272"/>
                  </a:lnTo>
                  <a:lnTo>
                    <a:pt x="1840" y="2272"/>
                  </a:lnTo>
                  <a:lnTo>
                    <a:pt x="1844" y="2270"/>
                  </a:lnTo>
                  <a:lnTo>
                    <a:pt x="1844" y="2270"/>
                  </a:lnTo>
                  <a:lnTo>
                    <a:pt x="1844" y="2268"/>
                  </a:lnTo>
                  <a:lnTo>
                    <a:pt x="1844" y="2267"/>
                  </a:lnTo>
                  <a:lnTo>
                    <a:pt x="1844" y="2265"/>
                  </a:lnTo>
                  <a:lnTo>
                    <a:pt x="1844" y="2265"/>
                  </a:lnTo>
                  <a:lnTo>
                    <a:pt x="1846" y="2263"/>
                  </a:lnTo>
                  <a:lnTo>
                    <a:pt x="1846" y="2263"/>
                  </a:lnTo>
                  <a:lnTo>
                    <a:pt x="1847" y="2263"/>
                  </a:lnTo>
                  <a:lnTo>
                    <a:pt x="1853" y="2268"/>
                  </a:lnTo>
                  <a:lnTo>
                    <a:pt x="1853" y="2270"/>
                  </a:lnTo>
                  <a:lnTo>
                    <a:pt x="1857" y="2270"/>
                  </a:lnTo>
                  <a:lnTo>
                    <a:pt x="1858" y="2270"/>
                  </a:lnTo>
                  <a:lnTo>
                    <a:pt x="1858" y="2270"/>
                  </a:lnTo>
                  <a:lnTo>
                    <a:pt x="1858" y="2268"/>
                  </a:lnTo>
                  <a:lnTo>
                    <a:pt x="1857" y="2265"/>
                  </a:lnTo>
                  <a:lnTo>
                    <a:pt x="1857" y="2265"/>
                  </a:lnTo>
                  <a:lnTo>
                    <a:pt x="1857" y="2263"/>
                  </a:lnTo>
                  <a:lnTo>
                    <a:pt x="1858" y="2263"/>
                  </a:lnTo>
                  <a:lnTo>
                    <a:pt x="1860" y="2261"/>
                  </a:lnTo>
                  <a:lnTo>
                    <a:pt x="1860" y="2261"/>
                  </a:lnTo>
                  <a:lnTo>
                    <a:pt x="1862" y="2261"/>
                  </a:lnTo>
                  <a:lnTo>
                    <a:pt x="1864" y="2263"/>
                  </a:lnTo>
                  <a:lnTo>
                    <a:pt x="1864" y="2263"/>
                  </a:lnTo>
                  <a:lnTo>
                    <a:pt x="1866" y="2263"/>
                  </a:lnTo>
                  <a:lnTo>
                    <a:pt x="1867" y="2263"/>
                  </a:lnTo>
                  <a:lnTo>
                    <a:pt x="1869" y="2263"/>
                  </a:lnTo>
                  <a:lnTo>
                    <a:pt x="1869" y="2263"/>
                  </a:lnTo>
                  <a:lnTo>
                    <a:pt x="1875" y="2263"/>
                  </a:lnTo>
                  <a:lnTo>
                    <a:pt x="1876" y="2263"/>
                  </a:lnTo>
                  <a:lnTo>
                    <a:pt x="1880" y="2261"/>
                  </a:lnTo>
                  <a:lnTo>
                    <a:pt x="1880" y="2259"/>
                  </a:lnTo>
                  <a:lnTo>
                    <a:pt x="1882" y="2261"/>
                  </a:lnTo>
                  <a:lnTo>
                    <a:pt x="1882" y="2263"/>
                  </a:lnTo>
                  <a:lnTo>
                    <a:pt x="1882" y="2265"/>
                  </a:lnTo>
                  <a:lnTo>
                    <a:pt x="1882" y="2267"/>
                  </a:lnTo>
                  <a:lnTo>
                    <a:pt x="1884" y="2267"/>
                  </a:lnTo>
                  <a:lnTo>
                    <a:pt x="1884" y="2267"/>
                  </a:lnTo>
                  <a:lnTo>
                    <a:pt x="1885" y="2267"/>
                  </a:lnTo>
                  <a:lnTo>
                    <a:pt x="1885" y="2268"/>
                  </a:lnTo>
                  <a:lnTo>
                    <a:pt x="1887" y="2270"/>
                  </a:lnTo>
                  <a:lnTo>
                    <a:pt x="1887" y="2270"/>
                  </a:lnTo>
                  <a:lnTo>
                    <a:pt x="1887" y="2274"/>
                  </a:lnTo>
                  <a:lnTo>
                    <a:pt x="1889" y="2276"/>
                  </a:lnTo>
                  <a:lnTo>
                    <a:pt x="1889" y="2276"/>
                  </a:lnTo>
                  <a:lnTo>
                    <a:pt x="1891" y="2278"/>
                  </a:lnTo>
                  <a:lnTo>
                    <a:pt x="1893" y="2279"/>
                  </a:lnTo>
                  <a:lnTo>
                    <a:pt x="1894" y="2279"/>
                  </a:lnTo>
                  <a:lnTo>
                    <a:pt x="1896" y="2279"/>
                  </a:lnTo>
                  <a:lnTo>
                    <a:pt x="1896" y="2279"/>
                  </a:lnTo>
                  <a:lnTo>
                    <a:pt x="1898" y="2278"/>
                  </a:lnTo>
                  <a:lnTo>
                    <a:pt x="1898" y="2276"/>
                  </a:lnTo>
                  <a:lnTo>
                    <a:pt x="1900" y="2276"/>
                  </a:lnTo>
                  <a:lnTo>
                    <a:pt x="1900" y="2274"/>
                  </a:lnTo>
                  <a:lnTo>
                    <a:pt x="1902" y="2274"/>
                  </a:lnTo>
                  <a:lnTo>
                    <a:pt x="1907" y="2276"/>
                  </a:lnTo>
                  <a:lnTo>
                    <a:pt x="1909" y="2276"/>
                  </a:lnTo>
                  <a:lnTo>
                    <a:pt x="1909" y="2272"/>
                  </a:lnTo>
                  <a:lnTo>
                    <a:pt x="1909" y="2270"/>
                  </a:lnTo>
                  <a:lnTo>
                    <a:pt x="1909" y="2265"/>
                  </a:lnTo>
                  <a:lnTo>
                    <a:pt x="1909" y="2261"/>
                  </a:lnTo>
                  <a:lnTo>
                    <a:pt x="1911" y="2259"/>
                  </a:lnTo>
                  <a:lnTo>
                    <a:pt x="1911" y="2258"/>
                  </a:lnTo>
                  <a:lnTo>
                    <a:pt x="1912" y="2258"/>
                  </a:lnTo>
                  <a:lnTo>
                    <a:pt x="1914" y="2259"/>
                  </a:lnTo>
                  <a:lnTo>
                    <a:pt x="1916" y="2259"/>
                  </a:lnTo>
                  <a:lnTo>
                    <a:pt x="1918" y="2259"/>
                  </a:lnTo>
                  <a:lnTo>
                    <a:pt x="1918" y="2259"/>
                  </a:lnTo>
                  <a:lnTo>
                    <a:pt x="1920" y="2261"/>
                  </a:lnTo>
                  <a:lnTo>
                    <a:pt x="1920" y="2261"/>
                  </a:lnTo>
                  <a:lnTo>
                    <a:pt x="1920" y="2261"/>
                  </a:lnTo>
                  <a:lnTo>
                    <a:pt x="1922" y="2261"/>
                  </a:lnTo>
                  <a:lnTo>
                    <a:pt x="1923" y="2261"/>
                  </a:lnTo>
                  <a:lnTo>
                    <a:pt x="1927" y="2259"/>
                  </a:lnTo>
                  <a:lnTo>
                    <a:pt x="1927" y="2259"/>
                  </a:lnTo>
                  <a:lnTo>
                    <a:pt x="1927" y="2261"/>
                  </a:lnTo>
                  <a:lnTo>
                    <a:pt x="1927" y="2261"/>
                  </a:lnTo>
                  <a:lnTo>
                    <a:pt x="1927" y="2261"/>
                  </a:lnTo>
                  <a:lnTo>
                    <a:pt x="1927" y="2261"/>
                  </a:lnTo>
                  <a:lnTo>
                    <a:pt x="1929" y="2263"/>
                  </a:lnTo>
                  <a:lnTo>
                    <a:pt x="1929" y="2263"/>
                  </a:lnTo>
                  <a:lnTo>
                    <a:pt x="1931" y="2263"/>
                  </a:lnTo>
                  <a:lnTo>
                    <a:pt x="1932" y="2263"/>
                  </a:lnTo>
                  <a:lnTo>
                    <a:pt x="1932" y="2261"/>
                  </a:lnTo>
                  <a:lnTo>
                    <a:pt x="1932" y="2259"/>
                  </a:lnTo>
                  <a:lnTo>
                    <a:pt x="1934" y="2258"/>
                  </a:lnTo>
                  <a:lnTo>
                    <a:pt x="1934" y="2258"/>
                  </a:lnTo>
                  <a:lnTo>
                    <a:pt x="1936" y="2258"/>
                  </a:lnTo>
                  <a:lnTo>
                    <a:pt x="1938" y="2256"/>
                  </a:lnTo>
                  <a:lnTo>
                    <a:pt x="1940" y="2256"/>
                  </a:lnTo>
                  <a:lnTo>
                    <a:pt x="1940" y="2258"/>
                  </a:lnTo>
                  <a:lnTo>
                    <a:pt x="1941" y="2259"/>
                  </a:lnTo>
                  <a:lnTo>
                    <a:pt x="1941" y="2261"/>
                  </a:lnTo>
                  <a:lnTo>
                    <a:pt x="1941" y="2261"/>
                  </a:lnTo>
                  <a:lnTo>
                    <a:pt x="1941" y="2263"/>
                  </a:lnTo>
                  <a:lnTo>
                    <a:pt x="1943" y="2263"/>
                  </a:lnTo>
                  <a:lnTo>
                    <a:pt x="1949" y="2263"/>
                  </a:lnTo>
                  <a:lnTo>
                    <a:pt x="1950" y="2265"/>
                  </a:lnTo>
                  <a:lnTo>
                    <a:pt x="1952" y="2267"/>
                  </a:lnTo>
                  <a:lnTo>
                    <a:pt x="1952" y="2270"/>
                  </a:lnTo>
                  <a:lnTo>
                    <a:pt x="1952" y="2270"/>
                  </a:lnTo>
                  <a:lnTo>
                    <a:pt x="1952" y="2272"/>
                  </a:lnTo>
                  <a:lnTo>
                    <a:pt x="1950" y="2274"/>
                  </a:lnTo>
                  <a:lnTo>
                    <a:pt x="1950" y="2274"/>
                  </a:lnTo>
                  <a:lnTo>
                    <a:pt x="1950" y="2276"/>
                  </a:lnTo>
                  <a:lnTo>
                    <a:pt x="1950" y="2276"/>
                  </a:lnTo>
                  <a:lnTo>
                    <a:pt x="1950" y="2278"/>
                  </a:lnTo>
                  <a:lnTo>
                    <a:pt x="1950" y="2279"/>
                  </a:lnTo>
                  <a:lnTo>
                    <a:pt x="1952" y="2279"/>
                  </a:lnTo>
                  <a:lnTo>
                    <a:pt x="1954" y="2279"/>
                  </a:lnTo>
                  <a:lnTo>
                    <a:pt x="1956" y="2279"/>
                  </a:lnTo>
                  <a:lnTo>
                    <a:pt x="1954" y="2283"/>
                  </a:lnTo>
                  <a:lnTo>
                    <a:pt x="1954" y="2283"/>
                  </a:lnTo>
                  <a:lnTo>
                    <a:pt x="1956" y="2285"/>
                  </a:lnTo>
                  <a:lnTo>
                    <a:pt x="1958" y="2285"/>
                  </a:lnTo>
                  <a:lnTo>
                    <a:pt x="1959" y="2285"/>
                  </a:lnTo>
                  <a:lnTo>
                    <a:pt x="1959" y="2285"/>
                  </a:lnTo>
                  <a:lnTo>
                    <a:pt x="1961" y="2285"/>
                  </a:lnTo>
                  <a:lnTo>
                    <a:pt x="1961" y="2288"/>
                  </a:lnTo>
                  <a:lnTo>
                    <a:pt x="1963" y="2288"/>
                  </a:lnTo>
                  <a:lnTo>
                    <a:pt x="1963" y="2290"/>
                  </a:lnTo>
                  <a:lnTo>
                    <a:pt x="1967" y="2292"/>
                  </a:lnTo>
                  <a:lnTo>
                    <a:pt x="1968" y="2294"/>
                  </a:lnTo>
                  <a:lnTo>
                    <a:pt x="1983" y="2294"/>
                  </a:lnTo>
                  <a:lnTo>
                    <a:pt x="1983" y="2296"/>
                  </a:lnTo>
                  <a:lnTo>
                    <a:pt x="1985" y="2296"/>
                  </a:lnTo>
                  <a:lnTo>
                    <a:pt x="1985" y="2297"/>
                  </a:lnTo>
                  <a:lnTo>
                    <a:pt x="1985" y="2297"/>
                  </a:lnTo>
                  <a:lnTo>
                    <a:pt x="1987" y="2299"/>
                  </a:lnTo>
                  <a:lnTo>
                    <a:pt x="1987" y="2299"/>
                  </a:lnTo>
                  <a:lnTo>
                    <a:pt x="1992" y="2297"/>
                  </a:lnTo>
                  <a:lnTo>
                    <a:pt x="1994" y="2297"/>
                  </a:lnTo>
                  <a:lnTo>
                    <a:pt x="1997" y="2299"/>
                  </a:lnTo>
                  <a:lnTo>
                    <a:pt x="1997" y="2299"/>
                  </a:lnTo>
                  <a:lnTo>
                    <a:pt x="2001" y="2301"/>
                  </a:lnTo>
                  <a:lnTo>
                    <a:pt x="2001" y="2301"/>
                  </a:lnTo>
                  <a:lnTo>
                    <a:pt x="2001" y="2303"/>
                  </a:lnTo>
                  <a:lnTo>
                    <a:pt x="1999" y="2305"/>
                  </a:lnTo>
                  <a:lnTo>
                    <a:pt x="1997" y="2303"/>
                  </a:lnTo>
                  <a:lnTo>
                    <a:pt x="1996" y="2305"/>
                  </a:lnTo>
                  <a:lnTo>
                    <a:pt x="1996" y="2306"/>
                  </a:lnTo>
                  <a:lnTo>
                    <a:pt x="1996" y="2306"/>
                  </a:lnTo>
                  <a:lnTo>
                    <a:pt x="1999" y="2310"/>
                  </a:lnTo>
                  <a:lnTo>
                    <a:pt x="2001" y="2308"/>
                  </a:lnTo>
                  <a:lnTo>
                    <a:pt x="2003" y="2306"/>
                  </a:lnTo>
                  <a:lnTo>
                    <a:pt x="2005" y="2306"/>
                  </a:lnTo>
                  <a:lnTo>
                    <a:pt x="2006" y="2305"/>
                  </a:lnTo>
                  <a:lnTo>
                    <a:pt x="2008" y="2305"/>
                  </a:lnTo>
                  <a:lnTo>
                    <a:pt x="2012" y="2305"/>
                  </a:lnTo>
                  <a:lnTo>
                    <a:pt x="2014" y="2303"/>
                  </a:lnTo>
                  <a:lnTo>
                    <a:pt x="2015" y="2297"/>
                  </a:lnTo>
                  <a:lnTo>
                    <a:pt x="2015" y="2297"/>
                  </a:lnTo>
                  <a:lnTo>
                    <a:pt x="2017" y="2296"/>
                  </a:lnTo>
                  <a:lnTo>
                    <a:pt x="2019" y="2294"/>
                  </a:lnTo>
                  <a:lnTo>
                    <a:pt x="2019" y="2292"/>
                  </a:lnTo>
                  <a:lnTo>
                    <a:pt x="2019" y="2290"/>
                  </a:lnTo>
                  <a:lnTo>
                    <a:pt x="2019" y="2288"/>
                  </a:lnTo>
                  <a:lnTo>
                    <a:pt x="2019" y="2287"/>
                  </a:lnTo>
                  <a:lnTo>
                    <a:pt x="2021" y="2281"/>
                  </a:lnTo>
                  <a:lnTo>
                    <a:pt x="2021" y="2281"/>
                  </a:lnTo>
                  <a:lnTo>
                    <a:pt x="2021" y="2281"/>
                  </a:lnTo>
                  <a:lnTo>
                    <a:pt x="2024" y="2279"/>
                  </a:lnTo>
                  <a:lnTo>
                    <a:pt x="2026" y="2279"/>
                  </a:lnTo>
                  <a:lnTo>
                    <a:pt x="2030" y="2281"/>
                  </a:lnTo>
                  <a:lnTo>
                    <a:pt x="2030" y="2283"/>
                  </a:lnTo>
                  <a:lnTo>
                    <a:pt x="2030" y="2287"/>
                  </a:lnTo>
                  <a:lnTo>
                    <a:pt x="2032" y="2288"/>
                  </a:lnTo>
                  <a:lnTo>
                    <a:pt x="2033" y="2290"/>
                  </a:lnTo>
                  <a:lnTo>
                    <a:pt x="2035" y="2292"/>
                  </a:lnTo>
                  <a:lnTo>
                    <a:pt x="2037" y="2294"/>
                  </a:lnTo>
                  <a:lnTo>
                    <a:pt x="2059" y="2296"/>
                  </a:lnTo>
                  <a:lnTo>
                    <a:pt x="2064" y="2294"/>
                  </a:lnTo>
                  <a:lnTo>
                    <a:pt x="2077" y="2290"/>
                  </a:lnTo>
                  <a:lnTo>
                    <a:pt x="2091" y="2285"/>
                  </a:lnTo>
                  <a:lnTo>
                    <a:pt x="2093" y="2283"/>
                  </a:lnTo>
                  <a:lnTo>
                    <a:pt x="2095" y="2281"/>
                  </a:lnTo>
                  <a:lnTo>
                    <a:pt x="2095" y="2278"/>
                  </a:lnTo>
                  <a:lnTo>
                    <a:pt x="2095" y="2270"/>
                  </a:lnTo>
                  <a:lnTo>
                    <a:pt x="2097" y="2268"/>
                  </a:lnTo>
                  <a:lnTo>
                    <a:pt x="2098" y="2256"/>
                  </a:lnTo>
                  <a:lnTo>
                    <a:pt x="2100" y="2252"/>
                  </a:lnTo>
                  <a:lnTo>
                    <a:pt x="2100" y="2249"/>
                  </a:lnTo>
                  <a:lnTo>
                    <a:pt x="2104" y="2249"/>
                  </a:lnTo>
                  <a:lnTo>
                    <a:pt x="2106" y="2247"/>
                  </a:lnTo>
                  <a:lnTo>
                    <a:pt x="2106" y="2247"/>
                  </a:lnTo>
                  <a:lnTo>
                    <a:pt x="2102" y="2245"/>
                  </a:lnTo>
                  <a:lnTo>
                    <a:pt x="2100" y="2245"/>
                  </a:lnTo>
                  <a:lnTo>
                    <a:pt x="2100" y="2241"/>
                  </a:lnTo>
                  <a:lnTo>
                    <a:pt x="2098" y="2236"/>
                  </a:lnTo>
                  <a:lnTo>
                    <a:pt x="2097" y="2234"/>
                  </a:lnTo>
                  <a:lnTo>
                    <a:pt x="2097" y="2234"/>
                  </a:lnTo>
                  <a:lnTo>
                    <a:pt x="2095" y="2234"/>
                  </a:lnTo>
                  <a:lnTo>
                    <a:pt x="2093" y="2232"/>
                  </a:lnTo>
                  <a:lnTo>
                    <a:pt x="2091" y="2231"/>
                  </a:lnTo>
                  <a:lnTo>
                    <a:pt x="2089" y="2231"/>
                  </a:lnTo>
                  <a:lnTo>
                    <a:pt x="2089" y="2232"/>
                  </a:lnTo>
                  <a:lnTo>
                    <a:pt x="2088" y="2232"/>
                  </a:lnTo>
                  <a:lnTo>
                    <a:pt x="2088" y="2232"/>
                  </a:lnTo>
                  <a:lnTo>
                    <a:pt x="2086" y="2231"/>
                  </a:lnTo>
                  <a:lnTo>
                    <a:pt x="2084" y="2231"/>
                  </a:lnTo>
                  <a:lnTo>
                    <a:pt x="2080" y="2231"/>
                  </a:lnTo>
                  <a:lnTo>
                    <a:pt x="2080" y="2231"/>
                  </a:lnTo>
                  <a:lnTo>
                    <a:pt x="2079" y="2231"/>
                  </a:lnTo>
                  <a:lnTo>
                    <a:pt x="2077" y="2231"/>
                  </a:lnTo>
                  <a:lnTo>
                    <a:pt x="2075" y="2231"/>
                  </a:lnTo>
                  <a:lnTo>
                    <a:pt x="2075" y="2231"/>
                  </a:lnTo>
                  <a:lnTo>
                    <a:pt x="2075" y="2229"/>
                  </a:lnTo>
                  <a:lnTo>
                    <a:pt x="2073" y="2229"/>
                  </a:lnTo>
                  <a:lnTo>
                    <a:pt x="2073" y="2229"/>
                  </a:lnTo>
                  <a:lnTo>
                    <a:pt x="2073" y="2229"/>
                  </a:lnTo>
                  <a:lnTo>
                    <a:pt x="2073" y="2229"/>
                  </a:lnTo>
                  <a:lnTo>
                    <a:pt x="2073" y="2229"/>
                  </a:lnTo>
                  <a:lnTo>
                    <a:pt x="2071" y="2227"/>
                  </a:lnTo>
                  <a:lnTo>
                    <a:pt x="2071" y="2227"/>
                  </a:lnTo>
                  <a:lnTo>
                    <a:pt x="2070" y="2225"/>
                  </a:lnTo>
                  <a:lnTo>
                    <a:pt x="2070" y="2223"/>
                  </a:lnTo>
                  <a:lnTo>
                    <a:pt x="2070" y="2223"/>
                  </a:lnTo>
                  <a:lnTo>
                    <a:pt x="2070" y="2220"/>
                  </a:lnTo>
                  <a:lnTo>
                    <a:pt x="2070" y="2220"/>
                  </a:lnTo>
                  <a:lnTo>
                    <a:pt x="2070" y="2220"/>
                  </a:lnTo>
                  <a:lnTo>
                    <a:pt x="2048" y="2218"/>
                  </a:lnTo>
                  <a:lnTo>
                    <a:pt x="2048" y="2218"/>
                  </a:lnTo>
                  <a:lnTo>
                    <a:pt x="2048" y="2218"/>
                  </a:lnTo>
                  <a:lnTo>
                    <a:pt x="2048" y="2218"/>
                  </a:lnTo>
                  <a:lnTo>
                    <a:pt x="2048" y="2216"/>
                  </a:lnTo>
                  <a:lnTo>
                    <a:pt x="2046" y="2216"/>
                  </a:lnTo>
                  <a:lnTo>
                    <a:pt x="2041" y="2214"/>
                  </a:lnTo>
                  <a:lnTo>
                    <a:pt x="2041" y="2214"/>
                  </a:lnTo>
                  <a:lnTo>
                    <a:pt x="2041" y="2213"/>
                  </a:lnTo>
                  <a:lnTo>
                    <a:pt x="2041" y="2213"/>
                  </a:lnTo>
                  <a:lnTo>
                    <a:pt x="2044" y="2211"/>
                  </a:lnTo>
                  <a:lnTo>
                    <a:pt x="2044" y="2209"/>
                  </a:lnTo>
                  <a:lnTo>
                    <a:pt x="2044" y="2209"/>
                  </a:lnTo>
                  <a:lnTo>
                    <a:pt x="2044" y="2207"/>
                  </a:lnTo>
                  <a:lnTo>
                    <a:pt x="2044" y="2207"/>
                  </a:lnTo>
                  <a:lnTo>
                    <a:pt x="2046" y="2207"/>
                  </a:lnTo>
                  <a:lnTo>
                    <a:pt x="2046" y="2205"/>
                  </a:lnTo>
                  <a:lnTo>
                    <a:pt x="2046" y="2205"/>
                  </a:lnTo>
                  <a:lnTo>
                    <a:pt x="2046" y="2203"/>
                  </a:lnTo>
                  <a:lnTo>
                    <a:pt x="2037" y="2202"/>
                  </a:lnTo>
                  <a:lnTo>
                    <a:pt x="2032" y="2198"/>
                  </a:lnTo>
                  <a:lnTo>
                    <a:pt x="2030" y="2196"/>
                  </a:lnTo>
                  <a:lnTo>
                    <a:pt x="2030" y="2198"/>
                  </a:lnTo>
                  <a:lnTo>
                    <a:pt x="2028" y="2198"/>
                  </a:lnTo>
                  <a:lnTo>
                    <a:pt x="2028" y="2200"/>
                  </a:lnTo>
                  <a:lnTo>
                    <a:pt x="2026" y="2200"/>
                  </a:lnTo>
                  <a:lnTo>
                    <a:pt x="2024" y="2198"/>
                  </a:lnTo>
                  <a:lnTo>
                    <a:pt x="2023" y="2193"/>
                  </a:lnTo>
                  <a:lnTo>
                    <a:pt x="2023" y="2191"/>
                  </a:lnTo>
                  <a:lnTo>
                    <a:pt x="2023" y="2191"/>
                  </a:lnTo>
                  <a:lnTo>
                    <a:pt x="2023" y="2189"/>
                  </a:lnTo>
                  <a:lnTo>
                    <a:pt x="2023" y="2189"/>
                  </a:lnTo>
                  <a:lnTo>
                    <a:pt x="2024" y="2189"/>
                  </a:lnTo>
                  <a:lnTo>
                    <a:pt x="2033" y="2189"/>
                  </a:lnTo>
                  <a:lnTo>
                    <a:pt x="2041" y="2180"/>
                  </a:lnTo>
                  <a:lnTo>
                    <a:pt x="2044" y="2176"/>
                  </a:lnTo>
                  <a:lnTo>
                    <a:pt x="2048" y="2176"/>
                  </a:lnTo>
                  <a:lnTo>
                    <a:pt x="2052" y="2176"/>
                  </a:lnTo>
                  <a:lnTo>
                    <a:pt x="2053" y="2176"/>
                  </a:lnTo>
                  <a:lnTo>
                    <a:pt x="2057" y="2176"/>
                  </a:lnTo>
                  <a:lnTo>
                    <a:pt x="2059" y="2175"/>
                  </a:lnTo>
                  <a:lnTo>
                    <a:pt x="2061" y="2171"/>
                  </a:lnTo>
                  <a:lnTo>
                    <a:pt x="2062" y="2169"/>
                  </a:lnTo>
                  <a:lnTo>
                    <a:pt x="2066" y="2167"/>
                  </a:lnTo>
                  <a:lnTo>
                    <a:pt x="2068" y="2167"/>
                  </a:lnTo>
                  <a:lnTo>
                    <a:pt x="2070" y="2164"/>
                  </a:lnTo>
                  <a:lnTo>
                    <a:pt x="2071" y="2164"/>
                  </a:lnTo>
                  <a:lnTo>
                    <a:pt x="2073" y="2162"/>
                  </a:lnTo>
                  <a:lnTo>
                    <a:pt x="2075" y="2160"/>
                  </a:lnTo>
                  <a:lnTo>
                    <a:pt x="2071" y="2157"/>
                  </a:lnTo>
                  <a:lnTo>
                    <a:pt x="2071" y="2155"/>
                  </a:lnTo>
                  <a:lnTo>
                    <a:pt x="2071" y="2153"/>
                  </a:lnTo>
                  <a:lnTo>
                    <a:pt x="2070" y="2151"/>
                  </a:lnTo>
                  <a:lnTo>
                    <a:pt x="2070" y="2149"/>
                  </a:lnTo>
                  <a:lnTo>
                    <a:pt x="2070" y="2147"/>
                  </a:lnTo>
                  <a:lnTo>
                    <a:pt x="2070" y="2147"/>
                  </a:lnTo>
                  <a:lnTo>
                    <a:pt x="2064" y="2146"/>
                  </a:lnTo>
                  <a:lnTo>
                    <a:pt x="2064" y="2146"/>
                  </a:lnTo>
                  <a:lnTo>
                    <a:pt x="2062" y="2144"/>
                  </a:lnTo>
                  <a:lnTo>
                    <a:pt x="2064" y="2140"/>
                  </a:lnTo>
                  <a:lnTo>
                    <a:pt x="2064" y="2138"/>
                  </a:lnTo>
                  <a:lnTo>
                    <a:pt x="2062" y="2137"/>
                  </a:lnTo>
                  <a:lnTo>
                    <a:pt x="2062" y="2137"/>
                  </a:lnTo>
                  <a:lnTo>
                    <a:pt x="2062" y="2137"/>
                  </a:lnTo>
                  <a:lnTo>
                    <a:pt x="2061" y="2137"/>
                  </a:lnTo>
                  <a:lnTo>
                    <a:pt x="2059" y="2137"/>
                  </a:lnTo>
                  <a:lnTo>
                    <a:pt x="2059" y="2137"/>
                  </a:lnTo>
                  <a:lnTo>
                    <a:pt x="2059" y="2135"/>
                  </a:lnTo>
                  <a:lnTo>
                    <a:pt x="2059" y="2135"/>
                  </a:lnTo>
                  <a:lnTo>
                    <a:pt x="2057" y="2135"/>
                  </a:lnTo>
                  <a:lnTo>
                    <a:pt x="2057" y="2135"/>
                  </a:lnTo>
                  <a:lnTo>
                    <a:pt x="2057" y="2133"/>
                  </a:lnTo>
                  <a:lnTo>
                    <a:pt x="2057" y="2133"/>
                  </a:lnTo>
                  <a:lnTo>
                    <a:pt x="2057" y="2131"/>
                  </a:lnTo>
                  <a:lnTo>
                    <a:pt x="2057" y="2131"/>
                  </a:lnTo>
                  <a:lnTo>
                    <a:pt x="2057" y="2128"/>
                  </a:lnTo>
                  <a:lnTo>
                    <a:pt x="2059" y="2126"/>
                  </a:lnTo>
                  <a:lnTo>
                    <a:pt x="2062" y="2126"/>
                  </a:lnTo>
                  <a:lnTo>
                    <a:pt x="2064" y="2124"/>
                  </a:lnTo>
                  <a:lnTo>
                    <a:pt x="2064" y="2124"/>
                  </a:lnTo>
                  <a:lnTo>
                    <a:pt x="2066" y="2122"/>
                  </a:lnTo>
                  <a:lnTo>
                    <a:pt x="2068" y="2120"/>
                  </a:lnTo>
                  <a:lnTo>
                    <a:pt x="2075" y="2111"/>
                  </a:lnTo>
                  <a:lnTo>
                    <a:pt x="2071" y="2108"/>
                  </a:lnTo>
                  <a:lnTo>
                    <a:pt x="2071" y="2108"/>
                  </a:lnTo>
                  <a:lnTo>
                    <a:pt x="2071" y="2108"/>
                  </a:lnTo>
                  <a:lnTo>
                    <a:pt x="2075" y="2108"/>
                  </a:lnTo>
                  <a:lnTo>
                    <a:pt x="2077" y="2108"/>
                  </a:lnTo>
                  <a:lnTo>
                    <a:pt x="2079" y="2106"/>
                  </a:lnTo>
                  <a:lnTo>
                    <a:pt x="2079" y="2106"/>
                  </a:lnTo>
                  <a:lnTo>
                    <a:pt x="2079" y="2106"/>
                  </a:lnTo>
                  <a:lnTo>
                    <a:pt x="2079" y="2106"/>
                  </a:lnTo>
                  <a:lnTo>
                    <a:pt x="2080" y="2104"/>
                  </a:lnTo>
                  <a:lnTo>
                    <a:pt x="2082" y="2104"/>
                  </a:lnTo>
                  <a:lnTo>
                    <a:pt x="2084" y="2106"/>
                  </a:lnTo>
                  <a:lnTo>
                    <a:pt x="2086" y="2106"/>
                  </a:lnTo>
                  <a:lnTo>
                    <a:pt x="2088" y="2108"/>
                  </a:lnTo>
                  <a:lnTo>
                    <a:pt x="2089" y="2108"/>
                  </a:lnTo>
                  <a:lnTo>
                    <a:pt x="2089" y="2108"/>
                  </a:lnTo>
                  <a:lnTo>
                    <a:pt x="2091" y="2106"/>
                  </a:lnTo>
                  <a:lnTo>
                    <a:pt x="2093" y="2104"/>
                  </a:lnTo>
                  <a:lnTo>
                    <a:pt x="2095" y="2104"/>
                  </a:lnTo>
                  <a:lnTo>
                    <a:pt x="2097" y="2104"/>
                  </a:lnTo>
                  <a:lnTo>
                    <a:pt x="2098" y="2106"/>
                  </a:lnTo>
                  <a:lnTo>
                    <a:pt x="2102" y="2110"/>
                  </a:lnTo>
                  <a:lnTo>
                    <a:pt x="2104" y="2110"/>
                  </a:lnTo>
                  <a:lnTo>
                    <a:pt x="2104" y="2110"/>
                  </a:lnTo>
                  <a:lnTo>
                    <a:pt x="2106" y="2108"/>
                  </a:lnTo>
                  <a:lnTo>
                    <a:pt x="2106" y="2108"/>
                  </a:lnTo>
                  <a:lnTo>
                    <a:pt x="2109" y="2108"/>
                  </a:lnTo>
                  <a:lnTo>
                    <a:pt x="2113" y="2108"/>
                  </a:lnTo>
                  <a:lnTo>
                    <a:pt x="2115" y="2108"/>
                  </a:lnTo>
                  <a:lnTo>
                    <a:pt x="2118" y="2110"/>
                  </a:lnTo>
                  <a:lnTo>
                    <a:pt x="2118" y="2093"/>
                  </a:lnTo>
                  <a:lnTo>
                    <a:pt x="2115" y="2093"/>
                  </a:lnTo>
                  <a:lnTo>
                    <a:pt x="2111" y="2091"/>
                  </a:lnTo>
                  <a:lnTo>
                    <a:pt x="2108" y="2090"/>
                  </a:lnTo>
                  <a:lnTo>
                    <a:pt x="2106" y="2086"/>
                  </a:lnTo>
                  <a:lnTo>
                    <a:pt x="2106" y="2086"/>
                  </a:lnTo>
                  <a:lnTo>
                    <a:pt x="2100" y="2088"/>
                  </a:lnTo>
                  <a:lnTo>
                    <a:pt x="2098" y="2088"/>
                  </a:lnTo>
                  <a:lnTo>
                    <a:pt x="2097" y="2088"/>
                  </a:lnTo>
                  <a:lnTo>
                    <a:pt x="2091" y="2084"/>
                  </a:lnTo>
                  <a:lnTo>
                    <a:pt x="2089" y="2082"/>
                  </a:lnTo>
                  <a:lnTo>
                    <a:pt x="2086" y="2082"/>
                  </a:lnTo>
                  <a:lnTo>
                    <a:pt x="2082" y="2082"/>
                  </a:lnTo>
                  <a:lnTo>
                    <a:pt x="2080" y="2081"/>
                  </a:lnTo>
                  <a:lnTo>
                    <a:pt x="2080" y="2079"/>
                  </a:lnTo>
                  <a:lnTo>
                    <a:pt x="2079" y="2077"/>
                  </a:lnTo>
                  <a:lnTo>
                    <a:pt x="2080" y="2075"/>
                  </a:lnTo>
                  <a:lnTo>
                    <a:pt x="2080" y="2073"/>
                  </a:lnTo>
                  <a:lnTo>
                    <a:pt x="2082" y="2070"/>
                  </a:lnTo>
                  <a:lnTo>
                    <a:pt x="2084" y="2068"/>
                  </a:lnTo>
                  <a:lnTo>
                    <a:pt x="2084" y="2068"/>
                  </a:lnTo>
                  <a:lnTo>
                    <a:pt x="2084" y="2064"/>
                  </a:lnTo>
                  <a:lnTo>
                    <a:pt x="2084" y="2064"/>
                  </a:lnTo>
                  <a:lnTo>
                    <a:pt x="2086" y="2063"/>
                  </a:lnTo>
                  <a:lnTo>
                    <a:pt x="2088" y="2064"/>
                  </a:lnTo>
                  <a:lnTo>
                    <a:pt x="2088" y="2064"/>
                  </a:lnTo>
                  <a:lnTo>
                    <a:pt x="2089" y="2066"/>
                  </a:lnTo>
                  <a:lnTo>
                    <a:pt x="2091" y="2068"/>
                  </a:lnTo>
                  <a:lnTo>
                    <a:pt x="2091" y="2070"/>
                  </a:lnTo>
                  <a:lnTo>
                    <a:pt x="2093" y="2070"/>
                  </a:lnTo>
                  <a:lnTo>
                    <a:pt x="2095" y="2068"/>
                  </a:lnTo>
                  <a:lnTo>
                    <a:pt x="2097" y="2066"/>
                  </a:lnTo>
                  <a:lnTo>
                    <a:pt x="2098" y="2064"/>
                  </a:lnTo>
                  <a:lnTo>
                    <a:pt x="2100" y="2064"/>
                  </a:lnTo>
                  <a:lnTo>
                    <a:pt x="2098" y="2057"/>
                  </a:lnTo>
                  <a:lnTo>
                    <a:pt x="2098" y="2057"/>
                  </a:lnTo>
                  <a:lnTo>
                    <a:pt x="2098" y="2057"/>
                  </a:lnTo>
                  <a:lnTo>
                    <a:pt x="2093" y="2057"/>
                  </a:lnTo>
                  <a:lnTo>
                    <a:pt x="2091" y="2057"/>
                  </a:lnTo>
                  <a:lnTo>
                    <a:pt x="2088" y="2061"/>
                  </a:lnTo>
                  <a:lnTo>
                    <a:pt x="2088" y="2061"/>
                  </a:lnTo>
                  <a:lnTo>
                    <a:pt x="2080" y="2059"/>
                  </a:lnTo>
                  <a:lnTo>
                    <a:pt x="2079" y="2059"/>
                  </a:lnTo>
                  <a:lnTo>
                    <a:pt x="2079" y="2057"/>
                  </a:lnTo>
                  <a:lnTo>
                    <a:pt x="2079" y="2055"/>
                  </a:lnTo>
                  <a:lnTo>
                    <a:pt x="2077" y="2055"/>
                  </a:lnTo>
                  <a:lnTo>
                    <a:pt x="2075" y="2055"/>
                  </a:lnTo>
                  <a:lnTo>
                    <a:pt x="2068" y="2055"/>
                  </a:lnTo>
                  <a:lnTo>
                    <a:pt x="2066" y="2054"/>
                  </a:lnTo>
                  <a:lnTo>
                    <a:pt x="2068" y="2050"/>
                  </a:lnTo>
                  <a:lnTo>
                    <a:pt x="2073" y="2052"/>
                  </a:lnTo>
                  <a:lnTo>
                    <a:pt x="2075" y="2052"/>
                  </a:lnTo>
                  <a:lnTo>
                    <a:pt x="2075" y="2050"/>
                  </a:lnTo>
                  <a:lnTo>
                    <a:pt x="2075" y="2048"/>
                  </a:lnTo>
                  <a:lnTo>
                    <a:pt x="2075" y="2048"/>
                  </a:lnTo>
                  <a:lnTo>
                    <a:pt x="2075" y="2046"/>
                  </a:lnTo>
                  <a:lnTo>
                    <a:pt x="2077" y="2046"/>
                  </a:lnTo>
                  <a:lnTo>
                    <a:pt x="2079" y="2046"/>
                  </a:lnTo>
                  <a:lnTo>
                    <a:pt x="2079" y="2045"/>
                  </a:lnTo>
                  <a:lnTo>
                    <a:pt x="2079" y="2043"/>
                  </a:lnTo>
                  <a:lnTo>
                    <a:pt x="2080" y="2041"/>
                  </a:lnTo>
                  <a:lnTo>
                    <a:pt x="2082" y="2041"/>
                  </a:lnTo>
                  <a:lnTo>
                    <a:pt x="2082" y="2039"/>
                  </a:lnTo>
                  <a:lnTo>
                    <a:pt x="2082" y="2037"/>
                  </a:lnTo>
                  <a:lnTo>
                    <a:pt x="2082" y="2035"/>
                  </a:lnTo>
                  <a:lnTo>
                    <a:pt x="2080" y="2035"/>
                  </a:lnTo>
                  <a:lnTo>
                    <a:pt x="2079" y="2034"/>
                  </a:lnTo>
                  <a:lnTo>
                    <a:pt x="2077" y="2034"/>
                  </a:lnTo>
                  <a:lnTo>
                    <a:pt x="2077" y="2032"/>
                  </a:lnTo>
                  <a:lnTo>
                    <a:pt x="2077" y="2032"/>
                  </a:lnTo>
                  <a:lnTo>
                    <a:pt x="2073" y="2032"/>
                  </a:lnTo>
                  <a:lnTo>
                    <a:pt x="2071" y="2032"/>
                  </a:lnTo>
                  <a:lnTo>
                    <a:pt x="2071" y="2030"/>
                  </a:lnTo>
                  <a:lnTo>
                    <a:pt x="2071" y="2030"/>
                  </a:lnTo>
                  <a:lnTo>
                    <a:pt x="2071" y="2028"/>
                  </a:lnTo>
                  <a:lnTo>
                    <a:pt x="2071" y="2028"/>
                  </a:lnTo>
                  <a:lnTo>
                    <a:pt x="2073" y="2026"/>
                  </a:lnTo>
                  <a:lnTo>
                    <a:pt x="2073" y="2026"/>
                  </a:lnTo>
                  <a:lnTo>
                    <a:pt x="2075" y="2026"/>
                  </a:lnTo>
                  <a:lnTo>
                    <a:pt x="2077" y="2025"/>
                  </a:lnTo>
                  <a:lnTo>
                    <a:pt x="2080" y="2026"/>
                  </a:lnTo>
                  <a:lnTo>
                    <a:pt x="2080" y="2026"/>
                  </a:lnTo>
                  <a:lnTo>
                    <a:pt x="2080" y="2026"/>
                  </a:lnTo>
                  <a:lnTo>
                    <a:pt x="2080" y="2028"/>
                  </a:lnTo>
                  <a:lnTo>
                    <a:pt x="2082" y="2028"/>
                  </a:lnTo>
                  <a:lnTo>
                    <a:pt x="2082" y="2030"/>
                  </a:lnTo>
                  <a:lnTo>
                    <a:pt x="2084" y="2030"/>
                  </a:lnTo>
                  <a:lnTo>
                    <a:pt x="2084" y="2028"/>
                  </a:lnTo>
                  <a:lnTo>
                    <a:pt x="2084" y="2026"/>
                  </a:lnTo>
                  <a:lnTo>
                    <a:pt x="2084" y="2025"/>
                  </a:lnTo>
                  <a:lnTo>
                    <a:pt x="2082" y="2023"/>
                  </a:lnTo>
                  <a:lnTo>
                    <a:pt x="2082" y="2021"/>
                  </a:lnTo>
                  <a:lnTo>
                    <a:pt x="2082" y="2021"/>
                  </a:lnTo>
                  <a:lnTo>
                    <a:pt x="2086" y="2019"/>
                  </a:lnTo>
                  <a:lnTo>
                    <a:pt x="2086" y="2019"/>
                  </a:lnTo>
                  <a:close/>
                  <a:moveTo>
                    <a:pt x="1743" y="444"/>
                  </a:moveTo>
                  <a:lnTo>
                    <a:pt x="1741" y="442"/>
                  </a:lnTo>
                  <a:lnTo>
                    <a:pt x="1736" y="439"/>
                  </a:lnTo>
                  <a:lnTo>
                    <a:pt x="1734" y="439"/>
                  </a:lnTo>
                  <a:lnTo>
                    <a:pt x="1734" y="439"/>
                  </a:lnTo>
                  <a:lnTo>
                    <a:pt x="1732" y="439"/>
                  </a:lnTo>
                  <a:lnTo>
                    <a:pt x="1732" y="439"/>
                  </a:lnTo>
                  <a:lnTo>
                    <a:pt x="1732" y="441"/>
                  </a:lnTo>
                  <a:lnTo>
                    <a:pt x="1734" y="441"/>
                  </a:lnTo>
                  <a:lnTo>
                    <a:pt x="1734" y="442"/>
                  </a:lnTo>
                  <a:lnTo>
                    <a:pt x="1741" y="444"/>
                  </a:lnTo>
                  <a:lnTo>
                    <a:pt x="1743" y="444"/>
                  </a:lnTo>
                  <a:close/>
                  <a:moveTo>
                    <a:pt x="1020" y="957"/>
                  </a:moveTo>
                  <a:lnTo>
                    <a:pt x="1019" y="957"/>
                  </a:lnTo>
                  <a:lnTo>
                    <a:pt x="1019" y="959"/>
                  </a:lnTo>
                  <a:lnTo>
                    <a:pt x="1020" y="959"/>
                  </a:lnTo>
                  <a:lnTo>
                    <a:pt x="1022" y="957"/>
                  </a:lnTo>
                  <a:lnTo>
                    <a:pt x="1020" y="957"/>
                  </a:lnTo>
                  <a:close/>
                  <a:moveTo>
                    <a:pt x="1029" y="959"/>
                  </a:moveTo>
                  <a:lnTo>
                    <a:pt x="1031" y="959"/>
                  </a:lnTo>
                  <a:lnTo>
                    <a:pt x="1031" y="961"/>
                  </a:lnTo>
                  <a:lnTo>
                    <a:pt x="1035" y="963"/>
                  </a:lnTo>
                  <a:lnTo>
                    <a:pt x="1037" y="966"/>
                  </a:lnTo>
                  <a:lnTo>
                    <a:pt x="1037" y="968"/>
                  </a:lnTo>
                  <a:lnTo>
                    <a:pt x="1038" y="970"/>
                  </a:lnTo>
                  <a:lnTo>
                    <a:pt x="1040" y="972"/>
                  </a:lnTo>
                  <a:lnTo>
                    <a:pt x="1042" y="970"/>
                  </a:lnTo>
                  <a:lnTo>
                    <a:pt x="1042" y="970"/>
                  </a:lnTo>
                  <a:lnTo>
                    <a:pt x="1042" y="968"/>
                  </a:lnTo>
                  <a:lnTo>
                    <a:pt x="1042" y="966"/>
                  </a:lnTo>
                  <a:lnTo>
                    <a:pt x="1042" y="961"/>
                  </a:lnTo>
                  <a:lnTo>
                    <a:pt x="1040" y="959"/>
                  </a:lnTo>
                  <a:lnTo>
                    <a:pt x="1040" y="955"/>
                  </a:lnTo>
                  <a:lnTo>
                    <a:pt x="1038" y="954"/>
                  </a:lnTo>
                  <a:lnTo>
                    <a:pt x="1033" y="952"/>
                  </a:lnTo>
                  <a:lnTo>
                    <a:pt x="1028" y="954"/>
                  </a:lnTo>
                  <a:lnTo>
                    <a:pt x="1024" y="954"/>
                  </a:lnTo>
                  <a:lnTo>
                    <a:pt x="1024" y="955"/>
                  </a:lnTo>
                  <a:lnTo>
                    <a:pt x="1026" y="955"/>
                  </a:lnTo>
                  <a:lnTo>
                    <a:pt x="1029" y="959"/>
                  </a:lnTo>
                  <a:close/>
                  <a:moveTo>
                    <a:pt x="1716" y="502"/>
                  </a:moveTo>
                  <a:lnTo>
                    <a:pt x="1716" y="504"/>
                  </a:lnTo>
                  <a:lnTo>
                    <a:pt x="1716" y="504"/>
                  </a:lnTo>
                  <a:lnTo>
                    <a:pt x="1716" y="506"/>
                  </a:lnTo>
                  <a:lnTo>
                    <a:pt x="1716" y="506"/>
                  </a:lnTo>
                  <a:lnTo>
                    <a:pt x="1716" y="507"/>
                  </a:lnTo>
                  <a:lnTo>
                    <a:pt x="1716" y="509"/>
                  </a:lnTo>
                  <a:lnTo>
                    <a:pt x="1717" y="511"/>
                  </a:lnTo>
                  <a:lnTo>
                    <a:pt x="1717" y="511"/>
                  </a:lnTo>
                  <a:lnTo>
                    <a:pt x="1721" y="511"/>
                  </a:lnTo>
                  <a:lnTo>
                    <a:pt x="1721" y="507"/>
                  </a:lnTo>
                  <a:lnTo>
                    <a:pt x="1721" y="504"/>
                  </a:lnTo>
                  <a:lnTo>
                    <a:pt x="1721" y="502"/>
                  </a:lnTo>
                  <a:lnTo>
                    <a:pt x="1717" y="502"/>
                  </a:lnTo>
                  <a:lnTo>
                    <a:pt x="1716" y="502"/>
                  </a:lnTo>
                  <a:close/>
                  <a:moveTo>
                    <a:pt x="415" y="1470"/>
                  </a:moveTo>
                  <a:lnTo>
                    <a:pt x="415" y="1470"/>
                  </a:lnTo>
                  <a:lnTo>
                    <a:pt x="415" y="1470"/>
                  </a:lnTo>
                  <a:lnTo>
                    <a:pt x="415" y="1468"/>
                  </a:lnTo>
                  <a:lnTo>
                    <a:pt x="414" y="1468"/>
                  </a:lnTo>
                  <a:lnTo>
                    <a:pt x="414" y="1466"/>
                  </a:lnTo>
                  <a:lnTo>
                    <a:pt x="412" y="1466"/>
                  </a:lnTo>
                  <a:lnTo>
                    <a:pt x="412" y="1468"/>
                  </a:lnTo>
                  <a:lnTo>
                    <a:pt x="412" y="1468"/>
                  </a:lnTo>
                  <a:lnTo>
                    <a:pt x="412" y="1470"/>
                  </a:lnTo>
                  <a:lnTo>
                    <a:pt x="412" y="1470"/>
                  </a:lnTo>
                  <a:lnTo>
                    <a:pt x="412" y="1472"/>
                  </a:lnTo>
                  <a:lnTo>
                    <a:pt x="415" y="1470"/>
                  </a:lnTo>
                  <a:close/>
                  <a:moveTo>
                    <a:pt x="1414" y="2787"/>
                  </a:moveTo>
                  <a:lnTo>
                    <a:pt x="1412" y="2787"/>
                  </a:lnTo>
                  <a:lnTo>
                    <a:pt x="1410" y="2787"/>
                  </a:lnTo>
                  <a:lnTo>
                    <a:pt x="1405" y="2787"/>
                  </a:lnTo>
                  <a:lnTo>
                    <a:pt x="1403" y="2787"/>
                  </a:lnTo>
                  <a:lnTo>
                    <a:pt x="1403" y="2789"/>
                  </a:lnTo>
                  <a:lnTo>
                    <a:pt x="1403" y="2789"/>
                  </a:lnTo>
                  <a:lnTo>
                    <a:pt x="1403" y="2791"/>
                  </a:lnTo>
                  <a:lnTo>
                    <a:pt x="1405" y="2791"/>
                  </a:lnTo>
                  <a:lnTo>
                    <a:pt x="1405" y="2791"/>
                  </a:lnTo>
                  <a:lnTo>
                    <a:pt x="1407" y="2791"/>
                  </a:lnTo>
                  <a:lnTo>
                    <a:pt x="1407" y="2791"/>
                  </a:lnTo>
                  <a:lnTo>
                    <a:pt x="1407" y="2791"/>
                  </a:lnTo>
                  <a:lnTo>
                    <a:pt x="1407" y="2791"/>
                  </a:lnTo>
                  <a:lnTo>
                    <a:pt x="1409" y="2791"/>
                  </a:lnTo>
                  <a:lnTo>
                    <a:pt x="1410" y="2791"/>
                  </a:lnTo>
                  <a:lnTo>
                    <a:pt x="1416" y="2787"/>
                  </a:lnTo>
                  <a:lnTo>
                    <a:pt x="1416" y="2787"/>
                  </a:lnTo>
                  <a:lnTo>
                    <a:pt x="1416" y="2787"/>
                  </a:lnTo>
                  <a:lnTo>
                    <a:pt x="1414" y="2787"/>
                  </a:lnTo>
                  <a:lnTo>
                    <a:pt x="1414" y="2787"/>
                  </a:lnTo>
                  <a:close/>
                  <a:moveTo>
                    <a:pt x="1418" y="2675"/>
                  </a:moveTo>
                  <a:lnTo>
                    <a:pt x="1418" y="2677"/>
                  </a:lnTo>
                  <a:lnTo>
                    <a:pt x="1418" y="2679"/>
                  </a:lnTo>
                  <a:lnTo>
                    <a:pt x="1420" y="2680"/>
                  </a:lnTo>
                  <a:lnTo>
                    <a:pt x="1420" y="2682"/>
                  </a:lnTo>
                  <a:lnTo>
                    <a:pt x="1421" y="2684"/>
                  </a:lnTo>
                  <a:lnTo>
                    <a:pt x="1421" y="2684"/>
                  </a:lnTo>
                  <a:lnTo>
                    <a:pt x="1421" y="2684"/>
                  </a:lnTo>
                  <a:lnTo>
                    <a:pt x="1421" y="2684"/>
                  </a:lnTo>
                  <a:lnTo>
                    <a:pt x="1421" y="2684"/>
                  </a:lnTo>
                  <a:lnTo>
                    <a:pt x="1421" y="2684"/>
                  </a:lnTo>
                  <a:lnTo>
                    <a:pt x="1421" y="2684"/>
                  </a:lnTo>
                  <a:lnTo>
                    <a:pt x="1421" y="2680"/>
                  </a:lnTo>
                  <a:lnTo>
                    <a:pt x="1421" y="2679"/>
                  </a:lnTo>
                  <a:lnTo>
                    <a:pt x="1421" y="2677"/>
                  </a:lnTo>
                  <a:lnTo>
                    <a:pt x="1421" y="2677"/>
                  </a:lnTo>
                  <a:lnTo>
                    <a:pt x="1421" y="2675"/>
                  </a:lnTo>
                  <a:lnTo>
                    <a:pt x="1420" y="2673"/>
                  </a:lnTo>
                  <a:lnTo>
                    <a:pt x="1420" y="2671"/>
                  </a:lnTo>
                  <a:lnTo>
                    <a:pt x="1420" y="2671"/>
                  </a:lnTo>
                  <a:lnTo>
                    <a:pt x="1420" y="2669"/>
                  </a:lnTo>
                  <a:lnTo>
                    <a:pt x="1420" y="2671"/>
                  </a:lnTo>
                  <a:lnTo>
                    <a:pt x="1420" y="2671"/>
                  </a:lnTo>
                  <a:lnTo>
                    <a:pt x="1418" y="2671"/>
                  </a:lnTo>
                  <a:lnTo>
                    <a:pt x="1418" y="2671"/>
                  </a:lnTo>
                  <a:lnTo>
                    <a:pt x="1418" y="2671"/>
                  </a:lnTo>
                  <a:lnTo>
                    <a:pt x="1418" y="2673"/>
                  </a:lnTo>
                  <a:lnTo>
                    <a:pt x="1418" y="2675"/>
                  </a:lnTo>
                  <a:lnTo>
                    <a:pt x="1418" y="2675"/>
                  </a:lnTo>
                  <a:close/>
                  <a:moveTo>
                    <a:pt x="807" y="926"/>
                  </a:moveTo>
                  <a:lnTo>
                    <a:pt x="807" y="928"/>
                  </a:lnTo>
                  <a:lnTo>
                    <a:pt x="807" y="930"/>
                  </a:lnTo>
                  <a:lnTo>
                    <a:pt x="809" y="932"/>
                  </a:lnTo>
                  <a:lnTo>
                    <a:pt x="809" y="932"/>
                  </a:lnTo>
                  <a:lnTo>
                    <a:pt x="811" y="930"/>
                  </a:lnTo>
                  <a:lnTo>
                    <a:pt x="813" y="928"/>
                  </a:lnTo>
                  <a:lnTo>
                    <a:pt x="813" y="928"/>
                  </a:lnTo>
                  <a:lnTo>
                    <a:pt x="815" y="926"/>
                  </a:lnTo>
                  <a:lnTo>
                    <a:pt x="815" y="926"/>
                  </a:lnTo>
                  <a:lnTo>
                    <a:pt x="815" y="926"/>
                  </a:lnTo>
                  <a:lnTo>
                    <a:pt x="815" y="923"/>
                  </a:lnTo>
                  <a:lnTo>
                    <a:pt x="815" y="921"/>
                  </a:lnTo>
                  <a:lnTo>
                    <a:pt x="813" y="921"/>
                  </a:lnTo>
                  <a:lnTo>
                    <a:pt x="811" y="919"/>
                  </a:lnTo>
                  <a:lnTo>
                    <a:pt x="811" y="919"/>
                  </a:lnTo>
                  <a:lnTo>
                    <a:pt x="811" y="919"/>
                  </a:lnTo>
                  <a:lnTo>
                    <a:pt x="811" y="917"/>
                  </a:lnTo>
                  <a:lnTo>
                    <a:pt x="811" y="916"/>
                  </a:lnTo>
                  <a:lnTo>
                    <a:pt x="811" y="914"/>
                  </a:lnTo>
                  <a:lnTo>
                    <a:pt x="811" y="914"/>
                  </a:lnTo>
                  <a:lnTo>
                    <a:pt x="813" y="916"/>
                  </a:lnTo>
                  <a:lnTo>
                    <a:pt x="813" y="916"/>
                  </a:lnTo>
                  <a:lnTo>
                    <a:pt x="813" y="919"/>
                  </a:lnTo>
                  <a:lnTo>
                    <a:pt x="815" y="919"/>
                  </a:lnTo>
                  <a:lnTo>
                    <a:pt x="815" y="917"/>
                  </a:lnTo>
                  <a:lnTo>
                    <a:pt x="815" y="917"/>
                  </a:lnTo>
                  <a:lnTo>
                    <a:pt x="813" y="912"/>
                  </a:lnTo>
                  <a:lnTo>
                    <a:pt x="813" y="908"/>
                  </a:lnTo>
                  <a:lnTo>
                    <a:pt x="811" y="907"/>
                  </a:lnTo>
                  <a:lnTo>
                    <a:pt x="807" y="907"/>
                  </a:lnTo>
                  <a:lnTo>
                    <a:pt x="806" y="907"/>
                  </a:lnTo>
                  <a:lnTo>
                    <a:pt x="804" y="907"/>
                  </a:lnTo>
                  <a:lnTo>
                    <a:pt x="804" y="908"/>
                  </a:lnTo>
                  <a:lnTo>
                    <a:pt x="802" y="908"/>
                  </a:lnTo>
                  <a:lnTo>
                    <a:pt x="800" y="910"/>
                  </a:lnTo>
                  <a:lnTo>
                    <a:pt x="798" y="910"/>
                  </a:lnTo>
                  <a:lnTo>
                    <a:pt x="796" y="912"/>
                  </a:lnTo>
                  <a:lnTo>
                    <a:pt x="796" y="916"/>
                  </a:lnTo>
                  <a:lnTo>
                    <a:pt x="798" y="917"/>
                  </a:lnTo>
                  <a:lnTo>
                    <a:pt x="800" y="921"/>
                  </a:lnTo>
                  <a:lnTo>
                    <a:pt x="802" y="923"/>
                  </a:lnTo>
                  <a:lnTo>
                    <a:pt x="804" y="923"/>
                  </a:lnTo>
                  <a:lnTo>
                    <a:pt x="806" y="923"/>
                  </a:lnTo>
                  <a:lnTo>
                    <a:pt x="807" y="923"/>
                  </a:lnTo>
                  <a:lnTo>
                    <a:pt x="807" y="925"/>
                  </a:lnTo>
                  <a:lnTo>
                    <a:pt x="807" y="925"/>
                  </a:lnTo>
                  <a:lnTo>
                    <a:pt x="807" y="926"/>
                  </a:lnTo>
                  <a:close/>
                  <a:moveTo>
                    <a:pt x="444" y="1436"/>
                  </a:moveTo>
                  <a:lnTo>
                    <a:pt x="444" y="1436"/>
                  </a:lnTo>
                  <a:lnTo>
                    <a:pt x="444" y="1436"/>
                  </a:lnTo>
                  <a:lnTo>
                    <a:pt x="444" y="1436"/>
                  </a:lnTo>
                  <a:lnTo>
                    <a:pt x="444" y="1438"/>
                  </a:lnTo>
                  <a:lnTo>
                    <a:pt x="446" y="1439"/>
                  </a:lnTo>
                  <a:lnTo>
                    <a:pt x="446" y="1438"/>
                  </a:lnTo>
                  <a:lnTo>
                    <a:pt x="448" y="1438"/>
                  </a:lnTo>
                  <a:lnTo>
                    <a:pt x="448" y="1436"/>
                  </a:lnTo>
                  <a:lnTo>
                    <a:pt x="446" y="1436"/>
                  </a:lnTo>
                  <a:lnTo>
                    <a:pt x="446" y="1436"/>
                  </a:lnTo>
                  <a:lnTo>
                    <a:pt x="446" y="1436"/>
                  </a:lnTo>
                  <a:lnTo>
                    <a:pt x="446" y="1436"/>
                  </a:lnTo>
                  <a:lnTo>
                    <a:pt x="446" y="1434"/>
                  </a:lnTo>
                  <a:lnTo>
                    <a:pt x="444" y="1434"/>
                  </a:lnTo>
                  <a:lnTo>
                    <a:pt x="444" y="1432"/>
                  </a:lnTo>
                  <a:lnTo>
                    <a:pt x="444" y="1432"/>
                  </a:lnTo>
                  <a:lnTo>
                    <a:pt x="443" y="1432"/>
                  </a:lnTo>
                  <a:lnTo>
                    <a:pt x="443" y="1434"/>
                  </a:lnTo>
                  <a:lnTo>
                    <a:pt x="443" y="1436"/>
                  </a:lnTo>
                  <a:lnTo>
                    <a:pt x="444" y="1436"/>
                  </a:lnTo>
                  <a:close/>
                  <a:moveTo>
                    <a:pt x="452" y="1412"/>
                  </a:moveTo>
                  <a:lnTo>
                    <a:pt x="453" y="1409"/>
                  </a:lnTo>
                  <a:lnTo>
                    <a:pt x="453" y="1407"/>
                  </a:lnTo>
                  <a:lnTo>
                    <a:pt x="452" y="1407"/>
                  </a:lnTo>
                  <a:lnTo>
                    <a:pt x="452" y="1405"/>
                  </a:lnTo>
                  <a:lnTo>
                    <a:pt x="452" y="1405"/>
                  </a:lnTo>
                  <a:lnTo>
                    <a:pt x="450" y="1405"/>
                  </a:lnTo>
                  <a:lnTo>
                    <a:pt x="450" y="1405"/>
                  </a:lnTo>
                  <a:lnTo>
                    <a:pt x="450" y="1407"/>
                  </a:lnTo>
                  <a:lnTo>
                    <a:pt x="448" y="1409"/>
                  </a:lnTo>
                  <a:lnTo>
                    <a:pt x="450" y="1410"/>
                  </a:lnTo>
                  <a:lnTo>
                    <a:pt x="450" y="1410"/>
                  </a:lnTo>
                  <a:lnTo>
                    <a:pt x="452" y="1412"/>
                  </a:lnTo>
                  <a:close/>
                  <a:moveTo>
                    <a:pt x="508" y="1470"/>
                  </a:moveTo>
                  <a:lnTo>
                    <a:pt x="508" y="1470"/>
                  </a:lnTo>
                  <a:lnTo>
                    <a:pt x="511" y="1472"/>
                  </a:lnTo>
                  <a:lnTo>
                    <a:pt x="511" y="1472"/>
                  </a:lnTo>
                  <a:lnTo>
                    <a:pt x="511" y="1472"/>
                  </a:lnTo>
                  <a:lnTo>
                    <a:pt x="511" y="1472"/>
                  </a:lnTo>
                  <a:lnTo>
                    <a:pt x="511" y="1470"/>
                  </a:lnTo>
                  <a:lnTo>
                    <a:pt x="511" y="1470"/>
                  </a:lnTo>
                  <a:lnTo>
                    <a:pt x="511" y="1470"/>
                  </a:lnTo>
                  <a:lnTo>
                    <a:pt x="508" y="1468"/>
                  </a:lnTo>
                  <a:lnTo>
                    <a:pt x="504" y="1466"/>
                  </a:lnTo>
                  <a:lnTo>
                    <a:pt x="504" y="1466"/>
                  </a:lnTo>
                  <a:lnTo>
                    <a:pt x="506" y="1468"/>
                  </a:lnTo>
                  <a:lnTo>
                    <a:pt x="508" y="1470"/>
                  </a:lnTo>
                  <a:lnTo>
                    <a:pt x="508" y="1470"/>
                  </a:lnTo>
                  <a:close/>
                  <a:moveTo>
                    <a:pt x="457" y="1441"/>
                  </a:moveTo>
                  <a:lnTo>
                    <a:pt x="457" y="1441"/>
                  </a:lnTo>
                  <a:lnTo>
                    <a:pt x="457" y="1441"/>
                  </a:lnTo>
                  <a:lnTo>
                    <a:pt x="457" y="1439"/>
                  </a:lnTo>
                  <a:lnTo>
                    <a:pt x="455" y="1439"/>
                  </a:lnTo>
                  <a:lnTo>
                    <a:pt x="452" y="1436"/>
                  </a:lnTo>
                  <a:lnTo>
                    <a:pt x="452" y="1436"/>
                  </a:lnTo>
                  <a:lnTo>
                    <a:pt x="452" y="1436"/>
                  </a:lnTo>
                  <a:lnTo>
                    <a:pt x="450" y="1436"/>
                  </a:lnTo>
                  <a:lnTo>
                    <a:pt x="450" y="1436"/>
                  </a:lnTo>
                  <a:lnTo>
                    <a:pt x="450" y="1434"/>
                  </a:lnTo>
                  <a:lnTo>
                    <a:pt x="450" y="1434"/>
                  </a:lnTo>
                  <a:lnTo>
                    <a:pt x="450" y="1436"/>
                  </a:lnTo>
                  <a:lnTo>
                    <a:pt x="448" y="1436"/>
                  </a:lnTo>
                  <a:lnTo>
                    <a:pt x="448" y="1434"/>
                  </a:lnTo>
                  <a:lnTo>
                    <a:pt x="448" y="1436"/>
                  </a:lnTo>
                  <a:lnTo>
                    <a:pt x="448" y="1436"/>
                  </a:lnTo>
                  <a:lnTo>
                    <a:pt x="448" y="1436"/>
                  </a:lnTo>
                  <a:lnTo>
                    <a:pt x="448" y="1438"/>
                  </a:lnTo>
                  <a:lnTo>
                    <a:pt x="448" y="1438"/>
                  </a:lnTo>
                  <a:lnTo>
                    <a:pt x="448" y="1439"/>
                  </a:lnTo>
                  <a:lnTo>
                    <a:pt x="450" y="1441"/>
                  </a:lnTo>
                  <a:lnTo>
                    <a:pt x="452" y="1443"/>
                  </a:lnTo>
                  <a:lnTo>
                    <a:pt x="453" y="1443"/>
                  </a:lnTo>
                  <a:lnTo>
                    <a:pt x="453" y="1443"/>
                  </a:lnTo>
                  <a:lnTo>
                    <a:pt x="455" y="1443"/>
                  </a:lnTo>
                  <a:lnTo>
                    <a:pt x="455" y="1443"/>
                  </a:lnTo>
                  <a:lnTo>
                    <a:pt x="455" y="1443"/>
                  </a:lnTo>
                  <a:lnTo>
                    <a:pt x="455" y="1443"/>
                  </a:lnTo>
                  <a:lnTo>
                    <a:pt x="457" y="1441"/>
                  </a:lnTo>
                  <a:lnTo>
                    <a:pt x="457" y="1441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E5552F71-F94D-51DB-1EB6-5E210BAC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838" y="4214813"/>
              <a:ext cx="750888" cy="527050"/>
            </a:xfrm>
            <a:custGeom>
              <a:avLst/>
              <a:gdLst>
                <a:gd name="T0" fmla="*/ 467 w 473"/>
                <a:gd name="T1" fmla="*/ 210 h 332"/>
                <a:gd name="T2" fmla="*/ 446 w 473"/>
                <a:gd name="T3" fmla="*/ 211 h 332"/>
                <a:gd name="T4" fmla="*/ 429 w 473"/>
                <a:gd name="T5" fmla="*/ 215 h 332"/>
                <a:gd name="T6" fmla="*/ 404 w 473"/>
                <a:gd name="T7" fmla="*/ 215 h 332"/>
                <a:gd name="T8" fmla="*/ 393 w 473"/>
                <a:gd name="T9" fmla="*/ 195 h 332"/>
                <a:gd name="T10" fmla="*/ 393 w 473"/>
                <a:gd name="T11" fmla="*/ 173 h 332"/>
                <a:gd name="T12" fmla="*/ 395 w 473"/>
                <a:gd name="T13" fmla="*/ 154 h 332"/>
                <a:gd name="T14" fmla="*/ 397 w 473"/>
                <a:gd name="T15" fmla="*/ 143 h 332"/>
                <a:gd name="T16" fmla="*/ 399 w 473"/>
                <a:gd name="T17" fmla="*/ 128 h 332"/>
                <a:gd name="T18" fmla="*/ 393 w 473"/>
                <a:gd name="T19" fmla="*/ 103 h 332"/>
                <a:gd name="T20" fmla="*/ 381 w 473"/>
                <a:gd name="T21" fmla="*/ 87 h 332"/>
                <a:gd name="T22" fmla="*/ 372 w 473"/>
                <a:gd name="T23" fmla="*/ 74 h 332"/>
                <a:gd name="T24" fmla="*/ 364 w 473"/>
                <a:gd name="T25" fmla="*/ 60 h 332"/>
                <a:gd name="T26" fmla="*/ 359 w 473"/>
                <a:gd name="T27" fmla="*/ 52 h 332"/>
                <a:gd name="T28" fmla="*/ 350 w 473"/>
                <a:gd name="T29" fmla="*/ 34 h 332"/>
                <a:gd name="T30" fmla="*/ 345 w 473"/>
                <a:gd name="T31" fmla="*/ 22 h 332"/>
                <a:gd name="T32" fmla="*/ 339 w 473"/>
                <a:gd name="T33" fmla="*/ 11 h 332"/>
                <a:gd name="T34" fmla="*/ 330 w 473"/>
                <a:gd name="T35" fmla="*/ 4 h 332"/>
                <a:gd name="T36" fmla="*/ 303 w 473"/>
                <a:gd name="T37" fmla="*/ 5 h 332"/>
                <a:gd name="T38" fmla="*/ 276 w 473"/>
                <a:gd name="T39" fmla="*/ 25 h 332"/>
                <a:gd name="T40" fmla="*/ 220 w 473"/>
                <a:gd name="T41" fmla="*/ 31 h 332"/>
                <a:gd name="T42" fmla="*/ 193 w 473"/>
                <a:gd name="T43" fmla="*/ 25 h 332"/>
                <a:gd name="T44" fmla="*/ 162 w 473"/>
                <a:gd name="T45" fmla="*/ 22 h 332"/>
                <a:gd name="T46" fmla="*/ 144 w 473"/>
                <a:gd name="T47" fmla="*/ 13 h 332"/>
                <a:gd name="T48" fmla="*/ 128 w 473"/>
                <a:gd name="T49" fmla="*/ 29 h 332"/>
                <a:gd name="T50" fmla="*/ 108 w 473"/>
                <a:gd name="T51" fmla="*/ 40 h 332"/>
                <a:gd name="T52" fmla="*/ 95 w 473"/>
                <a:gd name="T53" fmla="*/ 51 h 332"/>
                <a:gd name="T54" fmla="*/ 79 w 473"/>
                <a:gd name="T55" fmla="*/ 78 h 332"/>
                <a:gd name="T56" fmla="*/ 70 w 473"/>
                <a:gd name="T57" fmla="*/ 94 h 332"/>
                <a:gd name="T58" fmla="*/ 63 w 473"/>
                <a:gd name="T59" fmla="*/ 108 h 332"/>
                <a:gd name="T60" fmla="*/ 54 w 473"/>
                <a:gd name="T61" fmla="*/ 123 h 332"/>
                <a:gd name="T62" fmla="*/ 45 w 473"/>
                <a:gd name="T63" fmla="*/ 146 h 332"/>
                <a:gd name="T64" fmla="*/ 29 w 473"/>
                <a:gd name="T65" fmla="*/ 148 h 332"/>
                <a:gd name="T66" fmla="*/ 18 w 473"/>
                <a:gd name="T67" fmla="*/ 157 h 332"/>
                <a:gd name="T68" fmla="*/ 14 w 473"/>
                <a:gd name="T69" fmla="*/ 173 h 332"/>
                <a:gd name="T70" fmla="*/ 25 w 473"/>
                <a:gd name="T71" fmla="*/ 184 h 332"/>
                <a:gd name="T72" fmla="*/ 27 w 473"/>
                <a:gd name="T73" fmla="*/ 204 h 332"/>
                <a:gd name="T74" fmla="*/ 48 w 473"/>
                <a:gd name="T75" fmla="*/ 220 h 332"/>
                <a:gd name="T76" fmla="*/ 59 w 473"/>
                <a:gd name="T77" fmla="*/ 233 h 332"/>
                <a:gd name="T78" fmla="*/ 57 w 473"/>
                <a:gd name="T79" fmla="*/ 242 h 332"/>
                <a:gd name="T80" fmla="*/ 57 w 473"/>
                <a:gd name="T81" fmla="*/ 253 h 332"/>
                <a:gd name="T82" fmla="*/ 90 w 473"/>
                <a:gd name="T83" fmla="*/ 266 h 332"/>
                <a:gd name="T84" fmla="*/ 108 w 473"/>
                <a:gd name="T85" fmla="*/ 258 h 332"/>
                <a:gd name="T86" fmla="*/ 117 w 473"/>
                <a:gd name="T87" fmla="*/ 269 h 332"/>
                <a:gd name="T88" fmla="*/ 115 w 473"/>
                <a:gd name="T89" fmla="*/ 284 h 332"/>
                <a:gd name="T90" fmla="*/ 133 w 473"/>
                <a:gd name="T91" fmla="*/ 309 h 332"/>
                <a:gd name="T92" fmla="*/ 175 w 473"/>
                <a:gd name="T93" fmla="*/ 320 h 332"/>
                <a:gd name="T94" fmla="*/ 254 w 473"/>
                <a:gd name="T95" fmla="*/ 331 h 332"/>
                <a:gd name="T96" fmla="*/ 278 w 473"/>
                <a:gd name="T97" fmla="*/ 325 h 332"/>
                <a:gd name="T98" fmla="*/ 323 w 473"/>
                <a:gd name="T99" fmla="*/ 302 h 332"/>
                <a:gd name="T100" fmla="*/ 366 w 473"/>
                <a:gd name="T101" fmla="*/ 307 h 332"/>
                <a:gd name="T102" fmla="*/ 417 w 473"/>
                <a:gd name="T103" fmla="*/ 323 h 332"/>
                <a:gd name="T104" fmla="*/ 420 w 473"/>
                <a:gd name="T105" fmla="*/ 296 h 332"/>
                <a:gd name="T106" fmla="*/ 433 w 473"/>
                <a:gd name="T107" fmla="*/ 267 h 332"/>
                <a:gd name="T108" fmla="*/ 426 w 473"/>
                <a:gd name="T109" fmla="*/ 269 h 332"/>
                <a:gd name="T110" fmla="*/ 426 w 473"/>
                <a:gd name="T111" fmla="*/ 266 h 332"/>
                <a:gd name="T112" fmla="*/ 437 w 473"/>
                <a:gd name="T113" fmla="*/ 264 h 332"/>
                <a:gd name="T114" fmla="*/ 428 w 473"/>
                <a:gd name="T115" fmla="*/ 258 h 332"/>
                <a:gd name="T116" fmla="*/ 431 w 473"/>
                <a:gd name="T117" fmla="*/ 247 h 332"/>
                <a:gd name="T118" fmla="*/ 437 w 473"/>
                <a:gd name="T119" fmla="*/ 237 h 332"/>
                <a:gd name="T120" fmla="*/ 446 w 473"/>
                <a:gd name="T121" fmla="*/ 249 h 332"/>
                <a:gd name="T122" fmla="*/ 464 w 473"/>
                <a:gd name="T123" fmla="*/ 251 h 332"/>
                <a:gd name="T124" fmla="*/ 471 w 473"/>
                <a:gd name="T125" fmla="*/ 22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73" h="332">
                  <a:moveTo>
                    <a:pt x="471" y="228"/>
                  </a:moveTo>
                  <a:lnTo>
                    <a:pt x="471" y="226"/>
                  </a:lnTo>
                  <a:lnTo>
                    <a:pt x="469" y="224"/>
                  </a:lnTo>
                  <a:lnTo>
                    <a:pt x="469" y="224"/>
                  </a:lnTo>
                  <a:lnTo>
                    <a:pt x="469" y="222"/>
                  </a:lnTo>
                  <a:lnTo>
                    <a:pt x="471" y="222"/>
                  </a:lnTo>
                  <a:lnTo>
                    <a:pt x="471" y="222"/>
                  </a:lnTo>
                  <a:lnTo>
                    <a:pt x="471" y="222"/>
                  </a:lnTo>
                  <a:lnTo>
                    <a:pt x="471" y="222"/>
                  </a:lnTo>
                  <a:lnTo>
                    <a:pt x="471" y="222"/>
                  </a:lnTo>
                  <a:lnTo>
                    <a:pt x="471" y="222"/>
                  </a:lnTo>
                  <a:lnTo>
                    <a:pt x="471" y="222"/>
                  </a:lnTo>
                  <a:lnTo>
                    <a:pt x="471" y="220"/>
                  </a:lnTo>
                  <a:lnTo>
                    <a:pt x="471" y="219"/>
                  </a:lnTo>
                  <a:lnTo>
                    <a:pt x="471" y="217"/>
                  </a:lnTo>
                  <a:lnTo>
                    <a:pt x="471" y="213"/>
                  </a:lnTo>
                  <a:lnTo>
                    <a:pt x="469" y="213"/>
                  </a:lnTo>
                  <a:lnTo>
                    <a:pt x="469" y="213"/>
                  </a:lnTo>
                  <a:lnTo>
                    <a:pt x="467" y="210"/>
                  </a:lnTo>
                  <a:lnTo>
                    <a:pt x="460" y="208"/>
                  </a:lnTo>
                  <a:lnTo>
                    <a:pt x="456" y="208"/>
                  </a:lnTo>
                  <a:lnTo>
                    <a:pt x="455" y="208"/>
                  </a:lnTo>
                  <a:lnTo>
                    <a:pt x="455" y="208"/>
                  </a:lnTo>
                  <a:lnTo>
                    <a:pt x="455" y="208"/>
                  </a:lnTo>
                  <a:lnTo>
                    <a:pt x="453" y="208"/>
                  </a:lnTo>
                  <a:lnTo>
                    <a:pt x="453" y="208"/>
                  </a:lnTo>
                  <a:lnTo>
                    <a:pt x="453" y="208"/>
                  </a:lnTo>
                  <a:lnTo>
                    <a:pt x="453" y="208"/>
                  </a:lnTo>
                  <a:lnTo>
                    <a:pt x="453" y="208"/>
                  </a:lnTo>
                  <a:lnTo>
                    <a:pt x="451" y="208"/>
                  </a:lnTo>
                  <a:lnTo>
                    <a:pt x="451" y="208"/>
                  </a:lnTo>
                  <a:lnTo>
                    <a:pt x="449" y="208"/>
                  </a:lnTo>
                  <a:lnTo>
                    <a:pt x="447" y="210"/>
                  </a:lnTo>
                  <a:lnTo>
                    <a:pt x="447" y="210"/>
                  </a:lnTo>
                  <a:lnTo>
                    <a:pt x="447" y="210"/>
                  </a:lnTo>
                  <a:lnTo>
                    <a:pt x="447" y="211"/>
                  </a:lnTo>
                  <a:lnTo>
                    <a:pt x="447" y="211"/>
                  </a:lnTo>
                  <a:lnTo>
                    <a:pt x="446" y="211"/>
                  </a:lnTo>
                  <a:lnTo>
                    <a:pt x="446" y="211"/>
                  </a:lnTo>
                  <a:lnTo>
                    <a:pt x="444" y="211"/>
                  </a:lnTo>
                  <a:lnTo>
                    <a:pt x="444" y="211"/>
                  </a:lnTo>
                  <a:lnTo>
                    <a:pt x="442" y="213"/>
                  </a:lnTo>
                  <a:lnTo>
                    <a:pt x="438" y="215"/>
                  </a:lnTo>
                  <a:lnTo>
                    <a:pt x="438" y="215"/>
                  </a:lnTo>
                  <a:lnTo>
                    <a:pt x="437" y="215"/>
                  </a:lnTo>
                  <a:lnTo>
                    <a:pt x="437" y="215"/>
                  </a:lnTo>
                  <a:lnTo>
                    <a:pt x="437" y="215"/>
                  </a:lnTo>
                  <a:lnTo>
                    <a:pt x="437" y="217"/>
                  </a:lnTo>
                  <a:lnTo>
                    <a:pt x="437" y="217"/>
                  </a:lnTo>
                  <a:lnTo>
                    <a:pt x="435" y="219"/>
                  </a:lnTo>
                  <a:lnTo>
                    <a:pt x="435" y="219"/>
                  </a:lnTo>
                  <a:lnTo>
                    <a:pt x="433" y="219"/>
                  </a:lnTo>
                  <a:lnTo>
                    <a:pt x="433" y="217"/>
                  </a:lnTo>
                  <a:lnTo>
                    <a:pt x="431" y="217"/>
                  </a:lnTo>
                  <a:lnTo>
                    <a:pt x="431" y="217"/>
                  </a:lnTo>
                  <a:lnTo>
                    <a:pt x="429" y="215"/>
                  </a:lnTo>
                  <a:lnTo>
                    <a:pt x="429" y="215"/>
                  </a:lnTo>
                  <a:lnTo>
                    <a:pt x="428" y="215"/>
                  </a:lnTo>
                  <a:lnTo>
                    <a:pt x="428" y="217"/>
                  </a:lnTo>
                  <a:lnTo>
                    <a:pt x="428" y="217"/>
                  </a:lnTo>
                  <a:lnTo>
                    <a:pt x="426" y="219"/>
                  </a:lnTo>
                  <a:lnTo>
                    <a:pt x="426" y="219"/>
                  </a:lnTo>
                  <a:lnTo>
                    <a:pt x="426" y="220"/>
                  </a:lnTo>
                  <a:lnTo>
                    <a:pt x="426" y="220"/>
                  </a:lnTo>
                  <a:lnTo>
                    <a:pt x="426" y="220"/>
                  </a:lnTo>
                  <a:lnTo>
                    <a:pt x="428" y="220"/>
                  </a:lnTo>
                  <a:lnTo>
                    <a:pt x="428" y="222"/>
                  </a:lnTo>
                  <a:lnTo>
                    <a:pt x="428" y="222"/>
                  </a:lnTo>
                  <a:lnTo>
                    <a:pt x="426" y="222"/>
                  </a:lnTo>
                  <a:lnTo>
                    <a:pt x="424" y="222"/>
                  </a:lnTo>
                  <a:lnTo>
                    <a:pt x="417" y="220"/>
                  </a:lnTo>
                  <a:lnTo>
                    <a:pt x="413" y="219"/>
                  </a:lnTo>
                  <a:lnTo>
                    <a:pt x="408" y="217"/>
                  </a:lnTo>
                  <a:lnTo>
                    <a:pt x="406" y="217"/>
                  </a:lnTo>
                  <a:lnTo>
                    <a:pt x="406" y="217"/>
                  </a:lnTo>
                  <a:lnTo>
                    <a:pt x="404" y="215"/>
                  </a:lnTo>
                  <a:lnTo>
                    <a:pt x="404" y="213"/>
                  </a:lnTo>
                  <a:lnTo>
                    <a:pt x="402" y="210"/>
                  </a:lnTo>
                  <a:lnTo>
                    <a:pt x="402" y="208"/>
                  </a:lnTo>
                  <a:lnTo>
                    <a:pt x="401" y="208"/>
                  </a:lnTo>
                  <a:lnTo>
                    <a:pt x="401" y="206"/>
                  </a:lnTo>
                  <a:lnTo>
                    <a:pt x="399" y="206"/>
                  </a:lnTo>
                  <a:lnTo>
                    <a:pt x="399" y="206"/>
                  </a:lnTo>
                  <a:lnTo>
                    <a:pt x="399" y="206"/>
                  </a:lnTo>
                  <a:lnTo>
                    <a:pt x="397" y="204"/>
                  </a:lnTo>
                  <a:lnTo>
                    <a:pt x="397" y="204"/>
                  </a:lnTo>
                  <a:lnTo>
                    <a:pt x="397" y="201"/>
                  </a:lnTo>
                  <a:lnTo>
                    <a:pt x="397" y="201"/>
                  </a:lnTo>
                  <a:lnTo>
                    <a:pt x="395" y="201"/>
                  </a:lnTo>
                  <a:lnTo>
                    <a:pt x="395" y="201"/>
                  </a:lnTo>
                  <a:lnTo>
                    <a:pt x="395" y="199"/>
                  </a:lnTo>
                  <a:lnTo>
                    <a:pt x="393" y="197"/>
                  </a:lnTo>
                  <a:lnTo>
                    <a:pt x="391" y="197"/>
                  </a:lnTo>
                  <a:lnTo>
                    <a:pt x="391" y="195"/>
                  </a:lnTo>
                  <a:lnTo>
                    <a:pt x="393" y="195"/>
                  </a:lnTo>
                  <a:lnTo>
                    <a:pt x="393" y="193"/>
                  </a:lnTo>
                  <a:lnTo>
                    <a:pt x="393" y="193"/>
                  </a:lnTo>
                  <a:lnTo>
                    <a:pt x="395" y="193"/>
                  </a:lnTo>
                  <a:lnTo>
                    <a:pt x="397" y="193"/>
                  </a:lnTo>
                  <a:lnTo>
                    <a:pt x="395" y="193"/>
                  </a:lnTo>
                  <a:lnTo>
                    <a:pt x="397" y="191"/>
                  </a:lnTo>
                  <a:lnTo>
                    <a:pt x="395" y="184"/>
                  </a:lnTo>
                  <a:lnTo>
                    <a:pt x="395" y="184"/>
                  </a:lnTo>
                  <a:lnTo>
                    <a:pt x="395" y="182"/>
                  </a:lnTo>
                  <a:lnTo>
                    <a:pt x="393" y="179"/>
                  </a:lnTo>
                  <a:lnTo>
                    <a:pt x="393" y="177"/>
                  </a:lnTo>
                  <a:lnTo>
                    <a:pt x="393" y="177"/>
                  </a:lnTo>
                  <a:lnTo>
                    <a:pt x="395" y="177"/>
                  </a:lnTo>
                  <a:lnTo>
                    <a:pt x="395" y="177"/>
                  </a:lnTo>
                  <a:lnTo>
                    <a:pt x="395" y="175"/>
                  </a:lnTo>
                  <a:lnTo>
                    <a:pt x="393" y="175"/>
                  </a:lnTo>
                  <a:lnTo>
                    <a:pt x="393" y="175"/>
                  </a:lnTo>
                  <a:lnTo>
                    <a:pt x="393" y="173"/>
                  </a:lnTo>
                  <a:lnTo>
                    <a:pt x="393" y="173"/>
                  </a:lnTo>
                  <a:lnTo>
                    <a:pt x="393" y="173"/>
                  </a:lnTo>
                  <a:lnTo>
                    <a:pt x="393" y="172"/>
                  </a:lnTo>
                  <a:lnTo>
                    <a:pt x="393" y="172"/>
                  </a:lnTo>
                  <a:lnTo>
                    <a:pt x="393" y="172"/>
                  </a:lnTo>
                  <a:lnTo>
                    <a:pt x="393" y="170"/>
                  </a:lnTo>
                  <a:lnTo>
                    <a:pt x="391" y="166"/>
                  </a:lnTo>
                  <a:lnTo>
                    <a:pt x="391" y="166"/>
                  </a:lnTo>
                  <a:lnTo>
                    <a:pt x="391" y="166"/>
                  </a:lnTo>
                  <a:lnTo>
                    <a:pt x="393" y="163"/>
                  </a:lnTo>
                  <a:lnTo>
                    <a:pt x="393" y="163"/>
                  </a:lnTo>
                  <a:lnTo>
                    <a:pt x="393" y="163"/>
                  </a:lnTo>
                  <a:lnTo>
                    <a:pt x="393" y="163"/>
                  </a:lnTo>
                  <a:lnTo>
                    <a:pt x="393" y="161"/>
                  </a:lnTo>
                  <a:lnTo>
                    <a:pt x="393" y="161"/>
                  </a:lnTo>
                  <a:lnTo>
                    <a:pt x="393" y="161"/>
                  </a:lnTo>
                  <a:lnTo>
                    <a:pt x="393" y="159"/>
                  </a:lnTo>
                  <a:lnTo>
                    <a:pt x="395" y="157"/>
                  </a:lnTo>
                  <a:lnTo>
                    <a:pt x="395" y="155"/>
                  </a:lnTo>
                  <a:lnTo>
                    <a:pt x="395" y="154"/>
                  </a:lnTo>
                  <a:lnTo>
                    <a:pt x="395" y="154"/>
                  </a:lnTo>
                  <a:lnTo>
                    <a:pt x="395" y="154"/>
                  </a:lnTo>
                  <a:lnTo>
                    <a:pt x="395" y="152"/>
                  </a:lnTo>
                  <a:lnTo>
                    <a:pt x="393" y="152"/>
                  </a:lnTo>
                  <a:lnTo>
                    <a:pt x="393" y="150"/>
                  </a:lnTo>
                  <a:lnTo>
                    <a:pt x="393" y="150"/>
                  </a:lnTo>
                  <a:lnTo>
                    <a:pt x="395" y="150"/>
                  </a:lnTo>
                  <a:lnTo>
                    <a:pt x="395" y="150"/>
                  </a:lnTo>
                  <a:lnTo>
                    <a:pt x="395" y="148"/>
                  </a:lnTo>
                  <a:lnTo>
                    <a:pt x="395" y="148"/>
                  </a:lnTo>
                  <a:lnTo>
                    <a:pt x="395" y="148"/>
                  </a:lnTo>
                  <a:lnTo>
                    <a:pt x="395" y="148"/>
                  </a:lnTo>
                  <a:lnTo>
                    <a:pt x="397" y="146"/>
                  </a:lnTo>
                  <a:lnTo>
                    <a:pt x="397" y="146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7" y="145"/>
                  </a:lnTo>
                  <a:lnTo>
                    <a:pt x="397" y="143"/>
                  </a:lnTo>
                  <a:lnTo>
                    <a:pt x="397" y="143"/>
                  </a:lnTo>
                  <a:lnTo>
                    <a:pt x="399" y="141"/>
                  </a:lnTo>
                  <a:lnTo>
                    <a:pt x="399" y="141"/>
                  </a:lnTo>
                  <a:lnTo>
                    <a:pt x="399" y="139"/>
                  </a:lnTo>
                  <a:lnTo>
                    <a:pt x="399" y="139"/>
                  </a:lnTo>
                  <a:lnTo>
                    <a:pt x="399" y="139"/>
                  </a:lnTo>
                  <a:lnTo>
                    <a:pt x="399" y="139"/>
                  </a:lnTo>
                  <a:lnTo>
                    <a:pt x="399" y="137"/>
                  </a:lnTo>
                  <a:lnTo>
                    <a:pt x="399" y="137"/>
                  </a:lnTo>
                  <a:lnTo>
                    <a:pt x="401" y="137"/>
                  </a:lnTo>
                  <a:lnTo>
                    <a:pt x="401" y="136"/>
                  </a:lnTo>
                  <a:lnTo>
                    <a:pt x="401" y="136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2"/>
                  </a:lnTo>
                  <a:lnTo>
                    <a:pt x="401" y="134"/>
                  </a:lnTo>
                  <a:lnTo>
                    <a:pt x="399" y="132"/>
                  </a:lnTo>
                  <a:lnTo>
                    <a:pt x="399" y="132"/>
                  </a:lnTo>
                  <a:lnTo>
                    <a:pt x="399" y="130"/>
                  </a:lnTo>
                  <a:lnTo>
                    <a:pt x="399" y="128"/>
                  </a:lnTo>
                  <a:lnTo>
                    <a:pt x="399" y="128"/>
                  </a:lnTo>
                  <a:lnTo>
                    <a:pt x="399" y="126"/>
                  </a:lnTo>
                  <a:lnTo>
                    <a:pt x="399" y="126"/>
                  </a:lnTo>
                  <a:lnTo>
                    <a:pt x="399" y="125"/>
                  </a:lnTo>
                  <a:lnTo>
                    <a:pt x="401" y="125"/>
                  </a:lnTo>
                  <a:lnTo>
                    <a:pt x="401" y="123"/>
                  </a:lnTo>
                  <a:lnTo>
                    <a:pt x="401" y="123"/>
                  </a:lnTo>
                  <a:lnTo>
                    <a:pt x="401" y="121"/>
                  </a:lnTo>
                  <a:lnTo>
                    <a:pt x="401" y="121"/>
                  </a:lnTo>
                  <a:lnTo>
                    <a:pt x="399" y="119"/>
                  </a:lnTo>
                  <a:lnTo>
                    <a:pt x="397" y="114"/>
                  </a:lnTo>
                  <a:lnTo>
                    <a:pt x="397" y="112"/>
                  </a:lnTo>
                  <a:lnTo>
                    <a:pt x="395" y="108"/>
                  </a:lnTo>
                  <a:lnTo>
                    <a:pt x="393" y="107"/>
                  </a:lnTo>
                  <a:lnTo>
                    <a:pt x="393" y="107"/>
                  </a:lnTo>
                  <a:lnTo>
                    <a:pt x="393" y="105"/>
                  </a:lnTo>
                  <a:lnTo>
                    <a:pt x="393" y="105"/>
                  </a:lnTo>
                  <a:lnTo>
                    <a:pt x="393" y="105"/>
                  </a:lnTo>
                  <a:lnTo>
                    <a:pt x="393" y="103"/>
                  </a:lnTo>
                  <a:lnTo>
                    <a:pt x="393" y="103"/>
                  </a:lnTo>
                  <a:lnTo>
                    <a:pt x="393" y="101"/>
                  </a:lnTo>
                  <a:lnTo>
                    <a:pt x="393" y="101"/>
                  </a:lnTo>
                  <a:lnTo>
                    <a:pt x="393" y="101"/>
                  </a:lnTo>
                  <a:lnTo>
                    <a:pt x="393" y="99"/>
                  </a:lnTo>
                  <a:lnTo>
                    <a:pt x="391" y="98"/>
                  </a:lnTo>
                  <a:lnTo>
                    <a:pt x="391" y="96"/>
                  </a:lnTo>
                  <a:lnTo>
                    <a:pt x="390" y="94"/>
                  </a:lnTo>
                  <a:lnTo>
                    <a:pt x="390" y="94"/>
                  </a:lnTo>
                  <a:lnTo>
                    <a:pt x="390" y="92"/>
                  </a:lnTo>
                  <a:lnTo>
                    <a:pt x="388" y="92"/>
                  </a:lnTo>
                  <a:lnTo>
                    <a:pt x="388" y="92"/>
                  </a:lnTo>
                  <a:lnTo>
                    <a:pt x="386" y="92"/>
                  </a:lnTo>
                  <a:lnTo>
                    <a:pt x="384" y="90"/>
                  </a:lnTo>
                  <a:lnTo>
                    <a:pt x="384" y="90"/>
                  </a:lnTo>
                  <a:lnTo>
                    <a:pt x="384" y="90"/>
                  </a:lnTo>
                  <a:lnTo>
                    <a:pt x="382" y="89"/>
                  </a:lnTo>
                  <a:lnTo>
                    <a:pt x="381" y="87"/>
                  </a:lnTo>
                  <a:lnTo>
                    <a:pt x="381" y="87"/>
                  </a:lnTo>
                  <a:lnTo>
                    <a:pt x="381" y="87"/>
                  </a:lnTo>
                  <a:lnTo>
                    <a:pt x="381" y="87"/>
                  </a:lnTo>
                  <a:lnTo>
                    <a:pt x="381" y="85"/>
                  </a:lnTo>
                  <a:lnTo>
                    <a:pt x="381" y="85"/>
                  </a:lnTo>
                  <a:lnTo>
                    <a:pt x="379" y="85"/>
                  </a:lnTo>
                  <a:lnTo>
                    <a:pt x="377" y="83"/>
                  </a:lnTo>
                  <a:lnTo>
                    <a:pt x="379" y="83"/>
                  </a:lnTo>
                  <a:lnTo>
                    <a:pt x="379" y="83"/>
                  </a:lnTo>
                  <a:lnTo>
                    <a:pt x="379" y="83"/>
                  </a:lnTo>
                  <a:lnTo>
                    <a:pt x="379" y="81"/>
                  </a:lnTo>
                  <a:lnTo>
                    <a:pt x="377" y="81"/>
                  </a:lnTo>
                  <a:lnTo>
                    <a:pt x="377" y="80"/>
                  </a:lnTo>
                  <a:lnTo>
                    <a:pt x="375" y="78"/>
                  </a:lnTo>
                  <a:lnTo>
                    <a:pt x="375" y="78"/>
                  </a:lnTo>
                  <a:lnTo>
                    <a:pt x="375" y="76"/>
                  </a:lnTo>
                  <a:lnTo>
                    <a:pt x="375" y="74"/>
                  </a:lnTo>
                  <a:lnTo>
                    <a:pt x="373" y="74"/>
                  </a:lnTo>
                  <a:lnTo>
                    <a:pt x="373" y="74"/>
                  </a:lnTo>
                  <a:lnTo>
                    <a:pt x="372" y="74"/>
                  </a:lnTo>
                  <a:lnTo>
                    <a:pt x="372" y="72"/>
                  </a:lnTo>
                  <a:lnTo>
                    <a:pt x="372" y="72"/>
                  </a:lnTo>
                  <a:lnTo>
                    <a:pt x="370" y="72"/>
                  </a:lnTo>
                  <a:lnTo>
                    <a:pt x="370" y="72"/>
                  </a:lnTo>
                  <a:lnTo>
                    <a:pt x="370" y="70"/>
                  </a:lnTo>
                  <a:lnTo>
                    <a:pt x="368" y="69"/>
                  </a:lnTo>
                  <a:lnTo>
                    <a:pt x="368" y="67"/>
                  </a:lnTo>
                  <a:lnTo>
                    <a:pt x="368" y="67"/>
                  </a:lnTo>
                  <a:lnTo>
                    <a:pt x="366" y="67"/>
                  </a:lnTo>
                  <a:lnTo>
                    <a:pt x="366" y="65"/>
                  </a:lnTo>
                  <a:lnTo>
                    <a:pt x="366" y="63"/>
                  </a:lnTo>
                  <a:lnTo>
                    <a:pt x="366" y="63"/>
                  </a:lnTo>
                  <a:lnTo>
                    <a:pt x="366" y="63"/>
                  </a:lnTo>
                  <a:lnTo>
                    <a:pt x="366" y="61"/>
                  </a:lnTo>
                  <a:lnTo>
                    <a:pt x="366" y="61"/>
                  </a:lnTo>
                  <a:lnTo>
                    <a:pt x="366" y="61"/>
                  </a:lnTo>
                  <a:lnTo>
                    <a:pt x="366" y="60"/>
                  </a:lnTo>
                  <a:lnTo>
                    <a:pt x="364" y="60"/>
                  </a:lnTo>
                  <a:lnTo>
                    <a:pt x="364" y="60"/>
                  </a:lnTo>
                  <a:lnTo>
                    <a:pt x="364" y="60"/>
                  </a:lnTo>
                  <a:lnTo>
                    <a:pt x="363" y="60"/>
                  </a:lnTo>
                  <a:lnTo>
                    <a:pt x="363" y="60"/>
                  </a:lnTo>
                  <a:lnTo>
                    <a:pt x="363" y="60"/>
                  </a:lnTo>
                  <a:lnTo>
                    <a:pt x="363" y="60"/>
                  </a:lnTo>
                  <a:lnTo>
                    <a:pt x="363" y="60"/>
                  </a:lnTo>
                  <a:lnTo>
                    <a:pt x="361" y="58"/>
                  </a:lnTo>
                  <a:lnTo>
                    <a:pt x="361" y="58"/>
                  </a:lnTo>
                  <a:lnTo>
                    <a:pt x="361" y="56"/>
                  </a:lnTo>
                  <a:lnTo>
                    <a:pt x="361" y="56"/>
                  </a:lnTo>
                  <a:lnTo>
                    <a:pt x="361" y="56"/>
                  </a:lnTo>
                  <a:lnTo>
                    <a:pt x="361" y="56"/>
                  </a:lnTo>
                  <a:lnTo>
                    <a:pt x="359" y="54"/>
                  </a:lnTo>
                  <a:lnTo>
                    <a:pt x="359" y="54"/>
                  </a:lnTo>
                  <a:lnTo>
                    <a:pt x="359" y="54"/>
                  </a:lnTo>
                  <a:lnTo>
                    <a:pt x="359" y="54"/>
                  </a:lnTo>
                  <a:lnTo>
                    <a:pt x="359" y="52"/>
                  </a:lnTo>
                  <a:lnTo>
                    <a:pt x="359" y="52"/>
                  </a:lnTo>
                  <a:lnTo>
                    <a:pt x="359" y="52"/>
                  </a:lnTo>
                  <a:lnTo>
                    <a:pt x="357" y="51"/>
                  </a:lnTo>
                  <a:lnTo>
                    <a:pt x="357" y="51"/>
                  </a:lnTo>
                  <a:lnTo>
                    <a:pt x="354" y="45"/>
                  </a:lnTo>
                  <a:lnTo>
                    <a:pt x="352" y="43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2" y="40"/>
                  </a:lnTo>
                  <a:lnTo>
                    <a:pt x="352" y="40"/>
                  </a:lnTo>
                  <a:lnTo>
                    <a:pt x="352" y="40"/>
                  </a:lnTo>
                  <a:lnTo>
                    <a:pt x="352" y="40"/>
                  </a:lnTo>
                  <a:lnTo>
                    <a:pt x="352" y="38"/>
                  </a:lnTo>
                  <a:lnTo>
                    <a:pt x="352" y="38"/>
                  </a:lnTo>
                  <a:lnTo>
                    <a:pt x="350" y="38"/>
                  </a:lnTo>
                  <a:lnTo>
                    <a:pt x="350" y="36"/>
                  </a:lnTo>
                  <a:lnTo>
                    <a:pt x="350" y="34"/>
                  </a:lnTo>
                  <a:lnTo>
                    <a:pt x="348" y="34"/>
                  </a:lnTo>
                  <a:lnTo>
                    <a:pt x="350" y="34"/>
                  </a:lnTo>
                  <a:lnTo>
                    <a:pt x="350" y="33"/>
                  </a:lnTo>
                  <a:lnTo>
                    <a:pt x="350" y="33"/>
                  </a:lnTo>
                  <a:lnTo>
                    <a:pt x="348" y="33"/>
                  </a:lnTo>
                  <a:lnTo>
                    <a:pt x="348" y="33"/>
                  </a:lnTo>
                  <a:lnTo>
                    <a:pt x="348" y="31"/>
                  </a:lnTo>
                  <a:lnTo>
                    <a:pt x="348" y="29"/>
                  </a:lnTo>
                  <a:lnTo>
                    <a:pt x="348" y="29"/>
                  </a:lnTo>
                  <a:lnTo>
                    <a:pt x="348" y="27"/>
                  </a:lnTo>
                  <a:lnTo>
                    <a:pt x="346" y="27"/>
                  </a:lnTo>
                  <a:lnTo>
                    <a:pt x="346" y="27"/>
                  </a:lnTo>
                  <a:lnTo>
                    <a:pt x="346" y="25"/>
                  </a:lnTo>
                  <a:lnTo>
                    <a:pt x="346" y="25"/>
                  </a:lnTo>
                  <a:lnTo>
                    <a:pt x="346" y="25"/>
                  </a:lnTo>
                  <a:lnTo>
                    <a:pt x="345" y="24"/>
                  </a:lnTo>
                  <a:lnTo>
                    <a:pt x="346" y="24"/>
                  </a:lnTo>
                  <a:lnTo>
                    <a:pt x="346" y="24"/>
                  </a:lnTo>
                  <a:lnTo>
                    <a:pt x="346" y="22"/>
                  </a:lnTo>
                  <a:lnTo>
                    <a:pt x="346" y="22"/>
                  </a:lnTo>
                  <a:lnTo>
                    <a:pt x="345" y="22"/>
                  </a:lnTo>
                  <a:lnTo>
                    <a:pt x="345" y="20"/>
                  </a:lnTo>
                  <a:lnTo>
                    <a:pt x="345" y="20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8"/>
                  </a:lnTo>
                  <a:lnTo>
                    <a:pt x="343" y="18"/>
                  </a:lnTo>
                  <a:lnTo>
                    <a:pt x="343" y="18"/>
                  </a:lnTo>
                  <a:lnTo>
                    <a:pt x="341" y="16"/>
                  </a:lnTo>
                  <a:lnTo>
                    <a:pt x="339" y="14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41" y="13"/>
                  </a:lnTo>
                  <a:lnTo>
                    <a:pt x="341" y="11"/>
                  </a:lnTo>
                  <a:lnTo>
                    <a:pt x="341" y="11"/>
                  </a:lnTo>
                  <a:lnTo>
                    <a:pt x="339" y="11"/>
                  </a:lnTo>
                  <a:lnTo>
                    <a:pt x="339" y="11"/>
                  </a:lnTo>
                  <a:lnTo>
                    <a:pt x="339" y="11"/>
                  </a:lnTo>
                  <a:lnTo>
                    <a:pt x="339" y="11"/>
                  </a:lnTo>
                  <a:lnTo>
                    <a:pt x="337" y="11"/>
                  </a:lnTo>
                  <a:lnTo>
                    <a:pt x="336" y="11"/>
                  </a:lnTo>
                  <a:lnTo>
                    <a:pt x="336" y="9"/>
                  </a:lnTo>
                  <a:lnTo>
                    <a:pt x="337" y="9"/>
                  </a:lnTo>
                  <a:lnTo>
                    <a:pt x="337" y="9"/>
                  </a:lnTo>
                  <a:lnTo>
                    <a:pt x="337" y="9"/>
                  </a:lnTo>
                  <a:lnTo>
                    <a:pt x="336" y="7"/>
                  </a:lnTo>
                  <a:lnTo>
                    <a:pt x="336" y="7"/>
                  </a:lnTo>
                  <a:lnTo>
                    <a:pt x="336" y="5"/>
                  </a:lnTo>
                  <a:lnTo>
                    <a:pt x="336" y="5"/>
                  </a:lnTo>
                  <a:lnTo>
                    <a:pt x="334" y="5"/>
                  </a:lnTo>
                  <a:lnTo>
                    <a:pt x="334" y="7"/>
                  </a:lnTo>
                  <a:lnTo>
                    <a:pt x="334" y="7"/>
                  </a:lnTo>
                  <a:lnTo>
                    <a:pt x="334" y="5"/>
                  </a:lnTo>
                  <a:lnTo>
                    <a:pt x="332" y="5"/>
                  </a:lnTo>
                  <a:lnTo>
                    <a:pt x="330" y="4"/>
                  </a:lnTo>
                  <a:lnTo>
                    <a:pt x="330" y="4"/>
                  </a:lnTo>
                  <a:lnTo>
                    <a:pt x="328" y="2"/>
                  </a:lnTo>
                  <a:lnTo>
                    <a:pt x="328" y="2"/>
                  </a:lnTo>
                  <a:lnTo>
                    <a:pt x="326" y="2"/>
                  </a:lnTo>
                  <a:lnTo>
                    <a:pt x="325" y="2"/>
                  </a:lnTo>
                  <a:lnTo>
                    <a:pt x="325" y="0"/>
                  </a:lnTo>
                  <a:lnTo>
                    <a:pt x="325" y="2"/>
                  </a:lnTo>
                  <a:lnTo>
                    <a:pt x="323" y="2"/>
                  </a:lnTo>
                  <a:lnTo>
                    <a:pt x="323" y="0"/>
                  </a:lnTo>
                  <a:lnTo>
                    <a:pt x="321" y="0"/>
                  </a:lnTo>
                  <a:lnTo>
                    <a:pt x="319" y="2"/>
                  </a:lnTo>
                  <a:lnTo>
                    <a:pt x="317" y="2"/>
                  </a:lnTo>
                  <a:lnTo>
                    <a:pt x="310" y="4"/>
                  </a:lnTo>
                  <a:lnTo>
                    <a:pt x="310" y="4"/>
                  </a:lnTo>
                  <a:lnTo>
                    <a:pt x="308" y="4"/>
                  </a:lnTo>
                  <a:lnTo>
                    <a:pt x="307" y="4"/>
                  </a:lnTo>
                  <a:lnTo>
                    <a:pt x="305" y="5"/>
                  </a:lnTo>
                  <a:lnTo>
                    <a:pt x="305" y="5"/>
                  </a:lnTo>
                  <a:lnTo>
                    <a:pt x="303" y="5"/>
                  </a:lnTo>
                  <a:lnTo>
                    <a:pt x="303" y="5"/>
                  </a:lnTo>
                  <a:lnTo>
                    <a:pt x="303" y="7"/>
                  </a:lnTo>
                  <a:lnTo>
                    <a:pt x="303" y="9"/>
                  </a:lnTo>
                  <a:lnTo>
                    <a:pt x="303" y="11"/>
                  </a:lnTo>
                  <a:lnTo>
                    <a:pt x="301" y="14"/>
                  </a:lnTo>
                  <a:lnTo>
                    <a:pt x="301" y="14"/>
                  </a:lnTo>
                  <a:lnTo>
                    <a:pt x="299" y="16"/>
                  </a:lnTo>
                  <a:lnTo>
                    <a:pt x="299" y="16"/>
                  </a:lnTo>
                  <a:lnTo>
                    <a:pt x="298" y="18"/>
                  </a:lnTo>
                  <a:lnTo>
                    <a:pt x="298" y="20"/>
                  </a:lnTo>
                  <a:lnTo>
                    <a:pt x="296" y="22"/>
                  </a:lnTo>
                  <a:lnTo>
                    <a:pt x="294" y="22"/>
                  </a:lnTo>
                  <a:lnTo>
                    <a:pt x="292" y="22"/>
                  </a:lnTo>
                  <a:lnTo>
                    <a:pt x="289" y="22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1" y="24"/>
                  </a:lnTo>
                  <a:lnTo>
                    <a:pt x="280" y="24"/>
                  </a:lnTo>
                  <a:lnTo>
                    <a:pt x="276" y="25"/>
                  </a:lnTo>
                  <a:lnTo>
                    <a:pt x="251" y="29"/>
                  </a:lnTo>
                  <a:lnTo>
                    <a:pt x="249" y="29"/>
                  </a:lnTo>
                  <a:lnTo>
                    <a:pt x="243" y="38"/>
                  </a:lnTo>
                  <a:lnTo>
                    <a:pt x="242" y="40"/>
                  </a:lnTo>
                  <a:lnTo>
                    <a:pt x="242" y="40"/>
                  </a:lnTo>
                  <a:lnTo>
                    <a:pt x="242" y="40"/>
                  </a:lnTo>
                  <a:lnTo>
                    <a:pt x="238" y="42"/>
                  </a:lnTo>
                  <a:lnTo>
                    <a:pt x="234" y="42"/>
                  </a:lnTo>
                  <a:lnTo>
                    <a:pt x="234" y="42"/>
                  </a:lnTo>
                  <a:lnTo>
                    <a:pt x="233" y="42"/>
                  </a:lnTo>
                  <a:lnTo>
                    <a:pt x="231" y="42"/>
                  </a:lnTo>
                  <a:lnTo>
                    <a:pt x="231" y="40"/>
                  </a:lnTo>
                  <a:lnTo>
                    <a:pt x="229" y="36"/>
                  </a:lnTo>
                  <a:lnTo>
                    <a:pt x="229" y="36"/>
                  </a:lnTo>
                  <a:lnTo>
                    <a:pt x="227" y="36"/>
                  </a:lnTo>
                  <a:lnTo>
                    <a:pt x="224" y="34"/>
                  </a:lnTo>
                  <a:lnTo>
                    <a:pt x="222" y="33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29"/>
                  </a:lnTo>
                  <a:lnTo>
                    <a:pt x="220" y="29"/>
                  </a:lnTo>
                  <a:lnTo>
                    <a:pt x="220" y="27"/>
                  </a:lnTo>
                  <a:lnTo>
                    <a:pt x="218" y="27"/>
                  </a:lnTo>
                  <a:lnTo>
                    <a:pt x="216" y="25"/>
                  </a:lnTo>
                  <a:lnTo>
                    <a:pt x="216" y="25"/>
                  </a:lnTo>
                  <a:lnTo>
                    <a:pt x="215" y="25"/>
                  </a:lnTo>
                  <a:lnTo>
                    <a:pt x="213" y="25"/>
                  </a:lnTo>
                  <a:lnTo>
                    <a:pt x="209" y="24"/>
                  </a:lnTo>
                  <a:lnTo>
                    <a:pt x="207" y="24"/>
                  </a:lnTo>
                  <a:lnTo>
                    <a:pt x="207" y="25"/>
                  </a:lnTo>
                  <a:lnTo>
                    <a:pt x="205" y="27"/>
                  </a:lnTo>
                  <a:lnTo>
                    <a:pt x="202" y="27"/>
                  </a:lnTo>
                  <a:lnTo>
                    <a:pt x="200" y="29"/>
                  </a:lnTo>
                  <a:lnTo>
                    <a:pt x="198" y="29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3" y="25"/>
                  </a:lnTo>
                  <a:lnTo>
                    <a:pt x="191" y="25"/>
                  </a:lnTo>
                  <a:lnTo>
                    <a:pt x="189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2" y="25"/>
                  </a:lnTo>
                  <a:lnTo>
                    <a:pt x="180" y="25"/>
                  </a:lnTo>
                  <a:lnTo>
                    <a:pt x="180" y="25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3" y="22"/>
                  </a:lnTo>
                  <a:lnTo>
                    <a:pt x="171" y="22"/>
                  </a:lnTo>
                  <a:lnTo>
                    <a:pt x="169" y="22"/>
                  </a:lnTo>
                  <a:lnTo>
                    <a:pt x="168" y="20"/>
                  </a:lnTo>
                  <a:lnTo>
                    <a:pt x="166" y="20"/>
                  </a:lnTo>
                  <a:lnTo>
                    <a:pt x="164" y="20"/>
                  </a:lnTo>
                  <a:lnTo>
                    <a:pt x="164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2"/>
                  </a:lnTo>
                  <a:lnTo>
                    <a:pt x="162" y="24"/>
                  </a:lnTo>
                  <a:lnTo>
                    <a:pt x="162" y="24"/>
                  </a:lnTo>
                  <a:lnTo>
                    <a:pt x="160" y="24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5" y="22"/>
                  </a:lnTo>
                  <a:lnTo>
                    <a:pt x="155" y="20"/>
                  </a:lnTo>
                  <a:lnTo>
                    <a:pt x="151" y="18"/>
                  </a:lnTo>
                  <a:lnTo>
                    <a:pt x="149" y="16"/>
                  </a:lnTo>
                  <a:lnTo>
                    <a:pt x="149" y="14"/>
                  </a:lnTo>
                  <a:lnTo>
                    <a:pt x="146" y="14"/>
                  </a:lnTo>
                  <a:lnTo>
                    <a:pt x="144" y="13"/>
                  </a:lnTo>
                  <a:lnTo>
                    <a:pt x="144" y="14"/>
                  </a:lnTo>
                  <a:lnTo>
                    <a:pt x="142" y="16"/>
                  </a:lnTo>
                  <a:lnTo>
                    <a:pt x="142" y="18"/>
                  </a:lnTo>
                  <a:lnTo>
                    <a:pt x="140" y="20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5" y="20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22"/>
                  </a:lnTo>
                  <a:lnTo>
                    <a:pt x="133" y="24"/>
                  </a:lnTo>
                  <a:lnTo>
                    <a:pt x="133" y="24"/>
                  </a:lnTo>
                  <a:lnTo>
                    <a:pt x="133" y="24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30" y="27"/>
                  </a:lnTo>
                  <a:lnTo>
                    <a:pt x="128" y="29"/>
                  </a:lnTo>
                  <a:lnTo>
                    <a:pt x="126" y="29"/>
                  </a:lnTo>
                  <a:lnTo>
                    <a:pt x="126" y="31"/>
                  </a:lnTo>
                  <a:lnTo>
                    <a:pt x="126" y="31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3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1" y="36"/>
                  </a:lnTo>
                  <a:lnTo>
                    <a:pt x="119" y="38"/>
                  </a:lnTo>
                  <a:lnTo>
                    <a:pt x="117" y="38"/>
                  </a:lnTo>
                  <a:lnTo>
                    <a:pt x="115" y="38"/>
                  </a:lnTo>
                  <a:lnTo>
                    <a:pt x="113" y="38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4" y="40"/>
                  </a:lnTo>
                  <a:lnTo>
                    <a:pt x="103" y="40"/>
                  </a:lnTo>
                  <a:lnTo>
                    <a:pt x="103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5" y="49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2"/>
                  </a:lnTo>
                  <a:lnTo>
                    <a:pt x="95" y="52"/>
                  </a:lnTo>
                  <a:lnTo>
                    <a:pt x="92" y="52"/>
                  </a:lnTo>
                  <a:lnTo>
                    <a:pt x="90" y="54"/>
                  </a:lnTo>
                  <a:lnTo>
                    <a:pt x="88" y="56"/>
                  </a:lnTo>
                  <a:lnTo>
                    <a:pt x="86" y="58"/>
                  </a:lnTo>
                  <a:lnTo>
                    <a:pt x="86" y="61"/>
                  </a:lnTo>
                  <a:lnTo>
                    <a:pt x="88" y="63"/>
                  </a:lnTo>
                  <a:lnTo>
                    <a:pt x="88" y="65"/>
                  </a:lnTo>
                  <a:lnTo>
                    <a:pt x="86" y="67"/>
                  </a:lnTo>
                  <a:lnTo>
                    <a:pt x="84" y="69"/>
                  </a:lnTo>
                  <a:lnTo>
                    <a:pt x="83" y="69"/>
                  </a:lnTo>
                  <a:lnTo>
                    <a:pt x="83" y="70"/>
                  </a:lnTo>
                  <a:lnTo>
                    <a:pt x="81" y="72"/>
                  </a:lnTo>
                  <a:lnTo>
                    <a:pt x="81" y="74"/>
                  </a:lnTo>
                  <a:lnTo>
                    <a:pt x="79" y="76"/>
                  </a:lnTo>
                  <a:lnTo>
                    <a:pt x="79" y="78"/>
                  </a:lnTo>
                  <a:lnTo>
                    <a:pt x="79" y="78"/>
                  </a:lnTo>
                  <a:lnTo>
                    <a:pt x="79" y="80"/>
                  </a:lnTo>
                  <a:lnTo>
                    <a:pt x="79" y="80"/>
                  </a:lnTo>
                  <a:lnTo>
                    <a:pt x="79" y="80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5"/>
                  </a:lnTo>
                  <a:lnTo>
                    <a:pt x="75" y="85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9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0" y="92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2" y="96"/>
                  </a:lnTo>
                  <a:lnTo>
                    <a:pt x="72" y="96"/>
                  </a:lnTo>
                  <a:lnTo>
                    <a:pt x="70" y="96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6" y="107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1" y="114"/>
                  </a:lnTo>
                  <a:lnTo>
                    <a:pt x="61" y="114"/>
                  </a:lnTo>
                  <a:lnTo>
                    <a:pt x="61" y="114"/>
                  </a:lnTo>
                  <a:lnTo>
                    <a:pt x="61" y="114"/>
                  </a:lnTo>
                  <a:lnTo>
                    <a:pt x="61" y="114"/>
                  </a:lnTo>
                  <a:lnTo>
                    <a:pt x="63" y="116"/>
                  </a:lnTo>
                  <a:lnTo>
                    <a:pt x="63" y="116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21"/>
                  </a:lnTo>
                  <a:lnTo>
                    <a:pt x="57" y="121"/>
                  </a:lnTo>
                  <a:lnTo>
                    <a:pt x="56" y="123"/>
                  </a:lnTo>
                  <a:lnTo>
                    <a:pt x="54" y="123"/>
                  </a:lnTo>
                  <a:lnTo>
                    <a:pt x="54" y="123"/>
                  </a:lnTo>
                  <a:lnTo>
                    <a:pt x="52" y="123"/>
                  </a:lnTo>
                  <a:lnTo>
                    <a:pt x="52" y="125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50" y="132"/>
                  </a:lnTo>
                  <a:lnTo>
                    <a:pt x="52" y="136"/>
                  </a:lnTo>
                  <a:lnTo>
                    <a:pt x="52" y="137"/>
                  </a:lnTo>
                  <a:lnTo>
                    <a:pt x="50" y="137"/>
                  </a:lnTo>
                  <a:lnTo>
                    <a:pt x="48" y="137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41"/>
                  </a:lnTo>
                  <a:lnTo>
                    <a:pt x="47" y="145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39" y="150"/>
                  </a:lnTo>
                  <a:lnTo>
                    <a:pt x="39" y="150"/>
                  </a:lnTo>
                  <a:lnTo>
                    <a:pt x="38" y="150"/>
                  </a:lnTo>
                  <a:lnTo>
                    <a:pt x="38" y="150"/>
                  </a:lnTo>
                  <a:lnTo>
                    <a:pt x="38" y="148"/>
                  </a:lnTo>
                  <a:lnTo>
                    <a:pt x="38" y="148"/>
                  </a:lnTo>
                  <a:lnTo>
                    <a:pt x="36" y="150"/>
                  </a:lnTo>
                  <a:lnTo>
                    <a:pt x="36" y="150"/>
                  </a:lnTo>
                  <a:lnTo>
                    <a:pt x="34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29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5" y="152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3" y="154"/>
                  </a:lnTo>
                  <a:lnTo>
                    <a:pt x="23" y="154"/>
                  </a:lnTo>
                  <a:lnTo>
                    <a:pt x="23" y="154"/>
                  </a:lnTo>
                  <a:lnTo>
                    <a:pt x="23" y="154"/>
                  </a:lnTo>
                  <a:lnTo>
                    <a:pt x="23" y="155"/>
                  </a:lnTo>
                  <a:lnTo>
                    <a:pt x="23" y="155"/>
                  </a:lnTo>
                  <a:lnTo>
                    <a:pt x="23" y="155"/>
                  </a:lnTo>
                  <a:lnTo>
                    <a:pt x="21" y="157"/>
                  </a:lnTo>
                  <a:lnTo>
                    <a:pt x="21" y="157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6" y="157"/>
                  </a:lnTo>
                  <a:lnTo>
                    <a:pt x="14" y="155"/>
                  </a:lnTo>
                  <a:lnTo>
                    <a:pt x="12" y="155"/>
                  </a:lnTo>
                  <a:lnTo>
                    <a:pt x="10" y="155"/>
                  </a:lnTo>
                  <a:lnTo>
                    <a:pt x="10" y="157"/>
                  </a:lnTo>
                  <a:lnTo>
                    <a:pt x="1" y="157"/>
                  </a:lnTo>
                  <a:lnTo>
                    <a:pt x="0" y="159"/>
                  </a:lnTo>
                  <a:lnTo>
                    <a:pt x="3" y="163"/>
                  </a:lnTo>
                  <a:lnTo>
                    <a:pt x="3" y="164"/>
                  </a:lnTo>
                  <a:lnTo>
                    <a:pt x="5" y="168"/>
                  </a:lnTo>
                  <a:lnTo>
                    <a:pt x="5" y="168"/>
                  </a:lnTo>
                  <a:lnTo>
                    <a:pt x="7" y="170"/>
                  </a:lnTo>
                  <a:lnTo>
                    <a:pt x="9" y="170"/>
                  </a:lnTo>
                  <a:lnTo>
                    <a:pt x="9" y="172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4" y="173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8" y="179"/>
                  </a:lnTo>
                  <a:lnTo>
                    <a:pt x="18" y="179"/>
                  </a:lnTo>
                  <a:lnTo>
                    <a:pt x="19" y="179"/>
                  </a:lnTo>
                  <a:lnTo>
                    <a:pt x="19" y="179"/>
                  </a:lnTo>
                  <a:lnTo>
                    <a:pt x="19" y="181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21" y="184"/>
                  </a:lnTo>
                  <a:lnTo>
                    <a:pt x="21" y="186"/>
                  </a:lnTo>
                  <a:lnTo>
                    <a:pt x="23" y="186"/>
                  </a:lnTo>
                  <a:lnTo>
                    <a:pt x="23" y="186"/>
                  </a:lnTo>
                  <a:lnTo>
                    <a:pt x="23" y="186"/>
                  </a:lnTo>
                  <a:lnTo>
                    <a:pt x="25" y="186"/>
                  </a:lnTo>
                  <a:lnTo>
                    <a:pt x="25" y="184"/>
                  </a:lnTo>
                  <a:lnTo>
                    <a:pt x="25" y="184"/>
                  </a:lnTo>
                  <a:lnTo>
                    <a:pt x="25" y="184"/>
                  </a:lnTo>
                  <a:lnTo>
                    <a:pt x="27" y="184"/>
                  </a:lnTo>
                  <a:lnTo>
                    <a:pt x="27" y="184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27" y="191"/>
                  </a:lnTo>
                  <a:lnTo>
                    <a:pt x="27" y="191"/>
                  </a:lnTo>
                  <a:lnTo>
                    <a:pt x="27" y="191"/>
                  </a:lnTo>
                  <a:lnTo>
                    <a:pt x="25" y="193"/>
                  </a:lnTo>
                  <a:lnTo>
                    <a:pt x="25" y="195"/>
                  </a:lnTo>
                  <a:lnTo>
                    <a:pt x="25" y="197"/>
                  </a:lnTo>
                  <a:lnTo>
                    <a:pt x="27" y="199"/>
                  </a:lnTo>
                  <a:lnTo>
                    <a:pt x="27" y="201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5" y="204"/>
                  </a:lnTo>
                  <a:lnTo>
                    <a:pt x="27" y="204"/>
                  </a:lnTo>
                  <a:lnTo>
                    <a:pt x="27" y="204"/>
                  </a:lnTo>
                  <a:lnTo>
                    <a:pt x="27" y="206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30" y="210"/>
                  </a:lnTo>
                  <a:lnTo>
                    <a:pt x="34" y="211"/>
                  </a:lnTo>
                  <a:lnTo>
                    <a:pt x="36" y="215"/>
                  </a:lnTo>
                  <a:lnTo>
                    <a:pt x="36" y="215"/>
                  </a:lnTo>
                  <a:lnTo>
                    <a:pt x="38" y="215"/>
                  </a:lnTo>
                  <a:lnTo>
                    <a:pt x="41" y="217"/>
                  </a:lnTo>
                  <a:lnTo>
                    <a:pt x="41" y="217"/>
                  </a:lnTo>
                  <a:lnTo>
                    <a:pt x="41" y="217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5" y="217"/>
                  </a:lnTo>
                  <a:lnTo>
                    <a:pt x="45" y="217"/>
                  </a:lnTo>
                  <a:lnTo>
                    <a:pt x="45" y="217"/>
                  </a:lnTo>
                  <a:lnTo>
                    <a:pt x="47" y="220"/>
                  </a:lnTo>
                  <a:lnTo>
                    <a:pt x="48" y="220"/>
                  </a:lnTo>
                  <a:lnTo>
                    <a:pt x="50" y="222"/>
                  </a:lnTo>
                  <a:lnTo>
                    <a:pt x="50" y="222"/>
                  </a:lnTo>
                  <a:lnTo>
                    <a:pt x="52" y="222"/>
                  </a:lnTo>
                  <a:lnTo>
                    <a:pt x="57" y="224"/>
                  </a:lnTo>
                  <a:lnTo>
                    <a:pt x="59" y="226"/>
                  </a:lnTo>
                  <a:lnTo>
                    <a:pt x="61" y="226"/>
                  </a:lnTo>
                  <a:lnTo>
                    <a:pt x="61" y="228"/>
                  </a:lnTo>
                  <a:lnTo>
                    <a:pt x="63" y="228"/>
                  </a:lnTo>
                  <a:lnTo>
                    <a:pt x="63" y="229"/>
                  </a:lnTo>
                  <a:lnTo>
                    <a:pt x="63" y="229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59" y="231"/>
                  </a:lnTo>
                  <a:lnTo>
                    <a:pt x="59" y="231"/>
                  </a:lnTo>
                  <a:lnTo>
                    <a:pt x="59" y="231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7"/>
                  </a:lnTo>
                  <a:lnTo>
                    <a:pt x="59" y="237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7" y="238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7" y="240"/>
                  </a:lnTo>
                  <a:lnTo>
                    <a:pt x="57" y="242"/>
                  </a:lnTo>
                  <a:lnTo>
                    <a:pt x="61" y="242"/>
                  </a:lnTo>
                  <a:lnTo>
                    <a:pt x="61" y="242"/>
                  </a:lnTo>
                  <a:lnTo>
                    <a:pt x="63" y="244"/>
                  </a:lnTo>
                  <a:lnTo>
                    <a:pt x="65" y="244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3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57" y="247"/>
                  </a:lnTo>
                  <a:lnTo>
                    <a:pt x="56" y="247"/>
                  </a:lnTo>
                  <a:lnTo>
                    <a:pt x="56" y="249"/>
                  </a:lnTo>
                  <a:lnTo>
                    <a:pt x="56" y="249"/>
                  </a:lnTo>
                  <a:lnTo>
                    <a:pt x="54" y="249"/>
                  </a:lnTo>
                  <a:lnTo>
                    <a:pt x="56" y="251"/>
                  </a:lnTo>
                  <a:lnTo>
                    <a:pt x="56" y="251"/>
                  </a:lnTo>
                  <a:lnTo>
                    <a:pt x="56" y="251"/>
                  </a:lnTo>
                  <a:lnTo>
                    <a:pt x="56" y="251"/>
                  </a:lnTo>
                  <a:lnTo>
                    <a:pt x="57" y="253"/>
                  </a:lnTo>
                  <a:lnTo>
                    <a:pt x="57" y="253"/>
                  </a:lnTo>
                  <a:lnTo>
                    <a:pt x="63" y="255"/>
                  </a:lnTo>
                  <a:lnTo>
                    <a:pt x="65" y="253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8" y="258"/>
                  </a:lnTo>
                  <a:lnTo>
                    <a:pt x="70" y="260"/>
                  </a:lnTo>
                  <a:lnTo>
                    <a:pt x="74" y="262"/>
                  </a:lnTo>
                  <a:lnTo>
                    <a:pt x="75" y="262"/>
                  </a:lnTo>
                  <a:lnTo>
                    <a:pt x="77" y="260"/>
                  </a:lnTo>
                  <a:lnTo>
                    <a:pt x="79" y="260"/>
                  </a:lnTo>
                  <a:lnTo>
                    <a:pt x="81" y="260"/>
                  </a:lnTo>
                  <a:lnTo>
                    <a:pt x="81" y="260"/>
                  </a:lnTo>
                  <a:lnTo>
                    <a:pt x="86" y="262"/>
                  </a:lnTo>
                  <a:lnTo>
                    <a:pt x="88" y="262"/>
                  </a:lnTo>
                  <a:lnTo>
                    <a:pt x="88" y="264"/>
                  </a:lnTo>
                  <a:lnTo>
                    <a:pt x="90" y="266"/>
                  </a:lnTo>
                  <a:lnTo>
                    <a:pt x="90" y="267"/>
                  </a:lnTo>
                  <a:lnTo>
                    <a:pt x="90" y="267"/>
                  </a:lnTo>
                  <a:lnTo>
                    <a:pt x="90" y="267"/>
                  </a:lnTo>
                  <a:lnTo>
                    <a:pt x="90" y="269"/>
                  </a:lnTo>
                  <a:lnTo>
                    <a:pt x="90" y="269"/>
                  </a:lnTo>
                  <a:lnTo>
                    <a:pt x="92" y="269"/>
                  </a:lnTo>
                  <a:lnTo>
                    <a:pt x="92" y="269"/>
                  </a:lnTo>
                  <a:lnTo>
                    <a:pt x="92" y="273"/>
                  </a:lnTo>
                  <a:lnTo>
                    <a:pt x="94" y="273"/>
                  </a:lnTo>
                  <a:lnTo>
                    <a:pt x="94" y="273"/>
                  </a:lnTo>
                  <a:lnTo>
                    <a:pt x="95" y="273"/>
                  </a:lnTo>
                  <a:lnTo>
                    <a:pt x="95" y="273"/>
                  </a:lnTo>
                  <a:lnTo>
                    <a:pt x="97" y="273"/>
                  </a:lnTo>
                  <a:lnTo>
                    <a:pt x="103" y="262"/>
                  </a:lnTo>
                  <a:lnTo>
                    <a:pt x="103" y="262"/>
                  </a:lnTo>
                  <a:lnTo>
                    <a:pt x="104" y="260"/>
                  </a:lnTo>
                  <a:lnTo>
                    <a:pt x="106" y="260"/>
                  </a:lnTo>
                  <a:lnTo>
                    <a:pt x="106" y="260"/>
                  </a:lnTo>
                  <a:lnTo>
                    <a:pt x="108" y="258"/>
                  </a:lnTo>
                  <a:lnTo>
                    <a:pt x="110" y="257"/>
                  </a:lnTo>
                  <a:lnTo>
                    <a:pt x="110" y="257"/>
                  </a:lnTo>
                  <a:lnTo>
                    <a:pt x="112" y="257"/>
                  </a:lnTo>
                  <a:lnTo>
                    <a:pt x="112" y="258"/>
                  </a:lnTo>
                  <a:lnTo>
                    <a:pt x="115" y="262"/>
                  </a:lnTo>
                  <a:lnTo>
                    <a:pt x="117" y="264"/>
                  </a:lnTo>
                  <a:lnTo>
                    <a:pt x="119" y="264"/>
                  </a:lnTo>
                  <a:lnTo>
                    <a:pt x="122" y="264"/>
                  </a:lnTo>
                  <a:lnTo>
                    <a:pt x="124" y="266"/>
                  </a:lnTo>
                  <a:lnTo>
                    <a:pt x="126" y="267"/>
                  </a:lnTo>
                  <a:lnTo>
                    <a:pt x="126" y="269"/>
                  </a:lnTo>
                  <a:lnTo>
                    <a:pt x="124" y="269"/>
                  </a:lnTo>
                  <a:lnTo>
                    <a:pt x="124" y="271"/>
                  </a:lnTo>
                  <a:lnTo>
                    <a:pt x="122" y="271"/>
                  </a:lnTo>
                  <a:lnTo>
                    <a:pt x="122" y="271"/>
                  </a:lnTo>
                  <a:lnTo>
                    <a:pt x="119" y="269"/>
                  </a:lnTo>
                  <a:lnTo>
                    <a:pt x="119" y="269"/>
                  </a:lnTo>
                  <a:lnTo>
                    <a:pt x="117" y="269"/>
                  </a:lnTo>
                  <a:lnTo>
                    <a:pt x="117" y="269"/>
                  </a:lnTo>
                  <a:lnTo>
                    <a:pt x="115" y="269"/>
                  </a:lnTo>
                  <a:lnTo>
                    <a:pt x="115" y="271"/>
                  </a:lnTo>
                  <a:lnTo>
                    <a:pt x="115" y="273"/>
                  </a:lnTo>
                  <a:lnTo>
                    <a:pt x="115" y="273"/>
                  </a:lnTo>
                  <a:lnTo>
                    <a:pt x="115" y="273"/>
                  </a:lnTo>
                  <a:lnTo>
                    <a:pt x="113" y="273"/>
                  </a:lnTo>
                  <a:lnTo>
                    <a:pt x="112" y="273"/>
                  </a:lnTo>
                  <a:lnTo>
                    <a:pt x="112" y="273"/>
                  </a:lnTo>
                  <a:lnTo>
                    <a:pt x="112" y="275"/>
                  </a:lnTo>
                  <a:lnTo>
                    <a:pt x="112" y="275"/>
                  </a:lnTo>
                  <a:lnTo>
                    <a:pt x="112" y="276"/>
                  </a:lnTo>
                  <a:lnTo>
                    <a:pt x="112" y="276"/>
                  </a:lnTo>
                  <a:lnTo>
                    <a:pt x="113" y="278"/>
                  </a:lnTo>
                  <a:lnTo>
                    <a:pt x="113" y="278"/>
                  </a:lnTo>
                  <a:lnTo>
                    <a:pt x="113" y="278"/>
                  </a:lnTo>
                  <a:lnTo>
                    <a:pt x="113" y="280"/>
                  </a:lnTo>
                  <a:lnTo>
                    <a:pt x="113" y="280"/>
                  </a:lnTo>
                  <a:lnTo>
                    <a:pt x="113" y="282"/>
                  </a:lnTo>
                  <a:lnTo>
                    <a:pt x="115" y="284"/>
                  </a:lnTo>
                  <a:lnTo>
                    <a:pt x="117" y="285"/>
                  </a:lnTo>
                  <a:lnTo>
                    <a:pt x="119" y="287"/>
                  </a:lnTo>
                  <a:lnTo>
                    <a:pt x="121" y="287"/>
                  </a:lnTo>
                  <a:lnTo>
                    <a:pt x="122" y="287"/>
                  </a:lnTo>
                  <a:lnTo>
                    <a:pt x="122" y="287"/>
                  </a:lnTo>
                  <a:lnTo>
                    <a:pt x="122" y="291"/>
                  </a:lnTo>
                  <a:lnTo>
                    <a:pt x="122" y="293"/>
                  </a:lnTo>
                  <a:lnTo>
                    <a:pt x="122" y="293"/>
                  </a:lnTo>
                  <a:lnTo>
                    <a:pt x="133" y="300"/>
                  </a:lnTo>
                  <a:lnTo>
                    <a:pt x="135" y="300"/>
                  </a:lnTo>
                  <a:lnTo>
                    <a:pt x="137" y="302"/>
                  </a:lnTo>
                  <a:lnTo>
                    <a:pt x="139" y="302"/>
                  </a:lnTo>
                  <a:lnTo>
                    <a:pt x="139" y="302"/>
                  </a:lnTo>
                  <a:lnTo>
                    <a:pt x="140" y="303"/>
                  </a:lnTo>
                  <a:lnTo>
                    <a:pt x="139" y="305"/>
                  </a:lnTo>
                  <a:lnTo>
                    <a:pt x="137" y="307"/>
                  </a:lnTo>
                  <a:lnTo>
                    <a:pt x="135" y="307"/>
                  </a:lnTo>
                  <a:lnTo>
                    <a:pt x="133" y="307"/>
                  </a:lnTo>
                  <a:lnTo>
                    <a:pt x="133" y="309"/>
                  </a:lnTo>
                  <a:lnTo>
                    <a:pt x="131" y="309"/>
                  </a:lnTo>
                  <a:lnTo>
                    <a:pt x="131" y="311"/>
                  </a:lnTo>
                  <a:lnTo>
                    <a:pt x="130" y="316"/>
                  </a:lnTo>
                  <a:lnTo>
                    <a:pt x="130" y="316"/>
                  </a:lnTo>
                  <a:lnTo>
                    <a:pt x="131" y="318"/>
                  </a:lnTo>
                  <a:lnTo>
                    <a:pt x="131" y="320"/>
                  </a:lnTo>
                  <a:lnTo>
                    <a:pt x="133" y="320"/>
                  </a:lnTo>
                  <a:lnTo>
                    <a:pt x="140" y="320"/>
                  </a:lnTo>
                  <a:lnTo>
                    <a:pt x="144" y="318"/>
                  </a:lnTo>
                  <a:lnTo>
                    <a:pt x="146" y="318"/>
                  </a:lnTo>
                  <a:lnTo>
                    <a:pt x="148" y="318"/>
                  </a:lnTo>
                  <a:lnTo>
                    <a:pt x="149" y="316"/>
                  </a:lnTo>
                  <a:lnTo>
                    <a:pt x="153" y="316"/>
                  </a:lnTo>
                  <a:lnTo>
                    <a:pt x="162" y="316"/>
                  </a:lnTo>
                  <a:lnTo>
                    <a:pt x="168" y="320"/>
                  </a:lnTo>
                  <a:lnTo>
                    <a:pt x="169" y="320"/>
                  </a:lnTo>
                  <a:lnTo>
                    <a:pt x="169" y="320"/>
                  </a:lnTo>
                  <a:lnTo>
                    <a:pt x="173" y="320"/>
                  </a:lnTo>
                  <a:lnTo>
                    <a:pt x="175" y="320"/>
                  </a:lnTo>
                  <a:lnTo>
                    <a:pt x="178" y="322"/>
                  </a:lnTo>
                  <a:lnTo>
                    <a:pt x="195" y="325"/>
                  </a:lnTo>
                  <a:lnTo>
                    <a:pt x="196" y="325"/>
                  </a:lnTo>
                  <a:lnTo>
                    <a:pt x="204" y="325"/>
                  </a:lnTo>
                  <a:lnTo>
                    <a:pt x="205" y="325"/>
                  </a:lnTo>
                  <a:lnTo>
                    <a:pt x="207" y="325"/>
                  </a:lnTo>
                  <a:lnTo>
                    <a:pt x="209" y="323"/>
                  </a:lnTo>
                  <a:lnTo>
                    <a:pt x="211" y="322"/>
                  </a:lnTo>
                  <a:lnTo>
                    <a:pt x="213" y="322"/>
                  </a:lnTo>
                  <a:lnTo>
                    <a:pt x="220" y="325"/>
                  </a:lnTo>
                  <a:lnTo>
                    <a:pt x="224" y="325"/>
                  </a:lnTo>
                  <a:lnTo>
                    <a:pt x="225" y="327"/>
                  </a:lnTo>
                  <a:lnTo>
                    <a:pt x="236" y="325"/>
                  </a:lnTo>
                  <a:lnTo>
                    <a:pt x="242" y="327"/>
                  </a:lnTo>
                  <a:lnTo>
                    <a:pt x="249" y="329"/>
                  </a:lnTo>
                  <a:lnTo>
                    <a:pt x="251" y="329"/>
                  </a:lnTo>
                  <a:lnTo>
                    <a:pt x="252" y="331"/>
                  </a:lnTo>
                  <a:lnTo>
                    <a:pt x="252" y="331"/>
                  </a:lnTo>
                  <a:lnTo>
                    <a:pt x="254" y="331"/>
                  </a:lnTo>
                  <a:lnTo>
                    <a:pt x="256" y="332"/>
                  </a:lnTo>
                  <a:lnTo>
                    <a:pt x="258" y="332"/>
                  </a:lnTo>
                  <a:lnTo>
                    <a:pt x="260" y="332"/>
                  </a:lnTo>
                  <a:lnTo>
                    <a:pt x="261" y="331"/>
                  </a:lnTo>
                  <a:lnTo>
                    <a:pt x="261" y="331"/>
                  </a:lnTo>
                  <a:lnTo>
                    <a:pt x="261" y="331"/>
                  </a:lnTo>
                  <a:lnTo>
                    <a:pt x="265" y="331"/>
                  </a:lnTo>
                  <a:lnTo>
                    <a:pt x="265" y="331"/>
                  </a:lnTo>
                  <a:lnTo>
                    <a:pt x="267" y="331"/>
                  </a:lnTo>
                  <a:lnTo>
                    <a:pt x="267" y="331"/>
                  </a:lnTo>
                  <a:lnTo>
                    <a:pt x="269" y="331"/>
                  </a:lnTo>
                  <a:lnTo>
                    <a:pt x="270" y="329"/>
                  </a:lnTo>
                  <a:lnTo>
                    <a:pt x="270" y="329"/>
                  </a:lnTo>
                  <a:lnTo>
                    <a:pt x="270" y="327"/>
                  </a:lnTo>
                  <a:lnTo>
                    <a:pt x="274" y="327"/>
                  </a:lnTo>
                  <a:lnTo>
                    <a:pt x="274" y="327"/>
                  </a:lnTo>
                  <a:lnTo>
                    <a:pt x="278" y="327"/>
                  </a:lnTo>
                  <a:lnTo>
                    <a:pt x="278" y="325"/>
                  </a:lnTo>
                  <a:lnTo>
                    <a:pt x="278" y="325"/>
                  </a:lnTo>
                  <a:lnTo>
                    <a:pt x="280" y="323"/>
                  </a:lnTo>
                  <a:lnTo>
                    <a:pt x="281" y="322"/>
                  </a:lnTo>
                  <a:lnTo>
                    <a:pt x="283" y="320"/>
                  </a:lnTo>
                  <a:lnTo>
                    <a:pt x="283" y="318"/>
                  </a:lnTo>
                  <a:lnTo>
                    <a:pt x="285" y="318"/>
                  </a:lnTo>
                  <a:lnTo>
                    <a:pt x="290" y="313"/>
                  </a:lnTo>
                  <a:lnTo>
                    <a:pt x="290" y="313"/>
                  </a:lnTo>
                  <a:lnTo>
                    <a:pt x="292" y="311"/>
                  </a:lnTo>
                  <a:lnTo>
                    <a:pt x="294" y="309"/>
                  </a:lnTo>
                  <a:lnTo>
                    <a:pt x="296" y="307"/>
                  </a:lnTo>
                  <a:lnTo>
                    <a:pt x="299" y="307"/>
                  </a:lnTo>
                  <a:lnTo>
                    <a:pt x="303" y="305"/>
                  </a:lnTo>
                  <a:lnTo>
                    <a:pt x="305" y="305"/>
                  </a:lnTo>
                  <a:lnTo>
                    <a:pt x="308" y="303"/>
                  </a:lnTo>
                  <a:lnTo>
                    <a:pt x="319" y="302"/>
                  </a:lnTo>
                  <a:lnTo>
                    <a:pt x="321" y="302"/>
                  </a:lnTo>
                  <a:lnTo>
                    <a:pt x="321" y="302"/>
                  </a:lnTo>
                  <a:lnTo>
                    <a:pt x="321" y="302"/>
                  </a:lnTo>
                  <a:lnTo>
                    <a:pt x="323" y="302"/>
                  </a:lnTo>
                  <a:lnTo>
                    <a:pt x="323" y="302"/>
                  </a:lnTo>
                  <a:lnTo>
                    <a:pt x="325" y="302"/>
                  </a:lnTo>
                  <a:lnTo>
                    <a:pt x="326" y="300"/>
                  </a:lnTo>
                  <a:lnTo>
                    <a:pt x="332" y="298"/>
                  </a:lnTo>
                  <a:lnTo>
                    <a:pt x="337" y="296"/>
                  </a:lnTo>
                  <a:lnTo>
                    <a:pt x="339" y="296"/>
                  </a:lnTo>
                  <a:lnTo>
                    <a:pt x="343" y="298"/>
                  </a:lnTo>
                  <a:lnTo>
                    <a:pt x="348" y="300"/>
                  </a:lnTo>
                  <a:lnTo>
                    <a:pt x="350" y="300"/>
                  </a:lnTo>
                  <a:lnTo>
                    <a:pt x="350" y="300"/>
                  </a:lnTo>
                  <a:lnTo>
                    <a:pt x="350" y="300"/>
                  </a:lnTo>
                  <a:lnTo>
                    <a:pt x="352" y="300"/>
                  </a:lnTo>
                  <a:lnTo>
                    <a:pt x="352" y="302"/>
                  </a:lnTo>
                  <a:lnTo>
                    <a:pt x="352" y="303"/>
                  </a:lnTo>
                  <a:lnTo>
                    <a:pt x="355" y="305"/>
                  </a:lnTo>
                  <a:lnTo>
                    <a:pt x="355" y="305"/>
                  </a:lnTo>
                  <a:lnTo>
                    <a:pt x="357" y="307"/>
                  </a:lnTo>
                  <a:lnTo>
                    <a:pt x="357" y="307"/>
                  </a:lnTo>
                  <a:lnTo>
                    <a:pt x="366" y="307"/>
                  </a:lnTo>
                  <a:lnTo>
                    <a:pt x="370" y="307"/>
                  </a:lnTo>
                  <a:lnTo>
                    <a:pt x="370" y="307"/>
                  </a:lnTo>
                  <a:lnTo>
                    <a:pt x="372" y="309"/>
                  </a:lnTo>
                  <a:lnTo>
                    <a:pt x="372" y="309"/>
                  </a:lnTo>
                  <a:lnTo>
                    <a:pt x="373" y="313"/>
                  </a:lnTo>
                  <a:lnTo>
                    <a:pt x="377" y="311"/>
                  </a:lnTo>
                  <a:lnTo>
                    <a:pt x="381" y="309"/>
                  </a:lnTo>
                  <a:lnTo>
                    <a:pt x="384" y="309"/>
                  </a:lnTo>
                  <a:lnTo>
                    <a:pt x="384" y="309"/>
                  </a:lnTo>
                  <a:lnTo>
                    <a:pt x="384" y="311"/>
                  </a:lnTo>
                  <a:lnTo>
                    <a:pt x="386" y="318"/>
                  </a:lnTo>
                  <a:lnTo>
                    <a:pt x="388" y="320"/>
                  </a:lnTo>
                  <a:lnTo>
                    <a:pt x="399" y="325"/>
                  </a:lnTo>
                  <a:lnTo>
                    <a:pt x="410" y="327"/>
                  </a:lnTo>
                  <a:lnTo>
                    <a:pt x="417" y="327"/>
                  </a:lnTo>
                  <a:lnTo>
                    <a:pt x="417" y="325"/>
                  </a:lnTo>
                  <a:lnTo>
                    <a:pt x="417" y="325"/>
                  </a:lnTo>
                  <a:lnTo>
                    <a:pt x="417" y="323"/>
                  </a:lnTo>
                  <a:lnTo>
                    <a:pt x="417" y="323"/>
                  </a:lnTo>
                  <a:lnTo>
                    <a:pt x="417" y="323"/>
                  </a:lnTo>
                  <a:lnTo>
                    <a:pt x="417" y="322"/>
                  </a:lnTo>
                  <a:lnTo>
                    <a:pt x="417" y="322"/>
                  </a:lnTo>
                  <a:lnTo>
                    <a:pt x="417" y="322"/>
                  </a:lnTo>
                  <a:lnTo>
                    <a:pt x="419" y="316"/>
                  </a:lnTo>
                  <a:lnTo>
                    <a:pt x="419" y="316"/>
                  </a:lnTo>
                  <a:lnTo>
                    <a:pt x="420" y="314"/>
                  </a:lnTo>
                  <a:lnTo>
                    <a:pt x="420" y="313"/>
                  </a:lnTo>
                  <a:lnTo>
                    <a:pt x="420" y="311"/>
                  </a:lnTo>
                  <a:lnTo>
                    <a:pt x="420" y="309"/>
                  </a:lnTo>
                  <a:lnTo>
                    <a:pt x="422" y="309"/>
                  </a:lnTo>
                  <a:lnTo>
                    <a:pt x="422" y="309"/>
                  </a:lnTo>
                  <a:lnTo>
                    <a:pt x="422" y="309"/>
                  </a:lnTo>
                  <a:lnTo>
                    <a:pt x="420" y="305"/>
                  </a:lnTo>
                  <a:lnTo>
                    <a:pt x="420" y="298"/>
                  </a:lnTo>
                  <a:lnTo>
                    <a:pt x="419" y="298"/>
                  </a:lnTo>
                  <a:lnTo>
                    <a:pt x="420" y="296"/>
                  </a:lnTo>
                  <a:lnTo>
                    <a:pt x="420" y="296"/>
                  </a:lnTo>
                  <a:lnTo>
                    <a:pt x="420" y="296"/>
                  </a:lnTo>
                  <a:lnTo>
                    <a:pt x="422" y="296"/>
                  </a:lnTo>
                  <a:lnTo>
                    <a:pt x="420" y="296"/>
                  </a:lnTo>
                  <a:lnTo>
                    <a:pt x="422" y="296"/>
                  </a:lnTo>
                  <a:lnTo>
                    <a:pt x="420" y="294"/>
                  </a:lnTo>
                  <a:lnTo>
                    <a:pt x="420" y="293"/>
                  </a:lnTo>
                  <a:lnTo>
                    <a:pt x="420" y="291"/>
                  </a:lnTo>
                  <a:lnTo>
                    <a:pt x="420" y="289"/>
                  </a:lnTo>
                  <a:lnTo>
                    <a:pt x="420" y="287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5"/>
                  </a:lnTo>
                  <a:lnTo>
                    <a:pt x="420" y="284"/>
                  </a:lnTo>
                  <a:lnTo>
                    <a:pt x="422" y="284"/>
                  </a:lnTo>
                  <a:lnTo>
                    <a:pt x="422" y="284"/>
                  </a:lnTo>
                  <a:lnTo>
                    <a:pt x="422" y="284"/>
                  </a:lnTo>
                  <a:lnTo>
                    <a:pt x="424" y="282"/>
                  </a:lnTo>
                  <a:lnTo>
                    <a:pt x="428" y="276"/>
                  </a:lnTo>
                  <a:lnTo>
                    <a:pt x="429" y="275"/>
                  </a:lnTo>
                  <a:lnTo>
                    <a:pt x="433" y="267"/>
                  </a:lnTo>
                  <a:lnTo>
                    <a:pt x="433" y="266"/>
                  </a:lnTo>
                  <a:lnTo>
                    <a:pt x="435" y="266"/>
                  </a:lnTo>
                  <a:lnTo>
                    <a:pt x="433" y="266"/>
                  </a:lnTo>
                  <a:lnTo>
                    <a:pt x="433" y="267"/>
                  </a:lnTo>
                  <a:lnTo>
                    <a:pt x="433" y="267"/>
                  </a:lnTo>
                  <a:lnTo>
                    <a:pt x="431" y="269"/>
                  </a:lnTo>
                  <a:lnTo>
                    <a:pt x="431" y="269"/>
                  </a:lnTo>
                  <a:lnTo>
                    <a:pt x="429" y="269"/>
                  </a:lnTo>
                  <a:lnTo>
                    <a:pt x="428" y="271"/>
                  </a:lnTo>
                  <a:lnTo>
                    <a:pt x="428" y="273"/>
                  </a:lnTo>
                  <a:lnTo>
                    <a:pt x="428" y="273"/>
                  </a:lnTo>
                  <a:lnTo>
                    <a:pt x="426" y="275"/>
                  </a:lnTo>
                  <a:lnTo>
                    <a:pt x="426" y="275"/>
                  </a:lnTo>
                  <a:lnTo>
                    <a:pt x="426" y="276"/>
                  </a:lnTo>
                  <a:lnTo>
                    <a:pt x="426" y="276"/>
                  </a:lnTo>
                  <a:lnTo>
                    <a:pt x="426" y="275"/>
                  </a:lnTo>
                  <a:lnTo>
                    <a:pt x="426" y="273"/>
                  </a:lnTo>
                  <a:lnTo>
                    <a:pt x="426" y="271"/>
                  </a:lnTo>
                  <a:lnTo>
                    <a:pt x="426" y="269"/>
                  </a:lnTo>
                  <a:lnTo>
                    <a:pt x="426" y="269"/>
                  </a:lnTo>
                  <a:lnTo>
                    <a:pt x="426" y="269"/>
                  </a:lnTo>
                  <a:lnTo>
                    <a:pt x="426" y="269"/>
                  </a:lnTo>
                  <a:lnTo>
                    <a:pt x="424" y="269"/>
                  </a:lnTo>
                  <a:lnTo>
                    <a:pt x="424" y="269"/>
                  </a:lnTo>
                  <a:lnTo>
                    <a:pt x="424" y="269"/>
                  </a:lnTo>
                  <a:lnTo>
                    <a:pt x="426" y="267"/>
                  </a:lnTo>
                  <a:lnTo>
                    <a:pt x="428" y="267"/>
                  </a:lnTo>
                  <a:lnTo>
                    <a:pt x="426" y="267"/>
                  </a:lnTo>
                  <a:lnTo>
                    <a:pt x="426" y="267"/>
                  </a:lnTo>
                  <a:lnTo>
                    <a:pt x="426" y="266"/>
                  </a:lnTo>
                  <a:lnTo>
                    <a:pt x="426" y="266"/>
                  </a:lnTo>
                  <a:lnTo>
                    <a:pt x="426" y="266"/>
                  </a:lnTo>
                  <a:lnTo>
                    <a:pt x="426" y="264"/>
                  </a:lnTo>
                  <a:lnTo>
                    <a:pt x="426" y="264"/>
                  </a:lnTo>
                  <a:lnTo>
                    <a:pt x="428" y="264"/>
                  </a:lnTo>
                  <a:lnTo>
                    <a:pt x="428" y="264"/>
                  </a:lnTo>
                  <a:lnTo>
                    <a:pt x="428" y="266"/>
                  </a:lnTo>
                  <a:lnTo>
                    <a:pt x="426" y="266"/>
                  </a:lnTo>
                  <a:lnTo>
                    <a:pt x="428" y="266"/>
                  </a:lnTo>
                  <a:lnTo>
                    <a:pt x="429" y="264"/>
                  </a:lnTo>
                  <a:lnTo>
                    <a:pt x="431" y="264"/>
                  </a:lnTo>
                  <a:lnTo>
                    <a:pt x="433" y="262"/>
                  </a:lnTo>
                  <a:lnTo>
                    <a:pt x="433" y="262"/>
                  </a:lnTo>
                  <a:lnTo>
                    <a:pt x="433" y="262"/>
                  </a:lnTo>
                  <a:lnTo>
                    <a:pt x="433" y="260"/>
                  </a:lnTo>
                  <a:lnTo>
                    <a:pt x="433" y="260"/>
                  </a:lnTo>
                  <a:lnTo>
                    <a:pt x="435" y="260"/>
                  </a:lnTo>
                  <a:lnTo>
                    <a:pt x="435" y="262"/>
                  </a:lnTo>
                  <a:lnTo>
                    <a:pt x="437" y="260"/>
                  </a:lnTo>
                  <a:lnTo>
                    <a:pt x="437" y="260"/>
                  </a:lnTo>
                  <a:lnTo>
                    <a:pt x="435" y="260"/>
                  </a:lnTo>
                  <a:lnTo>
                    <a:pt x="435" y="260"/>
                  </a:lnTo>
                  <a:lnTo>
                    <a:pt x="437" y="260"/>
                  </a:lnTo>
                  <a:lnTo>
                    <a:pt x="437" y="262"/>
                  </a:lnTo>
                  <a:lnTo>
                    <a:pt x="437" y="264"/>
                  </a:lnTo>
                  <a:lnTo>
                    <a:pt x="435" y="264"/>
                  </a:lnTo>
                  <a:lnTo>
                    <a:pt x="437" y="264"/>
                  </a:lnTo>
                  <a:lnTo>
                    <a:pt x="437" y="262"/>
                  </a:lnTo>
                  <a:lnTo>
                    <a:pt x="437" y="262"/>
                  </a:lnTo>
                  <a:lnTo>
                    <a:pt x="437" y="260"/>
                  </a:lnTo>
                  <a:lnTo>
                    <a:pt x="437" y="260"/>
                  </a:lnTo>
                  <a:lnTo>
                    <a:pt x="433" y="258"/>
                  </a:lnTo>
                  <a:lnTo>
                    <a:pt x="433" y="260"/>
                  </a:lnTo>
                  <a:lnTo>
                    <a:pt x="433" y="262"/>
                  </a:lnTo>
                  <a:lnTo>
                    <a:pt x="431" y="262"/>
                  </a:lnTo>
                  <a:lnTo>
                    <a:pt x="429" y="264"/>
                  </a:lnTo>
                  <a:lnTo>
                    <a:pt x="428" y="264"/>
                  </a:lnTo>
                  <a:lnTo>
                    <a:pt x="428" y="264"/>
                  </a:lnTo>
                  <a:lnTo>
                    <a:pt x="428" y="262"/>
                  </a:lnTo>
                  <a:lnTo>
                    <a:pt x="428" y="260"/>
                  </a:lnTo>
                  <a:lnTo>
                    <a:pt x="428" y="260"/>
                  </a:lnTo>
                  <a:lnTo>
                    <a:pt x="428" y="260"/>
                  </a:lnTo>
                  <a:lnTo>
                    <a:pt x="428" y="260"/>
                  </a:lnTo>
                  <a:lnTo>
                    <a:pt x="428" y="260"/>
                  </a:lnTo>
                  <a:lnTo>
                    <a:pt x="428" y="258"/>
                  </a:lnTo>
                  <a:lnTo>
                    <a:pt x="428" y="258"/>
                  </a:lnTo>
                  <a:lnTo>
                    <a:pt x="428" y="258"/>
                  </a:lnTo>
                  <a:lnTo>
                    <a:pt x="431" y="257"/>
                  </a:lnTo>
                  <a:lnTo>
                    <a:pt x="431" y="255"/>
                  </a:lnTo>
                  <a:lnTo>
                    <a:pt x="435" y="255"/>
                  </a:lnTo>
                  <a:lnTo>
                    <a:pt x="435" y="255"/>
                  </a:lnTo>
                  <a:lnTo>
                    <a:pt x="435" y="255"/>
                  </a:lnTo>
                  <a:lnTo>
                    <a:pt x="435" y="255"/>
                  </a:lnTo>
                  <a:lnTo>
                    <a:pt x="435" y="253"/>
                  </a:lnTo>
                  <a:lnTo>
                    <a:pt x="435" y="253"/>
                  </a:lnTo>
                  <a:lnTo>
                    <a:pt x="435" y="253"/>
                  </a:lnTo>
                  <a:lnTo>
                    <a:pt x="435" y="251"/>
                  </a:lnTo>
                  <a:lnTo>
                    <a:pt x="435" y="251"/>
                  </a:lnTo>
                  <a:lnTo>
                    <a:pt x="435" y="251"/>
                  </a:lnTo>
                  <a:lnTo>
                    <a:pt x="435" y="251"/>
                  </a:lnTo>
                  <a:lnTo>
                    <a:pt x="435" y="251"/>
                  </a:lnTo>
                  <a:lnTo>
                    <a:pt x="435" y="251"/>
                  </a:lnTo>
                  <a:lnTo>
                    <a:pt x="433" y="247"/>
                  </a:lnTo>
                  <a:lnTo>
                    <a:pt x="431" y="247"/>
                  </a:lnTo>
                  <a:lnTo>
                    <a:pt x="431" y="247"/>
                  </a:lnTo>
                  <a:lnTo>
                    <a:pt x="431" y="247"/>
                  </a:lnTo>
                  <a:lnTo>
                    <a:pt x="431" y="246"/>
                  </a:lnTo>
                  <a:lnTo>
                    <a:pt x="431" y="246"/>
                  </a:lnTo>
                  <a:lnTo>
                    <a:pt x="431" y="246"/>
                  </a:lnTo>
                  <a:lnTo>
                    <a:pt x="431" y="246"/>
                  </a:lnTo>
                  <a:lnTo>
                    <a:pt x="431" y="246"/>
                  </a:lnTo>
                  <a:lnTo>
                    <a:pt x="431" y="244"/>
                  </a:lnTo>
                  <a:lnTo>
                    <a:pt x="431" y="244"/>
                  </a:lnTo>
                  <a:lnTo>
                    <a:pt x="431" y="244"/>
                  </a:lnTo>
                  <a:lnTo>
                    <a:pt x="431" y="242"/>
                  </a:lnTo>
                  <a:lnTo>
                    <a:pt x="431" y="242"/>
                  </a:lnTo>
                  <a:lnTo>
                    <a:pt x="433" y="240"/>
                  </a:lnTo>
                  <a:lnTo>
                    <a:pt x="435" y="240"/>
                  </a:lnTo>
                  <a:lnTo>
                    <a:pt x="435" y="240"/>
                  </a:lnTo>
                  <a:lnTo>
                    <a:pt x="437" y="238"/>
                  </a:lnTo>
                  <a:lnTo>
                    <a:pt x="437" y="238"/>
                  </a:lnTo>
                  <a:lnTo>
                    <a:pt x="437" y="238"/>
                  </a:lnTo>
                  <a:lnTo>
                    <a:pt x="437" y="238"/>
                  </a:lnTo>
                  <a:lnTo>
                    <a:pt x="437" y="237"/>
                  </a:lnTo>
                  <a:lnTo>
                    <a:pt x="438" y="238"/>
                  </a:lnTo>
                  <a:lnTo>
                    <a:pt x="440" y="238"/>
                  </a:lnTo>
                  <a:lnTo>
                    <a:pt x="440" y="238"/>
                  </a:lnTo>
                  <a:lnTo>
                    <a:pt x="444" y="240"/>
                  </a:lnTo>
                  <a:lnTo>
                    <a:pt x="444" y="240"/>
                  </a:lnTo>
                  <a:lnTo>
                    <a:pt x="442" y="242"/>
                  </a:lnTo>
                  <a:lnTo>
                    <a:pt x="440" y="242"/>
                  </a:lnTo>
                  <a:lnTo>
                    <a:pt x="440" y="244"/>
                  </a:lnTo>
                  <a:lnTo>
                    <a:pt x="440" y="247"/>
                  </a:lnTo>
                  <a:lnTo>
                    <a:pt x="440" y="249"/>
                  </a:lnTo>
                  <a:lnTo>
                    <a:pt x="440" y="249"/>
                  </a:lnTo>
                  <a:lnTo>
                    <a:pt x="442" y="249"/>
                  </a:lnTo>
                  <a:lnTo>
                    <a:pt x="442" y="249"/>
                  </a:lnTo>
                  <a:lnTo>
                    <a:pt x="444" y="249"/>
                  </a:lnTo>
                  <a:lnTo>
                    <a:pt x="444" y="249"/>
                  </a:lnTo>
                  <a:lnTo>
                    <a:pt x="444" y="247"/>
                  </a:lnTo>
                  <a:lnTo>
                    <a:pt x="442" y="247"/>
                  </a:lnTo>
                  <a:lnTo>
                    <a:pt x="444" y="249"/>
                  </a:lnTo>
                  <a:lnTo>
                    <a:pt x="446" y="249"/>
                  </a:lnTo>
                  <a:lnTo>
                    <a:pt x="446" y="251"/>
                  </a:lnTo>
                  <a:lnTo>
                    <a:pt x="446" y="253"/>
                  </a:lnTo>
                  <a:lnTo>
                    <a:pt x="444" y="253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38" y="255"/>
                  </a:lnTo>
                  <a:lnTo>
                    <a:pt x="438" y="257"/>
                  </a:lnTo>
                  <a:lnTo>
                    <a:pt x="437" y="257"/>
                  </a:lnTo>
                  <a:lnTo>
                    <a:pt x="437" y="257"/>
                  </a:lnTo>
                  <a:lnTo>
                    <a:pt x="438" y="258"/>
                  </a:lnTo>
                  <a:lnTo>
                    <a:pt x="438" y="260"/>
                  </a:lnTo>
                  <a:lnTo>
                    <a:pt x="438" y="260"/>
                  </a:lnTo>
                  <a:lnTo>
                    <a:pt x="438" y="258"/>
                  </a:lnTo>
                  <a:lnTo>
                    <a:pt x="440" y="257"/>
                  </a:lnTo>
                  <a:lnTo>
                    <a:pt x="446" y="253"/>
                  </a:lnTo>
                  <a:lnTo>
                    <a:pt x="447" y="253"/>
                  </a:lnTo>
                  <a:lnTo>
                    <a:pt x="453" y="253"/>
                  </a:lnTo>
                  <a:lnTo>
                    <a:pt x="464" y="251"/>
                  </a:lnTo>
                  <a:lnTo>
                    <a:pt x="464" y="251"/>
                  </a:lnTo>
                  <a:lnTo>
                    <a:pt x="464" y="251"/>
                  </a:lnTo>
                  <a:lnTo>
                    <a:pt x="466" y="251"/>
                  </a:lnTo>
                  <a:lnTo>
                    <a:pt x="466" y="251"/>
                  </a:lnTo>
                  <a:lnTo>
                    <a:pt x="467" y="251"/>
                  </a:lnTo>
                  <a:lnTo>
                    <a:pt x="467" y="249"/>
                  </a:lnTo>
                  <a:lnTo>
                    <a:pt x="467" y="249"/>
                  </a:lnTo>
                  <a:lnTo>
                    <a:pt x="467" y="249"/>
                  </a:lnTo>
                  <a:lnTo>
                    <a:pt x="469" y="249"/>
                  </a:lnTo>
                  <a:lnTo>
                    <a:pt x="469" y="247"/>
                  </a:lnTo>
                  <a:lnTo>
                    <a:pt x="469" y="247"/>
                  </a:lnTo>
                  <a:lnTo>
                    <a:pt x="469" y="246"/>
                  </a:lnTo>
                  <a:lnTo>
                    <a:pt x="469" y="244"/>
                  </a:lnTo>
                  <a:lnTo>
                    <a:pt x="469" y="242"/>
                  </a:lnTo>
                  <a:lnTo>
                    <a:pt x="469" y="242"/>
                  </a:lnTo>
                  <a:lnTo>
                    <a:pt x="469" y="240"/>
                  </a:lnTo>
                  <a:lnTo>
                    <a:pt x="469" y="240"/>
                  </a:lnTo>
                  <a:lnTo>
                    <a:pt x="471" y="237"/>
                  </a:lnTo>
                  <a:lnTo>
                    <a:pt x="471" y="237"/>
                  </a:lnTo>
                  <a:lnTo>
                    <a:pt x="471" y="229"/>
                  </a:lnTo>
                  <a:lnTo>
                    <a:pt x="471" y="228"/>
                  </a:lnTo>
                  <a:lnTo>
                    <a:pt x="473" y="228"/>
                  </a:lnTo>
                  <a:lnTo>
                    <a:pt x="471" y="228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AF9B65A3-210B-FCF8-C17E-56987D9300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4675" y="4903788"/>
              <a:ext cx="1992313" cy="1192213"/>
            </a:xfrm>
            <a:custGeom>
              <a:avLst/>
              <a:gdLst>
                <a:gd name="T0" fmla="*/ 737 w 1255"/>
                <a:gd name="T1" fmla="*/ 603 h 751"/>
                <a:gd name="T2" fmla="*/ 715 w 1255"/>
                <a:gd name="T3" fmla="*/ 588 h 751"/>
                <a:gd name="T4" fmla="*/ 702 w 1255"/>
                <a:gd name="T5" fmla="*/ 590 h 751"/>
                <a:gd name="T6" fmla="*/ 749 w 1255"/>
                <a:gd name="T7" fmla="*/ 570 h 751"/>
                <a:gd name="T8" fmla="*/ 1170 w 1255"/>
                <a:gd name="T9" fmla="*/ 336 h 751"/>
                <a:gd name="T10" fmla="*/ 305 w 1255"/>
                <a:gd name="T11" fmla="*/ 336 h 751"/>
                <a:gd name="T12" fmla="*/ 289 w 1255"/>
                <a:gd name="T13" fmla="*/ 281 h 751"/>
                <a:gd name="T14" fmla="*/ 289 w 1255"/>
                <a:gd name="T15" fmla="*/ 289 h 751"/>
                <a:gd name="T16" fmla="*/ 137 w 1255"/>
                <a:gd name="T17" fmla="*/ 238 h 751"/>
                <a:gd name="T18" fmla="*/ 128 w 1255"/>
                <a:gd name="T19" fmla="*/ 231 h 751"/>
                <a:gd name="T20" fmla="*/ 132 w 1255"/>
                <a:gd name="T21" fmla="*/ 238 h 751"/>
                <a:gd name="T22" fmla="*/ 152 w 1255"/>
                <a:gd name="T23" fmla="*/ 227 h 751"/>
                <a:gd name="T24" fmla="*/ 168 w 1255"/>
                <a:gd name="T25" fmla="*/ 236 h 751"/>
                <a:gd name="T26" fmla="*/ 195 w 1255"/>
                <a:gd name="T27" fmla="*/ 225 h 751"/>
                <a:gd name="T28" fmla="*/ 213 w 1255"/>
                <a:gd name="T29" fmla="*/ 227 h 751"/>
                <a:gd name="T30" fmla="*/ 166 w 1255"/>
                <a:gd name="T31" fmla="*/ 205 h 751"/>
                <a:gd name="T32" fmla="*/ 3 w 1255"/>
                <a:gd name="T33" fmla="*/ 175 h 751"/>
                <a:gd name="T34" fmla="*/ 7 w 1255"/>
                <a:gd name="T35" fmla="*/ 182 h 751"/>
                <a:gd name="T36" fmla="*/ 1246 w 1255"/>
                <a:gd name="T37" fmla="*/ 34 h 751"/>
                <a:gd name="T38" fmla="*/ 1237 w 1255"/>
                <a:gd name="T39" fmla="*/ 19 h 751"/>
                <a:gd name="T40" fmla="*/ 1213 w 1255"/>
                <a:gd name="T41" fmla="*/ 14 h 751"/>
                <a:gd name="T42" fmla="*/ 1194 w 1255"/>
                <a:gd name="T43" fmla="*/ 23 h 751"/>
                <a:gd name="T44" fmla="*/ 1183 w 1255"/>
                <a:gd name="T45" fmla="*/ 19 h 751"/>
                <a:gd name="T46" fmla="*/ 1165 w 1255"/>
                <a:gd name="T47" fmla="*/ 19 h 751"/>
                <a:gd name="T48" fmla="*/ 1161 w 1255"/>
                <a:gd name="T49" fmla="*/ 9 h 751"/>
                <a:gd name="T50" fmla="*/ 1139 w 1255"/>
                <a:gd name="T51" fmla="*/ 5 h 751"/>
                <a:gd name="T52" fmla="*/ 1121 w 1255"/>
                <a:gd name="T53" fmla="*/ 28 h 751"/>
                <a:gd name="T54" fmla="*/ 1125 w 1255"/>
                <a:gd name="T55" fmla="*/ 45 h 751"/>
                <a:gd name="T56" fmla="*/ 1132 w 1255"/>
                <a:gd name="T57" fmla="*/ 68 h 751"/>
                <a:gd name="T58" fmla="*/ 1130 w 1255"/>
                <a:gd name="T59" fmla="*/ 93 h 751"/>
                <a:gd name="T60" fmla="*/ 1130 w 1255"/>
                <a:gd name="T61" fmla="*/ 99 h 751"/>
                <a:gd name="T62" fmla="*/ 1119 w 1255"/>
                <a:gd name="T63" fmla="*/ 128 h 751"/>
                <a:gd name="T64" fmla="*/ 1109 w 1255"/>
                <a:gd name="T65" fmla="*/ 173 h 751"/>
                <a:gd name="T66" fmla="*/ 1098 w 1255"/>
                <a:gd name="T67" fmla="*/ 187 h 751"/>
                <a:gd name="T68" fmla="*/ 1094 w 1255"/>
                <a:gd name="T69" fmla="*/ 227 h 751"/>
                <a:gd name="T70" fmla="*/ 1123 w 1255"/>
                <a:gd name="T71" fmla="*/ 204 h 751"/>
                <a:gd name="T72" fmla="*/ 1118 w 1255"/>
                <a:gd name="T73" fmla="*/ 222 h 751"/>
                <a:gd name="T74" fmla="*/ 1105 w 1255"/>
                <a:gd name="T75" fmla="*/ 233 h 751"/>
                <a:gd name="T76" fmla="*/ 1121 w 1255"/>
                <a:gd name="T77" fmla="*/ 240 h 751"/>
                <a:gd name="T78" fmla="*/ 1127 w 1255"/>
                <a:gd name="T79" fmla="*/ 242 h 751"/>
                <a:gd name="T80" fmla="*/ 1125 w 1255"/>
                <a:gd name="T81" fmla="*/ 252 h 751"/>
                <a:gd name="T82" fmla="*/ 1127 w 1255"/>
                <a:gd name="T83" fmla="*/ 289 h 751"/>
                <a:gd name="T84" fmla="*/ 1121 w 1255"/>
                <a:gd name="T85" fmla="*/ 317 h 751"/>
                <a:gd name="T86" fmla="*/ 1121 w 1255"/>
                <a:gd name="T87" fmla="*/ 332 h 751"/>
                <a:gd name="T88" fmla="*/ 1154 w 1255"/>
                <a:gd name="T89" fmla="*/ 328 h 751"/>
                <a:gd name="T90" fmla="*/ 1183 w 1255"/>
                <a:gd name="T91" fmla="*/ 328 h 751"/>
                <a:gd name="T92" fmla="*/ 1194 w 1255"/>
                <a:gd name="T93" fmla="*/ 310 h 751"/>
                <a:gd name="T94" fmla="*/ 1190 w 1255"/>
                <a:gd name="T95" fmla="*/ 298 h 751"/>
                <a:gd name="T96" fmla="*/ 1204 w 1255"/>
                <a:gd name="T97" fmla="*/ 272 h 751"/>
                <a:gd name="T98" fmla="*/ 1217 w 1255"/>
                <a:gd name="T99" fmla="*/ 258 h 751"/>
                <a:gd name="T100" fmla="*/ 1197 w 1255"/>
                <a:gd name="T101" fmla="*/ 243 h 751"/>
                <a:gd name="T102" fmla="*/ 1201 w 1255"/>
                <a:gd name="T103" fmla="*/ 224 h 751"/>
                <a:gd name="T104" fmla="*/ 1217 w 1255"/>
                <a:gd name="T105" fmla="*/ 207 h 751"/>
                <a:gd name="T106" fmla="*/ 1204 w 1255"/>
                <a:gd name="T107" fmla="*/ 196 h 751"/>
                <a:gd name="T108" fmla="*/ 1194 w 1255"/>
                <a:gd name="T109" fmla="*/ 173 h 751"/>
                <a:gd name="T110" fmla="*/ 1213 w 1255"/>
                <a:gd name="T111" fmla="*/ 160 h 751"/>
                <a:gd name="T112" fmla="*/ 1219 w 1255"/>
                <a:gd name="T113" fmla="*/ 148 h 751"/>
                <a:gd name="T114" fmla="*/ 1215 w 1255"/>
                <a:gd name="T115" fmla="*/ 128 h 751"/>
                <a:gd name="T116" fmla="*/ 1224 w 1255"/>
                <a:gd name="T117" fmla="*/ 110 h 751"/>
                <a:gd name="T118" fmla="*/ 1222 w 1255"/>
                <a:gd name="T119" fmla="*/ 88 h 751"/>
                <a:gd name="T120" fmla="*/ 1226 w 1255"/>
                <a:gd name="T121" fmla="*/ 70 h 751"/>
                <a:gd name="T122" fmla="*/ 1246 w 1255"/>
                <a:gd name="T123" fmla="*/ 52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55" h="751">
                  <a:moveTo>
                    <a:pt x="764" y="751"/>
                  </a:moveTo>
                  <a:lnTo>
                    <a:pt x="764" y="751"/>
                  </a:lnTo>
                  <a:lnTo>
                    <a:pt x="764" y="751"/>
                  </a:lnTo>
                  <a:lnTo>
                    <a:pt x="764" y="751"/>
                  </a:lnTo>
                  <a:lnTo>
                    <a:pt x="764" y="751"/>
                  </a:lnTo>
                  <a:close/>
                  <a:moveTo>
                    <a:pt x="771" y="744"/>
                  </a:moveTo>
                  <a:lnTo>
                    <a:pt x="771" y="746"/>
                  </a:lnTo>
                  <a:lnTo>
                    <a:pt x="771" y="746"/>
                  </a:lnTo>
                  <a:lnTo>
                    <a:pt x="771" y="746"/>
                  </a:lnTo>
                  <a:lnTo>
                    <a:pt x="771" y="746"/>
                  </a:lnTo>
                  <a:lnTo>
                    <a:pt x="771" y="746"/>
                  </a:lnTo>
                  <a:lnTo>
                    <a:pt x="771" y="746"/>
                  </a:lnTo>
                  <a:lnTo>
                    <a:pt x="771" y="746"/>
                  </a:lnTo>
                  <a:lnTo>
                    <a:pt x="771" y="746"/>
                  </a:lnTo>
                  <a:lnTo>
                    <a:pt x="771" y="744"/>
                  </a:lnTo>
                  <a:lnTo>
                    <a:pt x="771" y="744"/>
                  </a:lnTo>
                  <a:close/>
                  <a:moveTo>
                    <a:pt x="738" y="605"/>
                  </a:moveTo>
                  <a:lnTo>
                    <a:pt x="738" y="603"/>
                  </a:lnTo>
                  <a:lnTo>
                    <a:pt x="737" y="603"/>
                  </a:lnTo>
                  <a:lnTo>
                    <a:pt x="737" y="603"/>
                  </a:lnTo>
                  <a:lnTo>
                    <a:pt x="738" y="605"/>
                  </a:lnTo>
                  <a:lnTo>
                    <a:pt x="738" y="605"/>
                  </a:lnTo>
                  <a:lnTo>
                    <a:pt x="738" y="605"/>
                  </a:lnTo>
                  <a:lnTo>
                    <a:pt x="740" y="608"/>
                  </a:lnTo>
                  <a:lnTo>
                    <a:pt x="740" y="606"/>
                  </a:lnTo>
                  <a:lnTo>
                    <a:pt x="738" y="605"/>
                  </a:lnTo>
                  <a:close/>
                  <a:moveTo>
                    <a:pt x="729" y="592"/>
                  </a:moveTo>
                  <a:lnTo>
                    <a:pt x="729" y="592"/>
                  </a:lnTo>
                  <a:lnTo>
                    <a:pt x="729" y="592"/>
                  </a:lnTo>
                  <a:lnTo>
                    <a:pt x="728" y="592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4" y="590"/>
                  </a:lnTo>
                  <a:lnTo>
                    <a:pt x="724" y="590"/>
                  </a:lnTo>
                  <a:lnTo>
                    <a:pt x="722" y="588"/>
                  </a:lnTo>
                  <a:lnTo>
                    <a:pt x="720" y="588"/>
                  </a:lnTo>
                  <a:lnTo>
                    <a:pt x="719" y="587"/>
                  </a:lnTo>
                  <a:lnTo>
                    <a:pt x="719" y="587"/>
                  </a:lnTo>
                  <a:lnTo>
                    <a:pt x="717" y="587"/>
                  </a:lnTo>
                  <a:lnTo>
                    <a:pt x="715" y="588"/>
                  </a:lnTo>
                  <a:lnTo>
                    <a:pt x="715" y="588"/>
                  </a:lnTo>
                  <a:lnTo>
                    <a:pt x="713" y="588"/>
                  </a:lnTo>
                  <a:lnTo>
                    <a:pt x="713" y="588"/>
                  </a:lnTo>
                  <a:lnTo>
                    <a:pt x="711" y="588"/>
                  </a:lnTo>
                  <a:lnTo>
                    <a:pt x="710" y="588"/>
                  </a:lnTo>
                  <a:lnTo>
                    <a:pt x="708" y="588"/>
                  </a:lnTo>
                  <a:lnTo>
                    <a:pt x="708" y="587"/>
                  </a:lnTo>
                  <a:lnTo>
                    <a:pt x="708" y="587"/>
                  </a:lnTo>
                  <a:lnTo>
                    <a:pt x="706" y="587"/>
                  </a:lnTo>
                  <a:lnTo>
                    <a:pt x="706" y="585"/>
                  </a:lnTo>
                  <a:lnTo>
                    <a:pt x="706" y="585"/>
                  </a:lnTo>
                  <a:lnTo>
                    <a:pt x="706" y="585"/>
                  </a:lnTo>
                  <a:lnTo>
                    <a:pt x="704" y="585"/>
                  </a:lnTo>
                  <a:lnTo>
                    <a:pt x="704" y="585"/>
                  </a:lnTo>
                  <a:lnTo>
                    <a:pt x="702" y="587"/>
                  </a:lnTo>
                  <a:lnTo>
                    <a:pt x="702" y="587"/>
                  </a:lnTo>
                  <a:lnTo>
                    <a:pt x="702" y="588"/>
                  </a:lnTo>
                  <a:lnTo>
                    <a:pt x="702" y="588"/>
                  </a:lnTo>
                  <a:lnTo>
                    <a:pt x="702" y="590"/>
                  </a:lnTo>
                  <a:lnTo>
                    <a:pt x="702" y="590"/>
                  </a:lnTo>
                  <a:lnTo>
                    <a:pt x="704" y="592"/>
                  </a:lnTo>
                  <a:lnTo>
                    <a:pt x="706" y="594"/>
                  </a:lnTo>
                  <a:lnTo>
                    <a:pt x="708" y="596"/>
                  </a:lnTo>
                  <a:lnTo>
                    <a:pt x="715" y="599"/>
                  </a:lnTo>
                  <a:lnTo>
                    <a:pt x="720" y="599"/>
                  </a:lnTo>
                  <a:lnTo>
                    <a:pt x="722" y="599"/>
                  </a:lnTo>
                  <a:lnTo>
                    <a:pt x="724" y="597"/>
                  </a:lnTo>
                  <a:lnTo>
                    <a:pt x="726" y="596"/>
                  </a:lnTo>
                  <a:lnTo>
                    <a:pt x="726" y="596"/>
                  </a:lnTo>
                  <a:lnTo>
                    <a:pt x="728" y="594"/>
                  </a:lnTo>
                  <a:lnTo>
                    <a:pt x="728" y="594"/>
                  </a:lnTo>
                  <a:lnTo>
                    <a:pt x="728" y="594"/>
                  </a:lnTo>
                  <a:lnTo>
                    <a:pt x="729" y="592"/>
                  </a:lnTo>
                  <a:lnTo>
                    <a:pt x="731" y="592"/>
                  </a:lnTo>
                  <a:lnTo>
                    <a:pt x="729" y="592"/>
                  </a:lnTo>
                  <a:lnTo>
                    <a:pt x="729" y="592"/>
                  </a:lnTo>
                  <a:close/>
                  <a:moveTo>
                    <a:pt x="749" y="572"/>
                  </a:moveTo>
                  <a:lnTo>
                    <a:pt x="749" y="570"/>
                  </a:lnTo>
                  <a:lnTo>
                    <a:pt x="749" y="572"/>
                  </a:lnTo>
                  <a:lnTo>
                    <a:pt x="749" y="570"/>
                  </a:lnTo>
                  <a:lnTo>
                    <a:pt x="747" y="572"/>
                  </a:lnTo>
                  <a:lnTo>
                    <a:pt x="746" y="572"/>
                  </a:lnTo>
                  <a:lnTo>
                    <a:pt x="746" y="574"/>
                  </a:lnTo>
                  <a:lnTo>
                    <a:pt x="746" y="574"/>
                  </a:lnTo>
                  <a:lnTo>
                    <a:pt x="746" y="574"/>
                  </a:lnTo>
                  <a:lnTo>
                    <a:pt x="744" y="574"/>
                  </a:lnTo>
                  <a:lnTo>
                    <a:pt x="744" y="576"/>
                  </a:lnTo>
                  <a:lnTo>
                    <a:pt x="746" y="576"/>
                  </a:lnTo>
                  <a:lnTo>
                    <a:pt x="746" y="576"/>
                  </a:lnTo>
                  <a:lnTo>
                    <a:pt x="747" y="576"/>
                  </a:lnTo>
                  <a:lnTo>
                    <a:pt x="747" y="574"/>
                  </a:lnTo>
                  <a:lnTo>
                    <a:pt x="747" y="574"/>
                  </a:lnTo>
                  <a:lnTo>
                    <a:pt x="749" y="574"/>
                  </a:lnTo>
                  <a:lnTo>
                    <a:pt x="751" y="574"/>
                  </a:lnTo>
                  <a:lnTo>
                    <a:pt x="749" y="574"/>
                  </a:lnTo>
                  <a:lnTo>
                    <a:pt x="749" y="572"/>
                  </a:lnTo>
                  <a:close/>
                  <a:moveTo>
                    <a:pt x="1172" y="334"/>
                  </a:moveTo>
                  <a:lnTo>
                    <a:pt x="1172" y="334"/>
                  </a:lnTo>
                  <a:lnTo>
                    <a:pt x="1170" y="336"/>
                  </a:lnTo>
                  <a:lnTo>
                    <a:pt x="1170" y="336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8" y="336"/>
                  </a:lnTo>
                  <a:lnTo>
                    <a:pt x="1170" y="336"/>
                  </a:lnTo>
                  <a:lnTo>
                    <a:pt x="1172" y="336"/>
                  </a:lnTo>
                  <a:lnTo>
                    <a:pt x="1172" y="336"/>
                  </a:lnTo>
                  <a:lnTo>
                    <a:pt x="1172" y="336"/>
                  </a:lnTo>
                  <a:lnTo>
                    <a:pt x="1172" y="336"/>
                  </a:lnTo>
                  <a:lnTo>
                    <a:pt x="1172" y="334"/>
                  </a:lnTo>
                  <a:lnTo>
                    <a:pt x="1172" y="334"/>
                  </a:lnTo>
                  <a:close/>
                  <a:moveTo>
                    <a:pt x="312" y="334"/>
                  </a:moveTo>
                  <a:lnTo>
                    <a:pt x="312" y="334"/>
                  </a:lnTo>
                  <a:lnTo>
                    <a:pt x="310" y="332"/>
                  </a:lnTo>
                  <a:lnTo>
                    <a:pt x="309" y="332"/>
                  </a:lnTo>
                  <a:lnTo>
                    <a:pt x="307" y="332"/>
                  </a:lnTo>
                  <a:lnTo>
                    <a:pt x="305" y="334"/>
                  </a:lnTo>
                  <a:lnTo>
                    <a:pt x="305" y="334"/>
                  </a:lnTo>
                  <a:lnTo>
                    <a:pt x="303" y="336"/>
                  </a:lnTo>
                  <a:lnTo>
                    <a:pt x="305" y="336"/>
                  </a:lnTo>
                  <a:lnTo>
                    <a:pt x="305" y="336"/>
                  </a:lnTo>
                  <a:lnTo>
                    <a:pt x="305" y="337"/>
                  </a:lnTo>
                  <a:lnTo>
                    <a:pt x="305" y="337"/>
                  </a:lnTo>
                  <a:lnTo>
                    <a:pt x="307" y="337"/>
                  </a:lnTo>
                  <a:lnTo>
                    <a:pt x="309" y="337"/>
                  </a:lnTo>
                  <a:lnTo>
                    <a:pt x="310" y="337"/>
                  </a:lnTo>
                  <a:lnTo>
                    <a:pt x="312" y="339"/>
                  </a:lnTo>
                  <a:lnTo>
                    <a:pt x="314" y="337"/>
                  </a:lnTo>
                  <a:lnTo>
                    <a:pt x="312" y="336"/>
                  </a:lnTo>
                  <a:lnTo>
                    <a:pt x="312" y="334"/>
                  </a:lnTo>
                  <a:close/>
                  <a:moveTo>
                    <a:pt x="307" y="287"/>
                  </a:moveTo>
                  <a:lnTo>
                    <a:pt x="307" y="285"/>
                  </a:lnTo>
                  <a:lnTo>
                    <a:pt x="307" y="283"/>
                  </a:lnTo>
                  <a:lnTo>
                    <a:pt x="307" y="281"/>
                  </a:lnTo>
                  <a:lnTo>
                    <a:pt x="303" y="280"/>
                  </a:lnTo>
                  <a:lnTo>
                    <a:pt x="298" y="280"/>
                  </a:lnTo>
                  <a:lnTo>
                    <a:pt x="292" y="281"/>
                  </a:lnTo>
                  <a:lnTo>
                    <a:pt x="291" y="281"/>
                  </a:lnTo>
                  <a:lnTo>
                    <a:pt x="291" y="281"/>
                  </a:lnTo>
                  <a:lnTo>
                    <a:pt x="289" y="281"/>
                  </a:lnTo>
                  <a:lnTo>
                    <a:pt x="289" y="281"/>
                  </a:lnTo>
                  <a:lnTo>
                    <a:pt x="289" y="281"/>
                  </a:lnTo>
                  <a:lnTo>
                    <a:pt x="287" y="281"/>
                  </a:lnTo>
                  <a:lnTo>
                    <a:pt x="287" y="281"/>
                  </a:lnTo>
                  <a:lnTo>
                    <a:pt x="280" y="281"/>
                  </a:lnTo>
                  <a:lnTo>
                    <a:pt x="280" y="281"/>
                  </a:lnTo>
                  <a:lnTo>
                    <a:pt x="280" y="281"/>
                  </a:lnTo>
                  <a:lnTo>
                    <a:pt x="280" y="280"/>
                  </a:lnTo>
                  <a:lnTo>
                    <a:pt x="280" y="280"/>
                  </a:lnTo>
                  <a:lnTo>
                    <a:pt x="278" y="280"/>
                  </a:lnTo>
                  <a:lnTo>
                    <a:pt x="276" y="278"/>
                  </a:lnTo>
                  <a:lnTo>
                    <a:pt x="276" y="278"/>
                  </a:lnTo>
                  <a:lnTo>
                    <a:pt x="273" y="278"/>
                  </a:lnTo>
                  <a:lnTo>
                    <a:pt x="271" y="281"/>
                  </a:lnTo>
                  <a:lnTo>
                    <a:pt x="273" y="283"/>
                  </a:lnTo>
                  <a:lnTo>
                    <a:pt x="278" y="287"/>
                  </a:lnTo>
                  <a:lnTo>
                    <a:pt x="283" y="287"/>
                  </a:lnTo>
                  <a:lnTo>
                    <a:pt x="285" y="289"/>
                  </a:lnTo>
                  <a:lnTo>
                    <a:pt x="287" y="289"/>
                  </a:lnTo>
                  <a:lnTo>
                    <a:pt x="289" y="290"/>
                  </a:lnTo>
                  <a:lnTo>
                    <a:pt x="289" y="289"/>
                  </a:lnTo>
                  <a:lnTo>
                    <a:pt x="291" y="289"/>
                  </a:lnTo>
                  <a:lnTo>
                    <a:pt x="292" y="289"/>
                  </a:lnTo>
                  <a:lnTo>
                    <a:pt x="296" y="289"/>
                  </a:lnTo>
                  <a:lnTo>
                    <a:pt x="298" y="289"/>
                  </a:lnTo>
                  <a:lnTo>
                    <a:pt x="305" y="289"/>
                  </a:lnTo>
                  <a:lnTo>
                    <a:pt x="307" y="287"/>
                  </a:lnTo>
                  <a:close/>
                  <a:moveTo>
                    <a:pt x="161" y="243"/>
                  </a:moveTo>
                  <a:lnTo>
                    <a:pt x="159" y="243"/>
                  </a:lnTo>
                  <a:lnTo>
                    <a:pt x="155" y="242"/>
                  </a:lnTo>
                  <a:lnTo>
                    <a:pt x="153" y="242"/>
                  </a:lnTo>
                  <a:lnTo>
                    <a:pt x="153" y="242"/>
                  </a:lnTo>
                  <a:lnTo>
                    <a:pt x="152" y="240"/>
                  </a:lnTo>
                  <a:lnTo>
                    <a:pt x="152" y="240"/>
                  </a:lnTo>
                  <a:lnTo>
                    <a:pt x="152" y="240"/>
                  </a:lnTo>
                  <a:lnTo>
                    <a:pt x="150" y="240"/>
                  </a:lnTo>
                  <a:lnTo>
                    <a:pt x="144" y="236"/>
                  </a:lnTo>
                  <a:lnTo>
                    <a:pt x="143" y="236"/>
                  </a:lnTo>
                  <a:lnTo>
                    <a:pt x="139" y="236"/>
                  </a:lnTo>
                  <a:lnTo>
                    <a:pt x="137" y="236"/>
                  </a:lnTo>
                  <a:lnTo>
                    <a:pt x="137" y="238"/>
                  </a:lnTo>
                  <a:lnTo>
                    <a:pt x="137" y="240"/>
                  </a:lnTo>
                  <a:lnTo>
                    <a:pt x="137" y="242"/>
                  </a:lnTo>
                  <a:lnTo>
                    <a:pt x="141" y="245"/>
                  </a:lnTo>
                  <a:lnTo>
                    <a:pt x="143" y="245"/>
                  </a:lnTo>
                  <a:lnTo>
                    <a:pt x="150" y="245"/>
                  </a:lnTo>
                  <a:lnTo>
                    <a:pt x="150" y="245"/>
                  </a:lnTo>
                  <a:lnTo>
                    <a:pt x="150" y="247"/>
                  </a:lnTo>
                  <a:lnTo>
                    <a:pt x="152" y="247"/>
                  </a:lnTo>
                  <a:lnTo>
                    <a:pt x="152" y="247"/>
                  </a:lnTo>
                  <a:lnTo>
                    <a:pt x="153" y="245"/>
                  </a:lnTo>
                  <a:lnTo>
                    <a:pt x="155" y="245"/>
                  </a:lnTo>
                  <a:lnTo>
                    <a:pt x="155" y="245"/>
                  </a:lnTo>
                  <a:lnTo>
                    <a:pt x="159" y="245"/>
                  </a:lnTo>
                  <a:lnTo>
                    <a:pt x="161" y="245"/>
                  </a:lnTo>
                  <a:lnTo>
                    <a:pt x="162" y="245"/>
                  </a:lnTo>
                  <a:lnTo>
                    <a:pt x="161" y="243"/>
                  </a:lnTo>
                  <a:lnTo>
                    <a:pt x="161" y="243"/>
                  </a:lnTo>
                  <a:close/>
                  <a:moveTo>
                    <a:pt x="132" y="233"/>
                  </a:moveTo>
                  <a:lnTo>
                    <a:pt x="128" y="231"/>
                  </a:lnTo>
                  <a:lnTo>
                    <a:pt x="128" y="231"/>
                  </a:lnTo>
                  <a:lnTo>
                    <a:pt x="126" y="233"/>
                  </a:lnTo>
                  <a:lnTo>
                    <a:pt x="126" y="233"/>
                  </a:lnTo>
                  <a:lnTo>
                    <a:pt x="126" y="233"/>
                  </a:lnTo>
                  <a:lnTo>
                    <a:pt x="124" y="233"/>
                  </a:lnTo>
                  <a:lnTo>
                    <a:pt x="123" y="233"/>
                  </a:lnTo>
                  <a:lnTo>
                    <a:pt x="121" y="233"/>
                  </a:lnTo>
                  <a:lnTo>
                    <a:pt x="121" y="234"/>
                  </a:lnTo>
                  <a:lnTo>
                    <a:pt x="124" y="234"/>
                  </a:lnTo>
                  <a:lnTo>
                    <a:pt x="124" y="236"/>
                  </a:lnTo>
                  <a:lnTo>
                    <a:pt x="126" y="238"/>
                  </a:lnTo>
                  <a:lnTo>
                    <a:pt x="128" y="238"/>
                  </a:lnTo>
                  <a:lnTo>
                    <a:pt x="128" y="238"/>
                  </a:lnTo>
                  <a:lnTo>
                    <a:pt x="130" y="238"/>
                  </a:lnTo>
                  <a:lnTo>
                    <a:pt x="130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3"/>
                  </a:lnTo>
                  <a:lnTo>
                    <a:pt x="132" y="233"/>
                  </a:lnTo>
                  <a:close/>
                  <a:moveTo>
                    <a:pt x="173" y="234"/>
                  </a:moveTo>
                  <a:lnTo>
                    <a:pt x="170" y="233"/>
                  </a:lnTo>
                  <a:lnTo>
                    <a:pt x="162" y="229"/>
                  </a:lnTo>
                  <a:lnTo>
                    <a:pt x="152" y="225"/>
                  </a:lnTo>
                  <a:lnTo>
                    <a:pt x="152" y="225"/>
                  </a:lnTo>
                  <a:lnTo>
                    <a:pt x="150" y="225"/>
                  </a:lnTo>
                  <a:lnTo>
                    <a:pt x="150" y="224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8" y="225"/>
                  </a:lnTo>
                  <a:lnTo>
                    <a:pt x="150" y="227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53" y="227"/>
                  </a:lnTo>
                  <a:lnTo>
                    <a:pt x="153" y="227"/>
                  </a:lnTo>
                  <a:lnTo>
                    <a:pt x="153" y="229"/>
                  </a:lnTo>
                  <a:lnTo>
                    <a:pt x="155" y="231"/>
                  </a:lnTo>
                  <a:lnTo>
                    <a:pt x="161" y="233"/>
                  </a:lnTo>
                  <a:lnTo>
                    <a:pt x="161" y="233"/>
                  </a:lnTo>
                  <a:lnTo>
                    <a:pt x="162" y="234"/>
                  </a:lnTo>
                  <a:lnTo>
                    <a:pt x="162" y="234"/>
                  </a:lnTo>
                  <a:lnTo>
                    <a:pt x="162" y="233"/>
                  </a:lnTo>
                  <a:lnTo>
                    <a:pt x="164" y="234"/>
                  </a:lnTo>
                  <a:lnTo>
                    <a:pt x="164" y="234"/>
                  </a:lnTo>
                  <a:lnTo>
                    <a:pt x="166" y="234"/>
                  </a:lnTo>
                  <a:lnTo>
                    <a:pt x="166" y="234"/>
                  </a:lnTo>
                  <a:lnTo>
                    <a:pt x="168" y="234"/>
                  </a:lnTo>
                  <a:lnTo>
                    <a:pt x="168" y="236"/>
                  </a:lnTo>
                  <a:lnTo>
                    <a:pt x="170" y="236"/>
                  </a:lnTo>
                  <a:lnTo>
                    <a:pt x="171" y="236"/>
                  </a:lnTo>
                  <a:lnTo>
                    <a:pt x="171" y="236"/>
                  </a:lnTo>
                  <a:lnTo>
                    <a:pt x="173" y="236"/>
                  </a:lnTo>
                  <a:lnTo>
                    <a:pt x="175" y="236"/>
                  </a:lnTo>
                  <a:lnTo>
                    <a:pt x="175" y="236"/>
                  </a:lnTo>
                  <a:lnTo>
                    <a:pt x="175" y="234"/>
                  </a:lnTo>
                  <a:lnTo>
                    <a:pt x="173" y="234"/>
                  </a:lnTo>
                  <a:close/>
                  <a:moveTo>
                    <a:pt x="213" y="225"/>
                  </a:moveTo>
                  <a:lnTo>
                    <a:pt x="211" y="225"/>
                  </a:lnTo>
                  <a:lnTo>
                    <a:pt x="211" y="225"/>
                  </a:lnTo>
                  <a:lnTo>
                    <a:pt x="211" y="224"/>
                  </a:lnTo>
                  <a:lnTo>
                    <a:pt x="209" y="222"/>
                  </a:lnTo>
                  <a:lnTo>
                    <a:pt x="208" y="222"/>
                  </a:lnTo>
                  <a:lnTo>
                    <a:pt x="206" y="220"/>
                  </a:lnTo>
                  <a:lnTo>
                    <a:pt x="199" y="220"/>
                  </a:lnTo>
                  <a:lnTo>
                    <a:pt x="197" y="220"/>
                  </a:lnTo>
                  <a:lnTo>
                    <a:pt x="195" y="222"/>
                  </a:lnTo>
                  <a:lnTo>
                    <a:pt x="195" y="224"/>
                  </a:lnTo>
                  <a:lnTo>
                    <a:pt x="195" y="225"/>
                  </a:lnTo>
                  <a:lnTo>
                    <a:pt x="195" y="227"/>
                  </a:lnTo>
                  <a:lnTo>
                    <a:pt x="197" y="227"/>
                  </a:lnTo>
                  <a:lnTo>
                    <a:pt x="197" y="229"/>
                  </a:lnTo>
                  <a:lnTo>
                    <a:pt x="199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2" y="231"/>
                  </a:lnTo>
                  <a:lnTo>
                    <a:pt x="202" y="231"/>
                  </a:lnTo>
                  <a:lnTo>
                    <a:pt x="204" y="229"/>
                  </a:lnTo>
                  <a:lnTo>
                    <a:pt x="204" y="231"/>
                  </a:lnTo>
                  <a:lnTo>
                    <a:pt x="208" y="231"/>
                  </a:lnTo>
                  <a:lnTo>
                    <a:pt x="209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1" y="229"/>
                  </a:lnTo>
                  <a:lnTo>
                    <a:pt x="211" y="229"/>
                  </a:lnTo>
                  <a:lnTo>
                    <a:pt x="211" y="229"/>
                  </a:lnTo>
                  <a:lnTo>
                    <a:pt x="211" y="227"/>
                  </a:lnTo>
                  <a:lnTo>
                    <a:pt x="213" y="227"/>
                  </a:lnTo>
                  <a:lnTo>
                    <a:pt x="213" y="227"/>
                  </a:lnTo>
                  <a:lnTo>
                    <a:pt x="213" y="227"/>
                  </a:lnTo>
                  <a:lnTo>
                    <a:pt x="213" y="225"/>
                  </a:lnTo>
                  <a:close/>
                  <a:moveTo>
                    <a:pt x="1112" y="218"/>
                  </a:moveTo>
                  <a:lnTo>
                    <a:pt x="1112" y="216"/>
                  </a:lnTo>
                  <a:lnTo>
                    <a:pt x="1112" y="216"/>
                  </a:lnTo>
                  <a:lnTo>
                    <a:pt x="1112" y="216"/>
                  </a:lnTo>
                  <a:lnTo>
                    <a:pt x="1112" y="216"/>
                  </a:lnTo>
                  <a:lnTo>
                    <a:pt x="1112" y="216"/>
                  </a:lnTo>
                  <a:lnTo>
                    <a:pt x="1112" y="216"/>
                  </a:lnTo>
                  <a:lnTo>
                    <a:pt x="1110" y="218"/>
                  </a:lnTo>
                  <a:lnTo>
                    <a:pt x="1110" y="220"/>
                  </a:lnTo>
                  <a:lnTo>
                    <a:pt x="1110" y="220"/>
                  </a:lnTo>
                  <a:lnTo>
                    <a:pt x="1112" y="218"/>
                  </a:lnTo>
                  <a:lnTo>
                    <a:pt x="1112" y="218"/>
                  </a:lnTo>
                  <a:close/>
                  <a:moveTo>
                    <a:pt x="162" y="205"/>
                  </a:moveTo>
                  <a:lnTo>
                    <a:pt x="162" y="205"/>
                  </a:lnTo>
                  <a:lnTo>
                    <a:pt x="164" y="207"/>
                  </a:lnTo>
                  <a:lnTo>
                    <a:pt x="164" y="207"/>
                  </a:lnTo>
                  <a:lnTo>
                    <a:pt x="166" y="207"/>
                  </a:lnTo>
                  <a:lnTo>
                    <a:pt x="166" y="205"/>
                  </a:lnTo>
                  <a:lnTo>
                    <a:pt x="168" y="205"/>
                  </a:lnTo>
                  <a:lnTo>
                    <a:pt x="166" y="204"/>
                  </a:lnTo>
                  <a:lnTo>
                    <a:pt x="166" y="204"/>
                  </a:lnTo>
                  <a:lnTo>
                    <a:pt x="164" y="202"/>
                  </a:lnTo>
                  <a:lnTo>
                    <a:pt x="164" y="200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1" y="205"/>
                  </a:lnTo>
                  <a:lnTo>
                    <a:pt x="162" y="205"/>
                  </a:lnTo>
                  <a:close/>
                  <a:moveTo>
                    <a:pt x="7" y="177"/>
                  </a:moveTo>
                  <a:lnTo>
                    <a:pt x="5" y="175"/>
                  </a:lnTo>
                  <a:lnTo>
                    <a:pt x="5" y="177"/>
                  </a:lnTo>
                  <a:lnTo>
                    <a:pt x="3" y="175"/>
                  </a:lnTo>
                  <a:lnTo>
                    <a:pt x="3" y="175"/>
                  </a:lnTo>
                  <a:lnTo>
                    <a:pt x="3" y="175"/>
                  </a:lnTo>
                  <a:lnTo>
                    <a:pt x="3" y="175"/>
                  </a:lnTo>
                  <a:lnTo>
                    <a:pt x="3" y="175"/>
                  </a:lnTo>
                  <a:lnTo>
                    <a:pt x="2" y="175"/>
                  </a:lnTo>
                  <a:lnTo>
                    <a:pt x="2" y="175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" y="184"/>
                  </a:lnTo>
                  <a:lnTo>
                    <a:pt x="2" y="184"/>
                  </a:lnTo>
                  <a:lnTo>
                    <a:pt x="3" y="184"/>
                  </a:lnTo>
                  <a:lnTo>
                    <a:pt x="3" y="184"/>
                  </a:lnTo>
                  <a:lnTo>
                    <a:pt x="5" y="186"/>
                  </a:lnTo>
                  <a:lnTo>
                    <a:pt x="5" y="184"/>
                  </a:lnTo>
                  <a:lnTo>
                    <a:pt x="7" y="182"/>
                  </a:lnTo>
                  <a:lnTo>
                    <a:pt x="7" y="180"/>
                  </a:lnTo>
                  <a:lnTo>
                    <a:pt x="7" y="178"/>
                  </a:lnTo>
                  <a:lnTo>
                    <a:pt x="7" y="177"/>
                  </a:lnTo>
                  <a:close/>
                  <a:moveTo>
                    <a:pt x="7" y="160"/>
                  </a:moveTo>
                  <a:lnTo>
                    <a:pt x="7" y="160"/>
                  </a:lnTo>
                  <a:lnTo>
                    <a:pt x="7" y="160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7" y="164"/>
                  </a:lnTo>
                  <a:lnTo>
                    <a:pt x="7" y="166"/>
                  </a:lnTo>
                  <a:lnTo>
                    <a:pt x="9" y="164"/>
                  </a:lnTo>
                  <a:lnTo>
                    <a:pt x="9" y="162"/>
                  </a:lnTo>
                  <a:lnTo>
                    <a:pt x="9" y="160"/>
                  </a:lnTo>
                  <a:lnTo>
                    <a:pt x="7" y="160"/>
                  </a:lnTo>
                  <a:close/>
                  <a:moveTo>
                    <a:pt x="1255" y="39"/>
                  </a:moveTo>
                  <a:lnTo>
                    <a:pt x="1253" y="37"/>
                  </a:lnTo>
                  <a:lnTo>
                    <a:pt x="1251" y="36"/>
                  </a:lnTo>
                  <a:lnTo>
                    <a:pt x="1250" y="34"/>
                  </a:lnTo>
                  <a:lnTo>
                    <a:pt x="1246" y="34"/>
                  </a:lnTo>
                  <a:lnTo>
                    <a:pt x="1242" y="32"/>
                  </a:lnTo>
                  <a:lnTo>
                    <a:pt x="1242" y="32"/>
                  </a:lnTo>
                  <a:lnTo>
                    <a:pt x="1242" y="32"/>
                  </a:lnTo>
                  <a:lnTo>
                    <a:pt x="1240" y="34"/>
                  </a:lnTo>
                  <a:lnTo>
                    <a:pt x="1240" y="34"/>
                  </a:lnTo>
                  <a:lnTo>
                    <a:pt x="1240" y="34"/>
                  </a:lnTo>
                  <a:lnTo>
                    <a:pt x="1239" y="34"/>
                  </a:lnTo>
                  <a:lnTo>
                    <a:pt x="1239" y="34"/>
                  </a:lnTo>
                  <a:lnTo>
                    <a:pt x="1237" y="32"/>
                  </a:lnTo>
                  <a:lnTo>
                    <a:pt x="1237" y="32"/>
                  </a:lnTo>
                  <a:lnTo>
                    <a:pt x="1237" y="30"/>
                  </a:lnTo>
                  <a:lnTo>
                    <a:pt x="1237" y="28"/>
                  </a:lnTo>
                  <a:lnTo>
                    <a:pt x="1237" y="28"/>
                  </a:lnTo>
                  <a:lnTo>
                    <a:pt x="1237" y="28"/>
                  </a:lnTo>
                  <a:lnTo>
                    <a:pt x="1237" y="28"/>
                  </a:lnTo>
                  <a:lnTo>
                    <a:pt x="1237" y="27"/>
                  </a:lnTo>
                  <a:lnTo>
                    <a:pt x="1237" y="27"/>
                  </a:lnTo>
                  <a:lnTo>
                    <a:pt x="1239" y="21"/>
                  </a:lnTo>
                  <a:lnTo>
                    <a:pt x="1239" y="19"/>
                  </a:lnTo>
                  <a:lnTo>
                    <a:pt x="1237" y="19"/>
                  </a:lnTo>
                  <a:lnTo>
                    <a:pt x="1237" y="19"/>
                  </a:lnTo>
                  <a:lnTo>
                    <a:pt x="1237" y="19"/>
                  </a:lnTo>
                  <a:lnTo>
                    <a:pt x="1237" y="16"/>
                  </a:lnTo>
                  <a:lnTo>
                    <a:pt x="1237" y="14"/>
                  </a:lnTo>
                  <a:lnTo>
                    <a:pt x="1235" y="14"/>
                  </a:lnTo>
                  <a:lnTo>
                    <a:pt x="1235" y="14"/>
                  </a:lnTo>
                  <a:lnTo>
                    <a:pt x="1233" y="14"/>
                  </a:lnTo>
                  <a:lnTo>
                    <a:pt x="1231" y="16"/>
                  </a:lnTo>
                  <a:lnTo>
                    <a:pt x="1228" y="16"/>
                  </a:lnTo>
                  <a:lnTo>
                    <a:pt x="1228" y="16"/>
                  </a:lnTo>
                  <a:lnTo>
                    <a:pt x="1226" y="12"/>
                  </a:lnTo>
                  <a:lnTo>
                    <a:pt x="1224" y="12"/>
                  </a:lnTo>
                  <a:lnTo>
                    <a:pt x="1224" y="14"/>
                  </a:lnTo>
                  <a:lnTo>
                    <a:pt x="1222" y="14"/>
                  </a:lnTo>
                  <a:lnTo>
                    <a:pt x="1219" y="14"/>
                  </a:lnTo>
                  <a:lnTo>
                    <a:pt x="1217" y="14"/>
                  </a:lnTo>
                  <a:lnTo>
                    <a:pt x="1217" y="14"/>
                  </a:lnTo>
                  <a:lnTo>
                    <a:pt x="1215" y="14"/>
                  </a:lnTo>
                  <a:lnTo>
                    <a:pt x="1215" y="12"/>
                  </a:lnTo>
                  <a:lnTo>
                    <a:pt x="1213" y="14"/>
                  </a:lnTo>
                  <a:lnTo>
                    <a:pt x="1212" y="14"/>
                  </a:lnTo>
                  <a:lnTo>
                    <a:pt x="1212" y="14"/>
                  </a:lnTo>
                  <a:lnTo>
                    <a:pt x="1210" y="12"/>
                  </a:lnTo>
                  <a:lnTo>
                    <a:pt x="1208" y="12"/>
                  </a:lnTo>
                  <a:lnTo>
                    <a:pt x="1206" y="12"/>
                  </a:lnTo>
                  <a:lnTo>
                    <a:pt x="1206" y="12"/>
                  </a:lnTo>
                  <a:lnTo>
                    <a:pt x="1206" y="12"/>
                  </a:lnTo>
                  <a:lnTo>
                    <a:pt x="1204" y="14"/>
                  </a:lnTo>
                  <a:lnTo>
                    <a:pt x="1204" y="14"/>
                  </a:lnTo>
                  <a:lnTo>
                    <a:pt x="1204" y="16"/>
                  </a:lnTo>
                  <a:lnTo>
                    <a:pt x="1204" y="18"/>
                  </a:lnTo>
                  <a:lnTo>
                    <a:pt x="1204" y="18"/>
                  </a:lnTo>
                  <a:lnTo>
                    <a:pt x="1204" y="19"/>
                  </a:lnTo>
                  <a:lnTo>
                    <a:pt x="1203" y="19"/>
                  </a:lnTo>
                  <a:lnTo>
                    <a:pt x="1199" y="21"/>
                  </a:lnTo>
                  <a:lnTo>
                    <a:pt x="1197" y="21"/>
                  </a:lnTo>
                  <a:lnTo>
                    <a:pt x="1195" y="21"/>
                  </a:lnTo>
                  <a:lnTo>
                    <a:pt x="1195" y="21"/>
                  </a:lnTo>
                  <a:lnTo>
                    <a:pt x="1195" y="21"/>
                  </a:lnTo>
                  <a:lnTo>
                    <a:pt x="1194" y="23"/>
                  </a:lnTo>
                  <a:lnTo>
                    <a:pt x="1194" y="23"/>
                  </a:lnTo>
                  <a:lnTo>
                    <a:pt x="1192" y="23"/>
                  </a:lnTo>
                  <a:lnTo>
                    <a:pt x="1192" y="21"/>
                  </a:lnTo>
                  <a:lnTo>
                    <a:pt x="1192" y="21"/>
                  </a:lnTo>
                  <a:lnTo>
                    <a:pt x="1190" y="21"/>
                  </a:lnTo>
                  <a:lnTo>
                    <a:pt x="1190" y="21"/>
                  </a:lnTo>
                  <a:lnTo>
                    <a:pt x="1190" y="19"/>
                  </a:lnTo>
                  <a:lnTo>
                    <a:pt x="1190" y="19"/>
                  </a:lnTo>
                  <a:lnTo>
                    <a:pt x="1188" y="19"/>
                  </a:lnTo>
                  <a:lnTo>
                    <a:pt x="1188" y="21"/>
                  </a:lnTo>
                  <a:lnTo>
                    <a:pt x="1188" y="21"/>
                  </a:lnTo>
                  <a:lnTo>
                    <a:pt x="1188" y="21"/>
                  </a:lnTo>
                  <a:lnTo>
                    <a:pt x="1188" y="21"/>
                  </a:lnTo>
                  <a:lnTo>
                    <a:pt x="1186" y="23"/>
                  </a:lnTo>
                  <a:lnTo>
                    <a:pt x="1186" y="23"/>
                  </a:lnTo>
                  <a:lnTo>
                    <a:pt x="1185" y="23"/>
                  </a:lnTo>
                  <a:lnTo>
                    <a:pt x="1185" y="21"/>
                  </a:lnTo>
                  <a:lnTo>
                    <a:pt x="1185" y="21"/>
                  </a:lnTo>
                  <a:lnTo>
                    <a:pt x="1185" y="19"/>
                  </a:lnTo>
                  <a:lnTo>
                    <a:pt x="1183" y="19"/>
                  </a:lnTo>
                  <a:lnTo>
                    <a:pt x="1181" y="19"/>
                  </a:lnTo>
                  <a:lnTo>
                    <a:pt x="1179" y="18"/>
                  </a:lnTo>
                  <a:lnTo>
                    <a:pt x="1179" y="18"/>
                  </a:lnTo>
                  <a:lnTo>
                    <a:pt x="1177" y="18"/>
                  </a:lnTo>
                  <a:lnTo>
                    <a:pt x="1174" y="19"/>
                  </a:lnTo>
                  <a:lnTo>
                    <a:pt x="1174" y="19"/>
                  </a:lnTo>
                  <a:lnTo>
                    <a:pt x="1172" y="19"/>
                  </a:lnTo>
                  <a:lnTo>
                    <a:pt x="1172" y="19"/>
                  </a:lnTo>
                  <a:lnTo>
                    <a:pt x="1172" y="19"/>
                  </a:lnTo>
                  <a:lnTo>
                    <a:pt x="1172" y="19"/>
                  </a:lnTo>
                  <a:lnTo>
                    <a:pt x="1170" y="19"/>
                  </a:lnTo>
                  <a:lnTo>
                    <a:pt x="1170" y="18"/>
                  </a:lnTo>
                  <a:lnTo>
                    <a:pt x="1170" y="16"/>
                  </a:lnTo>
                  <a:lnTo>
                    <a:pt x="1168" y="18"/>
                  </a:lnTo>
                  <a:lnTo>
                    <a:pt x="1168" y="18"/>
                  </a:lnTo>
                  <a:lnTo>
                    <a:pt x="1168" y="19"/>
                  </a:lnTo>
                  <a:lnTo>
                    <a:pt x="1168" y="19"/>
                  </a:lnTo>
                  <a:lnTo>
                    <a:pt x="1166" y="19"/>
                  </a:lnTo>
                  <a:lnTo>
                    <a:pt x="1166" y="19"/>
                  </a:lnTo>
                  <a:lnTo>
                    <a:pt x="1165" y="19"/>
                  </a:lnTo>
                  <a:lnTo>
                    <a:pt x="1165" y="21"/>
                  </a:lnTo>
                  <a:lnTo>
                    <a:pt x="1165" y="21"/>
                  </a:lnTo>
                  <a:lnTo>
                    <a:pt x="1163" y="23"/>
                  </a:lnTo>
                  <a:lnTo>
                    <a:pt x="1163" y="23"/>
                  </a:lnTo>
                  <a:lnTo>
                    <a:pt x="1161" y="23"/>
                  </a:lnTo>
                  <a:lnTo>
                    <a:pt x="1156" y="23"/>
                  </a:lnTo>
                  <a:lnTo>
                    <a:pt x="1156" y="23"/>
                  </a:lnTo>
                  <a:lnTo>
                    <a:pt x="1156" y="21"/>
                  </a:lnTo>
                  <a:lnTo>
                    <a:pt x="1156" y="21"/>
                  </a:lnTo>
                  <a:lnTo>
                    <a:pt x="1156" y="19"/>
                  </a:lnTo>
                  <a:lnTo>
                    <a:pt x="1154" y="19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54" y="16"/>
                  </a:lnTo>
                  <a:lnTo>
                    <a:pt x="1156" y="12"/>
                  </a:lnTo>
                  <a:lnTo>
                    <a:pt x="1157" y="12"/>
                  </a:lnTo>
                  <a:lnTo>
                    <a:pt x="1159" y="10"/>
                  </a:lnTo>
                  <a:lnTo>
                    <a:pt x="1159" y="10"/>
                  </a:lnTo>
                  <a:lnTo>
                    <a:pt x="1159" y="9"/>
                  </a:lnTo>
                  <a:lnTo>
                    <a:pt x="1161" y="9"/>
                  </a:lnTo>
                  <a:lnTo>
                    <a:pt x="1159" y="7"/>
                  </a:lnTo>
                  <a:lnTo>
                    <a:pt x="1159" y="7"/>
                  </a:lnTo>
                  <a:lnTo>
                    <a:pt x="1157" y="5"/>
                  </a:lnTo>
                  <a:lnTo>
                    <a:pt x="1157" y="7"/>
                  </a:lnTo>
                  <a:lnTo>
                    <a:pt x="1156" y="7"/>
                  </a:lnTo>
                  <a:lnTo>
                    <a:pt x="1156" y="7"/>
                  </a:lnTo>
                  <a:lnTo>
                    <a:pt x="1154" y="7"/>
                  </a:lnTo>
                  <a:lnTo>
                    <a:pt x="1154" y="5"/>
                  </a:lnTo>
                  <a:lnTo>
                    <a:pt x="1154" y="1"/>
                  </a:lnTo>
                  <a:lnTo>
                    <a:pt x="1154" y="1"/>
                  </a:lnTo>
                  <a:lnTo>
                    <a:pt x="1154" y="0"/>
                  </a:lnTo>
                  <a:lnTo>
                    <a:pt x="1152" y="1"/>
                  </a:lnTo>
                  <a:lnTo>
                    <a:pt x="1152" y="1"/>
                  </a:lnTo>
                  <a:lnTo>
                    <a:pt x="1150" y="1"/>
                  </a:lnTo>
                  <a:lnTo>
                    <a:pt x="1150" y="1"/>
                  </a:lnTo>
                  <a:lnTo>
                    <a:pt x="1150" y="3"/>
                  </a:lnTo>
                  <a:lnTo>
                    <a:pt x="1148" y="3"/>
                  </a:lnTo>
                  <a:lnTo>
                    <a:pt x="1148" y="3"/>
                  </a:lnTo>
                  <a:lnTo>
                    <a:pt x="1139" y="5"/>
                  </a:lnTo>
                  <a:lnTo>
                    <a:pt x="1139" y="5"/>
                  </a:lnTo>
                  <a:lnTo>
                    <a:pt x="1138" y="7"/>
                  </a:lnTo>
                  <a:lnTo>
                    <a:pt x="1136" y="7"/>
                  </a:lnTo>
                  <a:lnTo>
                    <a:pt x="1134" y="7"/>
                  </a:lnTo>
                  <a:lnTo>
                    <a:pt x="1134" y="7"/>
                  </a:lnTo>
                  <a:lnTo>
                    <a:pt x="1132" y="9"/>
                  </a:lnTo>
                  <a:lnTo>
                    <a:pt x="1132" y="9"/>
                  </a:lnTo>
                  <a:lnTo>
                    <a:pt x="1132" y="10"/>
                  </a:lnTo>
                  <a:lnTo>
                    <a:pt x="1132" y="10"/>
                  </a:lnTo>
                  <a:lnTo>
                    <a:pt x="1130" y="12"/>
                  </a:lnTo>
                  <a:lnTo>
                    <a:pt x="1129" y="12"/>
                  </a:lnTo>
                  <a:lnTo>
                    <a:pt x="1129" y="12"/>
                  </a:lnTo>
                  <a:lnTo>
                    <a:pt x="1127" y="12"/>
                  </a:lnTo>
                  <a:lnTo>
                    <a:pt x="1127" y="16"/>
                  </a:lnTo>
                  <a:lnTo>
                    <a:pt x="1125" y="18"/>
                  </a:lnTo>
                  <a:lnTo>
                    <a:pt x="1121" y="19"/>
                  </a:lnTo>
                  <a:lnTo>
                    <a:pt x="1121" y="21"/>
                  </a:lnTo>
                  <a:lnTo>
                    <a:pt x="1121" y="21"/>
                  </a:lnTo>
                  <a:lnTo>
                    <a:pt x="1121" y="23"/>
                  </a:lnTo>
                  <a:lnTo>
                    <a:pt x="1121" y="27"/>
                  </a:lnTo>
                  <a:lnTo>
                    <a:pt x="1121" y="28"/>
                  </a:lnTo>
                  <a:lnTo>
                    <a:pt x="1121" y="30"/>
                  </a:lnTo>
                  <a:lnTo>
                    <a:pt x="1123" y="30"/>
                  </a:lnTo>
                  <a:lnTo>
                    <a:pt x="1123" y="32"/>
                  </a:lnTo>
                  <a:lnTo>
                    <a:pt x="1125" y="30"/>
                  </a:lnTo>
                  <a:lnTo>
                    <a:pt x="1130" y="30"/>
                  </a:lnTo>
                  <a:lnTo>
                    <a:pt x="1129" y="30"/>
                  </a:lnTo>
                  <a:lnTo>
                    <a:pt x="1129" y="30"/>
                  </a:lnTo>
                  <a:lnTo>
                    <a:pt x="1129" y="30"/>
                  </a:lnTo>
                  <a:lnTo>
                    <a:pt x="1125" y="32"/>
                  </a:lnTo>
                  <a:lnTo>
                    <a:pt x="1123" y="32"/>
                  </a:lnTo>
                  <a:lnTo>
                    <a:pt x="1123" y="32"/>
                  </a:lnTo>
                  <a:lnTo>
                    <a:pt x="1123" y="34"/>
                  </a:lnTo>
                  <a:lnTo>
                    <a:pt x="1123" y="36"/>
                  </a:lnTo>
                  <a:lnTo>
                    <a:pt x="1123" y="37"/>
                  </a:lnTo>
                  <a:lnTo>
                    <a:pt x="1125" y="37"/>
                  </a:lnTo>
                  <a:lnTo>
                    <a:pt x="1125" y="39"/>
                  </a:lnTo>
                  <a:lnTo>
                    <a:pt x="1125" y="41"/>
                  </a:lnTo>
                  <a:lnTo>
                    <a:pt x="1125" y="43"/>
                  </a:lnTo>
                  <a:lnTo>
                    <a:pt x="1125" y="43"/>
                  </a:lnTo>
                  <a:lnTo>
                    <a:pt x="1125" y="45"/>
                  </a:lnTo>
                  <a:lnTo>
                    <a:pt x="1127" y="47"/>
                  </a:lnTo>
                  <a:lnTo>
                    <a:pt x="1125" y="48"/>
                  </a:lnTo>
                  <a:lnTo>
                    <a:pt x="1125" y="50"/>
                  </a:lnTo>
                  <a:lnTo>
                    <a:pt x="1125" y="52"/>
                  </a:lnTo>
                  <a:lnTo>
                    <a:pt x="1127" y="52"/>
                  </a:lnTo>
                  <a:lnTo>
                    <a:pt x="1127" y="54"/>
                  </a:lnTo>
                  <a:lnTo>
                    <a:pt x="1127" y="54"/>
                  </a:lnTo>
                  <a:lnTo>
                    <a:pt x="1127" y="56"/>
                  </a:lnTo>
                  <a:lnTo>
                    <a:pt x="1127" y="56"/>
                  </a:lnTo>
                  <a:lnTo>
                    <a:pt x="1129" y="56"/>
                  </a:lnTo>
                  <a:lnTo>
                    <a:pt x="1127" y="57"/>
                  </a:lnTo>
                  <a:lnTo>
                    <a:pt x="1129" y="59"/>
                  </a:lnTo>
                  <a:lnTo>
                    <a:pt x="1129" y="59"/>
                  </a:lnTo>
                  <a:lnTo>
                    <a:pt x="1129" y="59"/>
                  </a:lnTo>
                  <a:lnTo>
                    <a:pt x="1129" y="61"/>
                  </a:lnTo>
                  <a:lnTo>
                    <a:pt x="1129" y="63"/>
                  </a:lnTo>
                  <a:lnTo>
                    <a:pt x="1130" y="65"/>
                  </a:lnTo>
                  <a:lnTo>
                    <a:pt x="1130" y="66"/>
                  </a:lnTo>
                  <a:lnTo>
                    <a:pt x="1132" y="66"/>
                  </a:lnTo>
                  <a:lnTo>
                    <a:pt x="1132" y="68"/>
                  </a:lnTo>
                  <a:lnTo>
                    <a:pt x="1132" y="68"/>
                  </a:lnTo>
                  <a:lnTo>
                    <a:pt x="1132" y="72"/>
                  </a:lnTo>
                  <a:lnTo>
                    <a:pt x="1132" y="75"/>
                  </a:lnTo>
                  <a:lnTo>
                    <a:pt x="1132" y="77"/>
                  </a:lnTo>
                  <a:lnTo>
                    <a:pt x="1127" y="101"/>
                  </a:lnTo>
                  <a:lnTo>
                    <a:pt x="1129" y="99"/>
                  </a:lnTo>
                  <a:lnTo>
                    <a:pt x="1129" y="99"/>
                  </a:lnTo>
                  <a:lnTo>
                    <a:pt x="1129" y="97"/>
                  </a:lnTo>
                  <a:lnTo>
                    <a:pt x="1129" y="95"/>
                  </a:lnTo>
                  <a:lnTo>
                    <a:pt x="1130" y="93"/>
                  </a:lnTo>
                  <a:lnTo>
                    <a:pt x="1130" y="92"/>
                  </a:lnTo>
                  <a:lnTo>
                    <a:pt x="1130" y="90"/>
                  </a:lnTo>
                  <a:lnTo>
                    <a:pt x="1130" y="88"/>
                  </a:lnTo>
                  <a:lnTo>
                    <a:pt x="1132" y="90"/>
                  </a:lnTo>
                  <a:lnTo>
                    <a:pt x="1132" y="90"/>
                  </a:lnTo>
                  <a:lnTo>
                    <a:pt x="1132" y="88"/>
                  </a:lnTo>
                  <a:lnTo>
                    <a:pt x="1132" y="88"/>
                  </a:lnTo>
                  <a:lnTo>
                    <a:pt x="1132" y="90"/>
                  </a:lnTo>
                  <a:lnTo>
                    <a:pt x="1130" y="92"/>
                  </a:lnTo>
                  <a:lnTo>
                    <a:pt x="1130" y="93"/>
                  </a:lnTo>
                  <a:lnTo>
                    <a:pt x="1132" y="93"/>
                  </a:lnTo>
                  <a:lnTo>
                    <a:pt x="1132" y="95"/>
                  </a:lnTo>
                  <a:lnTo>
                    <a:pt x="1132" y="95"/>
                  </a:lnTo>
                  <a:lnTo>
                    <a:pt x="1134" y="95"/>
                  </a:lnTo>
                  <a:lnTo>
                    <a:pt x="1134" y="93"/>
                  </a:lnTo>
                  <a:lnTo>
                    <a:pt x="1136" y="93"/>
                  </a:lnTo>
                  <a:lnTo>
                    <a:pt x="1136" y="93"/>
                  </a:lnTo>
                  <a:lnTo>
                    <a:pt x="1136" y="93"/>
                  </a:lnTo>
                  <a:lnTo>
                    <a:pt x="1134" y="95"/>
                  </a:lnTo>
                  <a:lnTo>
                    <a:pt x="1134" y="95"/>
                  </a:lnTo>
                  <a:lnTo>
                    <a:pt x="1132" y="95"/>
                  </a:lnTo>
                  <a:lnTo>
                    <a:pt x="1132" y="95"/>
                  </a:lnTo>
                  <a:lnTo>
                    <a:pt x="1132" y="97"/>
                  </a:lnTo>
                  <a:lnTo>
                    <a:pt x="1132" y="97"/>
                  </a:lnTo>
                  <a:lnTo>
                    <a:pt x="1132" y="97"/>
                  </a:lnTo>
                  <a:lnTo>
                    <a:pt x="1132" y="99"/>
                  </a:lnTo>
                  <a:lnTo>
                    <a:pt x="1132" y="99"/>
                  </a:lnTo>
                  <a:lnTo>
                    <a:pt x="1132" y="99"/>
                  </a:lnTo>
                  <a:lnTo>
                    <a:pt x="1130" y="99"/>
                  </a:lnTo>
                  <a:lnTo>
                    <a:pt x="1130" y="99"/>
                  </a:lnTo>
                  <a:lnTo>
                    <a:pt x="1130" y="99"/>
                  </a:lnTo>
                  <a:lnTo>
                    <a:pt x="1130" y="99"/>
                  </a:lnTo>
                  <a:lnTo>
                    <a:pt x="1130" y="99"/>
                  </a:lnTo>
                  <a:lnTo>
                    <a:pt x="1130" y="99"/>
                  </a:lnTo>
                  <a:lnTo>
                    <a:pt x="1130" y="101"/>
                  </a:lnTo>
                  <a:lnTo>
                    <a:pt x="1130" y="101"/>
                  </a:lnTo>
                  <a:lnTo>
                    <a:pt x="1130" y="101"/>
                  </a:lnTo>
                  <a:lnTo>
                    <a:pt x="1130" y="101"/>
                  </a:lnTo>
                  <a:lnTo>
                    <a:pt x="1129" y="101"/>
                  </a:lnTo>
                  <a:lnTo>
                    <a:pt x="1129" y="101"/>
                  </a:lnTo>
                  <a:lnTo>
                    <a:pt x="1127" y="103"/>
                  </a:lnTo>
                  <a:lnTo>
                    <a:pt x="1129" y="103"/>
                  </a:lnTo>
                  <a:lnTo>
                    <a:pt x="1127" y="101"/>
                  </a:lnTo>
                  <a:lnTo>
                    <a:pt x="1127" y="101"/>
                  </a:lnTo>
                  <a:lnTo>
                    <a:pt x="1127" y="101"/>
                  </a:lnTo>
                  <a:lnTo>
                    <a:pt x="1127" y="104"/>
                  </a:lnTo>
                  <a:lnTo>
                    <a:pt x="1125" y="108"/>
                  </a:lnTo>
                  <a:lnTo>
                    <a:pt x="1125" y="112"/>
                  </a:lnTo>
                  <a:lnTo>
                    <a:pt x="1121" y="124"/>
                  </a:lnTo>
                  <a:lnTo>
                    <a:pt x="1119" y="128"/>
                  </a:lnTo>
                  <a:lnTo>
                    <a:pt x="1119" y="130"/>
                  </a:lnTo>
                  <a:lnTo>
                    <a:pt x="1119" y="131"/>
                  </a:lnTo>
                  <a:lnTo>
                    <a:pt x="1119" y="131"/>
                  </a:lnTo>
                  <a:lnTo>
                    <a:pt x="1121" y="133"/>
                  </a:lnTo>
                  <a:lnTo>
                    <a:pt x="1123" y="133"/>
                  </a:lnTo>
                  <a:lnTo>
                    <a:pt x="1125" y="133"/>
                  </a:lnTo>
                  <a:lnTo>
                    <a:pt x="1125" y="133"/>
                  </a:lnTo>
                  <a:lnTo>
                    <a:pt x="1125" y="135"/>
                  </a:lnTo>
                  <a:lnTo>
                    <a:pt x="1125" y="135"/>
                  </a:lnTo>
                  <a:lnTo>
                    <a:pt x="1123" y="135"/>
                  </a:lnTo>
                  <a:lnTo>
                    <a:pt x="1123" y="135"/>
                  </a:lnTo>
                  <a:lnTo>
                    <a:pt x="1121" y="133"/>
                  </a:lnTo>
                  <a:lnTo>
                    <a:pt x="1121" y="135"/>
                  </a:lnTo>
                  <a:lnTo>
                    <a:pt x="1116" y="153"/>
                  </a:lnTo>
                  <a:lnTo>
                    <a:pt x="1110" y="164"/>
                  </a:lnTo>
                  <a:lnTo>
                    <a:pt x="1110" y="166"/>
                  </a:lnTo>
                  <a:lnTo>
                    <a:pt x="1110" y="168"/>
                  </a:lnTo>
                  <a:lnTo>
                    <a:pt x="1110" y="169"/>
                  </a:lnTo>
                  <a:lnTo>
                    <a:pt x="1110" y="171"/>
                  </a:lnTo>
                  <a:lnTo>
                    <a:pt x="1109" y="173"/>
                  </a:lnTo>
                  <a:lnTo>
                    <a:pt x="1109" y="173"/>
                  </a:lnTo>
                  <a:lnTo>
                    <a:pt x="1109" y="175"/>
                  </a:lnTo>
                  <a:lnTo>
                    <a:pt x="1107" y="175"/>
                  </a:lnTo>
                  <a:lnTo>
                    <a:pt x="1105" y="177"/>
                  </a:lnTo>
                  <a:lnTo>
                    <a:pt x="1105" y="177"/>
                  </a:lnTo>
                  <a:lnTo>
                    <a:pt x="1103" y="178"/>
                  </a:lnTo>
                  <a:lnTo>
                    <a:pt x="1103" y="178"/>
                  </a:lnTo>
                  <a:lnTo>
                    <a:pt x="1105" y="180"/>
                  </a:lnTo>
                  <a:lnTo>
                    <a:pt x="1105" y="180"/>
                  </a:lnTo>
                  <a:lnTo>
                    <a:pt x="1103" y="182"/>
                  </a:lnTo>
                  <a:lnTo>
                    <a:pt x="1103" y="182"/>
                  </a:lnTo>
                  <a:lnTo>
                    <a:pt x="1103" y="180"/>
                  </a:lnTo>
                  <a:lnTo>
                    <a:pt x="1101" y="180"/>
                  </a:lnTo>
                  <a:lnTo>
                    <a:pt x="1101" y="182"/>
                  </a:lnTo>
                  <a:lnTo>
                    <a:pt x="1098" y="184"/>
                  </a:lnTo>
                  <a:lnTo>
                    <a:pt x="1094" y="184"/>
                  </a:lnTo>
                  <a:lnTo>
                    <a:pt x="1094" y="184"/>
                  </a:lnTo>
                  <a:lnTo>
                    <a:pt x="1094" y="184"/>
                  </a:lnTo>
                  <a:lnTo>
                    <a:pt x="1096" y="186"/>
                  </a:lnTo>
                  <a:lnTo>
                    <a:pt x="1098" y="187"/>
                  </a:lnTo>
                  <a:lnTo>
                    <a:pt x="1098" y="191"/>
                  </a:lnTo>
                  <a:lnTo>
                    <a:pt x="1098" y="193"/>
                  </a:lnTo>
                  <a:lnTo>
                    <a:pt x="1098" y="195"/>
                  </a:lnTo>
                  <a:lnTo>
                    <a:pt x="1096" y="196"/>
                  </a:lnTo>
                  <a:lnTo>
                    <a:pt x="1096" y="198"/>
                  </a:lnTo>
                  <a:lnTo>
                    <a:pt x="1094" y="202"/>
                  </a:lnTo>
                  <a:lnTo>
                    <a:pt x="1094" y="204"/>
                  </a:lnTo>
                  <a:lnTo>
                    <a:pt x="1092" y="205"/>
                  </a:lnTo>
                  <a:lnTo>
                    <a:pt x="1094" y="207"/>
                  </a:lnTo>
                  <a:lnTo>
                    <a:pt x="1094" y="213"/>
                  </a:lnTo>
                  <a:lnTo>
                    <a:pt x="1092" y="216"/>
                  </a:lnTo>
                  <a:lnTo>
                    <a:pt x="1091" y="218"/>
                  </a:lnTo>
                  <a:lnTo>
                    <a:pt x="1091" y="220"/>
                  </a:lnTo>
                  <a:lnTo>
                    <a:pt x="1091" y="220"/>
                  </a:lnTo>
                  <a:lnTo>
                    <a:pt x="1091" y="222"/>
                  </a:lnTo>
                  <a:lnTo>
                    <a:pt x="1091" y="224"/>
                  </a:lnTo>
                  <a:lnTo>
                    <a:pt x="1091" y="225"/>
                  </a:lnTo>
                  <a:lnTo>
                    <a:pt x="1091" y="227"/>
                  </a:lnTo>
                  <a:lnTo>
                    <a:pt x="1091" y="227"/>
                  </a:lnTo>
                  <a:lnTo>
                    <a:pt x="1094" y="227"/>
                  </a:lnTo>
                  <a:lnTo>
                    <a:pt x="1094" y="227"/>
                  </a:lnTo>
                  <a:lnTo>
                    <a:pt x="1096" y="227"/>
                  </a:lnTo>
                  <a:lnTo>
                    <a:pt x="1100" y="229"/>
                  </a:lnTo>
                  <a:lnTo>
                    <a:pt x="1100" y="227"/>
                  </a:lnTo>
                  <a:lnTo>
                    <a:pt x="1101" y="227"/>
                  </a:lnTo>
                  <a:lnTo>
                    <a:pt x="1103" y="227"/>
                  </a:lnTo>
                  <a:lnTo>
                    <a:pt x="1107" y="227"/>
                  </a:lnTo>
                  <a:lnTo>
                    <a:pt x="1109" y="225"/>
                  </a:lnTo>
                  <a:lnTo>
                    <a:pt x="1110" y="224"/>
                  </a:lnTo>
                  <a:lnTo>
                    <a:pt x="1110" y="224"/>
                  </a:lnTo>
                  <a:lnTo>
                    <a:pt x="1110" y="220"/>
                  </a:lnTo>
                  <a:lnTo>
                    <a:pt x="1109" y="220"/>
                  </a:lnTo>
                  <a:lnTo>
                    <a:pt x="1110" y="218"/>
                  </a:lnTo>
                  <a:lnTo>
                    <a:pt x="1110" y="218"/>
                  </a:lnTo>
                  <a:lnTo>
                    <a:pt x="1112" y="216"/>
                  </a:lnTo>
                  <a:lnTo>
                    <a:pt x="1114" y="211"/>
                  </a:lnTo>
                  <a:lnTo>
                    <a:pt x="1118" y="207"/>
                  </a:lnTo>
                  <a:lnTo>
                    <a:pt x="1118" y="205"/>
                  </a:lnTo>
                  <a:lnTo>
                    <a:pt x="1119" y="204"/>
                  </a:lnTo>
                  <a:lnTo>
                    <a:pt x="1123" y="204"/>
                  </a:lnTo>
                  <a:lnTo>
                    <a:pt x="1125" y="202"/>
                  </a:lnTo>
                  <a:lnTo>
                    <a:pt x="1127" y="202"/>
                  </a:lnTo>
                  <a:lnTo>
                    <a:pt x="1127" y="202"/>
                  </a:lnTo>
                  <a:lnTo>
                    <a:pt x="1125" y="204"/>
                  </a:lnTo>
                  <a:lnTo>
                    <a:pt x="1123" y="204"/>
                  </a:lnTo>
                  <a:lnTo>
                    <a:pt x="1123" y="205"/>
                  </a:lnTo>
                  <a:lnTo>
                    <a:pt x="1121" y="205"/>
                  </a:lnTo>
                  <a:lnTo>
                    <a:pt x="1119" y="205"/>
                  </a:lnTo>
                  <a:lnTo>
                    <a:pt x="1118" y="207"/>
                  </a:lnTo>
                  <a:lnTo>
                    <a:pt x="1116" y="209"/>
                  </a:lnTo>
                  <a:lnTo>
                    <a:pt x="1114" y="213"/>
                  </a:lnTo>
                  <a:lnTo>
                    <a:pt x="1114" y="214"/>
                  </a:lnTo>
                  <a:lnTo>
                    <a:pt x="1116" y="216"/>
                  </a:lnTo>
                  <a:lnTo>
                    <a:pt x="1116" y="218"/>
                  </a:lnTo>
                  <a:lnTo>
                    <a:pt x="1116" y="216"/>
                  </a:lnTo>
                  <a:lnTo>
                    <a:pt x="1116" y="218"/>
                  </a:lnTo>
                  <a:lnTo>
                    <a:pt x="1116" y="220"/>
                  </a:lnTo>
                  <a:lnTo>
                    <a:pt x="1118" y="220"/>
                  </a:lnTo>
                  <a:lnTo>
                    <a:pt x="1118" y="222"/>
                  </a:lnTo>
                  <a:lnTo>
                    <a:pt x="1118" y="222"/>
                  </a:lnTo>
                  <a:lnTo>
                    <a:pt x="1118" y="222"/>
                  </a:lnTo>
                  <a:lnTo>
                    <a:pt x="1118" y="222"/>
                  </a:lnTo>
                  <a:lnTo>
                    <a:pt x="1118" y="222"/>
                  </a:lnTo>
                  <a:lnTo>
                    <a:pt x="1116" y="224"/>
                  </a:lnTo>
                  <a:lnTo>
                    <a:pt x="1114" y="225"/>
                  </a:lnTo>
                  <a:lnTo>
                    <a:pt x="1112" y="225"/>
                  </a:lnTo>
                  <a:lnTo>
                    <a:pt x="1112" y="227"/>
                  </a:lnTo>
                  <a:lnTo>
                    <a:pt x="1112" y="227"/>
                  </a:lnTo>
                  <a:lnTo>
                    <a:pt x="1112" y="227"/>
                  </a:lnTo>
                  <a:lnTo>
                    <a:pt x="1110" y="227"/>
                  </a:lnTo>
                  <a:lnTo>
                    <a:pt x="1109" y="229"/>
                  </a:lnTo>
                  <a:lnTo>
                    <a:pt x="1109" y="229"/>
                  </a:lnTo>
                  <a:lnTo>
                    <a:pt x="1109" y="229"/>
                  </a:lnTo>
                  <a:lnTo>
                    <a:pt x="1109" y="229"/>
                  </a:lnTo>
                  <a:lnTo>
                    <a:pt x="1107" y="227"/>
                  </a:lnTo>
                  <a:lnTo>
                    <a:pt x="1105" y="229"/>
                  </a:lnTo>
                  <a:lnTo>
                    <a:pt x="1103" y="229"/>
                  </a:lnTo>
                  <a:lnTo>
                    <a:pt x="1101" y="229"/>
                  </a:lnTo>
                  <a:lnTo>
                    <a:pt x="1103" y="231"/>
                  </a:lnTo>
                  <a:lnTo>
                    <a:pt x="1105" y="233"/>
                  </a:lnTo>
                  <a:lnTo>
                    <a:pt x="1105" y="236"/>
                  </a:lnTo>
                  <a:lnTo>
                    <a:pt x="1105" y="240"/>
                  </a:lnTo>
                  <a:lnTo>
                    <a:pt x="1105" y="242"/>
                  </a:lnTo>
                  <a:lnTo>
                    <a:pt x="1103" y="243"/>
                  </a:lnTo>
                  <a:lnTo>
                    <a:pt x="1103" y="243"/>
                  </a:lnTo>
                  <a:lnTo>
                    <a:pt x="1103" y="243"/>
                  </a:lnTo>
                  <a:lnTo>
                    <a:pt x="1103" y="243"/>
                  </a:lnTo>
                  <a:lnTo>
                    <a:pt x="1103" y="245"/>
                  </a:lnTo>
                  <a:lnTo>
                    <a:pt x="1103" y="245"/>
                  </a:lnTo>
                  <a:lnTo>
                    <a:pt x="1103" y="245"/>
                  </a:lnTo>
                  <a:lnTo>
                    <a:pt x="1105" y="245"/>
                  </a:lnTo>
                  <a:lnTo>
                    <a:pt x="1105" y="245"/>
                  </a:lnTo>
                  <a:lnTo>
                    <a:pt x="1107" y="245"/>
                  </a:lnTo>
                  <a:lnTo>
                    <a:pt x="1107" y="243"/>
                  </a:lnTo>
                  <a:lnTo>
                    <a:pt x="1112" y="243"/>
                  </a:lnTo>
                  <a:lnTo>
                    <a:pt x="1116" y="242"/>
                  </a:lnTo>
                  <a:lnTo>
                    <a:pt x="1114" y="242"/>
                  </a:lnTo>
                  <a:lnTo>
                    <a:pt x="1118" y="240"/>
                  </a:lnTo>
                  <a:lnTo>
                    <a:pt x="1119" y="238"/>
                  </a:lnTo>
                  <a:lnTo>
                    <a:pt x="1121" y="240"/>
                  </a:lnTo>
                  <a:lnTo>
                    <a:pt x="1123" y="240"/>
                  </a:lnTo>
                  <a:lnTo>
                    <a:pt x="1125" y="240"/>
                  </a:lnTo>
                  <a:lnTo>
                    <a:pt x="1125" y="242"/>
                  </a:lnTo>
                  <a:lnTo>
                    <a:pt x="1127" y="240"/>
                  </a:lnTo>
                  <a:lnTo>
                    <a:pt x="1127" y="240"/>
                  </a:lnTo>
                  <a:lnTo>
                    <a:pt x="1125" y="238"/>
                  </a:lnTo>
                  <a:lnTo>
                    <a:pt x="1125" y="238"/>
                  </a:lnTo>
                  <a:lnTo>
                    <a:pt x="1125" y="238"/>
                  </a:lnTo>
                  <a:lnTo>
                    <a:pt x="1125" y="238"/>
                  </a:lnTo>
                  <a:lnTo>
                    <a:pt x="1127" y="236"/>
                  </a:lnTo>
                  <a:lnTo>
                    <a:pt x="1127" y="236"/>
                  </a:lnTo>
                  <a:lnTo>
                    <a:pt x="1127" y="236"/>
                  </a:lnTo>
                  <a:lnTo>
                    <a:pt x="1127" y="238"/>
                  </a:lnTo>
                  <a:lnTo>
                    <a:pt x="1127" y="238"/>
                  </a:lnTo>
                  <a:lnTo>
                    <a:pt x="1129" y="238"/>
                  </a:lnTo>
                  <a:lnTo>
                    <a:pt x="1129" y="238"/>
                  </a:lnTo>
                  <a:lnTo>
                    <a:pt x="1127" y="240"/>
                  </a:lnTo>
                  <a:lnTo>
                    <a:pt x="1127" y="240"/>
                  </a:lnTo>
                  <a:lnTo>
                    <a:pt x="1127" y="240"/>
                  </a:lnTo>
                  <a:lnTo>
                    <a:pt x="1127" y="242"/>
                  </a:lnTo>
                  <a:lnTo>
                    <a:pt x="1127" y="242"/>
                  </a:lnTo>
                  <a:lnTo>
                    <a:pt x="1129" y="243"/>
                  </a:lnTo>
                  <a:lnTo>
                    <a:pt x="1132" y="245"/>
                  </a:lnTo>
                  <a:lnTo>
                    <a:pt x="1132" y="245"/>
                  </a:lnTo>
                  <a:lnTo>
                    <a:pt x="1134" y="245"/>
                  </a:lnTo>
                  <a:lnTo>
                    <a:pt x="1132" y="245"/>
                  </a:lnTo>
                  <a:lnTo>
                    <a:pt x="1127" y="243"/>
                  </a:lnTo>
                  <a:lnTo>
                    <a:pt x="1125" y="243"/>
                  </a:lnTo>
                  <a:lnTo>
                    <a:pt x="1125" y="243"/>
                  </a:lnTo>
                  <a:lnTo>
                    <a:pt x="1123" y="243"/>
                  </a:lnTo>
                  <a:lnTo>
                    <a:pt x="1121" y="242"/>
                  </a:lnTo>
                  <a:lnTo>
                    <a:pt x="1119" y="240"/>
                  </a:lnTo>
                  <a:lnTo>
                    <a:pt x="1118" y="240"/>
                  </a:lnTo>
                  <a:lnTo>
                    <a:pt x="1118" y="242"/>
                  </a:lnTo>
                  <a:lnTo>
                    <a:pt x="1119" y="242"/>
                  </a:lnTo>
                  <a:lnTo>
                    <a:pt x="1121" y="243"/>
                  </a:lnTo>
                  <a:lnTo>
                    <a:pt x="1123" y="245"/>
                  </a:lnTo>
                  <a:lnTo>
                    <a:pt x="1123" y="245"/>
                  </a:lnTo>
                  <a:lnTo>
                    <a:pt x="1125" y="249"/>
                  </a:lnTo>
                  <a:lnTo>
                    <a:pt x="1125" y="252"/>
                  </a:lnTo>
                  <a:lnTo>
                    <a:pt x="1127" y="256"/>
                  </a:lnTo>
                  <a:lnTo>
                    <a:pt x="1127" y="260"/>
                  </a:lnTo>
                  <a:lnTo>
                    <a:pt x="1125" y="263"/>
                  </a:lnTo>
                  <a:lnTo>
                    <a:pt x="1125" y="267"/>
                  </a:lnTo>
                  <a:lnTo>
                    <a:pt x="1121" y="272"/>
                  </a:lnTo>
                  <a:lnTo>
                    <a:pt x="1121" y="274"/>
                  </a:lnTo>
                  <a:lnTo>
                    <a:pt x="1121" y="274"/>
                  </a:lnTo>
                  <a:lnTo>
                    <a:pt x="1119" y="274"/>
                  </a:lnTo>
                  <a:lnTo>
                    <a:pt x="1119" y="274"/>
                  </a:lnTo>
                  <a:lnTo>
                    <a:pt x="1121" y="276"/>
                  </a:lnTo>
                  <a:lnTo>
                    <a:pt x="1123" y="276"/>
                  </a:lnTo>
                  <a:lnTo>
                    <a:pt x="1125" y="278"/>
                  </a:lnTo>
                  <a:lnTo>
                    <a:pt x="1125" y="280"/>
                  </a:lnTo>
                  <a:lnTo>
                    <a:pt x="1125" y="281"/>
                  </a:lnTo>
                  <a:lnTo>
                    <a:pt x="1125" y="285"/>
                  </a:lnTo>
                  <a:lnTo>
                    <a:pt x="1123" y="289"/>
                  </a:lnTo>
                  <a:lnTo>
                    <a:pt x="1125" y="289"/>
                  </a:lnTo>
                  <a:lnTo>
                    <a:pt x="1125" y="289"/>
                  </a:lnTo>
                  <a:lnTo>
                    <a:pt x="1127" y="289"/>
                  </a:lnTo>
                  <a:lnTo>
                    <a:pt x="1127" y="289"/>
                  </a:lnTo>
                  <a:lnTo>
                    <a:pt x="1127" y="289"/>
                  </a:lnTo>
                  <a:lnTo>
                    <a:pt x="1127" y="290"/>
                  </a:lnTo>
                  <a:lnTo>
                    <a:pt x="1125" y="290"/>
                  </a:lnTo>
                  <a:lnTo>
                    <a:pt x="1125" y="290"/>
                  </a:lnTo>
                  <a:lnTo>
                    <a:pt x="1125" y="292"/>
                  </a:lnTo>
                  <a:lnTo>
                    <a:pt x="1125" y="294"/>
                  </a:lnTo>
                  <a:lnTo>
                    <a:pt x="1123" y="296"/>
                  </a:lnTo>
                  <a:lnTo>
                    <a:pt x="1123" y="298"/>
                  </a:lnTo>
                  <a:lnTo>
                    <a:pt x="1125" y="298"/>
                  </a:lnTo>
                  <a:lnTo>
                    <a:pt x="1125" y="299"/>
                  </a:lnTo>
                  <a:lnTo>
                    <a:pt x="1125" y="301"/>
                  </a:lnTo>
                  <a:lnTo>
                    <a:pt x="1125" y="303"/>
                  </a:lnTo>
                  <a:lnTo>
                    <a:pt x="1125" y="305"/>
                  </a:lnTo>
                  <a:lnTo>
                    <a:pt x="1125" y="308"/>
                  </a:lnTo>
                  <a:lnTo>
                    <a:pt x="1123" y="310"/>
                  </a:lnTo>
                  <a:lnTo>
                    <a:pt x="1123" y="312"/>
                  </a:lnTo>
                  <a:lnTo>
                    <a:pt x="1121" y="314"/>
                  </a:lnTo>
                  <a:lnTo>
                    <a:pt x="1121" y="314"/>
                  </a:lnTo>
                  <a:lnTo>
                    <a:pt x="1121" y="316"/>
                  </a:lnTo>
                  <a:lnTo>
                    <a:pt x="1121" y="317"/>
                  </a:lnTo>
                  <a:lnTo>
                    <a:pt x="1121" y="319"/>
                  </a:lnTo>
                  <a:lnTo>
                    <a:pt x="1119" y="321"/>
                  </a:lnTo>
                  <a:lnTo>
                    <a:pt x="1119" y="321"/>
                  </a:lnTo>
                  <a:lnTo>
                    <a:pt x="1119" y="323"/>
                  </a:lnTo>
                  <a:lnTo>
                    <a:pt x="1118" y="325"/>
                  </a:lnTo>
                  <a:lnTo>
                    <a:pt x="1118" y="326"/>
                  </a:lnTo>
                  <a:lnTo>
                    <a:pt x="1116" y="330"/>
                  </a:lnTo>
                  <a:lnTo>
                    <a:pt x="1116" y="330"/>
                  </a:lnTo>
                  <a:lnTo>
                    <a:pt x="1116" y="332"/>
                  </a:lnTo>
                  <a:lnTo>
                    <a:pt x="1114" y="332"/>
                  </a:lnTo>
                  <a:lnTo>
                    <a:pt x="1116" y="332"/>
                  </a:lnTo>
                  <a:lnTo>
                    <a:pt x="1116" y="332"/>
                  </a:lnTo>
                  <a:lnTo>
                    <a:pt x="1116" y="334"/>
                  </a:lnTo>
                  <a:lnTo>
                    <a:pt x="1118" y="334"/>
                  </a:lnTo>
                  <a:lnTo>
                    <a:pt x="1118" y="334"/>
                  </a:lnTo>
                  <a:lnTo>
                    <a:pt x="1119" y="332"/>
                  </a:lnTo>
                  <a:lnTo>
                    <a:pt x="1119" y="332"/>
                  </a:lnTo>
                  <a:lnTo>
                    <a:pt x="1119" y="332"/>
                  </a:lnTo>
                  <a:lnTo>
                    <a:pt x="1121" y="332"/>
                  </a:lnTo>
                  <a:lnTo>
                    <a:pt x="1121" y="332"/>
                  </a:lnTo>
                  <a:lnTo>
                    <a:pt x="1123" y="330"/>
                  </a:lnTo>
                  <a:lnTo>
                    <a:pt x="1125" y="330"/>
                  </a:lnTo>
                  <a:lnTo>
                    <a:pt x="1125" y="330"/>
                  </a:lnTo>
                  <a:lnTo>
                    <a:pt x="1125" y="330"/>
                  </a:lnTo>
                  <a:lnTo>
                    <a:pt x="1127" y="328"/>
                  </a:lnTo>
                  <a:lnTo>
                    <a:pt x="1127" y="328"/>
                  </a:lnTo>
                  <a:lnTo>
                    <a:pt x="1130" y="328"/>
                  </a:lnTo>
                  <a:lnTo>
                    <a:pt x="1132" y="326"/>
                  </a:lnTo>
                  <a:lnTo>
                    <a:pt x="1132" y="326"/>
                  </a:lnTo>
                  <a:lnTo>
                    <a:pt x="1134" y="326"/>
                  </a:lnTo>
                  <a:lnTo>
                    <a:pt x="1136" y="326"/>
                  </a:lnTo>
                  <a:lnTo>
                    <a:pt x="1138" y="326"/>
                  </a:lnTo>
                  <a:lnTo>
                    <a:pt x="1141" y="328"/>
                  </a:lnTo>
                  <a:lnTo>
                    <a:pt x="1141" y="328"/>
                  </a:lnTo>
                  <a:lnTo>
                    <a:pt x="1143" y="328"/>
                  </a:lnTo>
                  <a:lnTo>
                    <a:pt x="1145" y="328"/>
                  </a:lnTo>
                  <a:lnTo>
                    <a:pt x="1147" y="328"/>
                  </a:lnTo>
                  <a:lnTo>
                    <a:pt x="1148" y="328"/>
                  </a:lnTo>
                  <a:lnTo>
                    <a:pt x="1150" y="330"/>
                  </a:lnTo>
                  <a:lnTo>
                    <a:pt x="1154" y="328"/>
                  </a:lnTo>
                  <a:lnTo>
                    <a:pt x="1156" y="328"/>
                  </a:lnTo>
                  <a:lnTo>
                    <a:pt x="1157" y="330"/>
                  </a:lnTo>
                  <a:lnTo>
                    <a:pt x="1159" y="330"/>
                  </a:lnTo>
                  <a:lnTo>
                    <a:pt x="1163" y="332"/>
                  </a:lnTo>
                  <a:lnTo>
                    <a:pt x="1165" y="334"/>
                  </a:lnTo>
                  <a:lnTo>
                    <a:pt x="1166" y="336"/>
                  </a:lnTo>
                  <a:lnTo>
                    <a:pt x="1166" y="334"/>
                  </a:lnTo>
                  <a:lnTo>
                    <a:pt x="1166" y="334"/>
                  </a:lnTo>
                  <a:lnTo>
                    <a:pt x="1165" y="334"/>
                  </a:lnTo>
                  <a:lnTo>
                    <a:pt x="1166" y="334"/>
                  </a:lnTo>
                  <a:lnTo>
                    <a:pt x="1166" y="334"/>
                  </a:lnTo>
                  <a:lnTo>
                    <a:pt x="1166" y="334"/>
                  </a:lnTo>
                  <a:lnTo>
                    <a:pt x="1168" y="334"/>
                  </a:lnTo>
                  <a:lnTo>
                    <a:pt x="1168" y="334"/>
                  </a:lnTo>
                  <a:lnTo>
                    <a:pt x="1172" y="334"/>
                  </a:lnTo>
                  <a:lnTo>
                    <a:pt x="1172" y="334"/>
                  </a:lnTo>
                  <a:lnTo>
                    <a:pt x="1174" y="334"/>
                  </a:lnTo>
                  <a:lnTo>
                    <a:pt x="1174" y="334"/>
                  </a:lnTo>
                  <a:lnTo>
                    <a:pt x="1175" y="332"/>
                  </a:lnTo>
                  <a:lnTo>
                    <a:pt x="1183" y="328"/>
                  </a:lnTo>
                  <a:lnTo>
                    <a:pt x="1183" y="326"/>
                  </a:lnTo>
                  <a:lnTo>
                    <a:pt x="1186" y="325"/>
                  </a:lnTo>
                  <a:lnTo>
                    <a:pt x="1188" y="325"/>
                  </a:lnTo>
                  <a:lnTo>
                    <a:pt x="1190" y="323"/>
                  </a:lnTo>
                  <a:lnTo>
                    <a:pt x="1190" y="323"/>
                  </a:lnTo>
                  <a:lnTo>
                    <a:pt x="1192" y="323"/>
                  </a:lnTo>
                  <a:lnTo>
                    <a:pt x="1194" y="323"/>
                  </a:lnTo>
                  <a:lnTo>
                    <a:pt x="1194" y="323"/>
                  </a:lnTo>
                  <a:lnTo>
                    <a:pt x="1195" y="325"/>
                  </a:lnTo>
                  <a:lnTo>
                    <a:pt x="1195" y="323"/>
                  </a:lnTo>
                  <a:lnTo>
                    <a:pt x="1195" y="323"/>
                  </a:lnTo>
                  <a:lnTo>
                    <a:pt x="1195" y="323"/>
                  </a:lnTo>
                  <a:lnTo>
                    <a:pt x="1195" y="323"/>
                  </a:lnTo>
                  <a:lnTo>
                    <a:pt x="1194" y="323"/>
                  </a:lnTo>
                  <a:lnTo>
                    <a:pt x="1194" y="323"/>
                  </a:lnTo>
                  <a:lnTo>
                    <a:pt x="1194" y="319"/>
                  </a:lnTo>
                  <a:lnTo>
                    <a:pt x="1194" y="317"/>
                  </a:lnTo>
                  <a:lnTo>
                    <a:pt x="1194" y="317"/>
                  </a:lnTo>
                  <a:lnTo>
                    <a:pt x="1194" y="316"/>
                  </a:lnTo>
                  <a:lnTo>
                    <a:pt x="1194" y="310"/>
                  </a:lnTo>
                  <a:lnTo>
                    <a:pt x="1192" y="308"/>
                  </a:lnTo>
                  <a:lnTo>
                    <a:pt x="1192" y="307"/>
                  </a:lnTo>
                  <a:lnTo>
                    <a:pt x="1192" y="307"/>
                  </a:lnTo>
                  <a:lnTo>
                    <a:pt x="1192" y="305"/>
                  </a:lnTo>
                  <a:lnTo>
                    <a:pt x="1192" y="303"/>
                  </a:lnTo>
                  <a:lnTo>
                    <a:pt x="1192" y="303"/>
                  </a:lnTo>
                  <a:lnTo>
                    <a:pt x="1190" y="301"/>
                  </a:lnTo>
                  <a:lnTo>
                    <a:pt x="1190" y="301"/>
                  </a:lnTo>
                  <a:lnTo>
                    <a:pt x="1190" y="301"/>
                  </a:lnTo>
                  <a:lnTo>
                    <a:pt x="1190" y="301"/>
                  </a:lnTo>
                  <a:lnTo>
                    <a:pt x="1190" y="301"/>
                  </a:lnTo>
                  <a:lnTo>
                    <a:pt x="1188" y="299"/>
                  </a:lnTo>
                  <a:lnTo>
                    <a:pt x="1188" y="299"/>
                  </a:lnTo>
                  <a:lnTo>
                    <a:pt x="1188" y="299"/>
                  </a:lnTo>
                  <a:lnTo>
                    <a:pt x="1188" y="299"/>
                  </a:lnTo>
                  <a:lnTo>
                    <a:pt x="1188" y="299"/>
                  </a:lnTo>
                  <a:lnTo>
                    <a:pt x="1188" y="298"/>
                  </a:lnTo>
                  <a:lnTo>
                    <a:pt x="1190" y="298"/>
                  </a:lnTo>
                  <a:lnTo>
                    <a:pt x="1190" y="298"/>
                  </a:lnTo>
                  <a:lnTo>
                    <a:pt x="1190" y="298"/>
                  </a:lnTo>
                  <a:lnTo>
                    <a:pt x="1190" y="298"/>
                  </a:lnTo>
                  <a:lnTo>
                    <a:pt x="1190" y="296"/>
                  </a:lnTo>
                  <a:lnTo>
                    <a:pt x="1190" y="296"/>
                  </a:lnTo>
                  <a:lnTo>
                    <a:pt x="1192" y="294"/>
                  </a:lnTo>
                  <a:lnTo>
                    <a:pt x="1192" y="294"/>
                  </a:lnTo>
                  <a:lnTo>
                    <a:pt x="1192" y="294"/>
                  </a:lnTo>
                  <a:lnTo>
                    <a:pt x="1192" y="290"/>
                  </a:lnTo>
                  <a:lnTo>
                    <a:pt x="1194" y="289"/>
                  </a:lnTo>
                  <a:lnTo>
                    <a:pt x="1194" y="287"/>
                  </a:lnTo>
                  <a:lnTo>
                    <a:pt x="1199" y="283"/>
                  </a:lnTo>
                  <a:lnTo>
                    <a:pt x="1199" y="281"/>
                  </a:lnTo>
                  <a:lnTo>
                    <a:pt x="1201" y="278"/>
                  </a:lnTo>
                  <a:lnTo>
                    <a:pt x="1201" y="276"/>
                  </a:lnTo>
                  <a:lnTo>
                    <a:pt x="1201" y="274"/>
                  </a:lnTo>
                  <a:lnTo>
                    <a:pt x="1201" y="274"/>
                  </a:lnTo>
                  <a:lnTo>
                    <a:pt x="1201" y="274"/>
                  </a:lnTo>
                  <a:lnTo>
                    <a:pt x="1201" y="272"/>
                  </a:lnTo>
                  <a:lnTo>
                    <a:pt x="1201" y="272"/>
                  </a:lnTo>
                  <a:lnTo>
                    <a:pt x="1203" y="272"/>
                  </a:lnTo>
                  <a:lnTo>
                    <a:pt x="1204" y="272"/>
                  </a:lnTo>
                  <a:lnTo>
                    <a:pt x="1204" y="272"/>
                  </a:lnTo>
                  <a:lnTo>
                    <a:pt x="1204" y="272"/>
                  </a:lnTo>
                  <a:lnTo>
                    <a:pt x="1206" y="272"/>
                  </a:lnTo>
                  <a:lnTo>
                    <a:pt x="1206" y="272"/>
                  </a:lnTo>
                  <a:lnTo>
                    <a:pt x="1206" y="272"/>
                  </a:lnTo>
                  <a:lnTo>
                    <a:pt x="1208" y="270"/>
                  </a:lnTo>
                  <a:lnTo>
                    <a:pt x="1208" y="270"/>
                  </a:lnTo>
                  <a:lnTo>
                    <a:pt x="1208" y="269"/>
                  </a:lnTo>
                  <a:lnTo>
                    <a:pt x="1208" y="269"/>
                  </a:lnTo>
                  <a:lnTo>
                    <a:pt x="1210" y="269"/>
                  </a:lnTo>
                  <a:lnTo>
                    <a:pt x="1212" y="270"/>
                  </a:lnTo>
                  <a:lnTo>
                    <a:pt x="1213" y="270"/>
                  </a:lnTo>
                  <a:lnTo>
                    <a:pt x="1213" y="269"/>
                  </a:lnTo>
                  <a:lnTo>
                    <a:pt x="1215" y="267"/>
                  </a:lnTo>
                  <a:lnTo>
                    <a:pt x="1215" y="265"/>
                  </a:lnTo>
                  <a:lnTo>
                    <a:pt x="1215" y="263"/>
                  </a:lnTo>
                  <a:lnTo>
                    <a:pt x="1217" y="261"/>
                  </a:lnTo>
                  <a:lnTo>
                    <a:pt x="1217" y="261"/>
                  </a:lnTo>
                  <a:lnTo>
                    <a:pt x="1217" y="260"/>
                  </a:lnTo>
                  <a:lnTo>
                    <a:pt x="1217" y="258"/>
                  </a:lnTo>
                  <a:lnTo>
                    <a:pt x="1217" y="258"/>
                  </a:lnTo>
                  <a:lnTo>
                    <a:pt x="1215" y="258"/>
                  </a:lnTo>
                  <a:lnTo>
                    <a:pt x="1213" y="258"/>
                  </a:lnTo>
                  <a:lnTo>
                    <a:pt x="1213" y="258"/>
                  </a:lnTo>
                  <a:lnTo>
                    <a:pt x="1213" y="258"/>
                  </a:lnTo>
                  <a:lnTo>
                    <a:pt x="1213" y="260"/>
                  </a:lnTo>
                  <a:lnTo>
                    <a:pt x="1212" y="260"/>
                  </a:lnTo>
                  <a:lnTo>
                    <a:pt x="1210" y="260"/>
                  </a:lnTo>
                  <a:lnTo>
                    <a:pt x="1210" y="260"/>
                  </a:lnTo>
                  <a:lnTo>
                    <a:pt x="1210" y="260"/>
                  </a:lnTo>
                  <a:lnTo>
                    <a:pt x="1208" y="260"/>
                  </a:lnTo>
                  <a:lnTo>
                    <a:pt x="1206" y="254"/>
                  </a:lnTo>
                  <a:lnTo>
                    <a:pt x="1206" y="254"/>
                  </a:lnTo>
                  <a:lnTo>
                    <a:pt x="1206" y="252"/>
                  </a:lnTo>
                  <a:lnTo>
                    <a:pt x="1204" y="252"/>
                  </a:lnTo>
                  <a:lnTo>
                    <a:pt x="1204" y="252"/>
                  </a:lnTo>
                  <a:lnTo>
                    <a:pt x="1204" y="251"/>
                  </a:lnTo>
                  <a:lnTo>
                    <a:pt x="1204" y="251"/>
                  </a:lnTo>
                  <a:lnTo>
                    <a:pt x="1199" y="245"/>
                  </a:lnTo>
                  <a:lnTo>
                    <a:pt x="1197" y="243"/>
                  </a:lnTo>
                  <a:lnTo>
                    <a:pt x="1197" y="243"/>
                  </a:lnTo>
                  <a:lnTo>
                    <a:pt x="1197" y="242"/>
                  </a:lnTo>
                  <a:lnTo>
                    <a:pt x="1199" y="242"/>
                  </a:lnTo>
                  <a:lnTo>
                    <a:pt x="1199" y="242"/>
                  </a:lnTo>
                  <a:lnTo>
                    <a:pt x="1197" y="240"/>
                  </a:lnTo>
                  <a:lnTo>
                    <a:pt x="1199" y="240"/>
                  </a:lnTo>
                  <a:lnTo>
                    <a:pt x="1199" y="236"/>
                  </a:lnTo>
                  <a:lnTo>
                    <a:pt x="1201" y="233"/>
                  </a:lnTo>
                  <a:lnTo>
                    <a:pt x="1201" y="233"/>
                  </a:lnTo>
                  <a:lnTo>
                    <a:pt x="1201" y="231"/>
                  </a:lnTo>
                  <a:lnTo>
                    <a:pt x="1201" y="231"/>
                  </a:lnTo>
                  <a:lnTo>
                    <a:pt x="1201" y="231"/>
                  </a:lnTo>
                  <a:lnTo>
                    <a:pt x="1201" y="231"/>
                  </a:lnTo>
                  <a:lnTo>
                    <a:pt x="1201" y="231"/>
                  </a:lnTo>
                  <a:lnTo>
                    <a:pt x="1201" y="229"/>
                  </a:lnTo>
                  <a:lnTo>
                    <a:pt x="1201" y="229"/>
                  </a:lnTo>
                  <a:lnTo>
                    <a:pt x="1201" y="225"/>
                  </a:lnTo>
                  <a:lnTo>
                    <a:pt x="1201" y="225"/>
                  </a:lnTo>
                  <a:lnTo>
                    <a:pt x="1201" y="225"/>
                  </a:lnTo>
                  <a:lnTo>
                    <a:pt x="1201" y="224"/>
                  </a:lnTo>
                  <a:lnTo>
                    <a:pt x="1204" y="222"/>
                  </a:lnTo>
                  <a:lnTo>
                    <a:pt x="1204" y="222"/>
                  </a:lnTo>
                  <a:lnTo>
                    <a:pt x="1204" y="222"/>
                  </a:lnTo>
                  <a:lnTo>
                    <a:pt x="1206" y="222"/>
                  </a:lnTo>
                  <a:lnTo>
                    <a:pt x="1206" y="220"/>
                  </a:lnTo>
                  <a:lnTo>
                    <a:pt x="1206" y="220"/>
                  </a:lnTo>
                  <a:lnTo>
                    <a:pt x="1208" y="220"/>
                  </a:lnTo>
                  <a:lnTo>
                    <a:pt x="1210" y="218"/>
                  </a:lnTo>
                  <a:lnTo>
                    <a:pt x="1210" y="218"/>
                  </a:lnTo>
                  <a:lnTo>
                    <a:pt x="1212" y="218"/>
                  </a:lnTo>
                  <a:lnTo>
                    <a:pt x="1212" y="216"/>
                  </a:lnTo>
                  <a:lnTo>
                    <a:pt x="1212" y="216"/>
                  </a:lnTo>
                  <a:lnTo>
                    <a:pt x="1212" y="216"/>
                  </a:lnTo>
                  <a:lnTo>
                    <a:pt x="1212" y="214"/>
                  </a:lnTo>
                  <a:lnTo>
                    <a:pt x="1212" y="214"/>
                  </a:lnTo>
                  <a:lnTo>
                    <a:pt x="1213" y="213"/>
                  </a:lnTo>
                  <a:lnTo>
                    <a:pt x="1213" y="211"/>
                  </a:lnTo>
                  <a:lnTo>
                    <a:pt x="1215" y="207"/>
                  </a:lnTo>
                  <a:lnTo>
                    <a:pt x="1215" y="207"/>
                  </a:lnTo>
                  <a:lnTo>
                    <a:pt x="1217" y="207"/>
                  </a:lnTo>
                  <a:lnTo>
                    <a:pt x="1217" y="205"/>
                  </a:lnTo>
                  <a:lnTo>
                    <a:pt x="1215" y="205"/>
                  </a:lnTo>
                  <a:lnTo>
                    <a:pt x="1215" y="204"/>
                  </a:lnTo>
                  <a:lnTo>
                    <a:pt x="1215" y="204"/>
                  </a:lnTo>
                  <a:lnTo>
                    <a:pt x="1215" y="202"/>
                  </a:lnTo>
                  <a:lnTo>
                    <a:pt x="1213" y="202"/>
                  </a:lnTo>
                  <a:lnTo>
                    <a:pt x="1213" y="200"/>
                  </a:lnTo>
                  <a:lnTo>
                    <a:pt x="1212" y="200"/>
                  </a:lnTo>
                  <a:lnTo>
                    <a:pt x="1210" y="200"/>
                  </a:lnTo>
                  <a:lnTo>
                    <a:pt x="1210" y="202"/>
                  </a:lnTo>
                  <a:lnTo>
                    <a:pt x="1208" y="202"/>
                  </a:lnTo>
                  <a:lnTo>
                    <a:pt x="1208" y="202"/>
                  </a:lnTo>
                  <a:lnTo>
                    <a:pt x="1206" y="200"/>
                  </a:lnTo>
                  <a:lnTo>
                    <a:pt x="1206" y="200"/>
                  </a:lnTo>
                  <a:lnTo>
                    <a:pt x="1206" y="200"/>
                  </a:lnTo>
                  <a:lnTo>
                    <a:pt x="1206" y="198"/>
                  </a:lnTo>
                  <a:lnTo>
                    <a:pt x="1208" y="198"/>
                  </a:lnTo>
                  <a:lnTo>
                    <a:pt x="1206" y="196"/>
                  </a:lnTo>
                  <a:lnTo>
                    <a:pt x="1206" y="196"/>
                  </a:lnTo>
                  <a:lnTo>
                    <a:pt x="1204" y="196"/>
                  </a:lnTo>
                  <a:lnTo>
                    <a:pt x="1203" y="195"/>
                  </a:lnTo>
                  <a:lnTo>
                    <a:pt x="1203" y="195"/>
                  </a:lnTo>
                  <a:lnTo>
                    <a:pt x="1201" y="193"/>
                  </a:lnTo>
                  <a:lnTo>
                    <a:pt x="1203" y="191"/>
                  </a:lnTo>
                  <a:lnTo>
                    <a:pt x="1203" y="191"/>
                  </a:lnTo>
                  <a:lnTo>
                    <a:pt x="1201" y="187"/>
                  </a:lnTo>
                  <a:lnTo>
                    <a:pt x="1199" y="186"/>
                  </a:lnTo>
                  <a:lnTo>
                    <a:pt x="1199" y="186"/>
                  </a:lnTo>
                  <a:lnTo>
                    <a:pt x="1199" y="184"/>
                  </a:lnTo>
                  <a:lnTo>
                    <a:pt x="1199" y="182"/>
                  </a:lnTo>
                  <a:lnTo>
                    <a:pt x="1199" y="182"/>
                  </a:lnTo>
                  <a:lnTo>
                    <a:pt x="1199" y="180"/>
                  </a:lnTo>
                  <a:lnTo>
                    <a:pt x="1199" y="180"/>
                  </a:lnTo>
                  <a:lnTo>
                    <a:pt x="1199" y="178"/>
                  </a:lnTo>
                  <a:lnTo>
                    <a:pt x="1199" y="178"/>
                  </a:lnTo>
                  <a:lnTo>
                    <a:pt x="1197" y="177"/>
                  </a:lnTo>
                  <a:lnTo>
                    <a:pt x="1195" y="177"/>
                  </a:lnTo>
                  <a:lnTo>
                    <a:pt x="1195" y="177"/>
                  </a:lnTo>
                  <a:lnTo>
                    <a:pt x="1195" y="175"/>
                  </a:lnTo>
                  <a:lnTo>
                    <a:pt x="1194" y="173"/>
                  </a:lnTo>
                  <a:lnTo>
                    <a:pt x="1192" y="173"/>
                  </a:lnTo>
                  <a:lnTo>
                    <a:pt x="1192" y="173"/>
                  </a:lnTo>
                  <a:lnTo>
                    <a:pt x="1190" y="169"/>
                  </a:lnTo>
                  <a:lnTo>
                    <a:pt x="1190" y="169"/>
                  </a:lnTo>
                  <a:lnTo>
                    <a:pt x="1188" y="164"/>
                  </a:lnTo>
                  <a:lnTo>
                    <a:pt x="1186" y="164"/>
                  </a:lnTo>
                  <a:lnTo>
                    <a:pt x="1186" y="164"/>
                  </a:lnTo>
                  <a:lnTo>
                    <a:pt x="1197" y="164"/>
                  </a:lnTo>
                  <a:lnTo>
                    <a:pt x="1199" y="164"/>
                  </a:lnTo>
                  <a:lnTo>
                    <a:pt x="1199" y="164"/>
                  </a:lnTo>
                  <a:lnTo>
                    <a:pt x="1201" y="164"/>
                  </a:lnTo>
                  <a:lnTo>
                    <a:pt x="1203" y="164"/>
                  </a:lnTo>
                  <a:lnTo>
                    <a:pt x="1203" y="164"/>
                  </a:lnTo>
                  <a:lnTo>
                    <a:pt x="1204" y="164"/>
                  </a:lnTo>
                  <a:lnTo>
                    <a:pt x="1206" y="164"/>
                  </a:lnTo>
                  <a:lnTo>
                    <a:pt x="1213" y="164"/>
                  </a:lnTo>
                  <a:lnTo>
                    <a:pt x="1213" y="162"/>
                  </a:lnTo>
                  <a:lnTo>
                    <a:pt x="1215" y="162"/>
                  </a:lnTo>
                  <a:lnTo>
                    <a:pt x="1215" y="160"/>
                  </a:lnTo>
                  <a:lnTo>
                    <a:pt x="1213" y="160"/>
                  </a:lnTo>
                  <a:lnTo>
                    <a:pt x="1213" y="160"/>
                  </a:lnTo>
                  <a:lnTo>
                    <a:pt x="1215" y="158"/>
                  </a:lnTo>
                  <a:lnTo>
                    <a:pt x="1215" y="158"/>
                  </a:lnTo>
                  <a:lnTo>
                    <a:pt x="1215" y="158"/>
                  </a:lnTo>
                  <a:lnTo>
                    <a:pt x="1215" y="157"/>
                  </a:lnTo>
                  <a:lnTo>
                    <a:pt x="1215" y="157"/>
                  </a:lnTo>
                  <a:lnTo>
                    <a:pt x="1215" y="155"/>
                  </a:lnTo>
                  <a:lnTo>
                    <a:pt x="1215" y="155"/>
                  </a:lnTo>
                  <a:lnTo>
                    <a:pt x="1215" y="155"/>
                  </a:lnTo>
                  <a:lnTo>
                    <a:pt x="1217" y="155"/>
                  </a:lnTo>
                  <a:lnTo>
                    <a:pt x="1217" y="153"/>
                  </a:lnTo>
                  <a:lnTo>
                    <a:pt x="1219" y="151"/>
                  </a:lnTo>
                  <a:lnTo>
                    <a:pt x="1219" y="151"/>
                  </a:lnTo>
                  <a:lnTo>
                    <a:pt x="1219" y="149"/>
                  </a:lnTo>
                  <a:lnTo>
                    <a:pt x="1219" y="149"/>
                  </a:lnTo>
                  <a:lnTo>
                    <a:pt x="1219" y="149"/>
                  </a:lnTo>
                  <a:lnTo>
                    <a:pt x="1219" y="149"/>
                  </a:lnTo>
                  <a:lnTo>
                    <a:pt x="1219" y="148"/>
                  </a:lnTo>
                  <a:lnTo>
                    <a:pt x="1219" y="148"/>
                  </a:lnTo>
                  <a:lnTo>
                    <a:pt x="1219" y="148"/>
                  </a:lnTo>
                  <a:lnTo>
                    <a:pt x="1219" y="148"/>
                  </a:lnTo>
                  <a:lnTo>
                    <a:pt x="1221" y="146"/>
                  </a:lnTo>
                  <a:lnTo>
                    <a:pt x="1221" y="146"/>
                  </a:lnTo>
                  <a:lnTo>
                    <a:pt x="1221" y="144"/>
                  </a:lnTo>
                  <a:lnTo>
                    <a:pt x="1221" y="144"/>
                  </a:lnTo>
                  <a:lnTo>
                    <a:pt x="1221" y="142"/>
                  </a:lnTo>
                  <a:lnTo>
                    <a:pt x="1219" y="139"/>
                  </a:lnTo>
                  <a:lnTo>
                    <a:pt x="1217" y="137"/>
                  </a:lnTo>
                  <a:lnTo>
                    <a:pt x="1217" y="137"/>
                  </a:lnTo>
                  <a:lnTo>
                    <a:pt x="1217" y="135"/>
                  </a:lnTo>
                  <a:lnTo>
                    <a:pt x="1215" y="135"/>
                  </a:lnTo>
                  <a:lnTo>
                    <a:pt x="1215" y="135"/>
                  </a:lnTo>
                  <a:lnTo>
                    <a:pt x="1213" y="135"/>
                  </a:lnTo>
                  <a:lnTo>
                    <a:pt x="1213" y="135"/>
                  </a:lnTo>
                  <a:lnTo>
                    <a:pt x="1213" y="131"/>
                  </a:lnTo>
                  <a:lnTo>
                    <a:pt x="1213" y="131"/>
                  </a:lnTo>
                  <a:lnTo>
                    <a:pt x="1213" y="130"/>
                  </a:lnTo>
                  <a:lnTo>
                    <a:pt x="1213" y="130"/>
                  </a:lnTo>
                  <a:lnTo>
                    <a:pt x="1213" y="128"/>
                  </a:lnTo>
                  <a:lnTo>
                    <a:pt x="1215" y="128"/>
                  </a:lnTo>
                  <a:lnTo>
                    <a:pt x="1217" y="126"/>
                  </a:lnTo>
                  <a:lnTo>
                    <a:pt x="1217" y="126"/>
                  </a:lnTo>
                  <a:lnTo>
                    <a:pt x="1219" y="126"/>
                  </a:lnTo>
                  <a:lnTo>
                    <a:pt x="1219" y="126"/>
                  </a:lnTo>
                  <a:lnTo>
                    <a:pt x="1221" y="126"/>
                  </a:lnTo>
                  <a:lnTo>
                    <a:pt x="1221" y="126"/>
                  </a:lnTo>
                  <a:lnTo>
                    <a:pt x="1221" y="126"/>
                  </a:lnTo>
                  <a:lnTo>
                    <a:pt x="1221" y="124"/>
                  </a:lnTo>
                  <a:lnTo>
                    <a:pt x="1221" y="124"/>
                  </a:lnTo>
                  <a:lnTo>
                    <a:pt x="1221" y="124"/>
                  </a:lnTo>
                  <a:lnTo>
                    <a:pt x="1222" y="124"/>
                  </a:lnTo>
                  <a:lnTo>
                    <a:pt x="1224" y="122"/>
                  </a:lnTo>
                  <a:lnTo>
                    <a:pt x="1224" y="121"/>
                  </a:lnTo>
                  <a:lnTo>
                    <a:pt x="1226" y="121"/>
                  </a:lnTo>
                  <a:lnTo>
                    <a:pt x="1224" y="119"/>
                  </a:lnTo>
                  <a:lnTo>
                    <a:pt x="1222" y="117"/>
                  </a:lnTo>
                  <a:lnTo>
                    <a:pt x="1222" y="113"/>
                  </a:lnTo>
                  <a:lnTo>
                    <a:pt x="1222" y="112"/>
                  </a:lnTo>
                  <a:lnTo>
                    <a:pt x="1224" y="110"/>
                  </a:lnTo>
                  <a:lnTo>
                    <a:pt x="1224" y="110"/>
                  </a:lnTo>
                  <a:lnTo>
                    <a:pt x="1224" y="108"/>
                  </a:lnTo>
                  <a:lnTo>
                    <a:pt x="1224" y="108"/>
                  </a:lnTo>
                  <a:lnTo>
                    <a:pt x="1222" y="106"/>
                  </a:lnTo>
                  <a:lnTo>
                    <a:pt x="1222" y="106"/>
                  </a:lnTo>
                  <a:lnTo>
                    <a:pt x="1222" y="104"/>
                  </a:lnTo>
                  <a:lnTo>
                    <a:pt x="1222" y="104"/>
                  </a:lnTo>
                  <a:lnTo>
                    <a:pt x="1224" y="103"/>
                  </a:lnTo>
                  <a:lnTo>
                    <a:pt x="1224" y="101"/>
                  </a:lnTo>
                  <a:lnTo>
                    <a:pt x="1224" y="101"/>
                  </a:lnTo>
                  <a:lnTo>
                    <a:pt x="1224" y="99"/>
                  </a:lnTo>
                  <a:lnTo>
                    <a:pt x="1224" y="97"/>
                  </a:lnTo>
                  <a:lnTo>
                    <a:pt x="1222" y="93"/>
                  </a:lnTo>
                  <a:lnTo>
                    <a:pt x="1222" y="93"/>
                  </a:lnTo>
                  <a:lnTo>
                    <a:pt x="1222" y="92"/>
                  </a:lnTo>
                  <a:lnTo>
                    <a:pt x="1222" y="92"/>
                  </a:lnTo>
                  <a:lnTo>
                    <a:pt x="1222" y="92"/>
                  </a:lnTo>
                  <a:lnTo>
                    <a:pt x="1222" y="90"/>
                  </a:lnTo>
                  <a:lnTo>
                    <a:pt x="1222" y="90"/>
                  </a:lnTo>
                  <a:lnTo>
                    <a:pt x="1222" y="90"/>
                  </a:lnTo>
                  <a:lnTo>
                    <a:pt x="1222" y="88"/>
                  </a:lnTo>
                  <a:lnTo>
                    <a:pt x="1224" y="88"/>
                  </a:lnTo>
                  <a:lnTo>
                    <a:pt x="1224" y="86"/>
                  </a:lnTo>
                  <a:lnTo>
                    <a:pt x="1224" y="86"/>
                  </a:lnTo>
                  <a:lnTo>
                    <a:pt x="1224" y="86"/>
                  </a:lnTo>
                  <a:lnTo>
                    <a:pt x="1222" y="86"/>
                  </a:lnTo>
                  <a:lnTo>
                    <a:pt x="1222" y="84"/>
                  </a:lnTo>
                  <a:lnTo>
                    <a:pt x="1222" y="83"/>
                  </a:lnTo>
                  <a:lnTo>
                    <a:pt x="1221" y="81"/>
                  </a:lnTo>
                  <a:lnTo>
                    <a:pt x="1221" y="79"/>
                  </a:lnTo>
                  <a:lnTo>
                    <a:pt x="1219" y="77"/>
                  </a:lnTo>
                  <a:lnTo>
                    <a:pt x="1219" y="77"/>
                  </a:lnTo>
                  <a:lnTo>
                    <a:pt x="1217" y="75"/>
                  </a:lnTo>
                  <a:lnTo>
                    <a:pt x="1219" y="75"/>
                  </a:lnTo>
                  <a:lnTo>
                    <a:pt x="1219" y="74"/>
                  </a:lnTo>
                  <a:lnTo>
                    <a:pt x="1219" y="74"/>
                  </a:lnTo>
                  <a:lnTo>
                    <a:pt x="1219" y="74"/>
                  </a:lnTo>
                  <a:lnTo>
                    <a:pt x="1222" y="74"/>
                  </a:lnTo>
                  <a:lnTo>
                    <a:pt x="1224" y="74"/>
                  </a:lnTo>
                  <a:lnTo>
                    <a:pt x="1224" y="74"/>
                  </a:lnTo>
                  <a:lnTo>
                    <a:pt x="1226" y="70"/>
                  </a:lnTo>
                  <a:lnTo>
                    <a:pt x="1228" y="68"/>
                  </a:lnTo>
                  <a:lnTo>
                    <a:pt x="1228" y="68"/>
                  </a:lnTo>
                  <a:lnTo>
                    <a:pt x="1228" y="66"/>
                  </a:lnTo>
                  <a:lnTo>
                    <a:pt x="1228" y="66"/>
                  </a:lnTo>
                  <a:lnTo>
                    <a:pt x="1230" y="65"/>
                  </a:lnTo>
                  <a:lnTo>
                    <a:pt x="1230" y="65"/>
                  </a:lnTo>
                  <a:lnTo>
                    <a:pt x="1230" y="63"/>
                  </a:lnTo>
                  <a:lnTo>
                    <a:pt x="1231" y="61"/>
                  </a:lnTo>
                  <a:lnTo>
                    <a:pt x="1233" y="59"/>
                  </a:lnTo>
                  <a:lnTo>
                    <a:pt x="1233" y="59"/>
                  </a:lnTo>
                  <a:lnTo>
                    <a:pt x="1237" y="59"/>
                  </a:lnTo>
                  <a:lnTo>
                    <a:pt x="1237" y="59"/>
                  </a:lnTo>
                  <a:lnTo>
                    <a:pt x="1240" y="57"/>
                  </a:lnTo>
                  <a:lnTo>
                    <a:pt x="1242" y="57"/>
                  </a:lnTo>
                  <a:lnTo>
                    <a:pt x="1244" y="56"/>
                  </a:lnTo>
                  <a:lnTo>
                    <a:pt x="1244" y="52"/>
                  </a:lnTo>
                  <a:lnTo>
                    <a:pt x="1246" y="52"/>
                  </a:lnTo>
                  <a:lnTo>
                    <a:pt x="1246" y="52"/>
                  </a:lnTo>
                  <a:lnTo>
                    <a:pt x="1246" y="52"/>
                  </a:lnTo>
                  <a:lnTo>
                    <a:pt x="1246" y="52"/>
                  </a:lnTo>
                  <a:lnTo>
                    <a:pt x="1246" y="52"/>
                  </a:lnTo>
                  <a:lnTo>
                    <a:pt x="1246" y="52"/>
                  </a:lnTo>
                  <a:lnTo>
                    <a:pt x="1246" y="50"/>
                  </a:lnTo>
                  <a:lnTo>
                    <a:pt x="1246" y="50"/>
                  </a:lnTo>
                  <a:lnTo>
                    <a:pt x="1248" y="50"/>
                  </a:lnTo>
                  <a:lnTo>
                    <a:pt x="1250" y="50"/>
                  </a:lnTo>
                  <a:lnTo>
                    <a:pt x="1250" y="50"/>
                  </a:lnTo>
                  <a:lnTo>
                    <a:pt x="1251" y="47"/>
                  </a:lnTo>
                  <a:lnTo>
                    <a:pt x="1251" y="47"/>
                  </a:lnTo>
                  <a:lnTo>
                    <a:pt x="1251" y="45"/>
                  </a:lnTo>
                  <a:lnTo>
                    <a:pt x="1251" y="45"/>
                  </a:lnTo>
                  <a:lnTo>
                    <a:pt x="1251" y="45"/>
                  </a:lnTo>
                  <a:lnTo>
                    <a:pt x="1253" y="43"/>
                  </a:lnTo>
                  <a:lnTo>
                    <a:pt x="1255" y="39"/>
                  </a:lnTo>
                  <a:lnTo>
                    <a:pt x="1255" y="39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9826FF90-4A77-065B-114F-2EC71F1E3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1475" y="3378201"/>
              <a:ext cx="796925" cy="750888"/>
            </a:xfrm>
            <a:custGeom>
              <a:avLst/>
              <a:gdLst>
                <a:gd name="T0" fmla="*/ 489 w 502"/>
                <a:gd name="T1" fmla="*/ 312 h 473"/>
                <a:gd name="T2" fmla="*/ 478 w 502"/>
                <a:gd name="T3" fmla="*/ 285 h 473"/>
                <a:gd name="T4" fmla="*/ 471 w 502"/>
                <a:gd name="T5" fmla="*/ 265 h 473"/>
                <a:gd name="T6" fmla="*/ 475 w 502"/>
                <a:gd name="T7" fmla="*/ 251 h 473"/>
                <a:gd name="T8" fmla="*/ 475 w 502"/>
                <a:gd name="T9" fmla="*/ 229 h 473"/>
                <a:gd name="T10" fmla="*/ 464 w 502"/>
                <a:gd name="T11" fmla="*/ 222 h 473"/>
                <a:gd name="T12" fmla="*/ 489 w 502"/>
                <a:gd name="T13" fmla="*/ 182 h 473"/>
                <a:gd name="T14" fmla="*/ 489 w 502"/>
                <a:gd name="T15" fmla="*/ 146 h 473"/>
                <a:gd name="T16" fmla="*/ 471 w 502"/>
                <a:gd name="T17" fmla="*/ 90 h 473"/>
                <a:gd name="T18" fmla="*/ 467 w 502"/>
                <a:gd name="T19" fmla="*/ 59 h 473"/>
                <a:gd name="T20" fmla="*/ 447 w 502"/>
                <a:gd name="T21" fmla="*/ 41 h 473"/>
                <a:gd name="T22" fmla="*/ 359 w 502"/>
                <a:gd name="T23" fmla="*/ 38 h 473"/>
                <a:gd name="T24" fmla="*/ 229 w 502"/>
                <a:gd name="T25" fmla="*/ 36 h 473"/>
                <a:gd name="T26" fmla="*/ 218 w 502"/>
                <a:gd name="T27" fmla="*/ 12 h 473"/>
                <a:gd name="T28" fmla="*/ 229 w 502"/>
                <a:gd name="T29" fmla="*/ 10 h 473"/>
                <a:gd name="T30" fmla="*/ 180 w 502"/>
                <a:gd name="T31" fmla="*/ 3 h 473"/>
                <a:gd name="T32" fmla="*/ 108 w 502"/>
                <a:gd name="T33" fmla="*/ 39 h 473"/>
                <a:gd name="T34" fmla="*/ 104 w 502"/>
                <a:gd name="T35" fmla="*/ 47 h 473"/>
                <a:gd name="T36" fmla="*/ 12 w 502"/>
                <a:gd name="T37" fmla="*/ 77 h 473"/>
                <a:gd name="T38" fmla="*/ 10 w 502"/>
                <a:gd name="T39" fmla="*/ 84 h 473"/>
                <a:gd name="T40" fmla="*/ 16 w 502"/>
                <a:gd name="T41" fmla="*/ 79 h 473"/>
                <a:gd name="T42" fmla="*/ 25 w 502"/>
                <a:gd name="T43" fmla="*/ 88 h 473"/>
                <a:gd name="T44" fmla="*/ 21 w 502"/>
                <a:gd name="T45" fmla="*/ 101 h 473"/>
                <a:gd name="T46" fmla="*/ 9 w 502"/>
                <a:gd name="T47" fmla="*/ 95 h 473"/>
                <a:gd name="T48" fmla="*/ 14 w 502"/>
                <a:gd name="T49" fmla="*/ 131 h 473"/>
                <a:gd name="T50" fmla="*/ 1 w 502"/>
                <a:gd name="T51" fmla="*/ 159 h 473"/>
                <a:gd name="T52" fmla="*/ 25 w 502"/>
                <a:gd name="T53" fmla="*/ 189 h 473"/>
                <a:gd name="T54" fmla="*/ 30 w 502"/>
                <a:gd name="T55" fmla="*/ 222 h 473"/>
                <a:gd name="T56" fmla="*/ 25 w 502"/>
                <a:gd name="T57" fmla="*/ 254 h 473"/>
                <a:gd name="T58" fmla="*/ 41 w 502"/>
                <a:gd name="T59" fmla="*/ 280 h 473"/>
                <a:gd name="T60" fmla="*/ 43 w 502"/>
                <a:gd name="T61" fmla="*/ 308 h 473"/>
                <a:gd name="T62" fmla="*/ 45 w 502"/>
                <a:gd name="T63" fmla="*/ 321 h 473"/>
                <a:gd name="T64" fmla="*/ 52 w 502"/>
                <a:gd name="T65" fmla="*/ 316 h 473"/>
                <a:gd name="T66" fmla="*/ 63 w 502"/>
                <a:gd name="T67" fmla="*/ 336 h 473"/>
                <a:gd name="T68" fmla="*/ 94 w 502"/>
                <a:gd name="T69" fmla="*/ 343 h 473"/>
                <a:gd name="T70" fmla="*/ 110 w 502"/>
                <a:gd name="T71" fmla="*/ 345 h 473"/>
                <a:gd name="T72" fmla="*/ 106 w 502"/>
                <a:gd name="T73" fmla="*/ 359 h 473"/>
                <a:gd name="T74" fmla="*/ 112 w 502"/>
                <a:gd name="T75" fmla="*/ 368 h 473"/>
                <a:gd name="T76" fmla="*/ 133 w 502"/>
                <a:gd name="T77" fmla="*/ 383 h 473"/>
                <a:gd name="T78" fmla="*/ 144 w 502"/>
                <a:gd name="T79" fmla="*/ 377 h 473"/>
                <a:gd name="T80" fmla="*/ 151 w 502"/>
                <a:gd name="T81" fmla="*/ 366 h 473"/>
                <a:gd name="T82" fmla="*/ 162 w 502"/>
                <a:gd name="T83" fmla="*/ 373 h 473"/>
                <a:gd name="T84" fmla="*/ 180 w 502"/>
                <a:gd name="T85" fmla="*/ 373 h 473"/>
                <a:gd name="T86" fmla="*/ 178 w 502"/>
                <a:gd name="T87" fmla="*/ 388 h 473"/>
                <a:gd name="T88" fmla="*/ 195 w 502"/>
                <a:gd name="T89" fmla="*/ 395 h 473"/>
                <a:gd name="T90" fmla="*/ 207 w 502"/>
                <a:gd name="T91" fmla="*/ 401 h 473"/>
                <a:gd name="T92" fmla="*/ 224 w 502"/>
                <a:gd name="T93" fmla="*/ 413 h 473"/>
                <a:gd name="T94" fmla="*/ 236 w 502"/>
                <a:gd name="T95" fmla="*/ 433 h 473"/>
                <a:gd name="T96" fmla="*/ 254 w 502"/>
                <a:gd name="T97" fmla="*/ 439 h 473"/>
                <a:gd name="T98" fmla="*/ 267 w 502"/>
                <a:gd name="T99" fmla="*/ 426 h 473"/>
                <a:gd name="T100" fmla="*/ 283 w 502"/>
                <a:gd name="T101" fmla="*/ 442 h 473"/>
                <a:gd name="T102" fmla="*/ 281 w 502"/>
                <a:gd name="T103" fmla="*/ 457 h 473"/>
                <a:gd name="T104" fmla="*/ 301 w 502"/>
                <a:gd name="T105" fmla="*/ 449 h 473"/>
                <a:gd name="T106" fmla="*/ 325 w 502"/>
                <a:gd name="T107" fmla="*/ 442 h 473"/>
                <a:gd name="T108" fmla="*/ 348 w 502"/>
                <a:gd name="T109" fmla="*/ 446 h 473"/>
                <a:gd name="T110" fmla="*/ 370 w 502"/>
                <a:gd name="T111" fmla="*/ 440 h 473"/>
                <a:gd name="T112" fmla="*/ 393 w 502"/>
                <a:gd name="T113" fmla="*/ 449 h 473"/>
                <a:gd name="T114" fmla="*/ 420 w 502"/>
                <a:gd name="T115" fmla="*/ 466 h 473"/>
                <a:gd name="T116" fmla="*/ 437 w 502"/>
                <a:gd name="T117" fmla="*/ 469 h 473"/>
                <a:gd name="T118" fmla="*/ 431 w 502"/>
                <a:gd name="T119" fmla="*/ 444 h 473"/>
                <a:gd name="T120" fmla="*/ 442 w 502"/>
                <a:gd name="T121" fmla="*/ 411 h 473"/>
                <a:gd name="T122" fmla="*/ 480 w 502"/>
                <a:gd name="T123" fmla="*/ 366 h 473"/>
                <a:gd name="T124" fmla="*/ 498 w 502"/>
                <a:gd name="T125" fmla="*/ 339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02" h="473">
                  <a:moveTo>
                    <a:pt x="494" y="330"/>
                  </a:moveTo>
                  <a:lnTo>
                    <a:pt x="496" y="330"/>
                  </a:lnTo>
                  <a:lnTo>
                    <a:pt x="496" y="330"/>
                  </a:lnTo>
                  <a:lnTo>
                    <a:pt x="498" y="330"/>
                  </a:lnTo>
                  <a:lnTo>
                    <a:pt x="500" y="330"/>
                  </a:lnTo>
                  <a:lnTo>
                    <a:pt x="502" y="330"/>
                  </a:lnTo>
                  <a:lnTo>
                    <a:pt x="502" y="328"/>
                  </a:lnTo>
                  <a:lnTo>
                    <a:pt x="502" y="327"/>
                  </a:lnTo>
                  <a:lnTo>
                    <a:pt x="496" y="325"/>
                  </a:lnTo>
                  <a:lnTo>
                    <a:pt x="494" y="321"/>
                  </a:lnTo>
                  <a:lnTo>
                    <a:pt x="493" y="321"/>
                  </a:lnTo>
                  <a:lnTo>
                    <a:pt x="493" y="319"/>
                  </a:lnTo>
                  <a:lnTo>
                    <a:pt x="493" y="319"/>
                  </a:lnTo>
                  <a:lnTo>
                    <a:pt x="493" y="317"/>
                  </a:lnTo>
                  <a:lnTo>
                    <a:pt x="493" y="317"/>
                  </a:lnTo>
                  <a:lnTo>
                    <a:pt x="491" y="317"/>
                  </a:lnTo>
                  <a:lnTo>
                    <a:pt x="491" y="317"/>
                  </a:lnTo>
                  <a:lnTo>
                    <a:pt x="491" y="316"/>
                  </a:lnTo>
                  <a:lnTo>
                    <a:pt x="491" y="316"/>
                  </a:lnTo>
                  <a:lnTo>
                    <a:pt x="491" y="316"/>
                  </a:lnTo>
                  <a:lnTo>
                    <a:pt x="489" y="312"/>
                  </a:lnTo>
                  <a:lnTo>
                    <a:pt x="489" y="310"/>
                  </a:lnTo>
                  <a:lnTo>
                    <a:pt x="489" y="308"/>
                  </a:lnTo>
                  <a:lnTo>
                    <a:pt x="487" y="307"/>
                  </a:lnTo>
                  <a:lnTo>
                    <a:pt x="487" y="307"/>
                  </a:lnTo>
                  <a:lnTo>
                    <a:pt x="489" y="307"/>
                  </a:lnTo>
                  <a:lnTo>
                    <a:pt x="487" y="305"/>
                  </a:lnTo>
                  <a:lnTo>
                    <a:pt x="485" y="303"/>
                  </a:lnTo>
                  <a:lnTo>
                    <a:pt x="484" y="301"/>
                  </a:lnTo>
                  <a:lnTo>
                    <a:pt x="482" y="299"/>
                  </a:lnTo>
                  <a:lnTo>
                    <a:pt x="478" y="294"/>
                  </a:lnTo>
                  <a:lnTo>
                    <a:pt x="478" y="294"/>
                  </a:lnTo>
                  <a:lnTo>
                    <a:pt x="476" y="294"/>
                  </a:lnTo>
                  <a:lnTo>
                    <a:pt x="476" y="292"/>
                  </a:lnTo>
                  <a:lnTo>
                    <a:pt x="476" y="290"/>
                  </a:lnTo>
                  <a:lnTo>
                    <a:pt x="476" y="290"/>
                  </a:lnTo>
                  <a:lnTo>
                    <a:pt x="476" y="289"/>
                  </a:lnTo>
                  <a:lnTo>
                    <a:pt x="478" y="289"/>
                  </a:lnTo>
                  <a:lnTo>
                    <a:pt x="478" y="287"/>
                  </a:lnTo>
                  <a:lnTo>
                    <a:pt x="478" y="287"/>
                  </a:lnTo>
                  <a:lnTo>
                    <a:pt x="478" y="285"/>
                  </a:lnTo>
                  <a:lnTo>
                    <a:pt x="478" y="285"/>
                  </a:lnTo>
                  <a:lnTo>
                    <a:pt x="480" y="285"/>
                  </a:lnTo>
                  <a:lnTo>
                    <a:pt x="480" y="283"/>
                  </a:lnTo>
                  <a:lnTo>
                    <a:pt x="476" y="281"/>
                  </a:lnTo>
                  <a:lnTo>
                    <a:pt x="476" y="280"/>
                  </a:lnTo>
                  <a:lnTo>
                    <a:pt x="478" y="280"/>
                  </a:lnTo>
                  <a:lnTo>
                    <a:pt x="476" y="278"/>
                  </a:lnTo>
                  <a:lnTo>
                    <a:pt x="476" y="278"/>
                  </a:lnTo>
                  <a:lnTo>
                    <a:pt x="475" y="278"/>
                  </a:lnTo>
                  <a:lnTo>
                    <a:pt x="475" y="276"/>
                  </a:lnTo>
                  <a:lnTo>
                    <a:pt x="475" y="276"/>
                  </a:lnTo>
                  <a:lnTo>
                    <a:pt x="475" y="274"/>
                  </a:lnTo>
                  <a:lnTo>
                    <a:pt x="475" y="274"/>
                  </a:lnTo>
                  <a:lnTo>
                    <a:pt x="473" y="274"/>
                  </a:lnTo>
                  <a:lnTo>
                    <a:pt x="473" y="272"/>
                  </a:lnTo>
                  <a:lnTo>
                    <a:pt x="473" y="272"/>
                  </a:lnTo>
                  <a:lnTo>
                    <a:pt x="473" y="272"/>
                  </a:lnTo>
                  <a:lnTo>
                    <a:pt x="473" y="271"/>
                  </a:lnTo>
                  <a:lnTo>
                    <a:pt x="471" y="271"/>
                  </a:lnTo>
                  <a:lnTo>
                    <a:pt x="471" y="269"/>
                  </a:lnTo>
                  <a:lnTo>
                    <a:pt x="473" y="267"/>
                  </a:lnTo>
                  <a:lnTo>
                    <a:pt x="471" y="265"/>
                  </a:lnTo>
                  <a:lnTo>
                    <a:pt x="471" y="265"/>
                  </a:lnTo>
                  <a:lnTo>
                    <a:pt x="471" y="265"/>
                  </a:lnTo>
                  <a:lnTo>
                    <a:pt x="471" y="265"/>
                  </a:lnTo>
                  <a:lnTo>
                    <a:pt x="473" y="263"/>
                  </a:lnTo>
                  <a:lnTo>
                    <a:pt x="473" y="263"/>
                  </a:lnTo>
                  <a:lnTo>
                    <a:pt x="473" y="263"/>
                  </a:lnTo>
                  <a:lnTo>
                    <a:pt x="473" y="262"/>
                  </a:lnTo>
                  <a:lnTo>
                    <a:pt x="473" y="262"/>
                  </a:lnTo>
                  <a:lnTo>
                    <a:pt x="473" y="262"/>
                  </a:lnTo>
                  <a:lnTo>
                    <a:pt x="473" y="262"/>
                  </a:lnTo>
                  <a:lnTo>
                    <a:pt x="473" y="262"/>
                  </a:lnTo>
                  <a:lnTo>
                    <a:pt x="473" y="260"/>
                  </a:lnTo>
                  <a:lnTo>
                    <a:pt x="473" y="260"/>
                  </a:lnTo>
                  <a:lnTo>
                    <a:pt x="473" y="258"/>
                  </a:lnTo>
                  <a:lnTo>
                    <a:pt x="473" y="258"/>
                  </a:lnTo>
                  <a:lnTo>
                    <a:pt x="473" y="256"/>
                  </a:lnTo>
                  <a:lnTo>
                    <a:pt x="473" y="256"/>
                  </a:lnTo>
                  <a:lnTo>
                    <a:pt x="475" y="254"/>
                  </a:lnTo>
                  <a:lnTo>
                    <a:pt x="476" y="254"/>
                  </a:lnTo>
                  <a:lnTo>
                    <a:pt x="476" y="252"/>
                  </a:lnTo>
                  <a:lnTo>
                    <a:pt x="475" y="251"/>
                  </a:lnTo>
                  <a:lnTo>
                    <a:pt x="475" y="249"/>
                  </a:lnTo>
                  <a:lnTo>
                    <a:pt x="475" y="249"/>
                  </a:lnTo>
                  <a:lnTo>
                    <a:pt x="475" y="247"/>
                  </a:lnTo>
                  <a:lnTo>
                    <a:pt x="476" y="247"/>
                  </a:lnTo>
                  <a:lnTo>
                    <a:pt x="476" y="247"/>
                  </a:lnTo>
                  <a:lnTo>
                    <a:pt x="476" y="247"/>
                  </a:lnTo>
                  <a:lnTo>
                    <a:pt x="476" y="247"/>
                  </a:lnTo>
                  <a:lnTo>
                    <a:pt x="475" y="247"/>
                  </a:lnTo>
                  <a:lnTo>
                    <a:pt x="476" y="245"/>
                  </a:lnTo>
                  <a:lnTo>
                    <a:pt x="476" y="243"/>
                  </a:lnTo>
                  <a:lnTo>
                    <a:pt x="476" y="242"/>
                  </a:lnTo>
                  <a:lnTo>
                    <a:pt x="476" y="238"/>
                  </a:lnTo>
                  <a:lnTo>
                    <a:pt x="478" y="238"/>
                  </a:lnTo>
                  <a:lnTo>
                    <a:pt x="478" y="238"/>
                  </a:lnTo>
                  <a:lnTo>
                    <a:pt x="478" y="236"/>
                  </a:lnTo>
                  <a:lnTo>
                    <a:pt x="476" y="233"/>
                  </a:lnTo>
                  <a:lnTo>
                    <a:pt x="476" y="233"/>
                  </a:lnTo>
                  <a:lnTo>
                    <a:pt x="476" y="231"/>
                  </a:lnTo>
                  <a:lnTo>
                    <a:pt x="476" y="231"/>
                  </a:lnTo>
                  <a:lnTo>
                    <a:pt x="476" y="229"/>
                  </a:lnTo>
                  <a:lnTo>
                    <a:pt x="475" y="229"/>
                  </a:lnTo>
                  <a:lnTo>
                    <a:pt x="475" y="229"/>
                  </a:lnTo>
                  <a:lnTo>
                    <a:pt x="475" y="229"/>
                  </a:lnTo>
                  <a:lnTo>
                    <a:pt x="475" y="227"/>
                  </a:lnTo>
                  <a:lnTo>
                    <a:pt x="473" y="227"/>
                  </a:lnTo>
                  <a:lnTo>
                    <a:pt x="471" y="227"/>
                  </a:lnTo>
                  <a:lnTo>
                    <a:pt x="471" y="227"/>
                  </a:lnTo>
                  <a:lnTo>
                    <a:pt x="469" y="224"/>
                  </a:lnTo>
                  <a:lnTo>
                    <a:pt x="469" y="224"/>
                  </a:lnTo>
                  <a:lnTo>
                    <a:pt x="469" y="222"/>
                  </a:lnTo>
                  <a:lnTo>
                    <a:pt x="469" y="222"/>
                  </a:lnTo>
                  <a:lnTo>
                    <a:pt x="467" y="224"/>
                  </a:lnTo>
                  <a:lnTo>
                    <a:pt x="467" y="222"/>
                  </a:lnTo>
                  <a:lnTo>
                    <a:pt x="467" y="222"/>
                  </a:lnTo>
                  <a:lnTo>
                    <a:pt x="467" y="222"/>
                  </a:lnTo>
                  <a:lnTo>
                    <a:pt x="467" y="222"/>
                  </a:lnTo>
                  <a:lnTo>
                    <a:pt x="466" y="222"/>
                  </a:lnTo>
                  <a:lnTo>
                    <a:pt x="466" y="222"/>
                  </a:lnTo>
                  <a:lnTo>
                    <a:pt x="466" y="222"/>
                  </a:lnTo>
                  <a:lnTo>
                    <a:pt x="464" y="222"/>
                  </a:lnTo>
                  <a:lnTo>
                    <a:pt x="464" y="222"/>
                  </a:lnTo>
                  <a:lnTo>
                    <a:pt x="464" y="222"/>
                  </a:lnTo>
                  <a:lnTo>
                    <a:pt x="464" y="220"/>
                  </a:lnTo>
                  <a:lnTo>
                    <a:pt x="464" y="220"/>
                  </a:lnTo>
                  <a:lnTo>
                    <a:pt x="460" y="220"/>
                  </a:lnTo>
                  <a:lnTo>
                    <a:pt x="460" y="218"/>
                  </a:lnTo>
                  <a:lnTo>
                    <a:pt x="458" y="218"/>
                  </a:lnTo>
                  <a:lnTo>
                    <a:pt x="455" y="218"/>
                  </a:lnTo>
                  <a:lnTo>
                    <a:pt x="455" y="216"/>
                  </a:lnTo>
                  <a:lnTo>
                    <a:pt x="455" y="216"/>
                  </a:lnTo>
                  <a:lnTo>
                    <a:pt x="455" y="215"/>
                  </a:lnTo>
                  <a:lnTo>
                    <a:pt x="455" y="215"/>
                  </a:lnTo>
                  <a:lnTo>
                    <a:pt x="453" y="213"/>
                  </a:lnTo>
                  <a:lnTo>
                    <a:pt x="453" y="213"/>
                  </a:lnTo>
                  <a:lnTo>
                    <a:pt x="453" y="213"/>
                  </a:lnTo>
                  <a:lnTo>
                    <a:pt x="455" y="209"/>
                  </a:lnTo>
                  <a:lnTo>
                    <a:pt x="456" y="207"/>
                  </a:lnTo>
                  <a:lnTo>
                    <a:pt x="458" y="204"/>
                  </a:lnTo>
                  <a:lnTo>
                    <a:pt x="464" y="195"/>
                  </a:lnTo>
                  <a:lnTo>
                    <a:pt x="469" y="191"/>
                  </a:lnTo>
                  <a:lnTo>
                    <a:pt x="473" y="189"/>
                  </a:lnTo>
                  <a:lnTo>
                    <a:pt x="482" y="187"/>
                  </a:lnTo>
                  <a:lnTo>
                    <a:pt x="489" y="182"/>
                  </a:lnTo>
                  <a:lnTo>
                    <a:pt x="491" y="180"/>
                  </a:lnTo>
                  <a:lnTo>
                    <a:pt x="491" y="177"/>
                  </a:lnTo>
                  <a:lnTo>
                    <a:pt x="491" y="173"/>
                  </a:lnTo>
                  <a:lnTo>
                    <a:pt x="491" y="164"/>
                  </a:lnTo>
                  <a:lnTo>
                    <a:pt x="491" y="162"/>
                  </a:lnTo>
                  <a:lnTo>
                    <a:pt x="491" y="162"/>
                  </a:lnTo>
                  <a:lnTo>
                    <a:pt x="489" y="162"/>
                  </a:lnTo>
                  <a:lnTo>
                    <a:pt x="489" y="160"/>
                  </a:lnTo>
                  <a:lnTo>
                    <a:pt x="489" y="160"/>
                  </a:lnTo>
                  <a:lnTo>
                    <a:pt x="491" y="159"/>
                  </a:lnTo>
                  <a:lnTo>
                    <a:pt x="491" y="159"/>
                  </a:lnTo>
                  <a:lnTo>
                    <a:pt x="491" y="159"/>
                  </a:lnTo>
                  <a:lnTo>
                    <a:pt x="491" y="157"/>
                  </a:lnTo>
                  <a:lnTo>
                    <a:pt x="491" y="155"/>
                  </a:lnTo>
                  <a:lnTo>
                    <a:pt x="491" y="155"/>
                  </a:lnTo>
                  <a:lnTo>
                    <a:pt x="491" y="153"/>
                  </a:lnTo>
                  <a:lnTo>
                    <a:pt x="489" y="153"/>
                  </a:lnTo>
                  <a:lnTo>
                    <a:pt x="487" y="151"/>
                  </a:lnTo>
                  <a:lnTo>
                    <a:pt x="487" y="150"/>
                  </a:lnTo>
                  <a:lnTo>
                    <a:pt x="487" y="148"/>
                  </a:lnTo>
                  <a:lnTo>
                    <a:pt x="489" y="146"/>
                  </a:lnTo>
                  <a:lnTo>
                    <a:pt x="489" y="146"/>
                  </a:lnTo>
                  <a:lnTo>
                    <a:pt x="489" y="144"/>
                  </a:lnTo>
                  <a:lnTo>
                    <a:pt x="489" y="142"/>
                  </a:lnTo>
                  <a:lnTo>
                    <a:pt x="489" y="140"/>
                  </a:lnTo>
                  <a:lnTo>
                    <a:pt x="487" y="140"/>
                  </a:lnTo>
                  <a:lnTo>
                    <a:pt x="487" y="139"/>
                  </a:lnTo>
                  <a:lnTo>
                    <a:pt x="487" y="139"/>
                  </a:lnTo>
                  <a:lnTo>
                    <a:pt x="485" y="137"/>
                  </a:lnTo>
                  <a:lnTo>
                    <a:pt x="485" y="135"/>
                  </a:lnTo>
                  <a:lnTo>
                    <a:pt x="485" y="135"/>
                  </a:lnTo>
                  <a:lnTo>
                    <a:pt x="484" y="131"/>
                  </a:lnTo>
                  <a:lnTo>
                    <a:pt x="482" y="124"/>
                  </a:lnTo>
                  <a:lnTo>
                    <a:pt x="480" y="122"/>
                  </a:lnTo>
                  <a:lnTo>
                    <a:pt x="478" y="117"/>
                  </a:lnTo>
                  <a:lnTo>
                    <a:pt x="475" y="104"/>
                  </a:lnTo>
                  <a:lnTo>
                    <a:pt x="473" y="97"/>
                  </a:lnTo>
                  <a:lnTo>
                    <a:pt x="473" y="92"/>
                  </a:lnTo>
                  <a:lnTo>
                    <a:pt x="473" y="92"/>
                  </a:lnTo>
                  <a:lnTo>
                    <a:pt x="473" y="92"/>
                  </a:lnTo>
                  <a:lnTo>
                    <a:pt x="471" y="90"/>
                  </a:lnTo>
                  <a:lnTo>
                    <a:pt x="471" y="90"/>
                  </a:lnTo>
                  <a:lnTo>
                    <a:pt x="471" y="84"/>
                  </a:lnTo>
                  <a:lnTo>
                    <a:pt x="471" y="83"/>
                  </a:lnTo>
                  <a:lnTo>
                    <a:pt x="469" y="81"/>
                  </a:lnTo>
                  <a:lnTo>
                    <a:pt x="469" y="79"/>
                  </a:lnTo>
                  <a:lnTo>
                    <a:pt x="469" y="75"/>
                  </a:lnTo>
                  <a:lnTo>
                    <a:pt x="469" y="75"/>
                  </a:lnTo>
                  <a:lnTo>
                    <a:pt x="469" y="75"/>
                  </a:lnTo>
                  <a:lnTo>
                    <a:pt x="469" y="74"/>
                  </a:lnTo>
                  <a:lnTo>
                    <a:pt x="469" y="74"/>
                  </a:lnTo>
                  <a:lnTo>
                    <a:pt x="467" y="74"/>
                  </a:lnTo>
                  <a:lnTo>
                    <a:pt x="467" y="74"/>
                  </a:lnTo>
                  <a:lnTo>
                    <a:pt x="467" y="72"/>
                  </a:lnTo>
                  <a:lnTo>
                    <a:pt x="467" y="72"/>
                  </a:lnTo>
                  <a:lnTo>
                    <a:pt x="467" y="72"/>
                  </a:lnTo>
                  <a:lnTo>
                    <a:pt x="467" y="70"/>
                  </a:lnTo>
                  <a:lnTo>
                    <a:pt x="469" y="70"/>
                  </a:lnTo>
                  <a:lnTo>
                    <a:pt x="469" y="68"/>
                  </a:lnTo>
                  <a:lnTo>
                    <a:pt x="469" y="66"/>
                  </a:lnTo>
                  <a:lnTo>
                    <a:pt x="469" y="63"/>
                  </a:lnTo>
                  <a:lnTo>
                    <a:pt x="469" y="61"/>
                  </a:lnTo>
                  <a:lnTo>
                    <a:pt x="467" y="59"/>
                  </a:lnTo>
                  <a:lnTo>
                    <a:pt x="467" y="57"/>
                  </a:lnTo>
                  <a:lnTo>
                    <a:pt x="466" y="56"/>
                  </a:lnTo>
                  <a:lnTo>
                    <a:pt x="466" y="56"/>
                  </a:lnTo>
                  <a:lnTo>
                    <a:pt x="466" y="56"/>
                  </a:lnTo>
                  <a:lnTo>
                    <a:pt x="464" y="56"/>
                  </a:lnTo>
                  <a:lnTo>
                    <a:pt x="464" y="56"/>
                  </a:lnTo>
                  <a:lnTo>
                    <a:pt x="464" y="54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0" y="50"/>
                  </a:lnTo>
                  <a:lnTo>
                    <a:pt x="456" y="48"/>
                  </a:lnTo>
                  <a:lnTo>
                    <a:pt x="455" y="48"/>
                  </a:lnTo>
                  <a:lnTo>
                    <a:pt x="451" y="45"/>
                  </a:lnTo>
                  <a:lnTo>
                    <a:pt x="451" y="45"/>
                  </a:lnTo>
                  <a:lnTo>
                    <a:pt x="449" y="45"/>
                  </a:lnTo>
                  <a:lnTo>
                    <a:pt x="447" y="45"/>
                  </a:lnTo>
                  <a:lnTo>
                    <a:pt x="447" y="45"/>
                  </a:lnTo>
                  <a:lnTo>
                    <a:pt x="446" y="45"/>
                  </a:lnTo>
                  <a:lnTo>
                    <a:pt x="446" y="43"/>
                  </a:lnTo>
                  <a:lnTo>
                    <a:pt x="446" y="43"/>
                  </a:lnTo>
                  <a:lnTo>
                    <a:pt x="447" y="41"/>
                  </a:lnTo>
                  <a:lnTo>
                    <a:pt x="446" y="41"/>
                  </a:lnTo>
                  <a:lnTo>
                    <a:pt x="444" y="41"/>
                  </a:lnTo>
                  <a:lnTo>
                    <a:pt x="444" y="41"/>
                  </a:lnTo>
                  <a:lnTo>
                    <a:pt x="444" y="39"/>
                  </a:lnTo>
                  <a:lnTo>
                    <a:pt x="444" y="39"/>
                  </a:lnTo>
                  <a:lnTo>
                    <a:pt x="444" y="39"/>
                  </a:lnTo>
                  <a:lnTo>
                    <a:pt x="442" y="38"/>
                  </a:lnTo>
                  <a:lnTo>
                    <a:pt x="442" y="38"/>
                  </a:lnTo>
                  <a:lnTo>
                    <a:pt x="440" y="38"/>
                  </a:lnTo>
                  <a:lnTo>
                    <a:pt x="440" y="38"/>
                  </a:lnTo>
                  <a:lnTo>
                    <a:pt x="438" y="38"/>
                  </a:lnTo>
                  <a:lnTo>
                    <a:pt x="437" y="36"/>
                  </a:lnTo>
                  <a:lnTo>
                    <a:pt x="435" y="38"/>
                  </a:lnTo>
                  <a:lnTo>
                    <a:pt x="435" y="38"/>
                  </a:lnTo>
                  <a:lnTo>
                    <a:pt x="433" y="39"/>
                  </a:lnTo>
                  <a:lnTo>
                    <a:pt x="433" y="41"/>
                  </a:lnTo>
                  <a:lnTo>
                    <a:pt x="429" y="41"/>
                  </a:lnTo>
                  <a:lnTo>
                    <a:pt x="420" y="41"/>
                  </a:lnTo>
                  <a:lnTo>
                    <a:pt x="408" y="41"/>
                  </a:lnTo>
                  <a:lnTo>
                    <a:pt x="381" y="39"/>
                  </a:lnTo>
                  <a:lnTo>
                    <a:pt x="359" y="38"/>
                  </a:lnTo>
                  <a:lnTo>
                    <a:pt x="341" y="38"/>
                  </a:lnTo>
                  <a:lnTo>
                    <a:pt x="312" y="36"/>
                  </a:lnTo>
                  <a:lnTo>
                    <a:pt x="292" y="34"/>
                  </a:lnTo>
                  <a:lnTo>
                    <a:pt x="283" y="34"/>
                  </a:lnTo>
                  <a:lnTo>
                    <a:pt x="278" y="34"/>
                  </a:lnTo>
                  <a:lnTo>
                    <a:pt x="276" y="32"/>
                  </a:lnTo>
                  <a:lnTo>
                    <a:pt x="274" y="32"/>
                  </a:lnTo>
                  <a:lnTo>
                    <a:pt x="274" y="32"/>
                  </a:lnTo>
                  <a:lnTo>
                    <a:pt x="270" y="36"/>
                  </a:lnTo>
                  <a:lnTo>
                    <a:pt x="269" y="36"/>
                  </a:lnTo>
                  <a:lnTo>
                    <a:pt x="267" y="36"/>
                  </a:lnTo>
                  <a:lnTo>
                    <a:pt x="263" y="39"/>
                  </a:lnTo>
                  <a:lnTo>
                    <a:pt x="245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2" y="39"/>
                  </a:lnTo>
                  <a:lnTo>
                    <a:pt x="240" y="41"/>
                  </a:lnTo>
                  <a:lnTo>
                    <a:pt x="238" y="41"/>
                  </a:lnTo>
                  <a:lnTo>
                    <a:pt x="231" y="38"/>
                  </a:lnTo>
                  <a:lnTo>
                    <a:pt x="229" y="38"/>
                  </a:lnTo>
                  <a:lnTo>
                    <a:pt x="229" y="36"/>
                  </a:lnTo>
                  <a:lnTo>
                    <a:pt x="229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5" y="36"/>
                  </a:lnTo>
                  <a:lnTo>
                    <a:pt x="225" y="34"/>
                  </a:lnTo>
                  <a:lnTo>
                    <a:pt x="224" y="34"/>
                  </a:lnTo>
                  <a:lnTo>
                    <a:pt x="224" y="32"/>
                  </a:lnTo>
                  <a:lnTo>
                    <a:pt x="224" y="28"/>
                  </a:lnTo>
                  <a:lnTo>
                    <a:pt x="224" y="25"/>
                  </a:lnTo>
                  <a:lnTo>
                    <a:pt x="224" y="23"/>
                  </a:lnTo>
                  <a:lnTo>
                    <a:pt x="222" y="23"/>
                  </a:lnTo>
                  <a:lnTo>
                    <a:pt x="222" y="19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6"/>
                  </a:lnTo>
                  <a:lnTo>
                    <a:pt x="220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8" y="12"/>
                  </a:lnTo>
                  <a:lnTo>
                    <a:pt x="218" y="12"/>
                  </a:lnTo>
                  <a:lnTo>
                    <a:pt x="218" y="12"/>
                  </a:lnTo>
                  <a:lnTo>
                    <a:pt x="218" y="10"/>
                  </a:lnTo>
                  <a:lnTo>
                    <a:pt x="216" y="9"/>
                  </a:lnTo>
                  <a:lnTo>
                    <a:pt x="216" y="9"/>
                  </a:lnTo>
                  <a:lnTo>
                    <a:pt x="215" y="9"/>
                  </a:lnTo>
                  <a:lnTo>
                    <a:pt x="215" y="9"/>
                  </a:lnTo>
                  <a:lnTo>
                    <a:pt x="215" y="7"/>
                  </a:lnTo>
                  <a:lnTo>
                    <a:pt x="215" y="7"/>
                  </a:lnTo>
                  <a:lnTo>
                    <a:pt x="216" y="3"/>
                  </a:lnTo>
                  <a:lnTo>
                    <a:pt x="216" y="3"/>
                  </a:lnTo>
                  <a:lnTo>
                    <a:pt x="216" y="3"/>
                  </a:lnTo>
                  <a:lnTo>
                    <a:pt x="216" y="3"/>
                  </a:lnTo>
                  <a:lnTo>
                    <a:pt x="218" y="5"/>
                  </a:lnTo>
                  <a:lnTo>
                    <a:pt x="220" y="5"/>
                  </a:lnTo>
                  <a:lnTo>
                    <a:pt x="222" y="7"/>
                  </a:lnTo>
                  <a:lnTo>
                    <a:pt x="225" y="9"/>
                  </a:lnTo>
                  <a:lnTo>
                    <a:pt x="227" y="9"/>
                  </a:lnTo>
                  <a:lnTo>
                    <a:pt x="227" y="10"/>
                  </a:lnTo>
                  <a:lnTo>
                    <a:pt x="227" y="10"/>
                  </a:lnTo>
                  <a:lnTo>
                    <a:pt x="229" y="10"/>
                  </a:lnTo>
                  <a:lnTo>
                    <a:pt x="229" y="10"/>
                  </a:lnTo>
                  <a:lnTo>
                    <a:pt x="233" y="14"/>
                  </a:lnTo>
                  <a:lnTo>
                    <a:pt x="233" y="16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9"/>
                  </a:lnTo>
                  <a:lnTo>
                    <a:pt x="234" y="19"/>
                  </a:lnTo>
                  <a:lnTo>
                    <a:pt x="234" y="19"/>
                  </a:lnTo>
                  <a:lnTo>
                    <a:pt x="236" y="19"/>
                  </a:lnTo>
                  <a:lnTo>
                    <a:pt x="236" y="18"/>
                  </a:lnTo>
                  <a:lnTo>
                    <a:pt x="236" y="16"/>
                  </a:lnTo>
                  <a:lnTo>
                    <a:pt x="234" y="16"/>
                  </a:lnTo>
                  <a:lnTo>
                    <a:pt x="233" y="12"/>
                  </a:lnTo>
                  <a:lnTo>
                    <a:pt x="215" y="1"/>
                  </a:lnTo>
                  <a:lnTo>
                    <a:pt x="215" y="1"/>
                  </a:lnTo>
                  <a:lnTo>
                    <a:pt x="213" y="1"/>
                  </a:lnTo>
                  <a:lnTo>
                    <a:pt x="211" y="0"/>
                  </a:lnTo>
                  <a:lnTo>
                    <a:pt x="211" y="0"/>
                  </a:lnTo>
                  <a:lnTo>
                    <a:pt x="202" y="0"/>
                  </a:lnTo>
                  <a:lnTo>
                    <a:pt x="189" y="0"/>
                  </a:lnTo>
                  <a:lnTo>
                    <a:pt x="180" y="3"/>
                  </a:lnTo>
                  <a:lnTo>
                    <a:pt x="160" y="7"/>
                  </a:lnTo>
                  <a:lnTo>
                    <a:pt x="146" y="14"/>
                  </a:lnTo>
                  <a:lnTo>
                    <a:pt x="140" y="19"/>
                  </a:lnTo>
                  <a:lnTo>
                    <a:pt x="139" y="19"/>
                  </a:lnTo>
                  <a:lnTo>
                    <a:pt x="137" y="19"/>
                  </a:lnTo>
                  <a:lnTo>
                    <a:pt x="133" y="21"/>
                  </a:lnTo>
                  <a:lnTo>
                    <a:pt x="122" y="23"/>
                  </a:lnTo>
                  <a:lnTo>
                    <a:pt x="119" y="25"/>
                  </a:lnTo>
                  <a:lnTo>
                    <a:pt x="117" y="27"/>
                  </a:lnTo>
                  <a:lnTo>
                    <a:pt x="117" y="28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19" y="28"/>
                  </a:lnTo>
                  <a:lnTo>
                    <a:pt x="119" y="30"/>
                  </a:lnTo>
                  <a:lnTo>
                    <a:pt x="117" y="30"/>
                  </a:lnTo>
                  <a:lnTo>
                    <a:pt x="117" y="30"/>
                  </a:lnTo>
                  <a:lnTo>
                    <a:pt x="115" y="30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0" y="36"/>
                  </a:lnTo>
                  <a:lnTo>
                    <a:pt x="108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2" y="39"/>
                  </a:lnTo>
                  <a:lnTo>
                    <a:pt x="110" y="41"/>
                  </a:lnTo>
                  <a:lnTo>
                    <a:pt x="108" y="41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8" y="41"/>
                  </a:lnTo>
                  <a:lnTo>
                    <a:pt x="108" y="39"/>
                  </a:lnTo>
                  <a:lnTo>
                    <a:pt x="104" y="43"/>
                  </a:lnTo>
                  <a:lnTo>
                    <a:pt x="103" y="45"/>
                  </a:lnTo>
                  <a:lnTo>
                    <a:pt x="101" y="47"/>
                  </a:lnTo>
                  <a:lnTo>
                    <a:pt x="104" y="45"/>
                  </a:lnTo>
                  <a:lnTo>
                    <a:pt x="104" y="45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3" y="47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99" y="48"/>
                  </a:lnTo>
                  <a:lnTo>
                    <a:pt x="97" y="48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95" y="48"/>
                  </a:lnTo>
                  <a:lnTo>
                    <a:pt x="86" y="50"/>
                  </a:lnTo>
                  <a:lnTo>
                    <a:pt x="77" y="54"/>
                  </a:lnTo>
                  <a:lnTo>
                    <a:pt x="68" y="57"/>
                  </a:lnTo>
                  <a:lnTo>
                    <a:pt x="59" y="59"/>
                  </a:lnTo>
                  <a:lnTo>
                    <a:pt x="45" y="65"/>
                  </a:lnTo>
                  <a:lnTo>
                    <a:pt x="34" y="68"/>
                  </a:lnTo>
                  <a:lnTo>
                    <a:pt x="19" y="74"/>
                  </a:lnTo>
                  <a:lnTo>
                    <a:pt x="16" y="77"/>
                  </a:lnTo>
                  <a:lnTo>
                    <a:pt x="14" y="77"/>
                  </a:lnTo>
                  <a:lnTo>
                    <a:pt x="12" y="77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5" y="77"/>
                  </a:lnTo>
                  <a:lnTo>
                    <a:pt x="5" y="75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12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16" y="83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21" y="83"/>
                  </a:lnTo>
                  <a:lnTo>
                    <a:pt x="23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6"/>
                  </a:lnTo>
                  <a:lnTo>
                    <a:pt x="25" y="88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1" y="94"/>
                  </a:lnTo>
                  <a:lnTo>
                    <a:pt x="21" y="95"/>
                  </a:lnTo>
                  <a:lnTo>
                    <a:pt x="23" y="99"/>
                  </a:lnTo>
                  <a:lnTo>
                    <a:pt x="23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3" y="103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21" y="101"/>
                  </a:lnTo>
                  <a:lnTo>
                    <a:pt x="21" y="99"/>
                  </a:lnTo>
                  <a:lnTo>
                    <a:pt x="19" y="99"/>
                  </a:lnTo>
                  <a:lnTo>
                    <a:pt x="18" y="99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5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9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9" y="104"/>
                  </a:lnTo>
                  <a:lnTo>
                    <a:pt x="9" y="106"/>
                  </a:lnTo>
                  <a:lnTo>
                    <a:pt x="9" y="108"/>
                  </a:lnTo>
                  <a:lnTo>
                    <a:pt x="9" y="110"/>
                  </a:lnTo>
                  <a:lnTo>
                    <a:pt x="9" y="112"/>
                  </a:lnTo>
                  <a:lnTo>
                    <a:pt x="10" y="113"/>
                  </a:lnTo>
                  <a:lnTo>
                    <a:pt x="10" y="115"/>
                  </a:lnTo>
                  <a:lnTo>
                    <a:pt x="12" y="117"/>
                  </a:lnTo>
                  <a:lnTo>
                    <a:pt x="12" y="122"/>
                  </a:lnTo>
                  <a:lnTo>
                    <a:pt x="14" y="126"/>
                  </a:lnTo>
                  <a:lnTo>
                    <a:pt x="14" y="128"/>
                  </a:lnTo>
                  <a:lnTo>
                    <a:pt x="14" y="130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9"/>
                  </a:lnTo>
                  <a:lnTo>
                    <a:pt x="12" y="139"/>
                  </a:lnTo>
                  <a:lnTo>
                    <a:pt x="12" y="140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4"/>
                  </a:lnTo>
                  <a:lnTo>
                    <a:pt x="12" y="148"/>
                  </a:lnTo>
                  <a:lnTo>
                    <a:pt x="12" y="150"/>
                  </a:lnTo>
                  <a:lnTo>
                    <a:pt x="10" y="151"/>
                  </a:lnTo>
                  <a:lnTo>
                    <a:pt x="10" y="153"/>
                  </a:lnTo>
                  <a:lnTo>
                    <a:pt x="7" y="155"/>
                  </a:lnTo>
                  <a:lnTo>
                    <a:pt x="3" y="157"/>
                  </a:lnTo>
                  <a:lnTo>
                    <a:pt x="1" y="159"/>
                  </a:lnTo>
                  <a:lnTo>
                    <a:pt x="1" y="159"/>
                  </a:lnTo>
                  <a:lnTo>
                    <a:pt x="1" y="159"/>
                  </a:lnTo>
                  <a:lnTo>
                    <a:pt x="1" y="162"/>
                  </a:lnTo>
                  <a:lnTo>
                    <a:pt x="3" y="164"/>
                  </a:lnTo>
                  <a:lnTo>
                    <a:pt x="1" y="166"/>
                  </a:lnTo>
                  <a:lnTo>
                    <a:pt x="1" y="166"/>
                  </a:lnTo>
                  <a:lnTo>
                    <a:pt x="0" y="168"/>
                  </a:lnTo>
                  <a:lnTo>
                    <a:pt x="1" y="168"/>
                  </a:lnTo>
                  <a:lnTo>
                    <a:pt x="1" y="169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5" y="169"/>
                  </a:lnTo>
                  <a:lnTo>
                    <a:pt x="7" y="171"/>
                  </a:lnTo>
                  <a:lnTo>
                    <a:pt x="9" y="173"/>
                  </a:lnTo>
                  <a:lnTo>
                    <a:pt x="14" y="177"/>
                  </a:lnTo>
                  <a:lnTo>
                    <a:pt x="14" y="177"/>
                  </a:lnTo>
                  <a:lnTo>
                    <a:pt x="16" y="180"/>
                  </a:lnTo>
                  <a:lnTo>
                    <a:pt x="16" y="182"/>
                  </a:lnTo>
                  <a:lnTo>
                    <a:pt x="18" y="182"/>
                  </a:lnTo>
                  <a:lnTo>
                    <a:pt x="19" y="184"/>
                  </a:lnTo>
                  <a:lnTo>
                    <a:pt x="21" y="186"/>
                  </a:lnTo>
                  <a:lnTo>
                    <a:pt x="25" y="187"/>
                  </a:lnTo>
                  <a:lnTo>
                    <a:pt x="25" y="189"/>
                  </a:lnTo>
                  <a:lnTo>
                    <a:pt x="27" y="189"/>
                  </a:lnTo>
                  <a:lnTo>
                    <a:pt x="25" y="193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25" y="196"/>
                  </a:lnTo>
                  <a:lnTo>
                    <a:pt x="25" y="198"/>
                  </a:lnTo>
                  <a:lnTo>
                    <a:pt x="23" y="200"/>
                  </a:lnTo>
                  <a:lnTo>
                    <a:pt x="21" y="202"/>
                  </a:lnTo>
                  <a:lnTo>
                    <a:pt x="21" y="206"/>
                  </a:lnTo>
                  <a:lnTo>
                    <a:pt x="23" y="209"/>
                  </a:lnTo>
                  <a:lnTo>
                    <a:pt x="23" y="211"/>
                  </a:lnTo>
                  <a:lnTo>
                    <a:pt x="23" y="213"/>
                  </a:lnTo>
                  <a:lnTo>
                    <a:pt x="25" y="215"/>
                  </a:lnTo>
                  <a:lnTo>
                    <a:pt x="27" y="215"/>
                  </a:lnTo>
                  <a:lnTo>
                    <a:pt x="27" y="216"/>
                  </a:lnTo>
                  <a:lnTo>
                    <a:pt x="29" y="216"/>
                  </a:lnTo>
                  <a:lnTo>
                    <a:pt x="30" y="218"/>
                  </a:lnTo>
                  <a:lnTo>
                    <a:pt x="30" y="220"/>
                  </a:lnTo>
                  <a:lnTo>
                    <a:pt x="29" y="220"/>
                  </a:lnTo>
                  <a:lnTo>
                    <a:pt x="29" y="222"/>
                  </a:lnTo>
                  <a:lnTo>
                    <a:pt x="30" y="222"/>
                  </a:lnTo>
                  <a:lnTo>
                    <a:pt x="29" y="224"/>
                  </a:lnTo>
                  <a:lnTo>
                    <a:pt x="29" y="225"/>
                  </a:lnTo>
                  <a:lnTo>
                    <a:pt x="29" y="227"/>
                  </a:lnTo>
                  <a:lnTo>
                    <a:pt x="29" y="229"/>
                  </a:lnTo>
                  <a:lnTo>
                    <a:pt x="32" y="231"/>
                  </a:lnTo>
                  <a:lnTo>
                    <a:pt x="32" y="233"/>
                  </a:lnTo>
                  <a:lnTo>
                    <a:pt x="30" y="233"/>
                  </a:lnTo>
                  <a:lnTo>
                    <a:pt x="30" y="233"/>
                  </a:lnTo>
                  <a:lnTo>
                    <a:pt x="30" y="234"/>
                  </a:lnTo>
                  <a:lnTo>
                    <a:pt x="30" y="234"/>
                  </a:lnTo>
                  <a:lnTo>
                    <a:pt x="29" y="236"/>
                  </a:lnTo>
                  <a:lnTo>
                    <a:pt x="29" y="238"/>
                  </a:lnTo>
                  <a:lnTo>
                    <a:pt x="29" y="242"/>
                  </a:lnTo>
                  <a:lnTo>
                    <a:pt x="29" y="243"/>
                  </a:lnTo>
                  <a:lnTo>
                    <a:pt x="29" y="245"/>
                  </a:lnTo>
                  <a:lnTo>
                    <a:pt x="27" y="247"/>
                  </a:lnTo>
                  <a:lnTo>
                    <a:pt x="23" y="249"/>
                  </a:lnTo>
                  <a:lnTo>
                    <a:pt x="23" y="251"/>
                  </a:lnTo>
                  <a:lnTo>
                    <a:pt x="23" y="252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7" y="256"/>
                  </a:lnTo>
                  <a:lnTo>
                    <a:pt x="27" y="258"/>
                  </a:lnTo>
                  <a:lnTo>
                    <a:pt x="27" y="260"/>
                  </a:lnTo>
                  <a:lnTo>
                    <a:pt x="29" y="262"/>
                  </a:lnTo>
                  <a:lnTo>
                    <a:pt x="30" y="263"/>
                  </a:lnTo>
                  <a:lnTo>
                    <a:pt x="30" y="265"/>
                  </a:lnTo>
                  <a:lnTo>
                    <a:pt x="32" y="267"/>
                  </a:lnTo>
                  <a:lnTo>
                    <a:pt x="32" y="269"/>
                  </a:lnTo>
                  <a:lnTo>
                    <a:pt x="30" y="271"/>
                  </a:lnTo>
                  <a:lnTo>
                    <a:pt x="30" y="272"/>
                  </a:lnTo>
                  <a:lnTo>
                    <a:pt x="29" y="274"/>
                  </a:lnTo>
                  <a:lnTo>
                    <a:pt x="30" y="274"/>
                  </a:lnTo>
                  <a:lnTo>
                    <a:pt x="30" y="274"/>
                  </a:lnTo>
                  <a:lnTo>
                    <a:pt x="30" y="276"/>
                  </a:lnTo>
                  <a:lnTo>
                    <a:pt x="34" y="278"/>
                  </a:lnTo>
                  <a:lnTo>
                    <a:pt x="36" y="278"/>
                  </a:lnTo>
                  <a:lnTo>
                    <a:pt x="36" y="278"/>
                  </a:lnTo>
                  <a:lnTo>
                    <a:pt x="36" y="278"/>
                  </a:lnTo>
                  <a:lnTo>
                    <a:pt x="39" y="280"/>
                  </a:lnTo>
                  <a:lnTo>
                    <a:pt x="39" y="280"/>
                  </a:lnTo>
                  <a:lnTo>
                    <a:pt x="41" y="280"/>
                  </a:lnTo>
                  <a:lnTo>
                    <a:pt x="41" y="281"/>
                  </a:lnTo>
                  <a:lnTo>
                    <a:pt x="41" y="283"/>
                  </a:lnTo>
                  <a:lnTo>
                    <a:pt x="41" y="283"/>
                  </a:lnTo>
                  <a:lnTo>
                    <a:pt x="41" y="285"/>
                  </a:lnTo>
                  <a:lnTo>
                    <a:pt x="41" y="289"/>
                  </a:lnTo>
                  <a:lnTo>
                    <a:pt x="41" y="289"/>
                  </a:lnTo>
                  <a:lnTo>
                    <a:pt x="43" y="290"/>
                  </a:lnTo>
                  <a:lnTo>
                    <a:pt x="43" y="290"/>
                  </a:lnTo>
                  <a:lnTo>
                    <a:pt x="43" y="292"/>
                  </a:lnTo>
                  <a:lnTo>
                    <a:pt x="45" y="294"/>
                  </a:lnTo>
                  <a:lnTo>
                    <a:pt x="45" y="296"/>
                  </a:lnTo>
                  <a:lnTo>
                    <a:pt x="45" y="298"/>
                  </a:lnTo>
                  <a:lnTo>
                    <a:pt x="45" y="298"/>
                  </a:lnTo>
                  <a:lnTo>
                    <a:pt x="45" y="298"/>
                  </a:lnTo>
                  <a:lnTo>
                    <a:pt x="45" y="299"/>
                  </a:lnTo>
                  <a:lnTo>
                    <a:pt x="43" y="301"/>
                  </a:lnTo>
                  <a:lnTo>
                    <a:pt x="43" y="305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3" y="308"/>
                  </a:lnTo>
                  <a:lnTo>
                    <a:pt x="43" y="308"/>
                  </a:lnTo>
                  <a:lnTo>
                    <a:pt x="43" y="308"/>
                  </a:lnTo>
                  <a:lnTo>
                    <a:pt x="43" y="310"/>
                  </a:lnTo>
                  <a:lnTo>
                    <a:pt x="43" y="310"/>
                  </a:lnTo>
                  <a:lnTo>
                    <a:pt x="41" y="312"/>
                  </a:lnTo>
                  <a:lnTo>
                    <a:pt x="39" y="317"/>
                  </a:lnTo>
                  <a:lnTo>
                    <a:pt x="38" y="323"/>
                  </a:lnTo>
                  <a:lnTo>
                    <a:pt x="36" y="325"/>
                  </a:lnTo>
                  <a:lnTo>
                    <a:pt x="34" y="327"/>
                  </a:lnTo>
                  <a:lnTo>
                    <a:pt x="34" y="328"/>
                  </a:lnTo>
                  <a:lnTo>
                    <a:pt x="36" y="328"/>
                  </a:lnTo>
                  <a:lnTo>
                    <a:pt x="38" y="328"/>
                  </a:lnTo>
                  <a:lnTo>
                    <a:pt x="43" y="328"/>
                  </a:lnTo>
                  <a:lnTo>
                    <a:pt x="43" y="328"/>
                  </a:lnTo>
                  <a:lnTo>
                    <a:pt x="43" y="325"/>
                  </a:lnTo>
                  <a:lnTo>
                    <a:pt x="43" y="325"/>
                  </a:lnTo>
                  <a:lnTo>
                    <a:pt x="43" y="325"/>
                  </a:lnTo>
                  <a:lnTo>
                    <a:pt x="43" y="323"/>
                  </a:lnTo>
                  <a:lnTo>
                    <a:pt x="43" y="323"/>
                  </a:lnTo>
                  <a:lnTo>
                    <a:pt x="45" y="323"/>
                  </a:lnTo>
                  <a:lnTo>
                    <a:pt x="45" y="323"/>
                  </a:lnTo>
                  <a:lnTo>
                    <a:pt x="45" y="321"/>
                  </a:lnTo>
                  <a:lnTo>
                    <a:pt x="43" y="319"/>
                  </a:lnTo>
                  <a:lnTo>
                    <a:pt x="43" y="319"/>
                  </a:lnTo>
                  <a:lnTo>
                    <a:pt x="43" y="317"/>
                  </a:lnTo>
                  <a:lnTo>
                    <a:pt x="43" y="317"/>
                  </a:lnTo>
                  <a:lnTo>
                    <a:pt x="43" y="317"/>
                  </a:lnTo>
                  <a:lnTo>
                    <a:pt x="43" y="317"/>
                  </a:lnTo>
                  <a:lnTo>
                    <a:pt x="43" y="317"/>
                  </a:lnTo>
                  <a:lnTo>
                    <a:pt x="43" y="317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5" y="316"/>
                  </a:lnTo>
                  <a:lnTo>
                    <a:pt x="48" y="317"/>
                  </a:lnTo>
                  <a:lnTo>
                    <a:pt x="48" y="317"/>
                  </a:lnTo>
                  <a:lnTo>
                    <a:pt x="48" y="317"/>
                  </a:lnTo>
                  <a:lnTo>
                    <a:pt x="50" y="319"/>
                  </a:lnTo>
                  <a:lnTo>
                    <a:pt x="50" y="319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6"/>
                  </a:lnTo>
                  <a:lnTo>
                    <a:pt x="52" y="316"/>
                  </a:lnTo>
                  <a:lnTo>
                    <a:pt x="52" y="316"/>
                  </a:lnTo>
                  <a:lnTo>
                    <a:pt x="52" y="317"/>
                  </a:lnTo>
                  <a:lnTo>
                    <a:pt x="52" y="319"/>
                  </a:lnTo>
                  <a:lnTo>
                    <a:pt x="56" y="319"/>
                  </a:lnTo>
                  <a:lnTo>
                    <a:pt x="57" y="319"/>
                  </a:lnTo>
                  <a:lnTo>
                    <a:pt x="57" y="321"/>
                  </a:lnTo>
                  <a:lnTo>
                    <a:pt x="57" y="321"/>
                  </a:lnTo>
                  <a:lnTo>
                    <a:pt x="57" y="323"/>
                  </a:lnTo>
                  <a:lnTo>
                    <a:pt x="57" y="325"/>
                  </a:lnTo>
                  <a:lnTo>
                    <a:pt x="57" y="325"/>
                  </a:lnTo>
                  <a:lnTo>
                    <a:pt x="57" y="327"/>
                  </a:lnTo>
                  <a:lnTo>
                    <a:pt x="57" y="328"/>
                  </a:lnTo>
                  <a:lnTo>
                    <a:pt x="59" y="328"/>
                  </a:lnTo>
                  <a:lnTo>
                    <a:pt x="59" y="330"/>
                  </a:lnTo>
                  <a:lnTo>
                    <a:pt x="61" y="330"/>
                  </a:lnTo>
                  <a:lnTo>
                    <a:pt x="61" y="330"/>
                  </a:lnTo>
                  <a:lnTo>
                    <a:pt x="61" y="332"/>
                  </a:lnTo>
                  <a:lnTo>
                    <a:pt x="61" y="332"/>
                  </a:lnTo>
                  <a:lnTo>
                    <a:pt x="61" y="334"/>
                  </a:lnTo>
                  <a:lnTo>
                    <a:pt x="61" y="334"/>
                  </a:lnTo>
                  <a:lnTo>
                    <a:pt x="63" y="336"/>
                  </a:lnTo>
                  <a:lnTo>
                    <a:pt x="63" y="336"/>
                  </a:lnTo>
                  <a:lnTo>
                    <a:pt x="63" y="336"/>
                  </a:lnTo>
                  <a:lnTo>
                    <a:pt x="63" y="334"/>
                  </a:lnTo>
                  <a:lnTo>
                    <a:pt x="65" y="334"/>
                  </a:lnTo>
                  <a:lnTo>
                    <a:pt x="65" y="334"/>
                  </a:lnTo>
                  <a:lnTo>
                    <a:pt x="66" y="332"/>
                  </a:lnTo>
                  <a:lnTo>
                    <a:pt x="75" y="336"/>
                  </a:lnTo>
                  <a:lnTo>
                    <a:pt x="77" y="337"/>
                  </a:lnTo>
                  <a:lnTo>
                    <a:pt x="77" y="337"/>
                  </a:lnTo>
                  <a:lnTo>
                    <a:pt x="77" y="337"/>
                  </a:lnTo>
                  <a:lnTo>
                    <a:pt x="79" y="337"/>
                  </a:lnTo>
                  <a:lnTo>
                    <a:pt x="83" y="337"/>
                  </a:lnTo>
                  <a:lnTo>
                    <a:pt x="84" y="337"/>
                  </a:lnTo>
                  <a:lnTo>
                    <a:pt x="84" y="337"/>
                  </a:lnTo>
                  <a:lnTo>
                    <a:pt x="84" y="339"/>
                  </a:lnTo>
                  <a:lnTo>
                    <a:pt x="86" y="343"/>
                  </a:lnTo>
                  <a:lnTo>
                    <a:pt x="86" y="343"/>
                  </a:lnTo>
                  <a:lnTo>
                    <a:pt x="88" y="343"/>
                  </a:lnTo>
                  <a:lnTo>
                    <a:pt x="92" y="341"/>
                  </a:lnTo>
                  <a:lnTo>
                    <a:pt x="92" y="341"/>
                  </a:lnTo>
                  <a:lnTo>
                    <a:pt x="94" y="343"/>
                  </a:lnTo>
                  <a:lnTo>
                    <a:pt x="94" y="343"/>
                  </a:lnTo>
                  <a:lnTo>
                    <a:pt x="94" y="345"/>
                  </a:lnTo>
                  <a:lnTo>
                    <a:pt x="94" y="346"/>
                  </a:lnTo>
                  <a:lnTo>
                    <a:pt x="94" y="346"/>
                  </a:lnTo>
                  <a:lnTo>
                    <a:pt x="94" y="348"/>
                  </a:lnTo>
                  <a:lnTo>
                    <a:pt x="94" y="348"/>
                  </a:lnTo>
                  <a:lnTo>
                    <a:pt x="94" y="348"/>
                  </a:lnTo>
                  <a:lnTo>
                    <a:pt x="94" y="348"/>
                  </a:lnTo>
                  <a:lnTo>
                    <a:pt x="94" y="348"/>
                  </a:lnTo>
                  <a:lnTo>
                    <a:pt x="95" y="348"/>
                  </a:lnTo>
                  <a:lnTo>
                    <a:pt x="99" y="345"/>
                  </a:lnTo>
                  <a:lnTo>
                    <a:pt x="101" y="345"/>
                  </a:lnTo>
                  <a:lnTo>
                    <a:pt x="103" y="346"/>
                  </a:lnTo>
                  <a:lnTo>
                    <a:pt x="103" y="346"/>
                  </a:lnTo>
                  <a:lnTo>
                    <a:pt x="104" y="346"/>
                  </a:lnTo>
                  <a:lnTo>
                    <a:pt x="104" y="346"/>
                  </a:lnTo>
                  <a:lnTo>
                    <a:pt x="104" y="345"/>
                  </a:lnTo>
                  <a:lnTo>
                    <a:pt x="104" y="345"/>
                  </a:lnTo>
                  <a:lnTo>
                    <a:pt x="106" y="345"/>
                  </a:lnTo>
                  <a:lnTo>
                    <a:pt x="108" y="345"/>
                  </a:lnTo>
                  <a:lnTo>
                    <a:pt x="110" y="345"/>
                  </a:lnTo>
                  <a:lnTo>
                    <a:pt x="112" y="345"/>
                  </a:lnTo>
                  <a:lnTo>
                    <a:pt x="115" y="350"/>
                  </a:lnTo>
                  <a:lnTo>
                    <a:pt x="115" y="352"/>
                  </a:lnTo>
                  <a:lnTo>
                    <a:pt x="113" y="352"/>
                  </a:lnTo>
                  <a:lnTo>
                    <a:pt x="113" y="352"/>
                  </a:lnTo>
                  <a:lnTo>
                    <a:pt x="113" y="352"/>
                  </a:lnTo>
                  <a:lnTo>
                    <a:pt x="113" y="354"/>
                  </a:lnTo>
                  <a:lnTo>
                    <a:pt x="113" y="354"/>
                  </a:lnTo>
                  <a:lnTo>
                    <a:pt x="113" y="354"/>
                  </a:lnTo>
                  <a:lnTo>
                    <a:pt x="113" y="354"/>
                  </a:lnTo>
                  <a:lnTo>
                    <a:pt x="113" y="355"/>
                  </a:lnTo>
                  <a:lnTo>
                    <a:pt x="113" y="355"/>
                  </a:lnTo>
                  <a:lnTo>
                    <a:pt x="113" y="355"/>
                  </a:lnTo>
                  <a:lnTo>
                    <a:pt x="112" y="357"/>
                  </a:lnTo>
                  <a:lnTo>
                    <a:pt x="112" y="357"/>
                  </a:lnTo>
                  <a:lnTo>
                    <a:pt x="112" y="357"/>
                  </a:lnTo>
                  <a:lnTo>
                    <a:pt x="110" y="357"/>
                  </a:lnTo>
                  <a:lnTo>
                    <a:pt x="108" y="357"/>
                  </a:lnTo>
                  <a:lnTo>
                    <a:pt x="108" y="357"/>
                  </a:lnTo>
                  <a:lnTo>
                    <a:pt x="108" y="359"/>
                  </a:lnTo>
                  <a:lnTo>
                    <a:pt x="106" y="359"/>
                  </a:lnTo>
                  <a:lnTo>
                    <a:pt x="106" y="359"/>
                  </a:lnTo>
                  <a:lnTo>
                    <a:pt x="106" y="361"/>
                  </a:lnTo>
                  <a:lnTo>
                    <a:pt x="104" y="361"/>
                  </a:lnTo>
                  <a:lnTo>
                    <a:pt x="104" y="361"/>
                  </a:lnTo>
                  <a:lnTo>
                    <a:pt x="104" y="361"/>
                  </a:lnTo>
                  <a:lnTo>
                    <a:pt x="104" y="361"/>
                  </a:lnTo>
                  <a:lnTo>
                    <a:pt x="104" y="361"/>
                  </a:lnTo>
                  <a:lnTo>
                    <a:pt x="104" y="363"/>
                  </a:lnTo>
                  <a:lnTo>
                    <a:pt x="104" y="364"/>
                  </a:lnTo>
                  <a:lnTo>
                    <a:pt x="106" y="364"/>
                  </a:lnTo>
                  <a:lnTo>
                    <a:pt x="106" y="366"/>
                  </a:lnTo>
                  <a:lnTo>
                    <a:pt x="106" y="366"/>
                  </a:lnTo>
                  <a:lnTo>
                    <a:pt x="108" y="366"/>
                  </a:lnTo>
                  <a:lnTo>
                    <a:pt x="108" y="366"/>
                  </a:lnTo>
                  <a:lnTo>
                    <a:pt x="108" y="366"/>
                  </a:lnTo>
                  <a:lnTo>
                    <a:pt x="108" y="366"/>
                  </a:lnTo>
                  <a:lnTo>
                    <a:pt x="112" y="366"/>
                  </a:lnTo>
                  <a:lnTo>
                    <a:pt x="112" y="366"/>
                  </a:lnTo>
                  <a:lnTo>
                    <a:pt x="112" y="368"/>
                  </a:lnTo>
                  <a:lnTo>
                    <a:pt x="112" y="368"/>
                  </a:lnTo>
                  <a:lnTo>
                    <a:pt x="112" y="368"/>
                  </a:lnTo>
                  <a:lnTo>
                    <a:pt x="112" y="370"/>
                  </a:lnTo>
                  <a:lnTo>
                    <a:pt x="113" y="370"/>
                  </a:lnTo>
                  <a:lnTo>
                    <a:pt x="115" y="372"/>
                  </a:lnTo>
                  <a:lnTo>
                    <a:pt x="117" y="372"/>
                  </a:lnTo>
                  <a:lnTo>
                    <a:pt x="117" y="373"/>
                  </a:lnTo>
                  <a:lnTo>
                    <a:pt x="119" y="375"/>
                  </a:lnTo>
                  <a:lnTo>
                    <a:pt x="119" y="377"/>
                  </a:lnTo>
                  <a:lnTo>
                    <a:pt x="119" y="377"/>
                  </a:lnTo>
                  <a:lnTo>
                    <a:pt x="121" y="379"/>
                  </a:lnTo>
                  <a:lnTo>
                    <a:pt x="122" y="381"/>
                  </a:lnTo>
                  <a:lnTo>
                    <a:pt x="122" y="384"/>
                  </a:lnTo>
                  <a:lnTo>
                    <a:pt x="122" y="384"/>
                  </a:lnTo>
                  <a:lnTo>
                    <a:pt x="124" y="386"/>
                  </a:lnTo>
                  <a:lnTo>
                    <a:pt x="126" y="388"/>
                  </a:lnTo>
                  <a:lnTo>
                    <a:pt x="128" y="388"/>
                  </a:lnTo>
                  <a:lnTo>
                    <a:pt x="130" y="388"/>
                  </a:lnTo>
                  <a:lnTo>
                    <a:pt x="131" y="386"/>
                  </a:lnTo>
                  <a:lnTo>
                    <a:pt x="131" y="384"/>
                  </a:lnTo>
                  <a:lnTo>
                    <a:pt x="133" y="384"/>
                  </a:lnTo>
                  <a:lnTo>
                    <a:pt x="133" y="383"/>
                  </a:lnTo>
                  <a:lnTo>
                    <a:pt x="133" y="383"/>
                  </a:lnTo>
                  <a:lnTo>
                    <a:pt x="135" y="381"/>
                  </a:lnTo>
                  <a:lnTo>
                    <a:pt x="137" y="381"/>
                  </a:lnTo>
                  <a:lnTo>
                    <a:pt x="137" y="381"/>
                  </a:lnTo>
                  <a:lnTo>
                    <a:pt x="137" y="381"/>
                  </a:lnTo>
                  <a:lnTo>
                    <a:pt x="139" y="381"/>
                  </a:lnTo>
                  <a:lnTo>
                    <a:pt x="139" y="381"/>
                  </a:lnTo>
                  <a:lnTo>
                    <a:pt x="140" y="379"/>
                  </a:lnTo>
                  <a:lnTo>
                    <a:pt x="140" y="379"/>
                  </a:lnTo>
                  <a:lnTo>
                    <a:pt x="140" y="379"/>
                  </a:lnTo>
                  <a:lnTo>
                    <a:pt x="142" y="379"/>
                  </a:lnTo>
                  <a:lnTo>
                    <a:pt x="142" y="379"/>
                  </a:lnTo>
                  <a:lnTo>
                    <a:pt x="142" y="379"/>
                  </a:lnTo>
                  <a:lnTo>
                    <a:pt x="142" y="377"/>
                  </a:lnTo>
                  <a:lnTo>
                    <a:pt x="142" y="377"/>
                  </a:lnTo>
                  <a:lnTo>
                    <a:pt x="142" y="377"/>
                  </a:lnTo>
                  <a:lnTo>
                    <a:pt x="144" y="377"/>
                  </a:lnTo>
                  <a:lnTo>
                    <a:pt x="144" y="379"/>
                  </a:lnTo>
                  <a:lnTo>
                    <a:pt x="144" y="379"/>
                  </a:lnTo>
                  <a:lnTo>
                    <a:pt x="144" y="379"/>
                  </a:lnTo>
                  <a:lnTo>
                    <a:pt x="146" y="379"/>
                  </a:lnTo>
                  <a:lnTo>
                    <a:pt x="144" y="377"/>
                  </a:lnTo>
                  <a:lnTo>
                    <a:pt x="144" y="377"/>
                  </a:lnTo>
                  <a:lnTo>
                    <a:pt x="144" y="375"/>
                  </a:lnTo>
                  <a:lnTo>
                    <a:pt x="144" y="373"/>
                  </a:lnTo>
                  <a:lnTo>
                    <a:pt x="142" y="372"/>
                  </a:lnTo>
                  <a:lnTo>
                    <a:pt x="142" y="372"/>
                  </a:lnTo>
                  <a:lnTo>
                    <a:pt x="140" y="370"/>
                  </a:lnTo>
                  <a:lnTo>
                    <a:pt x="140" y="370"/>
                  </a:lnTo>
                  <a:lnTo>
                    <a:pt x="140" y="368"/>
                  </a:lnTo>
                  <a:lnTo>
                    <a:pt x="139" y="366"/>
                  </a:lnTo>
                  <a:lnTo>
                    <a:pt x="137" y="364"/>
                  </a:lnTo>
                  <a:lnTo>
                    <a:pt x="137" y="363"/>
                  </a:lnTo>
                  <a:lnTo>
                    <a:pt x="139" y="361"/>
                  </a:lnTo>
                  <a:lnTo>
                    <a:pt x="140" y="363"/>
                  </a:lnTo>
                  <a:lnTo>
                    <a:pt x="142" y="363"/>
                  </a:lnTo>
                  <a:lnTo>
                    <a:pt x="142" y="363"/>
                  </a:lnTo>
                  <a:lnTo>
                    <a:pt x="144" y="363"/>
                  </a:lnTo>
                  <a:lnTo>
                    <a:pt x="148" y="364"/>
                  </a:lnTo>
                  <a:lnTo>
                    <a:pt x="150" y="364"/>
                  </a:lnTo>
                  <a:lnTo>
                    <a:pt x="150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3" y="366"/>
                  </a:lnTo>
                  <a:lnTo>
                    <a:pt x="153" y="366"/>
                  </a:lnTo>
                  <a:lnTo>
                    <a:pt x="153" y="366"/>
                  </a:lnTo>
                  <a:lnTo>
                    <a:pt x="153" y="366"/>
                  </a:lnTo>
                  <a:lnTo>
                    <a:pt x="155" y="368"/>
                  </a:lnTo>
                  <a:lnTo>
                    <a:pt x="155" y="368"/>
                  </a:lnTo>
                  <a:lnTo>
                    <a:pt x="155" y="370"/>
                  </a:lnTo>
                  <a:lnTo>
                    <a:pt x="157" y="370"/>
                  </a:lnTo>
                  <a:lnTo>
                    <a:pt x="159" y="370"/>
                  </a:lnTo>
                  <a:lnTo>
                    <a:pt x="160" y="370"/>
                  </a:lnTo>
                  <a:lnTo>
                    <a:pt x="160" y="372"/>
                  </a:lnTo>
                  <a:lnTo>
                    <a:pt x="160" y="372"/>
                  </a:lnTo>
                  <a:lnTo>
                    <a:pt x="160" y="372"/>
                  </a:lnTo>
                  <a:lnTo>
                    <a:pt x="160" y="372"/>
                  </a:lnTo>
                  <a:lnTo>
                    <a:pt x="160" y="372"/>
                  </a:lnTo>
                  <a:lnTo>
                    <a:pt x="160" y="372"/>
                  </a:lnTo>
                  <a:lnTo>
                    <a:pt x="160" y="373"/>
                  </a:lnTo>
                  <a:lnTo>
                    <a:pt x="160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4" y="373"/>
                  </a:lnTo>
                  <a:lnTo>
                    <a:pt x="164" y="375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8" y="375"/>
                  </a:lnTo>
                  <a:lnTo>
                    <a:pt x="169" y="375"/>
                  </a:lnTo>
                  <a:lnTo>
                    <a:pt x="175" y="375"/>
                  </a:lnTo>
                  <a:lnTo>
                    <a:pt x="177" y="375"/>
                  </a:lnTo>
                  <a:lnTo>
                    <a:pt x="177" y="375"/>
                  </a:lnTo>
                  <a:lnTo>
                    <a:pt x="178" y="372"/>
                  </a:lnTo>
                  <a:lnTo>
                    <a:pt x="178" y="372"/>
                  </a:lnTo>
                  <a:lnTo>
                    <a:pt x="178" y="372"/>
                  </a:lnTo>
                  <a:lnTo>
                    <a:pt x="178" y="372"/>
                  </a:lnTo>
                  <a:lnTo>
                    <a:pt x="180" y="372"/>
                  </a:lnTo>
                  <a:lnTo>
                    <a:pt x="180" y="372"/>
                  </a:lnTo>
                  <a:lnTo>
                    <a:pt x="180" y="373"/>
                  </a:lnTo>
                  <a:lnTo>
                    <a:pt x="180" y="373"/>
                  </a:lnTo>
                  <a:lnTo>
                    <a:pt x="180" y="373"/>
                  </a:lnTo>
                  <a:lnTo>
                    <a:pt x="180" y="373"/>
                  </a:lnTo>
                  <a:lnTo>
                    <a:pt x="180" y="373"/>
                  </a:lnTo>
                  <a:lnTo>
                    <a:pt x="180" y="375"/>
                  </a:lnTo>
                  <a:lnTo>
                    <a:pt x="180" y="375"/>
                  </a:lnTo>
                  <a:lnTo>
                    <a:pt x="180" y="377"/>
                  </a:lnTo>
                  <a:lnTo>
                    <a:pt x="180" y="377"/>
                  </a:lnTo>
                  <a:lnTo>
                    <a:pt x="182" y="379"/>
                  </a:lnTo>
                  <a:lnTo>
                    <a:pt x="182" y="379"/>
                  </a:lnTo>
                  <a:lnTo>
                    <a:pt x="180" y="381"/>
                  </a:lnTo>
                  <a:lnTo>
                    <a:pt x="178" y="383"/>
                  </a:lnTo>
                  <a:lnTo>
                    <a:pt x="177" y="383"/>
                  </a:lnTo>
                  <a:lnTo>
                    <a:pt x="175" y="383"/>
                  </a:lnTo>
                  <a:lnTo>
                    <a:pt x="173" y="383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77" y="388"/>
                  </a:lnTo>
                  <a:lnTo>
                    <a:pt x="177" y="388"/>
                  </a:lnTo>
                  <a:lnTo>
                    <a:pt x="177" y="388"/>
                  </a:lnTo>
                  <a:lnTo>
                    <a:pt x="178" y="388"/>
                  </a:lnTo>
                  <a:lnTo>
                    <a:pt x="178" y="388"/>
                  </a:lnTo>
                  <a:lnTo>
                    <a:pt x="178" y="388"/>
                  </a:lnTo>
                  <a:lnTo>
                    <a:pt x="180" y="388"/>
                  </a:lnTo>
                  <a:lnTo>
                    <a:pt x="180" y="388"/>
                  </a:lnTo>
                  <a:lnTo>
                    <a:pt x="180" y="388"/>
                  </a:lnTo>
                  <a:lnTo>
                    <a:pt x="180" y="388"/>
                  </a:lnTo>
                  <a:lnTo>
                    <a:pt x="180" y="388"/>
                  </a:lnTo>
                  <a:lnTo>
                    <a:pt x="180" y="388"/>
                  </a:lnTo>
                  <a:lnTo>
                    <a:pt x="180" y="388"/>
                  </a:lnTo>
                  <a:lnTo>
                    <a:pt x="180" y="390"/>
                  </a:lnTo>
                  <a:lnTo>
                    <a:pt x="180" y="390"/>
                  </a:lnTo>
                  <a:lnTo>
                    <a:pt x="180" y="390"/>
                  </a:lnTo>
                  <a:lnTo>
                    <a:pt x="182" y="392"/>
                  </a:lnTo>
                  <a:lnTo>
                    <a:pt x="182" y="392"/>
                  </a:lnTo>
                  <a:lnTo>
                    <a:pt x="182" y="393"/>
                  </a:lnTo>
                  <a:lnTo>
                    <a:pt x="182" y="393"/>
                  </a:lnTo>
                  <a:lnTo>
                    <a:pt x="184" y="395"/>
                  </a:lnTo>
                  <a:lnTo>
                    <a:pt x="186" y="397"/>
                  </a:lnTo>
                  <a:lnTo>
                    <a:pt x="187" y="399"/>
                  </a:lnTo>
                  <a:lnTo>
                    <a:pt x="189" y="397"/>
                  </a:lnTo>
                  <a:lnTo>
                    <a:pt x="191" y="397"/>
                  </a:lnTo>
                  <a:lnTo>
                    <a:pt x="193" y="395"/>
                  </a:lnTo>
                  <a:lnTo>
                    <a:pt x="195" y="395"/>
                  </a:lnTo>
                  <a:lnTo>
                    <a:pt x="196" y="395"/>
                  </a:lnTo>
                  <a:lnTo>
                    <a:pt x="196" y="395"/>
                  </a:lnTo>
                  <a:lnTo>
                    <a:pt x="196" y="393"/>
                  </a:lnTo>
                  <a:lnTo>
                    <a:pt x="196" y="393"/>
                  </a:lnTo>
                  <a:lnTo>
                    <a:pt x="195" y="393"/>
                  </a:lnTo>
                  <a:lnTo>
                    <a:pt x="195" y="393"/>
                  </a:lnTo>
                  <a:lnTo>
                    <a:pt x="195" y="393"/>
                  </a:lnTo>
                  <a:lnTo>
                    <a:pt x="195" y="392"/>
                  </a:lnTo>
                  <a:lnTo>
                    <a:pt x="195" y="392"/>
                  </a:lnTo>
                  <a:lnTo>
                    <a:pt x="196" y="392"/>
                  </a:lnTo>
                  <a:lnTo>
                    <a:pt x="198" y="393"/>
                  </a:lnTo>
                  <a:lnTo>
                    <a:pt x="198" y="395"/>
                  </a:lnTo>
                  <a:lnTo>
                    <a:pt x="200" y="397"/>
                  </a:lnTo>
                  <a:lnTo>
                    <a:pt x="202" y="397"/>
                  </a:lnTo>
                  <a:lnTo>
                    <a:pt x="204" y="397"/>
                  </a:lnTo>
                  <a:lnTo>
                    <a:pt x="205" y="399"/>
                  </a:lnTo>
                  <a:lnTo>
                    <a:pt x="205" y="399"/>
                  </a:lnTo>
                  <a:lnTo>
                    <a:pt x="207" y="399"/>
                  </a:lnTo>
                  <a:lnTo>
                    <a:pt x="207" y="401"/>
                  </a:lnTo>
                  <a:lnTo>
                    <a:pt x="207" y="401"/>
                  </a:lnTo>
                  <a:lnTo>
                    <a:pt x="207" y="401"/>
                  </a:lnTo>
                  <a:lnTo>
                    <a:pt x="207" y="402"/>
                  </a:lnTo>
                  <a:lnTo>
                    <a:pt x="209" y="402"/>
                  </a:lnTo>
                  <a:lnTo>
                    <a:pt x="209" y="402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13" y="401"/>
                  </a:lnTo>
                  <a:lnTo>
                    <a:pt x="215" y="401"/>
                  </a:lnTo>
                  <a:lnTo>
                    <a:pt x="218" y="404"/>
                  </a:lnTo>
                  <a:lnTo>
                    <a:pt x="220" y="404"/>
                  </a:lnTo>
                  <a:lnTo>
                    <a:pt x="222" y="402"/>
                  </a:lnTo>
                  <a:lnTo>
                    <a:pt x="222" y="402"/>
                  </a:lnTo>
                  <a:lnTo>
                    <a:pt x="222" y="404"/>
                  </a:lnTo>
                  <a:lnTo>
                    <a:pt x="222" y="406"/>
                  </a:lnTo>
                  <a:lnTo>
                    <a:pt x="224" y="406"/>
                  </a:lnTo>
                  <a:lnTo>
                    <a:pt x="224" y="408"/>
                  </a:lnTo>
                  <a:lnTo>
                    <a:pt x="224" y="408"/>
                  </a:lnTo>
                  <a:lnTo>
                    <a:pt x="224" y="411"/>
                  </a:lnTo>
                  <a:lnTo>
                    <a:pt x="224" y="413"/>
                  </a:lnTo>
                  <a:lnTo>
                    <a:pt x="225" y="415"/>
                  </a:lnTo>
                  <a:lnTo>
                    <a:pt x="225" y="417"/>
                  </a:lnTo>
                  <a:lnTo>
                    <a:pt x="225" y="419"/>
                  </a:lnTo>
                  <a:lnTo>
                    <a:pt x="225" y="419"/>
                  </a:lnTo>
                  <a:lnTo>
                    <a:pt x="227" y="419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31" y="420"/>
                  </a:lnTo>
                  <a:lnTo>
                    <a:pt x="231" y="420"/>
                  </a:lnTo>
                  <a:lnTo>
                    <a:pt x="231" y="420"/>
                  </a:lnTo>
                  <a:lnTo>
                    <a:pt x="233" y="420"/>
                  </a:lnTo>
                  <a:lnTo>
                    <a:pt x="233" y="420"/>
                  </a:lnTo>
                  <a:lnTo>
                    <a:pt x="234" y="420"/>
                  </a:lnTo>
                  <a:lnTo>
                    <a:pt x="234" y="422"/>
                  </a:lnTo>
                  <a:lnTo>
                    <a:pt x="234" y="424"/>
                  </a:lnTo>
                  <a:lnTo>
                    <a:pt x="234" y="426"/>
                  </a:lnTo>
                  <a:lnTo>
                    <a:pt x="234" y="426"/>
                  </a:lnTo>
                  <a:lnTo>
                    <a:pt x="236" y="428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3"/>
                  </a:lnTo>
                  <a:lnTo>
                    <a:pt x="242" y="433"/>
                  </a:lnTo>
                  <a:lnTo>
                    <a:pt x="242" y="435"/>
                  </a:lnTo>
                  <a:lnTo>
                    <a:pt x="242" y="437"/>
                  </a:lnTo>
                  <a:lnTo>
                    <a:pt x="242" y="437"/>
                  </a:lnTo>
                  <a:lnTo>
                    <a:pt x="242" y="439"/>
                  </a:lnTo>
                  <a:lnTo>
                    <a:pt x="242" y="439"/>
                  </a:lnTo>
                  <a:lnTo>
                    <a:pt x="242" y="442"/>
                  </a:lnTo>
                  <a:lnTo>
                    <a:pt x="242" y="442"/>
                  </a:lnTo>
                  <a:lnTo>
                    <a:pt x="243" y="442"/>
                  </a:lnTo>
                  <a:lnTo>
                    <a:pt x="245" y="442"/>
                  </a:lnTo>
                  <a:lnTo>
                    <a:pt x="247" y="442"/>
                  </a:lnTo>
                  <a:lnTo>
                    <a:pt x="247" y="442"/>
                  </a:lnTo>
                  <a:lnTo>
                    <a:pt x="249" y="442"/>
                  </a:lnTo>
                  <a:lnTo>
                    <a:pt x="249" y="442"/>
                  </a:lnTo>
                  <a:lnTo>
                    <a:pt x="249" y="442"/>
                  </a:lnTo>
                  <a:lnTo>
                    <a:pt x="251" y="442"/>
                  </a:lnTo>
                  <a:lnTo>
                    <a:pt x="251" y="442"/>
                  </a:lnTo>
                  <a:lnTo>
                    <a:pt x="252" y="442"/>
                  </a:lnTo>
                  <a:lnTo>
                    <a:pt x="254" y="440"/>
                  </a:lnTo>
                  <a:lnTo>
                    <a:pt x="254" y="440"/>
                  </a:lnTo>
                  <a:lnTo>
                    <a:pt x="254" y="439"/>
                  </a:lnTo>
                  <a:lnTo>
                    <a:pt x="254" y="439"/>
                  </a:lnTo>
                  <a:lnTo>
                    <a:pt x="254" y="439"/>
                  </a:lnTo>
                  <a:lnTo>
                    <a:pt x="254" y="439"/>
                  </a:lnTo>
                  <a:lnTo>
                    <a:pt x="254" y="439"/>
                  </a:lnTo>
                  <a:lnTo>
                    <a:pt x="254" y="437"/>
                  </a:lnTo>
                  <a:lnTo>
                    <a:pt x="254" y="437"/>
                  </a:lnTo>
                  <a:lnTo>
                    <a:pt x="254" y="437"/>
                  </a:lnTo>
                  <a:lnTo>
                    <a:pt x="256" y="435"/>
                  </a:lnTo>
                  <a:lnTo>
                    <a:pt x="256" y="433"/>
                  </a:lnTo>
                  <a:lnTo>
                    <a:pt x="256" y="433"/>
                  </a:lnTo>
                  <a:lnTo>
                    <a:pt x="258" y="433"/>
                  </a:lnTo>
                  <a:lnTo>
                    <a:pt x="258" y="433"/>
                  </a:lnTo>
                  <a:lnTo>
                    <a:pt x="260" y="433"/>
                  </a:lnTo>
                  <a:lnTo>
                    <a:pt x="261" y="433"/>
                  </a:lnTo>
                  <a:lnTo>
                    <a:pt x="261" y="431"/>
                  </a:lnTo>
                  <a:lnTo>
                    <a:pt x="261" y="431"/>
                  </a:lnTo>
                  <a:lnTo>
                    <a:pt x="267" y="428"/>
                  </a:lnTo>
                  <a:lnTo>
                    <a:pt x="267" y="426"/>
                  </a:lnTo>
                  <a:lnTo>
                    <a:pt x="267" y="426"/>
                  </a:lnTo>
                  <a:lnTo>
                    <a:pt x="267" y="426"/>
                  </a:lnTo>
                  <a:lnTo>
                    <a:pt x="267" y="426"/>
                  </a:lnTo>
                  <a:lnTo>
                    <a:pt x="269" y="428"/>
                  </a:lnTo>
                  <a:lnTo>
                    <a:pt x="269" y="428"/>
                  </a:lnTo>
                  <a:lnTo>
                    <a:pt x="270" y="429"/>
                  </a:lnTo>
                  <a:lnTo>
                    <a:pt x="270" y="431"/>
                  </a:lnTo>
                  <a:lnTo>
                    <a:pt x="270" y="435"/>
                  </a:lnTo>
                  <a:lnTo>
                    <a:pt x="272" y="437"/>
                  </a:lnTo>
                  <a:lnTo>
                    <a:pt x="272" y="439"/>
                  </a:lnTo>
                  <a:lnTo>
                    <a:pt x="272" y="439"/>
                  </a:lnTo>
                  <a:lnTo>
                    <a:pt x="274" y="439"/>
                  </a:lnTo>
                  <a:lnTo>
                    <a:pt x="276" y="439"/>
                  </a:lnTo>
                  <a:lnTo>
                    <a:pt x="276" y="439"/>
                  </a:lnTo>
                  <a:lnTo>
                    <a:pt x="276" y="440"/>
                  </a:lnTo>
                  <a:lnTo>
                    <a:pt x="276" y="440"/>
                  </a:lnTo>
                  <a:lnTo>
                    <a:pt x="276" y="442"/>
                  </a:lnTo>
                  <a:lnTo>
                    <a:pt x="276" y="442"/>
                  </a:lnTo>
                  <a:lnTo>
                    <a:pt x="280" y="442"/>
                  </a:lnTo>
                  <a:lnTo>
                    <a:pt x="280" y="442"/>
                  </a:lnTo>
                  <a:lnTo>
                    <a:pt x="281" y="442"/>
                  </a:lnTo>
                  <a:lnTo>
                    <a:pt x="283" y="442"/>
                  </a:lnTo>
                  <a:lnTo>
                    <a:pt x="283" y="442"/>
                  </a:lnTo>
                  <a:lnTo>
                    <a:pt x="283" y="442"/>
                  </a:lnTo>
                  <a:lnTo>
                    <a:pt x="283" y="444"/>
                  </a:lnTo>
                  <a:lnTo>
                    <a:pt x="283" y="446"/>
                  </a:lnTo>
                  <a:lnTo>
                    <a:pt x="283" y="449"/>
                  </a:lnTo>
                  <a:lnTo>
                    <a:pt x="283" y="449"/>
                  </a:lnTo>
                  <a:lnTo>
                    <a:pt x="283" y="449"/>
                  </a:lnTo>
                  <a:lnTo>
                    <a:pt x="283" y="449"/>
                  </a:lnTo>
                  <a:lnTo>
                    <a:pt x="283" y="449"/>
                  </a:lnTo>
                  <a:lnTo>
                    <a:pt x="283" y="451"/>
                  </a:lnTo>
                  <a:lnTo>
                    <a:pt x="285" y="451"/>
                  </a:lnTo>
                  <a:lnTo>
                    <a:pt x="285" y="451"/>
                  </a:lnTo>
                  <a:lnTo>
                    <a:pt x="285" y="451"/>
                  </a:lnTo>
                  <a:lnTo>
                    <a:pt x="285" y="451"/>
                  </a:lnTo>
                  <a:lnTo>
                    <a:pt x="285" y="451"/>
                  </a:lnTo>
                  <a:lnTo>
                    <a:pt x="285" y="451"/>
                  </a:lnTo>
                  <a:lnTo>
                    <a:pt x="285" y="451"/>
                  </a:lnTo>
                  <a:lnTo>
                    <a:pt x="285" y="453"/>
                  </a:lnTo>
                  <a:lnTo>
                    <a:pt x="285" y="453"/>
                  </a:lnTo>
                  <a:lnTo>
                    <a:pt x="285" y="453"/>
                  </a:lnTo>
                  <a:lnTo>
                    <a:pt x="283" y="453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1" y="457"/>
                  </a:lnTo>
                  <a:lnTo>
                    <a:pt x="283" y="458"/>
                  </a:lnTo>
                  <a:lnTo>
                    <a:pt x="283" y="458"/>
                  </a:lnTo>
                  <a:lnTo>
                    <a:pt x="287" y="458"/>
                  </a:lnTo>
                  <a:lnTo>
                    <a:pt x="287" y="458"/>
                  </a:lnTo>
                  <a:lnTo>
                    <a:pt x="289" y="457"/>
                  </a:lnTo>
                  <a:lnTo>
                    <a:pt x="289" y="457"/>
                  </a:lnTo>
                  <a:lnTo>
                    <a:pt x="290" y="455"/>
                  </a:lnTo>
                  <a:lnTo>
                    <a:pt x="292" y="455"/>
                  </a:lnTo>
                  <a:lnTo>
                    <a:pt x="292" y="457"/>
                  </a:lnTo>
                  <a:lnTo>
                    <a:pt x="296" y="458"/>
                  </a:lnTo>
                  <a:lnTo>
                    <a:pt x="298" y="458"/>
                  </a:lnTo>
                  <a:lnTo>
                    <a:pt x="298" y="458"/>
                  </a:lnTo>
                  <a:lnTo>
                    <a:pt x="298" y="457"/>
                  </a:lnTo>
                  <a:lnTo>
                    <a:pt x="299" y="453"/>
                  </a:lnTo>
                  <a:lnTo>
                    <a:pt x="299" y="453"/>
                  </a:lnTo>
                  <a:lnTo>
                    <a:pt x="299" y="453"/>
                  </a:lnTo>
                  <a:lnTo>
                    <a:pt x="299" y="451"/>
                  </a:lnTo>
                  <a:lnTo>
                    <a:pt x="301" y="449"/>
                  </a:lnTo>
                  <a:lnTo>
                    <a:pt x="301" y="449"/>
                  </a:lnTo>
                  <a:lnTo>
                    <a:pt x="301" y="449"/>
                  </a:lnTo>
                  <a:lnTo>
                    <a:pt x="303" y="449"/>
                  </a:lnTo>
                  <a:lnTo>
                    <a:pt x="303" y="449"/>
                  </a:lnTo>
                  <a:lnTo>
                    <a:pt x="305" y="448"/>
                  </a:lnTo>
                  <a:lnTo>
                    <a:pt x="305" y="448"/>
                  </a:lnTo>
                  <a:lnTo>
                    <a:pt x="308" y="446"/>
                  </a:lnTo>
                  <a:lnTo>
                    <a:pt x="308" y="446"/>
                  </a:lnTo>
                  <a:lnTo>
                    <a:pt x="308" y="446"/>
                  </a:lnTo>
                  <a:lnTo>
                    <a:pt x="310" y="444"/>
                  </a:lnTo>
                  <a:lnTo>
                    <a:pt x="310" y="444"/>
                  </a:lnTo>
                  <a:lnTo>
                    <a:pt x="310" y="442"/>
                  </a:lnTo>
                  <a:lnTo>
                    <a:pt x="310" y="442"/>
                  </a:lnTo>
                  <a:lnTo>
                    <a:pt x="310" y="442"/>
                  </a:lnTo>
                  <a:lnTo>
                    <a:pt x="314" y="444"/>
                  </a:lnTo>
                  <a:lnTo>
                    <a:pt x="316" y="444"/>
                  </a:lnTo>
                  <a:lnTo>
                    <a:pt x="316" y="442"/>
                  </a:lnTo>
                  <a:lnTo>
                    <a:pt x="316" y="442"/>
                  </a:lnTo>
                  <a:lnTo>
                    <a:pt x="321" y="444"/>
                  </a:lnTo>
                  <a:lnTo>
                    <a:pt x="321" y="444"/>
                  </a:lnTo>
                  <a:lnTo>
                    <a:pt x="323" y="444"/>
                  </a:lnTo>
                  <a:lnTo>
                    <a:pt x="323" y="444"/>
                  </a:lnTo>
                  <a:lnTo>
                    <a:pt x="325" y="442"/>
                  </a:lnTo>
                  <a:lnTo>
                    <a:pt x="325" y="442"/>
                  </a:lnTo>
                  <a:lnTo>
                    <a:pt x="325" y="442"/>
                  </a:lnTo>
                  <a:lnTo>
                    <a:pt x="326" y="442"/>
                  </a:lnTo>
                  <a:lnTo>
                    <a:pt x="328" y="442"/>
                  </a:lnTo>
                  <a:lnTo>
                    <a:pt x="328" y="442"/>
                  </a:lnTo>
                  <a:lnTo>
                    <a:pt x="334" y="448"/>
                  </a:lnTo>
                  <a:lnTo>
                    <a:pt x="334" y="448"/>
                  </a:lnTo>
                  <a:lnTo>
                    <a:pt x="336" y="448"/>
                  </a:lnTo>
                  <a:lnTo>
                    <a:pt x="336" y="448"/>
                  </a:lnTo>
                  <a:lnTo>
                    <a:pt x="337" y="448"/>
                  </a:lnTo>
                  <a:lnTo>
                    <a:pt x="337" y="449"/>
                  </a:lnTo>
                  <a:lnTo>
                    <a:pt x="339" y="449"/>
                  </a:lnTo>
                  <a:lnTo>
                    <a:pt x="339" y="449"/>
                  </a:lnTo>
                  <a:lnTo>
                    <a:pt x="341" y="449"/>
                  </a:lnTo>
                  <a:lnTo>
                    <a:pt x="341" y="449"/>
                  </a:lnTo>
                  <a:lnTo>
                    <a:pt x="343" y="449"/>
                  </a:lnTo>
                  <a:lnTo>
                    <a:pt x="345" y="446"/>
                  </a:lnTo>
                  <a:lnTo>
                    <a:pt x="345" y="446"/>
                  </a:lnTo>
                  <a:lnTo>
                    <a:pt x="346" y="446"/>
                  </a:lnTo>
                  <a:lnTo>
                    <a:pt x="346" y="446"/>
                  </a:lnTo>
                  <a:lnTo>
                    <a:pt x="348" y="446"/>
                  </a:lnTo>
                  <a:lnTo>
                    <a:pt x="348" y="444"/>
                  </a:lnTo>
                  <a:lnTo>
                    <a:pt x="348" y="444"/>
                  </a:lnTo>
                  <a:lnTo>
                    <a:pt x="346" y="442"/>
                  </a:lnTo>
                  <a:lnTo>
                    <a:pt x="346" y="442"/>
                  </a:lnTo>
                  <a:lnTo>
                    <a:pt x="346" y="440"/>
                  </a:lnTo>
                  <a:lnTo>
                    <a:pt x="348" y="440"/>
                  </a:lnTo>
                  <a:lnTo>
                    <a:pt x="350" y="440"/>
                  </a:lnTo>
                  <a:lnTo>
                    <a:pt x="350" y="440"/>
                  </a:lnTo>
                  <a:lnTo>
                    <a:pt x="352" y="440"/>
                  </a:lnTo>
                  <a:lnTo>
                    <a:pt x="352" y="442"/>
                  </a:lnTo>
                  <a:lnTo>
                    <a:pt x="354" y="442"/>
                  </a:lnTo>
                  <a:lnTo>
                    <a:pt x="354" y="442"/>
                  </a:lnTo>
                  <a:lnTo>
                    <a:pt x="355" y="440"/>
                  </a:lnTo>
                  <a:lnTo>
                    <a:pt x="357" y="439"/>
                  </a:lnTo>
                  <a:lnTo>
                    <a:pt x="357" y="439"/>
                  </a:lnTo>
                  <a:lnTo>
                    <a:pt x="359" y="439"/>
                  </a:lnTo>
                  <a:lnTo>
                    <a:pt x="361" y="440"/>
                  </a:lnTo>
                  <a:lnTo>
                    <a:pt x="366" y="440"/>
                  </a:lnTo>
                  <a:lnTo>
                    <a:pt x="366" y="440"/>
                  </a:lnTo>
                  <a:lnTo>
                    <a:pt x="368" y="440"/>
                  </a:lnTo>
                  <a:lnTo>
                    <a:pt x="370" y="440"/>
                  </a:lnTo>
                  <a:lnTo>
                    <a:pt x="370" y="440"/>
                  </a:lnTo>
                  <a:lnTo>
                    <a:pt x="372" y="440"/>
                  </a:lnTo>
                  <a:lnTo>
                    <a:pt x="375" y="440"/>
                  </a:lnTo>
                  <a:lnTo>
                    <a:pt x="375" y="440"/>
                  </a:lnTo>
                  <a:lnTo>
                    <a:pt x="375" y="440"/>
                  </a:lnTo>
                  <a:lnTo>
                    <a:pt x="377" y="442"/>
                  </a:lnTo>
                  <a:lnTo>
                    <a:pt x="377" y="442"/>
                  </a:lnTo>
                  <a:lnTo>
                    <a:pt x="377" y="442"/>
                  </a:lnTo>
                  <a:lnTo>
                    <a:pt x="379" y="442"/>
                  </a:lnTo>
                  <a:lnTo>
                    <a:pt x="379" y="442"/>
                  </a:lnTo>
                  <a:lnTo>
                    <a:pt x="381" y="442"/>
                  </a:lnTo>
                  <a:lnTo>
                    <a:pt x="382" y="446"/>
                  </a:lnTo>
                  <a:lnTo>
                    <a:pt x="382" y="446"/>
                  </a:lnTo>
                  <a:lnTo>
                    <a:pt x="382" y="446"/>
                  </a:lnTo>
                  <a:lnTo>
                    <a:pt x="384" y="444"/>
                  </a:lnTo>
                  <a:lnTo>
                    <a:pt x="384" y="444"/>
                  </a:lnTo>
                  <a:lnTo>
                    <a:pt x="386" y="444"/>
                  </a:lnTo>
                  <a:lnTo>
                    <a:pt x="386" y="444"/>
                  </a:lnTo>
                  <a:lnTo>
                    <a:pt x="388" y="446"/>
                  </a:lnTo>
                  <a:lnTo>
                    <a:pt x="391" y="448"/>
                  </a:lnTo>
                  <a:lnTo>
                    <a:pt x="393" y="449"/>
                  </a:lnTo>
                  <a:lnTo>
                    <a:pt x="395" y="451"/>
                  </a:lnTo>
                  <a:lnTo>
                    <a:pt x="395" y="455"/>
                  </a:lnTo>
                  <a:lnTo>
                    <a:pt x="395" y="457"/>
                  </a:lnTo>
                  <a:lnTo>
                    <a:pt x="397" y="457"/>
                  </a:lnTo>
                  <a:lnTo>
                    <a:pt x="401" y="458"/>
                  </a:lnTo>
                  <a:lnTo>
                    <a:pt x="402" y="458"/>
                  </a:lnTo>
                  <a:lnTo>
                    <a:pt x="402" y="460"/>
                  </a:lnTo>
                  <a:lnTo>
                    <a:pt x="402" y="460"/>
                  </a:lnTo>
                  <a:lnTo>
                    <a:pt x="404" y="458"/>
                  </a:lnTo>
                  <a:lnTo>
                    <a:pt x="404" y="458"/>
                  </a:lnTo>
                  <a:lnTo>
                    <a:pt x="404" y="460"/>
                  </a:lnTo>
                  <a:lnTo>
                    <a:pt x="404" y="460"/>
                  </a:lnTo>
                  <a:lnTo>
                    <a:pt x="404" y="460"/>
                  </a:lnTo>
                  <a:lnTo>
                    <a:pt x="404" y="462"/>
                  </a:lnTo>
                  <a:lnTo>
                    <a:pt x="406" y="462"/>
                  </a:lnTo>
                  <a:lnTo>
                    <a:pt x="408" y="462"/>
                  </a:lnTo>
                  <a:lnTo>
                    <a:pt x="411" y="462"/>
                  </a:lnTo>
                  <a:lnTo>
                    <a:pt x="411" y="462"/>
                  </a:lnTo>
                  <a:lnTo>
                    <a:pt x="415" y="466"/>
                  </a:lnTo>
                  <a:lnTo>
                    <a:pt x="417" y="466"/>
                  </a:lnTo>
                  <a:lnTo>
                    <a:pt x="420" y="466"/>
                  </a:lnTo>
                  <a:lnTo>
                    <a:pt x="422" y="467"/>
                  </a:lnTo>
                  <a:lnTo>
                    <a:pt x="422" y="466"/>
                  </a:lnTo>
                  <a:lnTo>
                    <a:pt x="424" y="466"/>
                  </a:lnTo>
                  <a:lnTo>
                    <a:pt x="426" y="467"/>
                  </a:lnTo>
                  <a:lnTo>
                    <a:pt x="428" y="469"/>
                  </a:lnTo>
                  <a:lnTo>
                    <a:pt x="428" y="469"/>
                  </a:lnTo>
                  <a:lnTo>
                    <a:pt x="429" y="469"/>
                  </a:lnTo>
                  <a:lnTo>
                    <a:pt x="431" y="469"/>
                  </a:lnTo>
                  <a:lnTo>
                    <a:pt x="431" y="469"/>
                  </a:lnTo>
                  <a:lnTo>
                    <a:pt x="433" y="469"/>
                  </a:lnTo>
                  <a:lnTo>
                    <a:pt x="433" y="469"/>
                  </a:lnTo>
                  <a:lnTo>
                    <a:pt x="433" y="471"/>
                  </a:lnTo>
                  <a:lnTo>
                    <a:pt x="435" y="471"/>
                  </a:lnTo>
                  <a:lnTo>
                    <a:pt x="435" y="471"/>
                  </a:lnTo>
                  <a:lnTo>
                    <a:pt x="437" y="473"/>
                  </a:lnTo>
                  <a:lnTo>
                    <a:pt x="437" y="473"/>
                  </a:lnTo>
                  <a:lnTo>
                    <a:pt x="438" y="471"/>
                  </a:lnTo>
                  <a:lnTo>
                    <a:pt x="438" y="471"/>
                  </a:lnTo>
                  <a:lnTo>
                    <a:pt x="438" y="471"/>
                  </a:lnTo>
                  <a:lnTo>
                    <a:pt x="437" y="469"/>
                  </a:lnTo>
                  <a:lnTo>
                    <a:pt x="437" y="469"/>
                  </a:lnTo>
                  <a:lnTo>
                    <a:pt x="437" y="467"/>
                  </a:lnTo>
                  <a:lnTo>
                    <a:pt x="437" y="467"/>
                  </a:lnTo>
                  <a:lnTo>
                    <a:pt x="437" y="466"/>
                  </a:lnTo>
                  <a:lnTo>
                    <a:pt x="437" y="466"/>
                  </a:lnTo>
                  <a:lnTo>
                    <a:pt x="435" y="464"/>
                  </a:lnTo>
                  <a:lnTo>
                    <a:pt x="433" y="464"/>
                  </a:lnTo>
                  <a:lnTo>
                    <a:pt x="431" y="462"/>
                  </a:lnTo>
                  <a:lnTo>
                    <a:pt x="431" y="460"/>
                  </a:lnTo>
                  <a:lnTo>
                    <a:pt x="431" y="460"/>
                  </a:lnTo>
                  <a:lnTo>
                    <a:pt x="431" y="460"/>
                  </a:lnTo>
                  <a:lnTo>
                    <a:pt x="429" y="460"/>
                  </a:lnTo>
                  <a:lnTo>
                    <a:pt x="429" y="460"/>
                  </a:lnTo>
                  <a:lnTo>
                    <a:pt x="429" y="460"/>
                  </a:lnTo>
                  <a:lnTo>
                    <a:pt x="429" y="460"/>
                  </a:lnTo>
                  <a:lnTo>
                    <a:pt x="429" y="458"/>
                  </a:lnTo>
                  <a:lnTo>
                    <a:pt x="429" y="458"/>
                  </a:lnTo>
                  <a:lnTo>
                    <a:pt x="431" y="455"/>
                  </a:lnTo>
                  <a:lnTo>
                    <a:pt x="431" y="453"/>
                  </a:lnTo>
                  <a:lnTo>
                    <a:pt x="431" y="451"/>
                  </a:lnTo>
                  <a:lnTo>
                    <a:pt x="431" y="444"/>
                  </a:lnTo>
                  <a:lnTo>
                    <a:pt x="431" y="444"/>
                  </a:lnTo>
                  <a:lnTo>
                    <a:pt x="429" y="442"/>
                  </a:lnTo>
                  <a:lnTo>
                    <a:pt x="429" y="442"/>
                  </a:lnTo>
                  <a:lnTo>
                    <a:pt x="429" y="440"/>
                  </a:lnTo>
                  <a:lnTo>
                    <a:pt x="428" y="440"/>
                  </a:lnTo>
                  <a:lnTo>
                    <a:pt x="428" y="439"/>
                  </a:lnTo>
                  <a:lnTo>
                    <a:pt x="428" y="437"/>
                  </a:lnTo>
                  <a:lnTo>
                    <a:pt x="428" y="435"/>
                  </a:lnTo>
                  <a:lnTo>
                    <a:pt x="426" y="431"/>
                  </a:lnTo>
                  <a:lnTo>
                    <a:pt x="428" y="429"/>
                  </a:lnTo>
                  <a:lnTo>
                    <a:pt x="431" y="424"/>
                  </a:lnTo>
                  <a:lnTo>
                    <a:pt x="433" y="422"/>
                  </a:lnTo>
                  <a:lnTo>
                    <a:pt x="433" y="420"/>
                  </a:lnTo>
                  <a:lnTo>
                    <a:pt x="433" y="420"/>
                  </a:lnTo>
                  <a:lnTo>
                    <a:pt x="435" y="420"/>
                  </a:lnTo>
                  <a:lnTo>
                    <a:pt x="435" y="420"/>
                  </a:lnTo>
                  <a:lnTo>
                    <a:pt x="437" y="419"/>
                  </a:lnTo>
                  <a:lnTo>
                    <a:pt x="438" y="413"/>
                  </a:lnTo>
                  <a:lnTo>
                    <a:pt x="440" y="413"/>
                  </a:lnTo>
                  <a:lnTo>
                    <a:pt x="440" y="413"/>
                  </a:lnTo>
                  <a:lnTo>
                    <a:pt x="440" y="411"/>
                  </a:lnTo>
                  <a:lnTo>
                    <a:pt x="442" y="411"/>
                  </a:lnTo>
                  <a:lnTo>
                    <a:pt x="442" y="411"/>
                  </a:lnTo>
                  <a:lnTo>
                    <a:pt x="442" y="410"/>
                  </a:lnTo>
                  <a:lnTo>
                    <a:pt x="442" y="410"/>
                  </a:lnTo>
                  <a:lnTo>
                    <a:pt x="444" y="406"/>
                  </a:lnTo>
                  <a:lnTo>
                    <a:pt x="449" y="399"/>
                  </a:lnTo>
                  <a:lnTo>
                    <a:pt x="451" y="397"/>
                  </a:lnTo>
                  <a:lnTo>
                    <a:pt x="453" y="395"/>
                  </a:lnTo>
                  <a:lnTo>
                    <a:pt x="455" y="393"/>
                  </a:lnTo>
                  <a:lnTo>
                    <a:pt x="467" y="381"/>
                  </a:lnTo>
                  <a:lnTo>
                    <a:pt x="469" y="379"/>
                  </a:lnTo>
                  <a:lnTo>
                    <a:pt x="471" y="377"/>
                  </a:lnTo>
                  <a:lnTo>
                    <a:pt x="471" y="377"/>
                  </a:lnTo>
                  <a:lnTo>
                    <a:pt x="471" y="377"/>
                  </a:lnTo>
                  <a:lnTo>
                    <a:pt x="471" y="377"/>
                  </a:lnTo>
                  <a:lnTo>
                    <a:pt x="473" y="375"/>
                  </a:lnTo>
                  <a:lnTo>
                    <a:pt x="476" y="372"/>
                  </a:lnTo>
                  <a:lnTo>
                    <a:pt x="478" y="370"/>
                  </a:lnTo>
                  <a:lnTo>
                    <a:pt x="478" y="370"/>
                  </a:lnTo>
                  <a:lnTo>
                    <a:pt x="478" y="368"/>
                  </a:lnTo>
                  <a:lnTo>
                    <a:pt x="478" y="366"/>
                  </a:lnTo>
                  <a:lnTo>
                    <a:pt x="480" y="366"/>
                  </a:lnTo>
                  <a:lnTo>
                    <a:pt x="480" y="366"/>
                  </a:lnTo>
                  <a:lnTo>
                    <a:pt x="482" y="364"/>
                  </a:lnTo>
                  <a:lnTo>
                    <a:pt x="491" y="364"/>
                  </a:lnTo>
                  <a:lnTo>
                    <a:pt x="494" y="364"/>
                  </a:lnTo>
                  <a:lnTo>
                    <a:pt x="494" y="361"/>
                  </a:lnTo>
                  <a:lnTo>
                    <a:pt x="494" y="361"/>
                  </a:lnTo>
                  <a:lnTo>
                    <a:pt x="494" y="359"/>
                  </a:lnTo>
                  <a:lnTo>
                    <a:pt x="494" y="357"/>
                  </a:lnTo>
                  <a:lnTo>
                    <a:pt x="494" y="357"/>
                  </a:lnTo>
                  <a:lnTo>
                    <a:pt x="498" y="355"/>
                  </a:lnTo>
                  <a:lnTo>
                    <a:pt x="500" y="354"/>
                  </a:lnTo>
                  <a:lnTo>
                    <a:pt x="500" y="354"/>
                  </a:lnTo>
                  <a:lnTo>
                    <a:pt x="500" y="354"/>
                  </a:lnTo>
                  <a:lnTo>
                    <a:pt x="500" y="354"/>
                  </a:lnTo>
                  <a:lnTo>
                    <a:pt x="500" y="352"/>
                  </a:lnTo>
                  <a:lnTo>
                    <a:pt x="498" y="348"/>
                  </a:lnTo>
                  <a:lnTo>
                    <a:pt x="500" y="346"/>
                  </a:lnTo>
                  <a:lnTo>
                    <a:pt x="500" y="346"/>
                  </a:lnTo>
                  <a:lnTo>
                    <a:pt x="498" y="343"/>
                  </a:lnTo>
                  <a:lnTo>
                    <a:pt x="498" y="341"/>
                  </a:lnTo>
                  <a:lnTo>
                    <a:pt x="498" y="339"/>
                  </a:lnTo>
                  <a:lnTo>
                    <a:pt x="498" y="339"/>
                  </a:lnTo>
                  <a:lnTo>
                    <a:pt x="496" y="339"/>
                  </a:lnTo>
                  <a:lnTo>
                    <a:pt x="494" y="337"/>
                  </a:lnTo>
                  <a:lnTo>
                    <a:pt x="496" y="336"/>
                  </a:lnTo>
                  <a:lnTo>
                    <a:pt x="496" y="336"/>
                  </a:lnTo>
                  <a:lnTo>
                    <a:pt x="494" y="336"/>
                  </a:lnTo>
                  <a:lnTo>
                    <a:pt x="493" y="336"/>
                  </a:lnTo>
                  <a:lnTo>
                    <a:pt x="493" y="334"/>
                  </a:lnTo>
                  <a:lnTo>
                    <a:pt x="493" y="332"/>
                  </a:lnTo>
                  <a:lnTo>
                    <a:pt x="493" y="330"/>
                  </a:lnTo>
                  <a:lnTo>
                    <a:pt x="494" y="33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549DC4D3-CAEF-BD21-F28D-3B035C77AB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35813" y="3549651"/>
              <a:ext cx="304800" cy="363538"/>
            </a:xfrm>
            <a:custGeom>
              <a:avLst/>
              <a:gdLst>
                <a:gd name="T0" fmla="*/ 33 w 192"/>
                <a:gd name="T1" fmla="*/ 177 h 229"/>
                <a:gd name="T2" fmla="*/ 10 w 192"/>
                <a:gd name="T3" fmla="*/ 175 h 229"/>
                <a:gd name="T4" fmla="*/ 8 w 192"/>
                <a:gd name="T5" fmla="*/ 190 h 229"/>
                <a:gd name="T6" fmla="*/ 22 w 192"/>
                <a:gd name="T7" fmla="*/ 191 h 229"/>
                <a:gd name="T8" fmla="*/ 42 w 192"/>
                <a:gd name="T9" fmla="*/ 179 h 229"/>
                <a:gd name="T10" fmla="*/ 29 w 192"/>
                <a:gd name="T11" fmla="*/ 159 h 229"/>
                <a:gd name="T12" fmla="*/ 31 w 192"/>
                <a:gd name="T13" fmla="*/ 150 h 229"/>
                <a:gd name="T14" fmla="*/ 73 w 192"/>
                <a:gd name="T15" fmla="*/ 47 h 229"/>
                <a:gd name="T16" fmla="*/ 76 w 192"/>
                <a:gd name="T17" fmla="*/ 32 h 229"/>
                <a:gd name="T18" fmla="*/ 80 w 192"/>
                <a:gd name="T19" fmla="*/ 27 h 229"/>
                <a:gd name="T20" fmla="*/ 100 w 192"/>
                <a:gd name="T21" fmla="*/ 14 h 229"/>
                <a:gd name="T22" fmla="*/ 103 w 192"/>
                <a:gd name="T23" fmla="*/ 11 h 229"/>
                <a:gd name="T24" fmla="*/ 192 w 192"/>
                <a:gd name="T25" fmla="*/ 27 h 229"/>
                <a:gd name="T26" fmla="*/ 185 w 192"/>
                <a:gd name="T27" fmla="*/ 22 h 229"/>
                <a:gd name="T28" fmla="*/ 168 w 192"/>
                <a:gd name="T29" fmla="*/ 9 h 229"/>
                <a:gd name="T30" fmla="*/ 125 w 192"/>
                <a:gd name="T31" fmla="*/ 16 h 229"/>
                <a:gd name="T32" fmla="*/ 102 w 192"/>
                <a:gd name="T33" fmla="*/ 38 h 229"/>
                <a:gd name="T34" fmla="*/ 73 w 192"/>
                <a:gd name="T35" fmla="*/ 52 h 229"/>
                <a:gd name="T36" fmla="*/ 64 w 192"/>
                <a:gd name="T37" fmla="*/ 72 h 229"/>
                <a:gd name="T38" fmla="*/ 33 w 192"/>
                <a:gd name="T39" fmla="*/ 130 h 229"/>
                <a:gd name="T40" fmla="*/ 37 w 192"/>
                <a:gd name="T41" fmla="*/ 143 h 229"/>
                <a:gd name="T42" fmla="*/ 28 w 192"/>
                <a:gd name="T43" fmla="*/ 146 h 229"/>
                <a:gd name="T44" fmla="*/ 40 w 192"/>
                <a:gd name="T45" fmla="*/ 154 h 229"/>
                <a:gd name="T46" fmla="*/ 44 w 192"/>
                <a:gd name="T47" fmla="*/ 163 h 229"/>
                <a:gd name="T48" fmla="*/ 44 w 192"/>
                <a:gd name="T49" fmla="*/ 168 h 229"/>
                <a:gd name="T50" fmla="*/ 37 w 192"/>
                <a:gd name="T51" fmla="*/ 173 h 229"/>
                <a:gd name="T52" fmla="*/ 26 w 192"/>
                <a:gd name="T53" fmla="*/ 161 h 229"/>
                <a:gd name="T54" fmla="*/ 15 w 192"/>
                <a:gd name="T55" fmla="*/ 173 h 229"/>
                <a:gd name="T56" fmla="*/ 31 w 192"/>
                <a:gd name="T57" fmla="*/ 173 h 229"/>
                <a:gd name="T58" fmla="*/ 46 w 192"/>
                <a:gd name="T59" fmla="*/ 179 h 229"/>
                <a:gd name="T60" fmla="*/ 51 w 192"/>
                <a:gd name="T61" fmla="*/ 175 h 229"/>
                <a:gd name="T62" fmla="*/ 62 w 192"/>
                <a:gd name="T63" fmla="*/ 175 h 229"/>
                <a:gd name="T64" fmla="*/ 73 w 192"/>
                <a:gd name="T65" fmla="*/ 175 h 229"/>
                <a:gd name="T66" fmla="*/ 84 w 192"/>
                <a:gd name="T67" fmla="*/ 172 h 229"/>
                <a:gd name="T68" fmla="*/ 89 w 192"/>
                <a:gd name="T69" fmla="*/ 184 h 229"/>
                <a:gd name="T70" fmla="*/ 107 w 192"/>
                <a:gd name="T71" fmla="*/ 186 h 229"/>
                <a:gd name="T72" fmla="*/ 118 w 192"/>
                <a:gd name="T73" fmla="*/ 195 h 229"/>
                <a:gd name="T74" fmla="*/ 123 w 192"/>
                <a:gd name="T75" fmla="*/ 200 h 229"/>
                <a:gd name="T76" fmla="*/ 121 w 192"/>
                <a:gd name="T77" fmla="*/ 208 h 229"/>
                <a:gd name="T78" fmla="*/ 114 w 192"/>
                <a:gd name="T79" fmla="*/ 222 h 229"/>
                <a:gd name="T80" fmla="*/ 120 w 192"/>
                <a:gd name="T81" fmla="*/ 228 h 229"/>
                <a:gd name="T82" fmla="*/ 130 w 192"/>
                <a:gd name="T83" fmla="*/ 226 h 229"/>
                <a:gd name="T84" fmla="*/ 136 w 192"/>
                <a:gd name="T85" fmla="*/ 217 h 229"/>
                <a:gd name="T86" fmla="*/ 130 w 192"/>
                <a:gd name="T87" fmla="*/ 211 h 229"/>
                <a:gd name="T88" fmla="*/ 130 w 192"/>
                <a:gd name="T89" fmla="*/ 206 h 229"/>
                <a:gd name="T90" fmla="*/ 136 w 192"/>
                <a:gd name="T91" fmla="*/ 191 h 229"/>
                <a:gd name="T92" fmla="*/ 143 w 192"/>
                <a:gd name="T93" fmla="*/ 173 h 229"/>
                <a:gd name="T94" fmla="*/ 132 w 192"/>
                <a:gd name="T95" fmla="*/ 152 h 229"/>
                <a:gd name="T96" fmla="*/ 132 w 192"/>
                <a:gd name="T97" fmla="*/ 143 h 229"/>
                <a:gd name="T98" fmla="*/ 143 w 192"/>
                <a:gd name="T99" fmla="*/ 139 h 229"/>
                <a:gd name="T100" fmla="*/ 156 w 192"/>
                <a:gd name="T101" fmla="*/ 141 h 229"/>
                <a:gd name="T102" fmla="*/ 172 w 192"/>
                <a:gd name="T103" fmla="*/ 130 h 229"/>
                <a:gd name="T104" fmla="*/ 170 w 192"/>
                <a:gd name="T105" fmla="*/ 121 h 229"/>
                <a:gd name="T106" fmla="*/ 185 w 192"/>
                <a:gd name="T107" fmla="*/ 110 h 229"/>
                <a:gd name="T108" fmla="*/ 177 w 192"/>
                <a:gd name="T109" fmla="*/ 94 h 229"/>
                <a:gd name="T110" fmla="*/ 168 w 192"/>
                <a:gd name="T111" fmla="*/ 81 h 229"/>
                <a:gd name="T112" fmla="*/ 185 w 192"/>
                <a:gd name="T113" fmla="*/ 76 h 229"/>
                <a:gd name="T114" fmla="*/ 192 w 192"/>
                <a:gd name="T115" fmla="*/ 36 h 229"/>
                <a:gd name="T116" fmla="*/ 114 w 192"/>
                <a:gd name="T117" fmla="*/ 9 h 229"/>
                <a:gd name="T118" fmla="*/ 140 w 192"/>
                <a:gd name="T119" fmla="*/ 5 h 229"/>
                <a:gd name="T120" fmla="*/ 156 w 192"/>
                <a:gd name="T121" fmla="*/ 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2" h="229">
                  <a:moveTo>
                    <a:pt x="42" y="179"/>
                  </a:moveTo>
                  <a:lnTo>
                    <a:pt x="42" y="179"/>
                  </a:lnTo>
                  <a:lnTo>
                    <a:pt x="40" y="181"/>
                  </a:lnTo>
                  <a:lnTo>
                    <a:pt x="38" y="181"/>
                  </a:lnTo>
                  <a:lnTo>
                    <a:pt x="38" y="181"/>
                  </a:lnTo>
                  <a:lnTo>
                    <a:pt x="38" y="181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5" y="179"/>
                  </a:lnTo>
                  <a:lnTo>
                    <a:pt x="35" y="177"/>
                  </a:lnTo>
                  <a:lnTo>
                    <a:pt x="35" y="177"/>
                  </a:lnTo>
                  <a:lnTo>
                    <a:pt x="35" y="177"/>
                  </a:lnTo>
                  <a:lnTo>
                    <a:pt x="33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9"/>
                  </a:lnTo>
                  <a:lnTo>
                    <a:pt x="31" y="179"/>
                  </a:lnTo>
                  <a:lnTo>
                    <a:pt x="26" y="182"/>
                  </a:lnTo>
                  <a:lnTo>
                    <a:pt x="24" y="182"/>
                  </a:lnTo>
                  <a:lnTo>
                    <a:pt x="22" y="181"/>
                  </a:lnTo>
                  <a:lnTo>
                    <a:pt x="20" y="181"/>
                  </a:lnTo>
                  <a:lnTo>
                    <a:pt x="19" y="181"/>
                  </a:lnTo>
                  <a:lnTo>
                    <a:pt x="19" y="179"/>
                  </a:lnTo>
                  <a:lnTo>
                    <a:pt x="13" y="177"/>
                  </a:lnTo>
                  <a:lnTo>
                    <a:pt x="10" y="175"/>
                  </a:lnTo>
                  <a:lnTo>
                    <a:pt x="10" y="175"/>
                  </a:lnTo>
                  <a:lnTo>
                    <a:pt x="8" y="177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0" y="186"/>
                  </a:lnTo>
                  <a:lnTo>
                    <a:pt x="0" y="188"/>
                  </a:lnTo>
                  <a:lnTo>
                    <a:pt x="2" y="190"/>
                  </a:lnTo>
                  <a:lnTo>
                    <a:pt x="2" y="190"/>
                  </a:lnTo>
                  <a:lnTo>
                    <a:pt x="4" y="190"/>
                  </a:lnTo>
                  <a:lnTo>
                    <a:pt x="6" y="190"/>
                  </a:lnTo>
                  <a:lnTo>
                    <a:pt x="8" y="190"/>
                  </a:lnTo>
                  <a:lnTo>
                    <a:pt x="8" y="190"/>
                  </a:lnTo>
                  <a:lnTo>
                    <a:pt x="8" y="188"/>
                  </a:lnTo>
                  <a:lnTo>
                    <a:pt x="8" y="188"/>
                  </a:lnTo>
                  <a:lnTo>
                    <a:pt x="8" y="186"/>
                  </a:lnTo>
                  <a:lnTo>
                    <a:pt x="10" y="186"/>
                  </a:lnTo>
                  <a:lnTo>
                    <a:pt x="10" y="186"/>
                  </a:lnTo>
                  <a:lnTo>
                    <a:pt x="11" y="186"/>
                  </a:lnTo>
                  <a:lnTo>
                    <a:pt x="13" y="186"/>
                  </a:lnTo>
                  <a:lnTo>
                    <a:pt x="15" y="186"/>
                  </a:lnTo>
                  <a:lnTo>
                    <a:pt x="20" y="188"/>
                  </a:lnTo>
                  <a:lnTo>
                    <a:pt x="22" y="190"/>
                  </a:lnTo>
                  <a:lnTo>
                    <a:pt x="22" y="190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3"/>
                  </a:lnTo>
                  <a:lnTo>
                    <a:pt x="22" y="193"/>
                  </a:lnTo>
                  <a:lnTo>
                    <a:pt x="29" y="193"/>
                  </a:lnTo>
                  <a:lnTo>
                    <a:pt x="29" y="191"/>
                  </a:lnTo>
                  <a:lnTo>
                    <a:pt x="33" y="190"/>
                  </a:lnTo>
                  <a:lnTo>
                    <a:pt x="38" y="188"/>
                  </a:lnTo>
                  <a:lnTo>
                    <a:pt x="40" y="186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42" y="179"/>
                  </a:lnTo>
                  <a:lnTo>
                    <a:pt x="42" y="179"/>
                  </a:lnTo>
                  <a:close/>
                  <a:moveTo>
                    <a:pt x="19" y="155"/>
                  </a:moveTo>
                  <a:lnTo>
                    <a:pt x="20" y="155"/>
                  </a:lnTo>
                  <a:lnTo>
                    <a:pt x="20" y="155"/>
                  </a:lnTo>
                  <a:lnTo>
                    <a:pt x="22" y="154"/>
                  </a:lnTo>
                  <a:lnTo>
                    <a:pt x="22" y="154"/>
                  </a:lnTo>
                  <a:lnTo>
                    <a:pt x="24" y="154"/>
                  </a:lnTo>
                  <a:lnTo>
                    <a:pt x="24" y="154"/>
                  </a:lnTo>
                  <a:lnTo>
                    <a:pt x="24" y="154"/>
                  </a:lnTo>
                  <a:lnTo>
                    <a:pt x="26" y="155"/>
                  </a:lnTo>
                  <a:lnTo>
                    <a:pt x="28" y="155"/>
                  </a:lnTo>
                  <a:lnTo>
                    <a:pt x="28" y="157"/>
                  </a:lnTo>
                  <a:lnTo>
                    <a:pt x="28" y="157"/>
                  </a:lnTo>
                  <a:lnTo>
                    <a:pt x="29" y="159"/>
                  </a:lnTo>
                  <a:lnTo>
                    <a:pt x="31" y="159"/>
                  </a:lnTo>
                  <a:lnTo>
                    <a:pt x="31" y="159"/>
                  </a:lnTo>
                  <a:lnTo>
                    <a:pt x="35" y="159"/>
                  </a:lnTo>
                  <a:lnTo>
                    <a:pt x="37" y="159"/>
                  </a:lnTo>
                  <a:lnTo>
                    <a:pt x="37" y="157"/>
                  </a:lnTo>
                  <a:lnTo>
                    <a:pt x="38" y="157"/>
                  </a:lnTo>
                  <a:lnTo>
                    <a:pt x="37" y="155"/>
                  </a:lnTo>
                  <a:lnTo>
                    <a:pt x="37" y="155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4"/>
                  </a:lnTo>
                  <a:lnTo>
                    <a:pt x="33" y="154"/>
                  </a:lnTo>
                  <a:lnTo>
                    <a:pt x="31" y="150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2" y="150"/>
                  </a:lnTo>
                  <a:lnTo>
                    <a:pt x="19" y="150"/>
                  </a:lnTo>
                  <a:lnTo>
                    <a:pt x="17" y="152"/>
                  </a:lnTo>
                  <a:lnTo>
                    <a:pt x="17" y="154"/>
                  </a:lnTo>
                  <a:lnTo>
                    <a:pt x="17" y="155"/>
                  </a:lnTo>
                  <a:lnTo>
                    <a:pt x="19" y="155"/>
                  </a:lnTo>
                  <a:close/>
                  <a:moveTo>
                    <a:pt x="71" y="47"/>
                  </a:moveTo>
                  <a:lnTo>
                    <a:pt x="73" y="47"/>
                  </a:lnTo>
                  <a:lnTo>
                    <a:pt x="73" y="45"/>
                  </a:lnTo>
                  <a:lnTo>
                    <a:pt x="76" y="43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4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1"/>
                  </a:lnTo>
                  <a:lnTo>
                    <a:pt x="75" y="31"/>
                  </a:lnTo>
                  <a:lnTo>
                    <a:pt x="75" y="32"/>
                  </a:lnTo>
                  <a:lnTo>
                    <a:pt x="73" y="36"/>
                  </a:lnTo>
                  <a:lnTo>
                    <a:pt x="71" y="38"/>
                  </a:lnTo>
                  <a:lnTo>
                    <a:pt x="69" y="40"/>
                  </a:lnTo>
                  <a:lnTo>
                    <a:pt x="69" y="42"/>
                  </a:lnTo>
                  <a:lnTo>
                    <a:pt x="67" y="45"/>
                  </a:lnTo>
                  <a:lnTo>
                    <a:pt x="69" y="47"/>
                  </a:lnTo>
                  <a:lnTo>
                    <a:pt x="71" y="47"/>
                  </a:lnTo>
                  <a:close/>
                  <a:moveTo>
                    <a:pt x="80" y="27"/>
                  </a:moveTo>
                  <a:lnTo>
                    <a:pt x="80" y="27"/>
                  </a:lnTo>
                  <a:lnTo>
                    <a:pt x="84" y="22"/>
                  </a:lnTo>
                  <a:lnTo>
                    <a:pt x="85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5" y="20"/>
                  </a:lnTo>
                  <a:lnTo>
                    <a:pt x="82" y="23"/>
                  </a:lnTo>
                  <a:lnTo>
                    <a:pt x="78" y="25"/>
                  </a:lnTo>
                  <a:lnTo>
                    <a:pt x="76" y="29"/>
                  </a:lnTo>
                  <a:lnTo>
                    <a:pt x="78" y="29"/>
                  </a:lnTo>
                  <a:lnTo>
                    <a:pt x="80" y="27"/>
                  </a:lnTo>
                  <a:close/>
                  <a:moveTo>
                    <a:pt x="93" y="18"/>
                  </a:moveTo>
                  <a:lnTo>
                    <a:pt x="100" y="14"/>
                  </a:lnTo>
                  <a:lnTo>
                    <a:pt x="102" y="14"/>
                  </a:lnTo>
                  <a:lnTo>
                    <a:pt x="103" y="13"/>
                  </a:lnTo>
                  <a:lnTo>
                    <a:pt x="105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9" y="11"/>
                  </a:lnTo>
                  <a:lnTo>
                    <a:pt x="111" y="11"/>
                  </a:lnTo>
                  <a:lnTo>
                    <a:pt x="112" y="9"/>
                  </a:lnTo>
                  <a:lnTo>
                    <a:pt x="105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96" y="13"/>
                  </a:lnTo>
                  <a:lnTo>
                    <a:pt x="94" y="13"/>
                  </a:lnTo>
                  <a:lnTo>
                    <a:pt x="94" y="14"/>
                  </a:lnTo>
                  <a:lnTo>
                    <a:pt x="91" y="14"/>
                  </a:lnTo>
                  <a:lnTo>
                    <a:pt x="91" y="16"/>
                  </a:lnTo>
                  <a:lnTo>
                    <a:pt x="91" y="18"/>
                  </a:lnTo>
                  <a:lnTo>
                    <a:pt x="93" y="18"/>
                  </a:lnTo>
                  <a:close/>
                  <a:moveTo>
                    <a:pt x="192" y="32"/>
                  </a:moveTo>
                  <a:lnTo>
                    <a:pt x="192" y="31"/>
                  </a:lnTo>
                  <a:lnTo>
                    <a:pt x="192" y="31"/>
                  </a:lnTo>
                  <a:lnTo>
                    <a:pt x="192" y="29"/>
                  </a:lnTo>
                  <a:lnTo>
                    <a:pt x="192" y="27"/>
                  </a:lnTo>
                  <a:lnTo>
                    <a:pt x="192" y="27"/>
                  </a:lnTo>
                  <a:lnTo>
                    <a:pt x="188" y="25"/>
                  </a:lnTo>
                  <a:lnTo>
                    <a:pt x="186" y="25"/>
                  </a:lnTo>
                  <a:lnTo>
                    <a:pt x="186" y="23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5" y="22"/>
                  </a:lnTo>
                  <a:lnTo>
                    <a:pt x="185" y="22"/>
                  </a:lnTo>
                  <a:lnTo>
                    <a:pt x="183" y="22"/>
                  </a:lnTo>
                  <a:lnTo>
                    <a:pt x="181" y="20"/>
                  </a:lnTo>
                  <a:lnTo>
                    <a:pt x="179" y="20"/>
                  </a:lnTo>
                  <a:lnTo>
                    <a:pt x="179" y="20"/>
                  </a:lnTo>
                  <a:lnTo>
                    <a:pt x="179" y="18"/>
                  </a:lnTo>
                  <a:lnTo>
                    <a:pt x="179" y="18"/>
                  </a:lnTo>
                  <a:lnTo>
                    <a:pt x="179" y="18"/>
                  </a:lnTo>
                  <a:lnTo>
                    <a:pt x="177" y="18"/>
                  </a:lnTo>
                  <a:lnTo>
                    <a:pt x="177" y="18"/>
                  </a:lnTo>
                  <a:lnTo>
                    <a:pt x="176" y="11"/>
                  </a:lnTo>
                  <a:lnTo>
                    <a:pt x="176" y="9"/>
                  </a:lnTo>
                  <a:lnTo>
                    <a:pt x="174" y="9"/>
                  </a:lnTo>
                  <a:lnTo>
                    <a:pt x="168" y="9"/>
                  </a:lnTo>
                  <a:lnTo>
                    <a:pt x="158" y="11"/>
                  </a:lnTo>
                  <a:lnTo>
                    <a:pt x="150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41" y="13"/>
                  </a:lnTo>
                  <a:lnTo>
                    <a:pt x="136" y="13"/>
                  </a:lnTo>
                  <a:lnTo>
                    <a:pt x="132" y="13"/>
                  </a:lnTo>
                  <a:lnTo>
                    <a:pt x="129" y="14"/>
                  </a:lnTo>
                  <a:lnTo>
                    <a:pt x="127" y="14"/>
                  </a:lnTo>
                  <a:lnTo>
                    <a:pt x="125" y="16"/>
                  </a:lnTo>
                  <a:lnTo>
                    <a:pt x="118" y="20"/>
                  </a:lnTo>
                  <a:lnTo>
                    <a:pt x="116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09" y="25"/>
                  </a:lnTo>
                  <a:lnTo>
                    <a:pt x="107" y="25"/>
                  </a:lnTo>
                  <a:lnTo>
                    <a:pt x="107" y="27"/>
                  </a:lnTo>
                  <a:lnTo>
                    <a:pt x="105" y="29"/>
                  </a:lnTo>
                  <a:lnTo>
                    <a:pt x="103" y="31"/>
                  </a:lnTo>
                  <a:lnTo>
                    <a:pt x="103" y="36"/>
                  </a:lnTo>
                  <a:lnTo>
                    <a:pt x="102" y="38"/>
                  </a:lnTo>
                  <a:lnTo>
                    <a:pt x="100" y="40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96" y="42"/>
                  </a:lnTo>
                  <a:lnTo>
                    <a:pt x="87" y="51"/>
                  </a:lnTo>
                  <a:lnTo>
                    <a:pt x="85" y="51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0" y="54"/>
                  </a:lnTo>
                  <a:lnTo>
                    <a:pt x="78" y="54"/>
                  </a:lnTo>
                  <a:lnTo>
                    <a:pt x="76" y="54"/>
                  </a:lnTo>
                  <a:lnTo>
                    <a:pt x="75" y="54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3" y="49"/>
                  </a:lnTo>
                  <a:lnTo>
                    <a:pt x="73" y="51"/>
                  </a:lnTo>
                  <a:lnTo>
                    <a:pt x="69" y="49"/>
                  </a:lnTo>
                  <a:lnTo>
                    <a:pt x="69" y="51"/>
                  </a:lnTo>
                  <a:lnTo>
                    <a:pt x="69" y="52"/>
                  </a:lnTo>
                  <a:lnTo>
                    <a:pt x="69" y="54"/>
                  </a:lnTo>
                  <a:lnTo>
                    <a:pt x="69" y="56"/>
                  </a:lnTo>
                  <a:lnTo>
                    <a:pt x="67" y="58"/>
                  </a:lnTo>
                  <a:lnTo>
                    <a:pt x="65" y="63"/>
                  </a:lnTo>
                  <a:lnTo>
                    <a:pt x="65" y="67"/>
                  </a:lnTo>
                  <a:lnTo>
                    <a:pt x="65" y="67"/>
                  </a:lnTo>
                  <a:lnTo>
                    <a:pt x="64" y="72"/>
                  </a:lnTo>
                  <a:lnTo>
                    <a:pt x="62" y="87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2"/>
                  </a:lnTo>
                  <a:lnTo>
                    <a:pt x="58" y="101"/>
                  </a:lnTo>
                  <a:lnTo>
                    <a:pt x="53" y="110"/>
                  </a:lnTo>
                  <a:lnTo>
                    <a:pt x="47" y="119"/>
                  </a:lnTo>
                  <a:lnTo>
                    <a:pt x="40" y="128"/>
                  </a:lnTo>
                  <a:lnTo>
                    <a:pt x="38" y="130"/>
                  </a:lnTo>
                  <a:lnTo>
                    <a:pt x="37" y="130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33" y="132"/>
                  </a:lnTo>
                  <a:lnTo>
                    <a:pt x="35" y="135"/>
                  </a:lnTo>
                  <a:lnTo>
                    <a:pt x="35" y="135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7" y="141"/>
                  </a:lnTo>
                  <a:lnTo>
                    <a:pt x="37" y="141"/>
                  </a:lnTo>
                  <a:lnTo>
                    <a:pt x="37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3" y="141"/>
                  </a:lnTo>
                  <a:lnTo>
                    <a:pt x="31" y="141"/>
                  </a:lnTo>
                  <a:lnTo>
                    <a:pt x="31" y="141"/>
                  </a:lnTo>
                  <a:lnTo>
                    <a:pt x="29" y="141"/>
                  </a:lnTo>
                  <a:lnTo>
                    <a:pt x="28" y="143"/>
                  </a:lnTo>
                  <a:lnTo>
                    <a:pt x="26" y="144"/>
                  </a:lnTo>
                  <a:lnTo>
                    <a:pt x="26" y="146"/>
                  </a:lnTo>
                  <a:lnTo>
                    <a:pt x="26" y="146"/>
                  </a:lnTo>
                  <a:lnTo>
                    <a:pt x="28" y="146"/>
                  </a:lnTo>
                  <a:lnTo>
                    <a:pt x="28" y="146"/>
                  </a:lnTo>
                  <a:lnTo>
                    <a:pt x="28" y="144"/>
                  </a:lnTo>
                  <a:lnTo>
                    <a:pt x="29" y="144"/>
                  </a:lnTo>
                  <a:lnTo>
                    <a:pt x="31" y="144"/>
                  </a:lnTo>
                  <a:lnTo>
                    <a:pt x="31" y="144"/>
                  </a:lnTo>
                  <a:lnTo>
                    <a:pt x="33" y="144"/>
                  </a:lnTo>
                  <a:lnTo>
                    <a:pt x="35" y="146"/>
                  </a:lnTo>
                  <a:lnTo>
                    <a:pt x="35" y="148"/>
                  </a:lnTo>
                  <a:lnTo>
                    <a:pt x="35" y="150"/>
                  </a:lnTo>
                  <a:lnTo>
                    <a:pt x="37" y="152"/>
                  </a:lnTo>
                  <a:lnTo>
                    <a:pt x="40" y="154"/>
                  </a:lnTo>
                  <a:lnTo>
                    <a:pt x="40" y="154"/>
                  </a:lnTo>
                  <a:lnTo>
                    <a:pt x="42" y="154"/>
                  </a:lnTo>
                  <a:lnTo>
                    <a:pt x="40" y="154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38" y="157"/>
                  </a:lnTo>
                  <a:lnTo>
                    <a:pt x="38" y="157"/>
                  </a:lnTo>
                  <a:lnTo>
                    <a:pt x="38" y="159"/>
                  </a:lnTo>
                  <a:lnTo>
                    <a:pt x="38" y="159"/>
                  </a:lnTo>
                  <a:lnTo>
                    <a:pt x="40" y="159"/>
                  </a:lnTo>
                  <a:lnTo>
                    <a:pt x="40" y="159"/>
                  </a:lnTo>
                  <a:lnTo>
                    <a:pt x="42" y="159"/>
                  </a:lnTo>
                  <a:lnTo>
                    <a:pt x="42" y="159"/>
                  </a:lnTo>
                  <a:lnTo>
                    <a:pt x="42" y="161"/>
                  </a:lnTo>
                  <a:lnTo>
                    <a:pt x="44" y="163"/>
                  </a:lnTo>
                  <a:lnTo>
                    <a:pt x="42" y="163"/>
                  </a:lnTo>
                  <a:lnTo>
                    <a:pt x="42" y="161"/>
                  </a:lnTo>
                  <a:lnTo>
                    <a:pt x="40" y="161"/>
                  </a:lnTo>
                  <a:lnTo>
                    <a:pt x="37" y="161"/>
                  </a:lnTo>
                  <a:lnTo>
                    <a:pt x="35" y="161"/>
                  </a:lnTo>
                  <a:lnTo>
                    <a:pt x="31" y="163"/>
                  </a:lnTo>
                  <a:lnTo>
                    <a:pt x="37" y="166"/>
                  </a:lnTo>
                  <a:lnTo>
                    <a:pt x="37" y="166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2" y="168"/>
                  </a:lnTo>
                  <a:lnTo>
                    <a:pt x="44" y="168"/>
                  </a:lnTo>
                  <a:lnTo>
                    <a:pt x="44" y="168"/>
                  </a:lnTo>
                  <a:lnTo>
                    <a:pt x="46" y="168"/>
                  </a:lnTo>
                  <a:lnTo>
                    <a:pt x="47" y="170"/>
                  </a:lnTo>
                  <a:lnTo>
                    <a:pt x="47" y="172"/>
                  </a:lnTo>
                  <a:lnTo>
                    <a:pt x="47" y="173"/>
                  </a:lnTo>
                  <a:lnTo>
                    <a:pt x="46" y="173"/>
                  </a:lnTo>
                  <a:lnTo>
                    <a:pt x="46" y="173"/>
                  </a:lnTo>
                  <a:lnTo>
                    <a:pt x="44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7" y="170"/>
                  </a:lnTo>
                  <a:lnTo>
                    <a:pt x="35" y="168"/>
                  </a:lnTo>
                  <a:lnTo>
                    <a:pt x="33" y="166"/>
                  </a:lnTo>
                  <a:lnTo>
                    <a:pt x="31" y="166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28" y="163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4" y="161"/>
                  </a:lnTo>
                  <a:lnTo>
                    <a:pt x="11" y="161"/>
                  </a:lnTo>
                  <a:lnTo>
                    <a:pt x="6" y="164"/>
                  </a:lnTo>
                  <a:lnTo>
                    <a:pt x="4" y="166"/>
                  </a:lnTo>
                  <a:lnTo>
                    <a:pt x="6" y="166"/>
                  </a:lnTo>
                  <a:lnTo>
                    <a:pt x="6" y="168"/>
                  </a:lnTo>
                  <a:lnTo>
                    <a:pt x="8" y="170"/>
                  </a:lnTo>
                  <a:lnTo>
                    <a:pt x="8" y="170"/>
                  </a:lnTo>
                  <a:lnTo>
                    <a:pt x="8" y="172"/>
                  </a:lnTo>
                  <a:lnTo>
                    <a:pt x="10" y="172"/>
                  </a:lnTo>
                  <a:lnTo>
                    <a:pt x="10" y="173"/>
                  </a:lnTo>
                  <a:lnTo>
                    <a:pt x="13" y="173"/>
                  </a:lnTo>
                  <a:lnTo>
                    <a:pt x="15" y="173"/>
                  </a:lnTo>
                  <a:lnTo>
                    <a:pt x="17" y="173"/>
                  </a:lnTo>
                  <a:lnTo>
                    <a:pt x="17" y="173"/>
                  </a:lnTo>
                  <a:lnTo>
                    <a:pt x="19" y="175"/>
                  </a:lnTo>
                  <a:lnTo>
                    <a:pt x="22" y="177"/>
                  </a:lnTo>
                  <a:lnTo>
                    <a:pt x="24" y="177"/>
                  </a:lnTo>
                  <a:lnTo>
                    <a:pt x="24" y="177"/>
                  </a:lnTo>
                  <a:lnTo>
                    <a:pt x="24" y="177"/>
                  </a:lnTo>
                  <a:lnTo>
                    <a:pt x="26" y="177"/>
                  </a:lnTo>
                  <a:lnTo>
                    <a:pt x="28" y="177"/>
                  </a:lnTo>
                  <a:lnTo>
                    <a:pt x="28" y="177"/>
                  </a:lnTo>
                  <a:lnTo>
                    <a:pt x="28" y="175"/>
                  </a:lnTo>
                  <a:lnTo>
                    <a:pt x="29" y="173"/>
                  </a:lnTo>
                  <a:lnTo>
                    <a:pt x="31" y="173"/>
                  </a:lnTo>
                  <a:lnTo>
                    <a:pt x="33" y="173"/>
                  </a:lnTo>
                  <a:lnTo>
                    <a:pt x="33" y="173"/>
                  </a:lnTo>
                  <a:lnTo>
                    <a:pt x="37" y="175"/>
                  </a:lnTo>
                  <a:lnTo>
                    <a:pt x="37" y="177"/>
                  </a:lnTo>
                  <a:lnTo>
                    <a:pt x="38" y="177"/>
                  </a:lnTo>
                  <a:lnTo>
                    <a:pt x="42" y="177"/>
                  </a:lnTo>
                  <a:lnTo>
                    <a:pt x="44" y="177"/>
                  </a:lnTo>
                  <a:lnTo>
                    <a:pt x="44" y="175"/>
                  </a:lnTo>
                  <a:lnTo>
                    <a:pt x="46" y="175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81"/>
                  </a:lnTo>
                  <a:lnTo>
                    <a:pt x="49" y="181"/>
                  </a:lnTo>
                  <a:lnTo>
                    <a:pt x="53" y="181"/>
                  </a:lnTo>
                  <a:lnTo>
                    <a:pt x="53" y="181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3" y="177"/>
                  </a:lnTo>
                  <a:lnTo>
                    <a:pt x="51" y="177"/>
                  </a:lnTo>
                  <a:lnTo>
                    <a:pt x="51" y="175"/>
                  </a:lnTo>
                  <a:lnTo>
                    <a:pt x="51" y="175"/>
                  </a:lnTo>
                  <a:lnTo>
                    <a:pt x="53" y="175"/>
                  </a:lnTo>
                  <a:lnTo>
                    <a:pt x="51" y="173"/>
                  </a:lnTo>
                  <a:lnTo>
                    <a:pt x="55" y="172"/>
                  </a:lnTo>
                  <a:lnTo>
                    <a:pt x="56" y="172"/>
                  </a:lnTo>
                  <a:lnTo>
                    <a:pt x="58" y="172"/>
                  </a:lnTo>
                  <a:lnTo>
                    <a:pt x="58" y="172"/>
                  </a:lnTo>
                  <a:lnTo>
                    <a:pt x="60" y="172"/>
                  </a:lnTo>
                  <a:lnTo>
                    <a:pt x="60" y="173"/>
                  </a:lnTo>
                  <a:lnTo>
                    <a:pt x="58" y="173"/>
                  </a:lnTo>
                  <a:lnTo>
                    <a:pt x="58" y="175"/>
                  </a:lnTo>
                  <a:lnTo>
                    <a:pt x="60" y="175"/>
                  </a:lnTo>
                  <a:lnTo>
                    <a:pt x="60" y="175"/>
                  </a:lnTo>
                  <a:lnTo>
                    <a:pt x="62" y="175"/>
                  </a:lnTo>
                  <a:lnTo>
                    <a:pt x="64" y="175"/>
                  </a:lnTo>
                  <a:lnTo>
                    <a:pt x="64" y="175"/>
                  </a:lnTo>
                  <a:lnTo>
                    <a:pt x="65" y="175"/>
                  </a:lnTo>
                  <a:lnTo>
                    <a:pt x="65" y="175"/>
                  </a:lnTo>
                  <a:lnTo>
                    <a:pt x="69" y="170"/>
                  </a:lnTo>
                  <a:lnTo>
                    <a:pt x="71" y="170"/>
                  </a:lnTo>
                  <a:lnTo>
                    <a:pt x="71" y="170"/>
                  </a:lnTo>
                  <a:lnTo>
                    <a:pt x="73" y="170"/>
                  </a:lnTo>
                  <a:lnTo>
                    <a:pt x="73" y="170"/>
                  </a:lnTo>
                  <a:lnTo>
                    <a:pt x="75" y="172"/>
                  </a:lnTo>
                  <a:lnTo>
                    <a:pt x="75" y="172"/>
                  </a:lnTo>
                  <a:lnTo>
                    <a:pt x="73" y="173"/>
                  </a:lnTo>
                  <a:lnTo>
                    <a:pt x="73" y="175"/>
                  </a:lnTo>
                  <a:lnTo>
                    <a:pt x="75" y="175"/>
                  </a:lnTo>
                  <a:lnTo>
                    <a:pt x="71" y="175"/>
                  </a:lnTo>
                  <a:lnTo>
                    <a:pt x="71" y="175"/>
                  </a:lnTo>
                  <a:lnTo>
                    <a:pt x="71" y="175"/>
                  </a:lnTo>
                  <a:lnTo>
                    <a:pt x="71" y="177"/>
                  </a:lnTo>
                  <a:lnTo>
                    <a:pt x="75" y="177"/>
                  </a:lnTo>
                  <a:lnTo>
                    <a:pt x="76" y="177"/>
                  </a:lnTo>
                  <a:lnTo>
                    <a:pt x="78" y="177"/>
                  </a:lnTo>
                  <a:lnTo>
                    <a:pt x="80" y="177"/>
                  </a:lnTo>
                  <a:lnTo>
                    <a:pt x="80" y="177"/>
                  </a:lnTo>
                  <a:lnTo>
                    <a:pt x="82" y="175"/>
                  </a:lnTo>
                  <a:lnTo>
                    <a:pt x="82" y="173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5" y="172"/>
                  </a:lnTo>
                  <a:lnTo>
                    <a:pt x="87" y="173"/>
                  </a:lnTo>
                  <a:lnTo>
                    <a:pt x="87" y="175"/>
                  </a:lnTo>
                  <a:lnTo>
                    <a:pt x="85" y="177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7" y="181"/>
                  </a:lnTo>
                  <a:lnTo>
                    <a:pt x="87" y="182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91" y="184"/>
                  </a:lnTo>
                  <a:lnTo>
                    <a:pt x="93" y="184"/>
                  </a:lnTo>
                  <a:lnTo>
                    <a:pt x="93" y="186"/>
                  </a:lnTo>
                  <a:lnTo>
                    <a:pt x="93" y="188"/>
                  </a:lnTo>
                  <a:lnTo>
                    <a:pt x="94" y="188"/>
                  </a:lnTo>
                  <a:lnTo>
                    <a:pt x="94" y="188"/>
                  </a:lnTo>
                  <a:lnTo>
                    <a:pt x="96" y="188"/>
                  </a:lnTo>
                  <a:lnTo>
                    <a:pt x="102" y="188"/>
                  </a:lnTo>
                  <a:lnTo>
                    <a:pt x="103" y="188"/>
                  </a:lnTo>
                  <a:lnTo>
                    <a:pt x="105" y="186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09" y="188"/>
                  </a:lnTo>
                  <a:lnTo>
                    <a:pt x="109" y="188"/>
                  </a:lnTo>
                  <a:lnTo>
                    <a:pt x="111" y="190"/>
                  </a:lnTo>
                  <a:lnTo>
                    <a:pt x="111" y="191"/>
                  </a:lnTo>
                  <a:lnTo>
                    <a:pt x="111" y="191"/>
                  </a:lnTo>
                  <a:lnTo>
                    <a:pt x="111" y="193"/>
                  </a:lnTo>
                  <a:lnTo>
                    <a:pt x="114" y="193"/>
                  </a:lnTo>
                  <a:lnTo>
                    <a:pt x="114" y="193"/>
                  </a:lnTo>
                  <a:lnTo>
                    <a:pt x="114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20" y="195"/>
                  </a:lnTo>
                  <a:lnTo>
                    <a:pt x="120" y="195"/>
                  </a:lnTo>
                  <a:lnTo>
                    <a:pt x="121" y="197"/>
                  </a:lnTo>
                  <a:lnTo>
                    <a:pt x="121" y="197"/>
                  </a:lnTo>
                  <a:lnTo>
                    <a:pt x="123" y="197"/>
                  </a:lnTo>
                  <a:lnTo>
                    <a:pt x="123" y="197"/>
                  </a:lnTo>
                  <a:lnTo>
                    <a:pt x="125" y="197"/>
                  </a:lnTo>
                  <a:lnTo>
                    <a:pt x="125" y="199"/>
                  </a:lnTo>
                  <a:lnTo>
                    <a:pt x="123" y="199"/>
                  </a:lnTo>
                  <a:lnTo>
                    <a:pt x="123" y="200"/>
                  </a:lnTo>
                  <a:lnTo>
                    <a:pt x="125" y="200"/>
                  </a:lnTo>
                  <a:lnTo>
                    <a:pt x="125" y="200"/>
                  </a:lnTo>
                  <a:lnTo>
                    <a:pt x="123" y="200"/>
                  </a:lnTo>
                  <a:lnTo>
                    <a:pt x="123" y="202"/>
                  </a:lnTo>
                  <a:lnTo>
                    <a:pt x="123" y="200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6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9"/>
                  </a:lnTo>
                  <a:lnTo>
                    <a:pt x="120" y="213"/>
                  </a:lnTo>
                  <a:lnTo>
                    <a:pt x="120" y="211"/>
                  </a:lnTo>
                  <a:lnTo>
                    <a:pt x="120" y="211"/>
                  </a:lnTo>
                  <a:lnTo>
                    <a:pt x="121" y="213"/>
                  </a:lnTo>
                  <a:lnTo>
                    <a:pt x="120" y="213"/>
                  </a:lnTo>
                  <a:lnTo>
                    <a:pt x="120" y="215"/>
                  </a:lnTo>
                  <a:lnTo>
                    <a:pt x="120" y="217"/>
                  </a:lnTo>
                  <a:lnTo>
                    <a:pt x="118" y="217"/>
                  </a:lnTo>
                  <a:lnTo>
                    <a:pt x="118" y="217"/>
                  </a:lnTo>
                  <a:lnTo>
                    <a:pt x="118" y="217"/>
                  </a:lnTo>
                  <a:lnTo>
                    <a:pt x="114" y="220"/>
                  </a:lnTo>
                  <a:lnTo>
                    <a:pt x="114" y="222"/>
                  </a:lnTo>
                  <a:lnTo>
                    <a:pt x="114" y="224"/>
                  </a:lnTo>
                  <a:lnTo>
                    <a:pt x="116" y="224"/>
                  </a:lnTo>
                  <a:lnTo>
                    <a:pt x="116" y="224"/>
                  </a:lnTo>
                  <a:lnTo>
                    <a:pt x="116" y="226"/>
                  </a:lnTo>
                  <a:lnTo>
                    <a:pt x="118" y="226"/>
                  </a:lnTo>
                  <a:lnTo>
                    <a:pt x="118" y="226"/>
                  </a:lnTo>
                  <a:lnTo>
                    <a:pt x="118" y="228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20" y="229"/>
                  </a:lnTo>
                  <a:lnTo>
                    <a:pt x="120" y="228"/>
                  </a:lnTo>
                  <a:lnTo>
                    <a:pt x="120" y="228"/>
                  </a:lnTo>
                  <a:lnTo>
                    <a:pt x="120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9"/>
                  </a:lnTo>
                  <a:lnTo>
                    <a:pt x="127" y="229"/>
                  </a:lnTo>
                  <a:lnTo>
                    <a:pt x="127" y="229"/>
                  </a:lnTo>
                  <a:lnTo>
                    <a:pt x="127" y="229"/>
                  </a:lnTo>
                  <a:lnTo>
                    <a:pt x="127" y="229"/>
                  </a:lnTo>
                  <a:lnTo>
                    <a:pt x="130" y="229"/>
                  </a:lnTo>
                  <a:lnTo>
                    <a:pt x="132" y="229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30" y="226"/>
                  </a:lnTo>
                  <a:lnTo>
                    <a:pt x="130" y="226"/>
                  </a:lnTo>
                  <a:lnTo>
                    <a:pt x="132" y="226"/>
                  </a:lnTo>
                  <a:lnTo>
                    <a:pt x="132" y="224"/>
                  </a:lnTo>
                  <a:lnTo>
                    <a:pt x="132" y="224"/>
                  </a:lnTo>
                  <a:lnTo>
                    <a:pt x="132" y="224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4" y="222"/>
                  </a:lnTo>
                  <a:lnTo>
                    <a:pt x="134" y="222"/>
                  </a:lnTo>
                  <a:lnTo>
                    <a:pt x="136" y="220"/>
                  </a:lnTo>
                  <a:lnTo>
                    <a:pt x="136" y="220"/>
                  </a:lnTo>
                  <a:lnTo>
                    <a:pt x="136" y="219"/>
                  </a:lnTo>
                  <a:lnTo>
                    <a:pt x="136" y="217"/>
                  </a:lnTo>
                  <a:lnTo>
                    <a:pt x="136" y="217"/>
                  </a:lnTo>
                  <a:lnTo>
                    <a:pt x="136" y="217"/>
                  </a:lnTo>
                  <a:lnTo>
                    <a:pt x="136" y="217"/>
                  </a:lnTo>
                  <a:lnTo>
                    <a:pt x="134" y="215"/>
                  </a:lnTo>
                  <a:lnTo>
                    <a:pt x="132" y="215"/>
                  </a:lnTo>
                  <a:lnTo>
                    <a:pt x="132" y="215"/>
                  </a:lnTo>
                  <a:lnTo>
                    <a:pt x="132" y="213"/>
                  </a:lnTo>
                  <a:lnTo>
                    <a:pt x="132" y="213"/>
                  </a:lnTo>
                  <a:lnTo>
                    <a:pt x="132" y="211"/>
                  </a:lnTo>
                  <a:lnTo>
                    <a:pt x="132" y="211"/>
                  </a:lnTo>
                  <a:lnTo>
                    <a:pt x="132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29" y="211"/>
                  </a:lnTo>
                  <a:lnTo>
                    <a:pt x="129" y="211"/>
                  </a:lnTo>
                  <a:lnTo>
                    <a:pt x="127" y="211"/>
                  </a:lnTo>
                  <a:lnTo>
                    <a:pt x="127" y="211"/>
                  </a:lnTo>
                  <a:lnTo>
                    <a:pt x="127" y="209"/>
                  </a:lnTo>
                  <a:lnTo>
                    <a:pt x="125" y="208"/>
                  </a:lnTo>
                  <a:lnTo>
                    <a:pt x="125" y="206"/>
                  </a:lnTo>
                  <a:lnTo>
                    <a:pt x="127" y="204"/>
                  </a:lnTo>
                  <a:lnTo>
                    <a:pt x="127" y="206"/>
                  </a:lnTo>
                  <a:lnTo>
                    <a:pt x="129" y="206"/>
                  </a:lnTo>
                  <a:lnTo>
                    <a:pt x="129" y="206"/>
                  </a:lnTo>
                  <a:lnTo>
                    <a:pt x="129" y="206"/>
                  </a:lnTo>
                  <a:lnTo>
                    <a:pt x="130" y="206"/>
                  </a:lnTo>
                  <a:lnTo>
                    <a:pt x="130" y="204"/>
                  </a:lnTo>
                  <a:lnTo>
                    <a:pt x="132" y="202"/>
                  </a:lnTo>
                  <a:lnTo>
                    <a:pt x="136" y="199"/>
                  </a:lnTo>
                  <a:lnTo>
                    <a:pt x="140" y="199"/>
                  </a:lnTo>
                  <a:lnTo>
                    <a:pt x="140" y="197"/>
                  </a:lnTo>
                  <a:lnTo>
                    <a:pt x="140" y="195"/>
                  </a:lnTo>
                  <a:lnTo>
                    <a:pt x="140" y="195"/>
                  </a:lnTo>
                  <a:lnTo>
                    <a:pt x="141" y="195"/>
                  </a:lnTo>
                  <a:lnTo>
                    <a:pt x="140" y="195"/>
                  </a:lnTo>
                  <a:lnTo>
                    <a:pt x="138" y="197"/>
                  </a:lnTo>
                  <a:lnTo>
                    <a:pt x="136" y="195"/>
                  </a:lnTo>
                  <a:lnTo>
                    <a:pt x="136" y="193"/>
                  </a:lnTo>
                  <a:lnTo>
                    <a:pt x="136" y="191"/>
                  </a:lnTo>
                  <a:lnTo>
                    <a:pt x="136" y="191"/>
                  </a:lnTo>
                  <a:lnTo>
                    <a:pt x="136" y="190"/>
                  </a:lnTo>
                  <a:lnTo>
                    <a:pt x="138" y="188"/>
                  </a:lnTo>
                  <a:lnTo>
                    <a:pt x="140" y="184"/>
                  </a:lnTo>
                  <a:lnTo>
                    <a:pt x="141" y="182"/>
                  </a:lnTo>
                  <a:lnTo>
                    <a:pt x="141" y="182"/>
                  </a:lnTo>
                  <a:lnTo>
                    <a:pt x="143" y="182"/>
                  </a:lnTo>
                  <a:lnTo>
                    <a:pt x="143" y="181"/>
                  </a:lnTo>
                  <a:lnTo>
                    <a:pt x="143" y="179"/>
                  </a:lnTo>
                  <a:lnTo>
                    <a:pt x="143" y="179"/>
                  </a:lnTo>
                  <a:lnTo>
                    <a:pt x="143" y="177"/>
                  </a:lnTo>
                  <a:lnTo>
                    <a:pt x="143" y="175"/>
                  </a:lnTo>
                  <a:lnTo>
                    <a:pt x="143" y="173"/>
                  </a:lnTo>
                  <a:lnTo>
                    <a:pt x="143" y="172"/>
                  </a:lnTo>
                  <a:lnTo>
                    <a:pt x="143" y="172"/>
                  </a:lnTo>
                  <a:lnTo>
                    <a:pt x="143" y="168"/>
                  </a:lnTo>
                  <a:lnTo>
                    <a:pt x="140" y="166"/>
                  </a:lnTo>
                  <a:lnTo>
                    <a:pt x="138" y="161"/>
                  </a:lnTo>
                  <a:lnTo>
                    <a:pt x="136" y="161"/>
                  </a:lnTo>
                  <a:lnTo>
                    <a:pt x="138" y="159"/>
                  </a:lnTo>
                  <a:lnTo>
                    <a:pt x="138" y="157"/>
                  </a:lnTo>
                  <a:lnTo>
                    <a:pt x="134" y="155"/>
                  </a:lnTo>
                  <a:lnTo>
                    <a:pt x="132" y="155"/>
                  </a:lnTo>
                  <a:lnTo>
                    <a:pt x="134" y="152"/>
                  </a:lnTo>
                  <a:lnTo>
                    <a:pt x="134" y="152"/>
                  </a:lnTo>
                  <a:lnTo>
                    <a:pt x="132" y="152"/>
                  </a:lnTo>
                  <a:lnTo>
                    <a:pt x="132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48"/>
                  </a:lnTo>
                  <a:lnTo>
                    <a:pt x="130" y="146"/>
                  </a:lnTo>
                  <a:lnTo>
                    <a:pt x="130" y="144"/>
                  </a:lnTo>
                  <a:lnTo>
                    <a:pt x="129" y="144"/>
                  </a:lnTo>
                  <a:lnTo>
                    <a:pt x="129" y="144"/>
                  </a:lnTo>
                  <a:lnTo>
                    <a:pt x="130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4" y="141"/>
                  </a:lnTo>
                  <a:lnTo>
                    <a:pt x="134" y="141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40" y="141"/>
                  </a:lnTo>
                  <a:lnTo>
                    <a:pt x="141" y="141"/>
                  </a:lnTo>
                  <a:lnTo>
                    <a:pt x="140" y="141"/>
                  </a:lnTo>
                  <a:lnTo>
                    <a:pt x="138" y="139"/>
                  </a:lnTo>
                  <a:lnTo>
                    <a:pt x="138" y="137"/>
                  </a:lnTo>
                  <a:lnTo>
                    <a:pt x="140" y="137"/>
                  </a:lnTo>
                  <a:lnTo>
                    <a:pt x="141" y="137"/>
                  </a:lnTo>
                  <a:lnTo>
                    <a:pt x="143" y="139"/>
                  </a:lnTo>
                  <a:lnTo>
                    <a:pt x="143" y="139"/>
                  </a:lnTo>
                  <a:lnTo>
                    <a:pt x="145" y="139"/>
                  </a:lnTo>
                  <a:lnTo>
                    <a:pt x="147" y="139"/>
                  </a:lnTo>
                  <a:lnTo>
                    <a:pt x="147" y="141"/>
                  </a:lnTo>
                  <a:lnTo>
                    <a:pt x="147" y="141"/>
                  </a:lnTo>
                  <a:lnTo>
                    <a:pt x="147" y="141"/>
                  </a:lnTo>
                  <a:lnTo>
                    <a:pt x="149" y="141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1"/>
                  </a:lnTo>
                  <a:lnTo>
                    <a:pt x="154" y="141"/>
                  </a:lnTo>
                  <a:lnTo>
                    <a:pt x="156" y="141"/>
                  </a:lnTo>
                  <a:lnTo>
                    <a:pt x="156" y="141"/>
                  </a:lnTo>
                  <a:lnTo>
                    <a:pt x="159" y="139"/>
                  </a:lnTo>
                  <a:lnTo>
                    <a:pt x="165" y="137"/>
                  </a:lnTo>
                  <a:lnTo>
                    <a:pt x="168" y="137"/>
                  </a:lnTo>
                  <a:lnTo>
                    <a:pt x="170" y="135"/>
                  </a:lnTo>
                  <a:lnTo>
                    <a:pt x="170" y="135"/>
                  </a:lnTo>
                  <a:lnTo>
                    <a:pt x="172" y="134"/>
                  </a:lnTo>
                  <a:lnTo>
                    <a:pt x="172" y="132"/>
                  </a:lnTo>
                  <a:lnTo>
                    <a:pt x="174" y="132"/>
                  </a:lnTo>
                  <a:lnTo>
                    <a:pt x="174" y="132"/>
                  </a:lnTo>
                  <a:lnTo>
                    <a:pt x="174" y="132"/>
                  </a:lnTo>
                  <a:lnTo>
                    <a:pt x="174" y="130"/>
                  </a:lnTo>
                  <a:lnTo>
                    <a:pt x="172" y="130"/>
                  </a:lnTo>
                  <a:lnTo>
                    <a:pt x="172" y="128"/>
                  </a:lnTo>
                  <a:lnTo>
                    <a:pt x="168" y="126"/>
                  </a:lnTo>
                  <a:lnTo>
                    <a:pt x="167" y="126"/>
                  </a:lnTo>
                  <a:lnTo>
                    <a:pt x="167" y="126"/>
                  </a:lnTo>
                  <a:lnTo>
                    <a:pt x="167" y="125"/>
                  </a:lnTo>
                  <a:lnTo>
                    <a:pt x="167" y="125"/>
                  </a:lnTo>
                  <a:lnTo>
                    <a:pt x="167" y="123"/>
                  </a:lnTo>
                  <a:lnTo>
                    <a:pt x="168" y="123"/>
                  </a:lnTo>
                  <a:lnTo>
                    <a:pt x="168" y="123"/>
                  </a:lnTo>
                  <a:lnTo>
                    <a:pt x="168" y="123"/>
                  </a:lnTo>
                  <a:lnTo>
                    <a:pt x="168" y="121"/>
                  </a:lnTo>
                  <a:lnTo>
                    <a:pt x="170" y="121"/>
                  </a:lnTo>
                  <a:lnTo>
                    <a:pt x="170" y="121"/>
                  </a:lnTo>
                  <a:lnTo>
                    <a:pt x="170" y="119"/>
                  </a:lnTo>
                  <a:lnTo>
                    <a:pt x="172" y="119"/>
                  </a:lnTo>
                  <a:lnTo>
                    <a:pt x="174" y="119"/>
                  </a:lnTo>
                  <a:lnTo>
                    <a:pt x="176" y="119"/>
                  </a:lnTo>
                  <a:lnTo>
                    <a:pt x="176" y="117"/>
                  </a:lnTo>
                  <a:lnTo>
                    <a:pt x="177" y="116"/>
                  </a:lnTo>
                  <a:lnTo>
                    <a:pt x="179" y="116"/>
                  </a:lnTo>
                  <a:lnTo>
                    <a:pt x="179" y="114"/>
                  </a:lnTo>
                  <a:lnTo>
                    <a:pt x="181" y="112"/>
                  </a:lnTo>
                  <a:lnTo>
                    <a:pt x="181" y="112"/>
                  </a:lnTo>
                  <a:lnTo>
                    <a:pt x="185" y="110"/>
                  </a:lnTo>
                  <a:lnTo>
                    <a:pt x="185" y="110"/>
                  </a:lnTo>
                  <a:lnTo>
                    <a:pt x="185" y="110"/>
                  </a:lnTo>
                  <a:lnTo>
                    <a:pt x="183" y="108"/>
                  </a:lnTo>
                  <a:lnTo>
                    <a:pt x="183" y="107"/>
                  </a:lnTo>
                  <a:lnTo>
                    <a:pt x="183" y="105"/>
                  </a:lnTo>
                  <a:lnTo>
                    <a:pt x="183" y="105"/>
                  </a:lnTo>
                  <a:lnTo>
                    <a:pt x="185" y="103"/>
                  </a:lnTo>
                  <a:lnTo>
                    <a:pt x="185" y="99"/>
                  </a:lnTo>
                  <a:lnTo>
                    <a:pt x="185" y="98"/>
                  </a:lnTo>
                  <a:lnTo>
                    <a:pt x="181" y="92"/>
                  </a:lnTo>
                  <a:lnTo>
                    <a:pt x="181" y="92"/>
                  </a:lnTo>
                  <a:lnTo>
                    <a:pt x="181" y="92"/>
                  </a:lnTo>
                  <a:lnTo>
                    <a:pt x="181" y="94"/>
                  </a:lnTo>
                  <a:lnTo>
                    <a:pt x="179" y="94"/>
                  </a:lnTo>
                  <a:lnTo>
                    <a:pt x="177" y="94"/>
                  </a:lnTo>
                  <a:lnTo>
                    <a:pt x="176" y="94"/>
                  </a:lnTo>
                  <a:lnTo>
                    <a:pt x="174" y="92"/>
                  </a:lnTo>
                  <a:lnTo>
                    <a:pt x="170" y="92"/>
                  </a:lnTo>
                  <a:lnTo>
                    <a:pt x="168" y="90"/>
                  </a:lnTo>
                  <a:lnTo>
                    <a:pt x="167" y="90"/>
                  </a:lnTo>
                  <a:lnTo>
                    <a:pt x="167" y="88"/>
                  </a:lnTo>
                  <a:lnTo>
                    <a:pt x="167" y="87"/>
                  </a:lnTo>
                  <a:lnTo>
                    <a:pt x="167" y="87"/>
                  </a:lnTo>
                  <a:lnTo>
                    <a:pt x="167" y="85"/>
                  </a:lnTo>
                  <a:lnTo>
                    <a:pt x="167" y="85"/>
                  </a:lnTo>
                  <a:lnTo>
                    <a:pt x="170" y="83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78"/>
                  </a:lnTo>
                  <a:lnTo>
                    <a:pt x="168" y="78"/>
                  </a:lnTo>
                  <a:lnTo>
                    <a:pt x="170" y="78"/>
                  </a:lnTo>
                  <a:lnTo>
                    <a:pt x="172" y="76"/>
                  </a:lnTo>
                  <a:lnTo>
                    <a:pt x="176" y="76"/>
                  </a:lnTo>
                  <a:lnTo>
                    <a:pt x="179" y="78"/>
                  </a:lnTo>
                  <a:lnTo>
                    <a:pt x="181" y="78"/>
                  </a:lnTo>
                  <a:lnTo>
                    <a:pt x="181" y="78"/>
                  </a:lnTo>
                  <a:lnTo>
                    <a:pt x="183" y="78"/>
                  </a:lnTo>
                  <a:lnTo>
                    <a:pt x="185" y="76"/>
                  </a:lnTo>
                  <a:lnTo>
                    <a:pt x="185" y="72"/>
                  </a:lnTo>
                  <a:lnTo>
                    <a:pt x="185" y="63"/>
                  </a:lnTo>
                  <a:lnTo>
                    <a:pt x="186" y="61"/>
                  </a:lnTo>
                  <a:lnTo>
                    <a:pt x="186" y="60"/>
                  </a:lnTo>
                  <a:lnTo>
                    <a:pt x="186" y="60"/>
                  </a:lnTo>
                  <a:lnTo>
                    <a:pt x="190" y="52"/>
                  </a:lnTo>
                  <a:lnTo>
                    <a:pt x="192" y="49"/>
                  </a:lnTo>
                  <a:lnTo>
                    <a:pt x="192" y="47"/>
                  </a:lnTo>
                  <a:lnTo>
                    <a:pt x="192" y="43"/>
                  </a:lnTo>
                  <a:lnTo>
                    <a:pt x="192" y="38"/>
                  </a:lnTo>
                  <a:lnTo>
                    <a:pt x="192" y="38"/>
                  </a:lnTo>
                  <a:lnTo>
                    <a:pt x="192" y="36"/>
                  </a:lnTo>
                  <a:lnTo>
                    <a:pt x="192" y="36"/>
                  </a:lnTo>
                  <a:lnTo>
                    <a:pt x="192" y="36"/>
                  </a:lnTo>
                  <a:lnTo>
                    <a:pt x="192" y="34"/>
                  </a:lnTo>
                  <a:lnTo>
                    <a:pt x="192" y="32"/>
                  </a:lnTo>
                  <a:close/>
                  <a:moveTo>
                    <a:pt x="116" y="11"/>
                  </a:moveTo>
                  <a:lnTo>
                    <a:pt x="120" y="9"/>
                  </a:lnTo>
                  <a:lnTo>
                    <a:pt x="120" y="9"/>
                  </a:lnTo>
                  <a:lnTo>
                    <a:pt x="125" y="9"/>
                  </a:lnTo>
                  <a:lnTo>
                    <a:pt x="130" y="9"/>
                  </a:lnTo>
                  <a:lnTo>
                    <a:pt x="129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4" y="7"/>
                  </a:lnTo>
                  <a:lnTo>
                    <a:pt x="114" y="9"/>
                  </a:lnTo>
                  <a:lnTo>
                    <a:pt x="116" y="11"/>
                  </a:lnTo>
                  <a:lnTo>
                    <a:pt x="116" y="11"/>
                  </a:lnTo>
                  <a:close/>
                  <a:moveTo>
                    <a:pt x="140" y="9"/>
                  </a:moveTo>
                  <a:lnTo>
                    <a:pt x="140" y="9"/>
                  </a:lnTo>
                  <a:lnTo>
                    <a:pt x="140" y="9"/>
                  </a:lnTo>
                  <a:lnTo>
                    <a:pt x="140" y="7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0" y="4"/>
                  </a:lnTo>
                  <a:lnTo>
                    <a:pt x="149" y="4"/>
                  </a:lnTo>
                  <a:lnTo>
                    <a:pt x="143" y="4"/>
                  </a:lnTo>
                  <a:lnTo>
                    <a:pt x="141" y="5"/>
                  </a:lnTo>
                  <a:lnTo>
                    <a:pt x="140" y="5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9"/>
                  </a:lnTo>
                  <a:close/>
                  <a:moveTo>
                    <a:pt x="156" y="2"/>
                  </a:moveTo>
                  <a:lnTo>
                    <a:pt x="158" y="2"/>
                  </a:lnTo>
                  <a:lnTo>
                    <a:pt x="158" y="2"/>
                  </a:lnTo>
                  <a:lnTo>
                    <a:pt x="158" y="2"/>
                  </a:lnTo>
                  <a:lnTo>
                    <a:pt x="158" y="2"/>
                  </a:lnTo>
                  <a:lnTo>
                    <a:pt x="158" y="2"/>
                  </a:lnTo>
                  <a:lnTo>
                    <a:pt x="156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6" y="2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BFFBA9F5-7EAD-5081-CD36-189DF18C4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4375" y="4754563"/>
              <a:ext cx="152400" cy="182563"/>
            </a:xfrm>
            <a:custGeom>
              <a:avLst/>
              <a:gdLst>
                <a:gd name="T0" fmla="*/ 85 w 96"/>
                <a:gd name="T1" fmla="*/ 39 h 115"/>
                <a:gd name="T2" fmla="*/ 76 w 96"/>
                <a:gd name="T3" fmla="*/ 32 h 115"/>
                <a:gd name="T4" fmla="*/ 74 w 96"/>
                <a:gd name="T5" fmla="*/ 29 h 115"/>
                <a:gd name="T6" fmla="*/ 67 w 96"/>
                <a:gd name="T7" fmla="*/ 30 h 115"/>
                <a:gd name="T8" fmla="*/ 62 w 96"/>
                <a:gd name="T9" fmla="*/ 27 h 115"/>
                <a:gd name="T10" fmla="*/ 54 w 96"/>
                <a:gd name="T11" fmla="*/ 21 h 115"/>
                <a:gd name="T12" fmla="*/ 45 w 96"/>
                <a:gd name="T13" fmla="*/ 10 h 115"/>
                <a:gd name="T14" fmla="*/ 36 w 96"/>
                <a:gd name="T15" fmla="*/ 0 h 115"/>
                <a:gd name="T16" fmla="*/ 29 w 96"/>
                <a:gd name="T17" fmla="*/ 1 h 115"/>
                <a:gd name="T18" fmla="*/ 24 w 96"/>
                <a:gd name="T19" fmla="*/ 1 h 115"/>
                <a:gd name="T20" fmla="*/ 26 w 96"/>
                <a:gd name="T21" fmla="*/ 5 h 115"/>
                <a:gd name="T22" fmla="*/ 27 w 96"/>
                <a:gd name="T23" fmla="*/ 7 h 115"/>
                <a:gd name="T24" fmla="*/ 29 w 96"/>
                <a:gd name="T25" fmla="*/ 16 h 115"/>
                <a:gd name="T26" fmla="*/ 27 w 96"/>
                <a:gd name="T27" fmla="*/ 18 h 115"/>
                <a:gd name="T28" fmla="*/ 26 w 96"/>
                <a:gd name="T29" fmla="*/ 14 h 115"/>
                <a:gd name="T30" fmla="*/ 20 w 96"/>
                <a:gd name="T31" fmla="*/ 14 h 115"/>
                <a:gd name="T32" fmla="*/ 13 w 96"/>
                <a:gd name="T33" fmla="*/ 21 h 115"/>
                <a:gd name="T34" fmla="*/ 11 w 96"/>
                <a:gd name="T35" fmla="*/ 36 h 115"/>
                <a:gd name="T36" fmla="*/ 0 w 96"/>
                <a:gd name="T37" fmla="*/ 41 h 115"/>
                <a:gd name="T38" fmla="*/ 0 w 96"/>
                <a:gd name="T39" fmla="*/ 48 h 115"/>
                <a:gd name="T40" fmla="*/ 6 w 96"/>
                <a:gd name="T41" fmla="*/ 57 h 115"/>
                <a:gd name="T42" fmla="*/ 4 w 96"/>
                <a:gd name="T43" fmla="*/ 65 h 115"/>
                <a:gd name="T44" fmla="*/ 2 w 96"/>
                <a:gd name="T45" fmla="*/ 66 h 115"/>
                <a:gd name="T46" fmla="*/ 0 w 96"/>
                <a:gd name="T47" fmla="*/ 72 h 115"/>
                <a:gd name="T48" fmla="*/ 4 w 96"/>
                <a:gd name="T49" fmla="*/ 75 h 115"/>
                <a:gd name="T50" fmla="*/ 4 w 96"/>
                <a:gd name="T51" fmla="*/ 74 h 115"/>
                <a:gd name="T52" fmla="*/ 13 w 96"/>
                <a:gd name="T53" fmla="*/ 74 h 115"/>
                <a:gd name="T54" fmla="*/ 11 w 96"/>
                <a:gd name="T55" fmla="*/ 77 h 115"/>
                <a:gd name="T56" fmla="*/ 8 w 96"/>
                <a:gd name="T57" fmla="*/ 77 h 115"/>
                <a:gd name="T58" fmla="*/ 9 w 96"/>
                <a:gd name="T59" fmla="*/ 79 h 115"/>
                <a:gd name="T60" fmla="*/ 11 w 96"/>
                <a:gd name="T61" fmla="*/ 79 h 115"/>
                <a:gd name="T62" fmla="*/ 13 w 96"/>
                <a:gd name="T63" fmla="*/ 81 h 115"/>
                <a:gd name="T64" fmla="*/ 17 w 96"/>
                <a:gd name="T65" fmla="*/ 86 h 115"/>
                <a:gd name="T66" fmla="*/ 20 w 96"/>
                <a:gd name="T67" fmla="*/ 86 h 115"/>
                <a:gd name="T68" fmla="*/ 22 w 96"/>
                <a:gd name="T69" fmla="*/ 86 h 115"/>
                <a:gd name="T70" fmla="*/ 27 w 96"/>
                <a:gd name="T71" fmla="*/ 94 h 115"/>
                <a:gd name="T72" fmla="*/ 31 w 96"/>
                <a:gd name="T73" fmla="*/ 95 h 115"/>
                <a:gd name="T74" fmla="*/ 35 w 96"/>
                <a:gd name="T75" fmla="*/ 103 h 115"/>
                <a:gd name="T76" fmla="*/ 36 w 96"/>
                <a:gd name="T77" fmla="*/ 106 h 115"/>
                <a:gd name="T78" fmla="*/ 38 w 96"/>
                <a:gd name="T79" fmla="*/ 110 h 115"/>
                <a:gd name="T80" fmla="*/ 47 w 96"/>
                <a:gd name="T81" fmla="*/ 115 h 115"/>
                <a:gd name="T82" fmla="*/ 45 w 96"/>
                <a:gd name="T83" fmla="*/ 110 h 115"/>
                <a:gd name="T84" fmla="*/ 45 w 96"/>
                <a:gd name="T85" fmla="*/ 106 h 115"/>
                <a:gd name="T86" fmla="*/ 45 w 96"/>
                <a:gd name="T87" fmla="*/ 104 h 115"/>
                <a:gd name="T88" fmla="*/ 47 w 96"/>
                <a:gd name="T89" fmla="*/ 97 h 115"/>
                <a:gd name="T90" fmla="*/ 42 w 96"/>
                <a:gd name="T91" fmla="*/ 92 h 115"/>
                <a:gd name="T92" fmla="*/ 49 w 96"/>
                <a:gd name="T93" fmla="*/ 79 h 115"/>
                <a:gd name="T94" fmla="*/ 54 w 96"/>
                <a:gd name="T95" fmla="*/ 72 h 115"/>
                <a:gd name="T96" fmla="*/ 58 w 96"/>
                <a:gd name="T97" fmla="*/ 68 h 115"/>
                <a:gd name="T98" fmla="*/ 62 w 96"/>
                <a:gd name="T99" fmla="*/ 63 h 115"/>
                <a:gd name="T100" fmla="*/ 65 w 96"/>
                <a:gd name="T101" fmla="*/ 65 h 115"/>
                <a:gd name="T102" fmla="*/ 65 w 96"/>
                <a:gd name="T103" fmla="*/ 68 h 115"/>
                <a:gd name="T104" fmla="*/ 69 w 96"/>
                <a:gd name="T105" fmla="*/ 74 h 115"/>
                <a:gd name="T106" fmla="*/ 73 w 96"/>
                <a:gd name="T107" fmla="*/ 72 h 115"/>
                <a:gd name="T108" fmla="*/ 82 w 96"/>
                <a:gd name="T109" fmla="*/ 68 h 115"/>
                <a:gd name="T110" fmla="*/ 83 w 96"/>
                <a:gd name="T111" fmla="*/ 63 h 115"/>
                <a:gd name="T112" fmla="*/ 80 w 96"/>
                <a:gd name="T113" fmla="*/ 56 h 115"/>
                <a:gd name="T114" fmla="*/ 83 w 96"/>
                <a:gd name="T115" fmla="*/ 54 h 115"/>
                <a:gd name="T116" fmla="*/ 89 w 96"/>
                <a:gd name="T117" fmla="*/ 52 h 115"/>
                <a:gd name="T118" fmla="*/ 96 w 96"/>
                <a:gd name="T119" fmla="*/ 4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" h="115">
                  <a:moveTo>
                    <a:pt x="96" y="45"/>
                  </a:moveTo>
                  <a:lnTo>
                    <a:pt x="96" y="43"/>
                  </a:lnTo>
                  <a:lnTo>
                    <a:pt x="92" y="41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34"/>
                  </a:lnTo>
                  <a:lnTo>
                    <a:pt x="76" y="32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1" y="30"/>
                  </a:lnTo>
                  <a:lnTo>
                    <a:pt x="69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5" y="29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2" y="27"/>
                  </a:lnTo>
                  <a:lnTo>
                    <a:pt x="60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6" y="23"/>
                  </a:lnTo>
                  <a:lnTo>
                    <a:pt x="56" y="21"/>
                  </a:lnTo>
                  <a:lnTo>
                    <a:pt x="54" y="21"/>
                  </a:lnTo>
                  <a:lnTo>
                    <a:pt x="53" y="19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49" y="14"/>
                  </a:lnTo>
                  <a:lnTo>
                    <a:pt x="47" y="10"/>
                  </a:lnTo>
                  <a:lnTo>
                    <a:pt x="45" y="10"/>
                  </a:lnTo>
                  <a:lnTo>
                    <a:pt x="40" y="7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6" y="1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3" y="1"/>
                  </a:lnTo>
                  <a:lnTo>
                    <a:pt x="33" y="3"/>
                  </a:lnTo>
                  <a:lnTo>
                    <a:pt x="31" y="3"/>
                  </a:lnTo>
                  <a:lnTo>
                    <a:pt x="31" y="1"/>
                  </a:lnTo>
                  <a:lnTo>
                    <a:pt x="29" y="1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6" y="1"/>
                  </a:lnTo>
                  <a:lnTo>
                    <a:pt x="24" y="1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9"/>
                  </a:lnTo>
                  <a:lnTo>
                    <a:pt x="31" y="12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9" y="16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8" y="16"/>
                  </a:lnTo>
                  <a:lnTo>
                    <a:pt x="13" y="19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25"/>
                  </a:lnTo>
                  <a:lnTo>
                    <a:pt x="9" y="27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11" y="36"/>
                  </a:lnTo>
                  <a:lnTo>
                    <a:pt x="8" y="36"/>
                  </a:lnTo>
                  <a:lnTo>
                    <a:pt x="6" y="36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0" y="39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6" y="59"/>
                  </a:lnTo>
                  <a:lnTo>
                    <a:pt x="6" y="61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6" y="77"/>
                  </a:lnTo>
                  <a:lnTo>
                    <a:pt x="4" y="77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9" y="75"/>
                  </a:lnTo>
                  <a:lnTo>
                    <a:pt x="11" y="74"/>
                  </a:lnTo>
                  <a:lnTo>
                    <a:pt x="13" y="72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3" y="79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6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11" y="79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79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5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5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4" y="86"/>
                  </a:lnTo>
                  <a:lnTo>
                    <a:pt x="24" y="88"/>
                  </a:lnTo>
                  <a:lnTo>
                    <a:pt x="24" y="90"/>
                  </a:lnTo>
                  <a:lnTo>
                    <a:pt x="26" y="92"/>
                  </a:lnTo>
                  <a:lnTo>
                    <a:pt x="27" y="92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31" y="95"/>
                  </a:lnTo>
                  <a:lnTo>
                    <a:pt x="31" y="97"/>
                  </a:lnTo>
                  <a:lnTo>
                    <a:pt x="33" y="97"/>
                  </a:lnTo>
                  <a:lnTo>
                    <a:pt x="33" y="97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5" y="103"/>
                  </a:lnTo>
                  <a:lnTo>
                    <a:pt x="36" y="104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8" y="110"/>
                  </a:lnTo>
                  <a:lnTo>
                    <a:pt x="40" y="110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5" y="113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3"/>
                  </a:lnTo>
                  <a:lnTo>
                    <a:pt x="47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5" y="104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7" y="99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5" y="97"/>
                  </a:lnTo>
                  <a:lnTo>
                    <a:pt x="44" y="95"/>
                  </a:lnTo>
                  <a:lnTo>
                    <a:pt x="42" y="94"/>
                  </a:lnTo>
                  <a:lnTo>
                    <a:pt x="42" y="94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4" y="90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53" y="77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4" y="74"/>
                  </a:lnTo>
                  <a:lnTo>
                    <a:pt x="54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5"/>
                  </a:lnTo>
                  <a:lnTo>
                    <a:pt x="60" y="65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2" y="61"/>
                  </a:lnTo>
                  <a:lnTo>
                    <a:pt x="64" y="61"/>
                  </a:lnTo>
                  <a:lnTo>
                    <a:pt x="65" y="61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6"/>
                  </a:lnTo>
                  <a:lnTo>
                    <a:pt x="65" y="66"/>
                  </a:lnTo>
                  <a:lnTo>
                    <a:pt x="65" y="66"/>
                  </a:lnTo>
                  <a:lnTo>
                    <a:pt x="65" y="66"/>
                  </a:lnTo>
                  <a:lnTo>
                    <a:pt x="65" y="66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70"/>
                  </a:lnTo>
                  <a:lnTo>
                    <a:pt x="65" y="72"/>
                  </a:lnTo>
                  <a:lnTo>
                    <a:pt x="67" y="74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71" y="74"/>
                  </a:lnTo>
                  <a:lnTo>
                    <a:pt x="71" y="74"/>
                  </a:lnTo>
                  <a:lnTo>
                    <a:pt x="73" y="72"/>
                  </a:lnTo>
                  <a:lnTo>
                    <a:pt x="73" y="72"/>
                  </a:lnTo>
                  <a:lnTo>
                    <a:pt x="73" y="72"/>
                  </a:lnTo>
                  <a:lnTo>
                    <a:pt x="73" y="72"/>
                  </a:lnTo>
                  <a:lnTo>
                    <a:pt x="74" y="70"/>
                  </a:lnTo>
                  <a:lnTo>
                    <a:pt x="76" y="70"/>
                  </a:lnTo>
                  <a:lnTo>
                    <a:pt x="78" y="70"/>
                  </a:lnTo>
                  <a:lnTo>
                    <a:pt x="80" y="68"/>
                  </a:lnTo>
                  <a:lnTo>
                    <a:pt x="80" y="66"/>
                  </a:lnTo>
                  <a:lnTo>
                    <a:pt x="82" y="68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59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0" y="56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2" y="54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3" y="54"/>
                  </a:lnTo>
                  <a:lnTo>
                    <a:pt x="85" y="54"/>
                  </a:lnTo>
                  <a:lnTo>
                    <a:pt x="87" y="54"/>
                  </a:lnTo>
                  <a:lnTo>
                    <a:pt x="89" y="54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9" y="50"/>
                  </a:lnTo>
                  <a:lnTo>
                    <a:pt x="91" y="50"/>
                  </a:lnTo>
                  <a:lnTo>
                    <a:pt x="92" y="50"/>
                  </a:lnTo>
                  <a:lnTo>
                    <a:pt x="96" y="48"/>
                  </a:lnTo>
                  <a:lnTo>
                    <a:pt x="96" y="47"/>
                  </a:lnTo>
                  <a:lnTo>
                    <a:pt x="96" y="45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E8903FA3-8818-B36B-AB8D-C07E7A764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4900" y="4730751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2 w 4"/>
                <a:gd name="T5" fmla="*/ 0 h 2"/>
                <a:gd name="T6" fmla="*/ 0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0 w 4"/>
                <a:gd name="T13" fmla="*/ 2 h 2"/>
                <a:gd name="T14" fmla="*/ 2 w 4"/>
                <a:gd name="T15" fmla="*/ 2 h 2"/>
                <a:gd name="T16" fmla="*/ 4 w 4"/>
                <a:gd name="T17" fmla="*/ 2 h 2"/>
                <a:gd name="T18" fmla="*/ 4 w 4"/>
                <a:gd name="T19" fmla="*/ 2 h 2"/>
                <a:gd name="T20" fmla="*/ 4 w 4"/>
                <a:gd name="T21" fmla="*/ 0 h 2"/>
                <a:gd name="T22" fmla="*/ 4 w 4"/>
                <a:gd name="T2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E7EB7644-2241-CD08-ED47-72080EF7E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4900" y="4730751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2 w 4"/>
                <a:gd name="T5" fmla="*/ 0 h 2"/>
                <a:gd name="T6" fmla="*/ 0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0 w 4"/>
                <a:gd name="T13" fmla="*/ 2 h 2"/>
                <a:gd name="T14" fmla="*/ 2 w 4"/>
                <a:gd name="T15" fmla="*/ 2 h 2"/>
                <a:gd name="T16" fmla="*/ 4 w 4"/>
                <a:gd name="T17" fmla="*/ 2 h 2"/>
                <a:gd name="T18" fmla="*/ 4 w 4"/>
                <a:gd name="T19" fmla="*/ 2 h 2"/>
                <a:gd name="T20" fmla="*/ 4 w 4"/>
                <a:gd name="T21" fmla="*/ 0 h 2"/>
                <a:gd name="T22" fmla="*/ 4 w 4"/>
                <a:gd name="T2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81912D7B-0C67-DBC0-63E7-C7B1E7BF0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5250" y="4189413"/>
              <a:ext cx="277813" cy="352425"/>
            </a:xfrm>
            <a:custGeom>
              <a:avLst/>
              <a:gdLst>
                <a:gd name="T0" fmla="*/ 168 w 175"/>
                <a:gd name="T1" fmla="*/ 148 h 222"/>
                <a:gd name="T2" fmla="*/ 166 w 175"/>
                <a:gd name="T3" fmla="*/ 139 h 222"/>
                <a:gd name="T4" fmla="*/ 166 w 175"/>
                <a:gd name="T5" fmla="*/ 124 h 222"/>
                <a:gd name="T6" fmla="*/ 157 w 175"/>
                <a:gd name="T7" fmla="*/ 121 h 222"/>
                <a:gd name="T8" fmla="*/ 147 w 175"/>
                <a:gd name="T9" fmla="*/ 115 h 222"/>
                <a:gd name="T10" fmla="*/ 147 w 175"/>
                <a:gd name="T11" fmla="*/ 105 h 222"/>
                <a:gd name="T12" fmla="*/ 147 w 175"/>
                <a:gd name="T13" fmla="*/ 101 h 222"/>
                <a:gd name="T14" fmla="*/ 143 w 175"/>
                <a:gd name="T15" fmla="*/ 86 h 222"/>
                <a:gd name="T16" fmla="*/ 137 w 175"/>
                <a:gd name="T17" fmla="*/ 86 h 222"/>
                <a:gd name="T18" fmla="*/ 128 w 175"/>
                <a:gd name="T19" fmla="*/ 77 h 222"/>
                <a:gd name="T20" fmla="*/ 125 w 175"/>
                <a:gd name="T21" fmla="*/ 70 h 222"/>
                <a:gd name="T22" fmla="*/ 128 w 175"/>
                <a:gd name="T23" fmla="*/ 52 h 222"/>
                <a:gd name="T24" fmla="*/ 127 w 175"/>
                <a:gd name="T25" fmla="*/ 40 h 222"/>
                <a:gd name="T26" fmla="*/ 112 w 175"/>
                <a:gd name="T27" fmla="*/ 36 h 222"/>
                <a:gd name="T28" fmla="*/ 101 w 175"/>
                <a:gd name="T29" fmla="*/ 27 h 222"/>
                <a:gd name="T30" fmla="*/ 91 w 175"/>
                <a:gd name="T31" fmla="*/ 30 h 222"/>
                <a:gd name="T32" fmla="*/ 85 w 175"/>
                <a:gd name="T33" fmla="*/ 25 h 222"/>
                <a:gd name="T34" fmla="*/ 82 w 175"/>
                <a:gd name="T35" fmla="*/ 21 h 222"/>
                <a:gd name="T36" fmla="*/ 74 w 175"/>
                <a:gd name="T37" fmla="*/ 14 h 222"/>
                <a:gd name="T38" fmla="*/ 56 w 175"/>
                <a:gd name="T39" fmla="*/ 3 h 222"/>
                <a:gd name="T40" fmla="*/ 36 w 175"/>
                <a:gd name="T41" fmla="*/ 5 h 222"/>
                <a:gd name="T42" fmla="*/ 20 w 175"/>
                <a:gd name="T43" fmla="*/ 9 h 222"/>
                <a:gd name="T44" fmla="*/ 15 w 175"/>
                <a:gd name="T45" fmla="*/ 9 h 222"/>
                <a:gd name="T46" fmla="*/ 7 w 175"/>
                <a:gd name="T47" fmla="*/ 11 h 222"/>
                <a:gd name="T48" fmla="*/ 2 w 175"/>
                <a:gd name="T49" fmla="*/ 14 h 222"/>
                <a:gd name="T50" fmla="*/ 9 w 175"/>
                <a:gd name="T51" fmla="*/ 18 h 222"/>
                <a:gd name="T52" fmla="*/ 17 w 175"/>
                <a:gd name="T53" fmla="*/ 23 h 222"/>
                <a:gd name="T54" fmla="*/ 22 w 175"/>
                <a:gd name="T55" fmla="*/ 27 h 222"/>
                <a:gd name="T56" fmla="*/ 24 w 175"/>
                <a:gd name="T57" fmla="*/ 36 h 222"/>
                <a:gd name="T58" fmla="*/ 27 w 175"/>
                <a:gd name="T59" fmla="*/ 41 h 222"/>
                <a:gd name="T60" fmla="*/ 29 w 175"/>
                <a:gd name="T61" fmla="*/ 50 h 222"/>
                <a:gd name="T62" fmla="*/ 33 w 175"/>
                <a:gd name="T63" fmla="*/ 58 h 222"/>
                <a:gd name="T64" fmla="*/ 40 w 175"/>
                <a:gd name="T65" fmla="*/ 70 h 222"/>
                <a:gd name="T66" fmla="*/ 45 w 175"/>
                <a:gd name="T67" fmla="*/ 76 h 222"/>
                <a:gd name="T68" fmla="*/ 49 w 175"/>
                <a:gd name="T69" fmla="*/ 83 h 222"/>
                <a:gd name="T70" fmla="*/ 56 w 175"/>
                <a:gd name="T71" fmla="*/ 92 h 222"/>
                <a:gd name="T72" fmla="*/ 62 w 175"/>
                <a:gd name="T73" fmla="*/ 101 h 222"/>
                <a:gd name="T74" fmla="*/ 71 w 175"/>
                <a:gd name="T75" fmla="*/ 108 h 222"/>
                <a:gd name="T76" fmla="*/ 74 w 175"/>
                <a:gd name="T77" fmla="*/ 121 h 222"/>
                <a:gd name="T78" fmla="*/ 82 w 175"/>
                <a:gd name="T79" fmla="*/ 141 h 222"/>
                <a:gd name="T80" fmla="*/ 82 w 175"/>
                <a:gd name="T81" fmla="*/ 150 h 222"/>
                <a:gd name="T82" fmla="*/ 78 w 175"/>
                <a:gd name="T83" fmla="*/ 159 h 222"/>
                <a:gd name="T84" fmla="*/ 76 w 175"/>
                <a:gd name="T85" fmla="*/ 166 h 222"/>
                <a:gd name="T86" fmla="*/ 74 w 175"/>
                <a:gd name="T87" fmla="*/ 177 h 222"/>
                <a:gd name="T88" fmla="*/ 74 w 175"/>
                <a:gd name="T89" fmla="*/ 188 h 222"/>
                <a:gd name="T90" fmla="*/ 76 w 175"/>
                <a:gd name="T91" fmla="*/ 198 h 222"/>
                <a:gd name="T92" fmla="*/ 74 w 175"/>
                <a:gd name="T93" fmla="*/ 213 h 222"/>
                <a:gd name="T94" fmla="*/ 80 w 175"/>
                <a:gd name="T95" fmla="*/ 220 h 222"/>
                <a:gd name="T96" fmla="*/ 94 w 175"/>
                <a:gd name="T97" fmla="*/ 215 h 222"/>
                <a:gd name="T98" fmla="*/ 94 w 175"/>
                <a:gd name="T99" fmla="*/ 206 h 222"/>
                <a:gd name="T100" fmla="*/ 103 w 175"/>
                <a:gd name="T101" fmla="*/ 197 h 222"/>
                <a:gd name="T102" fmla="*/ 107 w 175"/>
                <a:gd name="T103" fmla="*/ 186 h 222"/>
                <a:gd name="T104" fmla="*/ 116 w 175"/>
                <a:gd name="T105" fmla="*/ 166 h 222"/>
                <a:gd name="T106" fmla="*/ 121 w 175"/>
                <a:gd name="T107" fmla="*/ 148 h 222"/>
                <a:gd name="T108" fmla="*/ 128 w 175"/>
                <a:gd name="T109" fmla="*/ 157 h 222"/>
                <a:gd name="T110" fmla="*/ 136 w 175"/>
                <a:gd name="T111" fmla="*/ 150 h 222"/>
                <a:gd name="T112" fmla="*/ 143 w 175"/>
                <a:gd name="T113" fmla="*/ 150 h 222"/>
                <a:gd name="T114" fmla="*/ 150 w 175"/>
                <a:gd name="T115" fmla="*/ 157 h 222"/>
                <a:gd name="T116" fmla="*/ 159 w 175"/>
                <a:gd name="T117" fmla="*/ 155 h 222"/>
                <a:gd name="T118" fmla="*/ 174 w 175"/>
                <a:gd name="T119" fmla="*/ 155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5" h="222">
                  <a:moveTo>
                    <a:pt x="175" y="152"/>
                  </a:moveTo>
                  <a:lnTo>
                    <a:pt x="174" y="152"/>
                  </a:lnTo>
                  <a:lnTo>
                    <a:pt x="174" y="152"/>
                  </a:lnTo>
                  <a:lnTo>
                    <a:pt x="174" y="153"/>
                  </a:lnTo>
                  <a:lnTo>
                    <a:pt x="172" y="152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48"/>
                  </a:lnTo>
                  <a:lnTo>
                    <a:pt x="170" y="148"/>
                  </a:lnTo>
                  <a:lnTo>
                    <a:pt x="168" y="148"/>
                  </a:lnTo>
                  <a:lnTo>
                    <a:pt x="168" y="148"/>
                  </a:lnTo>
                  <a:lnTo>
                    <a:pt x="168" y="148"/>
                  </a:lnTo>
                  <a:lnTo>
                    <a:pt x="168" y="148"/>
                  </a:lnTo>
                  <a:lnTo>
                    <a:pt x="168" y="148"/>
                  </a:lnTo>
                  <a:lnTo>
                    <a:pt x="166" y="146"/>
                  </a:lnTo>
                  <a:lnTo>
                    <a:pt x="166" y="146"/>
                  </a:lnTo>
                  <a:lnTo>
                    <a:pt x="165" y="146"/>
                  </a:lnTo>
                  <a:lnTo>
                    <a:pt x="165" y="144"/>
                  </a:lnTo>
                  <a:lnTo>
                    <a:pt x="165" y="142"/>
                  </a:lnTo>
                  <a:lnTo>
                    <a:pt x="165" y="142"/>
                  </a:lnTo>
                  <a:lnTo>
                    <a:pt x="166" y="142"/>
                  </a:lnTo>
                  <a:lnTo>
                    <a:pt x="166" y="141"/>
                  </a:lnTo>
                  <a:lnTo>
                    <a:pt x="166" y="141"/>
                  </a:lnTo>
                  <a:lnTo>
                    <a:pt x="166" y="139"/>
                  </a:lnTo>
                  <a:lnTo>
                    <a:pt x="166" y="139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0"/>
                  </a:lnTo>
                  <a:lnTo>
                    <a:pt x="166" y="130"/>
                  </a:lnTo>
                  <a:lnTo>
                    <a:pt x="166" y="128"/>
                  </a:lnTo>
                  <a:lnTo>
                    <a:pt x="166" y="128"/>
                  </a:lnTo>
                  <a:lnTo>
                    <a:pt x="166" y="128"/>
                  </a:lnTo>
                  <a:lnTo>
                    <a:pt x="166" y="126"/>
                  </a:lnTo>
                  <a:lnTo>
                    <a:pt x="166" y="124"/>
                  </a:lnTo>
                  <a:lnTo>
                    <a:pt x="165" y="124"/>
                  </a:lnTo>
                  <a:lnTo>
                    <a:pt x="165" y="124"/>
                  </a:lnTo>
                  <a:lnTo>
                    <a:pt x="165" y="124"/>
                  </a:lnTo>
                  <a:lnTo>
                    <a:pt x="165" y="124"/>
                  </a:lnTo>
                  <a:lnTo>
                    <a:pt x="163" y="124"/>
                  </a:lnTo>
                  <a:lnTo>
                    <a:pt x="163" y="124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1" y="121"/>
                  </a:lnTo>
                  <a:lnTo>
                    <a:pt x="159" y="121"/>
                  </a:lnTo>
                  <a:lnTo>
                    <a:pt x="159" y="121"/>
                  </a:lnTo>
                  <a:lnTo>
                    <a:pt x="157" y="121"/>
                  </a:lnTo>
                  <a:lnTo>
                    <a:pt x="156" y="121"/>
                  </a:lnTo>
                  <a:lnTo>
                    <a:pt x="154" y="119"/>
                  </a:lnTo>
                  <a:lnTo>
                    <a:pt x="154" y="117"/>
                  </a:lnTo>
                  <a:lnTo>
                    <a:pt x="154" y="117"/>
                  </a:lnTo>
                  <a:lnTo>
                    <a:pt x="152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5"/>
                  </a:lnTo>
                  <a:lnTo>
                    <a:pt x="148" y="115"/>
                  </a:lnTo>
                  <a:lnTo>
                    <a:pt x="148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4"/>
                  </a:lnTo>
                  <a:lnTo>
                    <a:pt x="147" y="114"/>
                  </a:lnTo>
                  <a:lnTo>
                    <a:pt x="147" y="112"/>
                  </a:lnTo>
                  <a:lnTo>
                    <a:pt x="148" y="110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6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47" y="105"/>
                  </a:lnTo>
                  <a:lnTo>
                    <a:pt x="147" y="105"/>
                  </a:lnTo>
                  <a:lnTo>
                    <a:pt x="145" y="106"/>
                  </a:lnTo>
                  <a:lnTo>
                    <a:pt x="145" y="106"/>
                  </a:lnTo>
                  <a:lnTo>
                    <a:pt x="145" y="106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5" y="103"/>
                  </a:lnTo>
                  <a:lnTo>
                    <a:pt x="145" y="101"/>
                  </a:lnTo>
                  <a:lnTo>
                    <a:pt x="147" y="101"/>
                  </a:lnTo>
                  <a:lnTo>
                    <a:pt x="147" y="99"/>
                  </a:lnTo>
                  <a:lnTo>
                    <a:pt x="147" y="96"/>
                  </a:lnTo>
                  <a:lnTo>
                    <a:pt x="147" y="94"/>
                  </a:lnTo>
                  <a:lnTo>
                    <a:pt x="147" y="92"/>
                  </a:lnTo>
                  <a:lnTo>
                    <a:pt x="148" y="92"/>
                  </a:lnTo>
                  <a:lnTo>
                    <a:pt x="148" y="90"/>
                  </a:lnTo>
                  <a:lnTo>
                    <a:pt x="148" y="88"/>
                  </a:lnTo>
                  <a:lnTo>
                    <a:pt x="147" y="86"/>
                  </a:lnTo>
                  <a:lnTo>
                    <a:pt x="147" y="86"/>
                  </a:lnTo>
                  <a:lnTo>
                    <a:pt x="145" y="86"/>
                  </a:lnTo>
                  <a:lnTo>
                    <a:pt x="145" y="86"/>
                  </a:lnTo>
                  <a:lnTo>
                    <a:pt x="143" y="86"/>
                  </a:lnTo>
                  <a:lnTo>
                    <a:pt x="143" y="86"/>
                  </a:lnTo>
                  <a:lnTo>
                    <a:pt x="143" y="88"/>
                  </a:lnTo>
                  <a:lnTo>
                    <a:pt x="141" y="88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5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4" y="83"/>
                  </a:lnTo>
                  <a:lnTo>
                    <a:pt x="134" y="83"/>
                  </a:lnTo>
                  <a:lnTo>
                    <a:pt x="134" y="83"/>
                  </a:lnTo>
                  <a:lnTo>
                    <a:pt x="134" y="81"/>
                  </a:lnTo>
                  <a:lnTo>
                    <a:pt x="134" y="81"/>
                  </a:lnTo>
                  <a:lnTo>
                    <a:pt x="132" y="79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28" y="77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7" y="77"/>
                  </a:lnTo>
                  <a:lnTo>
                    <a:pt x="127" y="77"/>
                  </a:lnTo>
                  <a:lnTo>
                    <a:pt x="127" y="76"/>
                  </a:lnTo>
                  <a:lnTo>
                    <a:pt x="127" y="76"/>
                  </a:lnTo>
                  <a:lnTo>
                    <a:pt x="125" y="74"/>
                  </a:lnTo>
                  <a:lnTo>
                    <a:pt x="125" y="74"/>
                  </a:lnTo>
                  <a:lnTo>
                    <a:pt x="125" y="74"/>
                  </a:lnTo>
                  <a:lnTo>
                    <a:pt x="125" y="74"/>
                  </a:lnTo>
                  <a:lnTo>
                    <a:pt x="125" y="72"/>
                  </a:lnTo>
                  <a:lnTo>
                    <a:pt x="125" y="70"/>
                  </a:lnTo>
                  <a:lnTo>
                    <a:pt x="127" y="68"/>
                  </a:lnTo>
                  <a:lnTo>
                    <a:pt x="128" y="65"/>
                  </a:lnTo>
                  <a:lnTo>
                    <a:pt x="128" y="63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54"/>
                  </a:lnTo>
                  <a:lnTo>
                    <a:pt x="130" y="54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8" y="50"/>
                  </a:lnTo>
                  <a:lnTo>
                    <a:pt x="128" y="49"/>
                  </a:lnTo>
                  <a:lnTo>
                    <a:pt x="130" y="49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7" y="43"/>
                  </a:lnTo>
                  <a:lnTo>
                    <a:pt x="127" y="41"/>
                  </a:lnTo>
                  <a:lnTo>
                    <a:pt x="127" y="40"/>
                  </a:lnTo>
                  <a:lnTo>
                    <a:pt x="127" y="40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3" y="38"/>
                  </a:lnTo>
                  <a:lnTo>
                    <a:pt x="121" y="40"/>
                  </a:lnTo>
                  <a:lnTo>
                    <a:pt x="119" y="41"/>
                  </a:lnTo>
                  <a:lnTo>
                    <a:pt x="118" y="43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4" y="40"/>
                  </a:lnTo>
                  <a:lnTo>
                    <a:pt x="112" y="38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0" y="36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2"/>
                  </a:lnTo>
                  <a:lnTo>
                    <a:pt x="110" y="30"/>
                  </a:lnTo>
                  <a:lnTo>
                    <a:pt x="109" y="30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7" y="27"/>
                  </a:lnTo>
                  <a:lnTo>
                    <a:pt x="105" y="27"/>
                  </a:lnTo>
                  <a:lnTo>
                    <a:pt x="101" y="27"/>
                  </a:lnTo>
                  <a:lnTo>
                    <a:pt x="98" y="25"/>
                  </a:lnTo>
                  <a:lnTo>
                    <a:pt x="96" y="25"/>
                  </a:lnTo>
                  <a:lnTo>
                    <a:pt x="94" y="25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2" y="32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1" y="25"/>
                  </a:lnTo>
                  <a:lnTo>
                    <a:pt x="91" y="25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7" y="25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1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5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2" y="20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78" y="20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6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2" y="18"/>
                  </a:lnTo>
                  <a:lnTo>
                    <a:pt x="74" y="16"/>
                  </a:lnTo>
                  <a:lnTo>
                    <a:pt x="74" y="14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9" y="12"/>
                  </a:lnTo>
                  <a:lnTo>
                    <a:pt x="67" y="12"/>
                  </a:lnTo>
                  <a:lnTo>
                    <a:pt x="65" y="11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2" y="7"/>
                  </a:lnTo>
                  <a:lnTo>
                    <a:pt x="62" y="5"/>
                  </a:lnTo>
                  <a:lnTo>
                    <a:pt x="58" y="3"/>
                  </a:lnTo>
                  <a:lnTo>
                    <a:pt x="56" y="3"/>
                  </a:lnTo>
                  <a:lnTo>
                    <a:pt x="51" y="3"/>
                  </a:lnTo>
                  <a:lnTo>
                    <a:pt x="49" y="2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6" y="3"/>
                  </a:lnTo>
                  <a:lnTo>
                    <a:pt x="35" y="5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29" y="11"/>
                  </a:lnTo>
                  <a:lnTo>
                    <a:pt x="27" y="9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21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7" y="27"/>
                  </a:lnTo>
                  <a:lnTo>
                    <a:pt x="18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2" y="32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6" y="40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7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50"/>
                  </a:lnTo>
                  <a:lnTo>
                    <a:pt x="29" y="50"/>
                  </a:lnTo>
                  <a:lnTo>
                    <a:pt x="31" y="50"/>
                  </a:lnTo>
                  <a:lnTo>
                    <a:pt x="31" y="52"/>
                  </a:lnTo>
                  <a:lnTo>
                    <a:pt x="31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9"/>
                  </a:lnTo>
                  <a:lnTo>
                    <a:pt x="35" y="61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7" y="76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81"/>
                  </a:lnTo>
                  <a:lnTo>
                    <a:pt x="47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49" y="85"/>
                  </a:lnTo>
                  <a:lnTo>
                    <a:pt x="51" y="86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3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60" y="97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58" y="99"/>
                  </a:lnTo>
                  <a:lnTo>
                    <a:pt x="60" y="101"/>
                  </a:lnTo>
                  <a:lnTo>
                    <a:pt x="62" y="101"/>
                  </a:lnTo>
                  <a:lnTo>
                    <a:pt x="62" y="101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3" y="105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7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71" y="108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2" y="112"/>
                  </a:lnTo>
                  <a:lnTo>
                    <a:pt x="72" y="114"/>
                  </a:lnTo>
                  <a:lnTo>
                    <a:pt x="74" y="115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6" y="124"/>
                  </a:lnTo>
                  <a:lnTo>
                    <a:pt x="78" y="128"/>
                  </a:lnTo>
                  <a:lnTo>
                    <a:pt x="78" y="130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2" y="137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2" y="141"/>
                  </a:lnTo>
                  <a:lnTo>
                    <a:pt x="80" y="141"/>
                  </a:lnTo>
                  <a:lnTo>
                    <a:pt x="80" y="142"/>
                  </a:lnTo>
                  <a:lnTo>
                    <a:pt x="80" y="142"/>
                  </a:lnTo>
                  <a:lnTo>
                    <a:pt x="80" y="144"/>
                  </a:lnTo>
                  <a:lnTo>
                    <a:pt x="80" y="144"/>
                  </a:lnTo>
                  <a:lnTo>
                    <a:pt x="80" y="146"/>
                  </a:lnTo>
                  <a:lnTo>
                    <a:pt x="80" y="148"/>
                  </a:lnTo>
                  <a:lnTo>
                    <a:pt x="80" y="148"/>
                  </a:lnTo>
                  <a:lnTo>
                    <a:pt x="82" y="150"/>
                  </a:lnTo>
                  <a:lnTo>
                    <a:pt x="82" y="148"/>
                  </a:lnTo>
                  <a:lnTo>
                    <a:pt x="82" y="150"/>
                  </a:lnTo>
                  <a:lnTo>
                    <a:pt x="82" y="150"/>
                  </a:lnTo>
                  <a:lnTo>
                    <a:pt x="82" y="152"/>
                  </a:lnTo>
                  <a:lnTo>
                    <a:pt x="82" y="152"/>
                  </a:lnTo>
                  <a:lnTo>
                    <a:pt x="82" y="153"/>
                  </a:lnTo>
                  <a:lnTo>
                    <a:pt x="80" y="153"/>
                  </a:lnTo>
                  <a:lnTo>
                    <a:pt x="80" y="153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78" y="159"/>
                  </a:lnTo>
                  <a:lnTo>
                    <a:pt x="78" y="159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74" y="168"/>
                  </a:lnTo>
                  <a:lnTo>
                    <a:pt x="76" y="168"/>
                  </a:lnTo>
                  <a:lnTo>
                    <a:pt x="76" y="170"/>
                  </a:lnTo>
                  <a:lnTo>
                    <a:pt x="76" y="170"/>
                  </a:lnTo>
                  <a:lnTo>
                    <a:pt x="76" y="170"/>
                  </a:lnTo>
                  <a:lnTo>
                    <a:pt x="76" y="171"/>
                  </a:lnTo>
                  <a:lnTo>
                    <a:pt x="76" y="173"/>
                  </a:lnTo>
                  <a:lnTo>
                    <a:pt x="74" y="175"/>
                  </a:lnTo>
                  <a:lnTo>
                    <a:pt x="74" y="177"/>
                  </a:lnTo>
                  <a:lnTo>
                    <a:pt x="74" y="177"/>
                  </a:lnTo>
                  <a:lnTo>
                    <a:pt x="74" y="177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4" y="186"/>
                  </a:lnTo>
                  <a:lnTo>
                    <a:pt x="74" y="188"/>
                  </a:lnTo>
                  <a:lnTo>
                    <a:pt x="74" y="188"/>
                  </a:lnTo>
                  <a:lnTo>
                    <a:pt x="74" y="188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6" y="191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4" y="193"/>
                  </a:lnTo>
                  <a:lnTo>
                    <a:pt x="74" y="193"/>
                  </a:lnTo>
                  <a:lnTo>
                    <a:pt x="74" y="195"/>
                  </a:lnTo>
                  <a:lnTo>
                    <a:pt x="76" y="198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8" y="207"/>
                  </a:lnTo>
                  <a:lnTo>
                    <a:pt x="76" y="209"/>
                  </a:lnTo>
                  <a:lnTo>
                    <a:pt x="78" y="209"/>
                  </a:lnTo>
                  <a:lnTo>
                    <a:pt x="76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11"/>
                  </a:lnTo>
                  <a:lnTo>
                    <a:pt x="72" y="211"/>
                  </a:lnTo>
                  <a:lnTo>
                    <a:pt x="72" y="213"/>
                  </a:lnTo>
                  <a:lnTo>
                    <a:pt x="74" y="213"/>
                  </a:lnTo>
                  <a:lnTo>
                    <a:pt x="76" y="215"/>
                  </a:lnTo>
                  <a:lnTo>
                    <a:pt x="76" y="217"/>
                  </a:lnTo>
                  <a:lnTo>
                    <a:pt x="76" y="217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8" y="220"/>
                  </a:lnTo>
                  <a:lnTo>
                    <a:pt x="78" y="220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80" y="220"/>
                  </a:lnTo>
                  <a:lnTo>
                    <a:pt x="80" y="220"/>
                  </a:lnTo>
                  <a:lnTo>
                    <a:pt x="80" y="220"/>
                  </a:lnTo>
                  <a:lnTo>
                    <a:pt x="80" y="220"/>
                  </a:lnTo>
                  <a:lnTo>
                    <a:pt x="83" y="217"/>
                  </a:lnTo>
                  <a:lnTo>
                    <a:pt x="83" y="217"/>
                  </a:lnTo>
                  <a:lnTo>
                    <a:pt x="85" y="218"/>
                  </a:lnTo>
                  <a:lnTo>
                    <a:pt x="91" y="218"/>
                  </a:lnTo>
                  <a:lnTo>
                    <a:pt x="92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6" y="213"/>
                  </a:lnTo>
                  <a:lnTo>
                    <a:pt x="96" y="213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4" y="206"/>
                  </a:lnTo>
                  <a:lnTo>
                    <a:pt x="94" y="204"/>
                  </a:lnTo>
                  <a:lnTo>
                    <a:pt x="96" y="204"/>
                  </a:lnTo>
                  <a:lnTo>
                    <a:pt x="98" y="204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98" y="200"/>
                  </a:lnTo>
                  <a:lnTo>
                    <a:pt x="101" y="200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7"/>
                  </a:lnTo>
                  <a:lnTo>
                    <a:pt x="103" y="197"/>
                  </a:lnTo>
                  <a:lnTo>
                    <a:pt x="103" y="197"/>
                  </a:lnTo>
                  <a:lnTo>
                    <a:pt x="105" y="197"/>
                  </a:lnTo>
                  <a:lnTo>
                    <a:pt x="105" y="195"/>
                  </a:lnTo>
                  <a:lnTo>
                    <a:pt x="105" y="195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1"/>
                  </a:lnTo>
                  <a:lnTo>
                    <a:pt x="105" y="189"/>
                  </a:lnTo>
                  <a:lnTo>
                    <a:pt x="105" y="188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6" y="184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16" y="179"/>
                  </a:lnTo>
                  <a:lnTo>
                    <a:pt x="116" y="177"/>
                  </a:lnTo>
                  <a:lnTo>
                    <a:pt x="116" y="175"/>
                  </a:lnTo>
                  <a:lnTo>
                    <a:pt x="118" y="173"/>
                  </a:lnTo>
                  <a:lnTo>
                    <a:pt x="119" y="171"/>
                  </a:lnTo>
                  <a:lnTo>
                    <a:pt x="119" y="170"/>
                  </a:lnTo>
                  <a:lnTo>
                    <a:pt x="119" y="168"/>
                  </a:lnTo>
                  <a:lnTo>
                    <a:pt x="118" y="168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6" y="162"/>
                  </a:lnTo>
                  <a:lnTo>
                    <a:pt x="116" y="161"/>
                  </a:lnTo>
                  <a:lnTo>
                    <a:pt x="116" y="161"/>
                  </a:lnTo>
                  <a:lnTo>
                    <a:pt x="116" y="157"/>
                  </a:lnTo>
                  <a:lnTo>
                    <a:pt x="114" y="153"/>
                  </a:lnTo>
                  <a:lnTo>
                    <a:pt x="116" y="152"/>
                  </a:lnTo>
                  <a:lnTo>
                    <a:pt x="116" y="150"/>
                  </a:lnTo>
                  <a:lnTo>
                    <a:pt x="119" y="148"/>
                  </a:lnTo>
                  <a:lnTo>
                    <a:pt x="121" y="148"/>
                  </a:lnTo>
                  <a:lnTo>
                    <a:pt x="123" y="146"/>
                  </a:lnTo>
                  <a:lnTo>
                    <a:pt x="127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6"/>
                  </a:lnTo>
                  <a:lnTo>
                    <a:pt x="128" y="146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7"/>
                  </a:lnTo>
                  <a:lnTo>
                    <a:pt x="128" y="157"/>
                  </a:lnTo>
                  <a:lnTo>
                    <a:pt x="130" y="157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4" y="155"/>
                  </a:lnTo>
                  <a:lnTo>
                    <a:pt x="134" y="153"/>
                  </a:lnTo>
                  <a:lnTo>
                    <a:pt x="134" y="153"/>
                  </a:lnTo>
                  <a:lnTo>
                    <a:pt x="134" y="152"/>
                  </a:lnTo>
                  <a:lnTo>
                    <a:pt x="134" y="150"/>
                  </a:lnTo>
                  <a:lnTo>
                    <a:pt x="134" y="150"/>
                  </a:lnTo>
                  <a:lnTo>
                    <a:pt x="136" y="150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9" y="150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3" y="148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3"/>
                  </a:lnTo>
                  <a:lnTo>
                    <a:pt x="143" y="153"/>
                  </a:lnTo>
                  <a:lnTo>
                    <a:pt x="145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8" y="155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2" y="157"/>
                  </a:lnTo>
                  <a:lnTo>
                    <a:pt x="152" y="155"/>
                  </a:lnTo>
                  <a:lnTo>
                    <a:pt x="152" y="153"/>
                  </a:lnTo>
                  <a:lnTo>
                    <a:pt x="152" y="153"/>
                  </a:lnTo>
                  <a:lnTo>
                    <a:pt x="154" y="153"/>
                  </a:lnTo>
                  <a:lnTo>
                    <a:pt x="154" y="152"/>
                  </a:lnTo>
                  <a:lnTo>
                    <a:pt x="156" y="152"/>
                  </a:lnTo>
                  <a:lnTo>
                    <a:pt x="156" y="150"/>
                  </a:lnTo>
                  <a:lnTo>
                    <a:pt x="156" y="150"/>
                  </a:lnTo>
                  <a:lnTo>
                    <a:pt x="157" y="153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57"/>
                  </a:lnTo>
                  <a:lnTo>
                    <a:pt x="159" y="157"/>
                  </a:lnTo>
                  <a:lnTo>
                    <a:pt x="161" y="159"/>
                  </a:lnTo>
                  <a:lnTo>
                    <a:pt x="161" y="159"/>
                  </a:lnTo>
                  <a:lnTo>
                    <a:pt x="163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70" y="157"/>
                  </a:lnTo>
                  <a:lnTo>
                    <a:pt x="174" y="157"/>
                  </a:lnTo>
                  <a:lnTo>
                    <a:pt x="174" y="155"/>
                  </a:lnTo>
                  <a:lnTo>
                    <a:pt x="175" y="153"/>
                  </a:lnTo>
                  <a:lnTo>
                    <a:pt x="175" y="152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EF90677B-64C6-2015-613A-39533C2EA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5250" y="4189413"/>
              <a:ext cx="277813" cy="352425"/>
            </a:xfrm>
            <a:custGeom>
              <a:avLst/>
              <a:gdLst>
                <a:gd name="T0" fmla="*/ 168 w 175"/>
                <a:gd name="T1" fmla="*/ 148 h 222"/>
                <a:gd name="T2" fmla="*/ 166 w 175"/>
                <a:gd name="T3" fmla="*/ 139 h 222"/>
                <a:gd name="T4" fmla="*/ 166 w 175"/>
                <a:gd name="T5" fmla="*/ 124 h 222"/>
                <a:gd name="T6" fmla="*/ 157 w 175"/>
                <a:gd name="T7" fmla="*/ 121 h 222"/>
                <a:gd name="T8" fmla="*/ 147 w 175"/>
                <a:gd name="T9" fmla="*/ 115 h 222"/>
                <a:gd name="T10" fmla="*/ 147 w 175"/>
                <a:gd name="T11" fmla="*/ 105 h 222"/>
                <a:gd name="T12" fmla="*/ 147 w 175"/>
                <a:gd name="T13" fmla="*/ 101 h 222"/>
                <a:gd name="T14" fmla="*/ 143 w 175"/>
                <a:gd name="T15" fmla="*/ 86 h 222"/>
                <a:gd name="T16" fmla="*/ 137 w 175"/>
                <a:gd name="T17" fmla="*/ 86 h 222"/>
                <a:gd name="T18" fmla="*/ 128 w 175"/>
                <a:gd name="T19" fmla="*/ 77 h 222"/>
                <a:gd name="T20" fmla="*/ 125 w 175"/>
                <a:gd name="T21" fmla="*/ 70 h 222"/>
                <a:gd name="T22" fmla="*/ 128 w 175"/>
                <a:gd name="T23" fmla="*/ 52 h 222"/>
                <a:gd name="T24" fmla="*/ 127 w 175"/>
                <a:gd name="T25" fmla="*/ 40 h 222"/>
                <a:gd name="T26" fmla="*/ 112 w 175"/>
                <a:gd name="T27" fmla="*/ 36 h 222"/>
                <a:gd name="T28" fmla="*/ 101 w 175"/>
                <a:gd name="T29" fmla="*/ 27 h 222"/>
                <a:gd name="T30" fmla="*/ 91 w 175"/>
                <a:gd name="T31" fmla="*/ 30 h 222"/>
                <a:gd name="T32" fmla="*/ 85 w 175"/>
                <a:gd name="T33" fmla="*/ 25 h 222"/>
                <a:gd name="T34" fmla="*/ 82 w 175"/>
                <a:gd name="T35" fmla="*/ 21 h 222"/>
                <a:gd name="T36" fmla="*/ 74 w 175"/>
                <a:gd name="T37" fmla="*/ 14 h 222"/>
                <a:gd name="T38" fmla="*/ 56 w 175"/>
                <a:gd name="T39" fmla="*/ 3 h 222"/>
                <a:gd name="T40" fmla="*/ 36 w 175"/>
                <a:gd name="T41" fmla="*/ 5 h 222"/>
                <a:gd name="T42" fmla="*/ 20 w 175"/>
                <a:gd name="T43" fmla="*/ 9 h 222"/>
                <a:gd name="T44" fmla="*/ 15 w 175"/>
                <a:gd name="T45" fmla="*/ 9 h 222"/>
                <a:gd name="T46" fmla="*/ 7 w 175"/>
                <a:gd name="T47" fmla="*/ 11 h 222"/>
                <a:gd name="T48" fmla="*/ 2 w 175"/>
                <a:gd name="T49" fmla="*/ 14 h 222"/>
                <a:gd name="T50" fmla="*/ 9 w 175"/>
                <a:gd name="T51" fmla="*/ 18 h 222"/>
                <a:gd name="T52" fmla="*/ 17 w 175"/>
                <a:gd name="T53" fmla="*/ 23 h 222"/>
                <a:gd name="T54" fmla="*/ 22 w 175"/>
                <a:gd name="T55" fmla="*/ 27 h 222"/>
                <a:gd name="T56" fmla="*/ 24 w 175"/>
                <a:gd name="T57" fmla="*/ 36 h 222"/>
                <a:gd name="T58" fmla="*/ 27 w 175"/>
                <a:gd name="T59" fmla="*/ 41 h 222"/>
                <a:gd name="T60" fmla="*/ 29 w 175"/>
                <a:gd name="T61" fmla="*/ 50 h 222"/>
                <a:gd name="T62" fmla="*/ 33 w 175"/>
                <a:gd name="T63" fmla="*/ 58 h 222"/>
                <a:gd name="T64" fmla="*/ 40 w 175"/>
                <a:gd name="T65" fmla="*/ 70 h 222"/>
                <a:gd name="T66" fmla="*/ 45 w 175"/>
                <a:gd name="T67" fmla="*/ 76 h 222"/>
                <a:gd name="T68" fmla="*/ 49 w 175"/>
                <a:gd name="T69" fmla="*/ 83 h 222"/>
                <a:gd name="T70" fmla="*/ 56 w 175"/>
                <a:gd name="T71" fmla="*/ 92 h 222"/>
                <a:gd name="T72" fmla="*/ 62 w 175"/>
                <a:gd name="T73" fmla="*/ 101 h 222"/>
                <a:gd name="T74" fmla="*/ 71 w 175"/>
                <a:gd name="T75" fmla="*/ 108 h 222"/>
                <a:gd name="T76" fmla="*/ 74 w 175"/>
                <a:gd name="T77" fmla="*/ 121 h 222"/>
                <a:gd name="T78" fmla="*/ 82 w 175"/>
                <a:gd name="T79" fmla="*/ 141 h 222"/>
                <a:gd name="T80" fmla="*/ 82 w 175"/>
                <a:gd name="T81" fmla="*/ 150 h 222"/>
                <a:gd name="T82" fmla="*/ 78 w 175"/>
                <a:gd name="T83" fmla="*/ 159 h 222"/>
                <a:gd name="T84" fmla="*/ 76 w 175"/>
                <a:gd name="T85" fmla="*/ 166 h 222"/>
                <a:gd name="T86" fmla="*/ 74 w 175"/>
                <a:gd name="T87" fmla="*/ 177 h 222"/>
                <a:gd name="T88" fmla="*/ 74 w 175"/>
                <a:gd name="T89" fmla="*/ 188 h 222"/>
                <a:gd name="T90" fmla="*/ 76 w 175"/>
                <a:gd name="T91" fmla="*/ 198 h 222"/>
                <a:gd name="T92" fmla="*/ 74 w 175"/>
                <a:gd name="T93" fmla="*/ 213 h 222"/>
                <a:gd name="T94" fmla="*/ 80 w 175"/>
                <a:gd name="T95" fmla="*/ 220 h 222"/>
                <a:gd name="T96" fmla="*/ 94 w 175"/>
                <a:gd name="T97" fmla="*/ 215 h 222"/>
                <a:gd name="T98" fmla="*/ 94 w 175"/>
                <a:gd name="T99" fmla="*/ 206 h 222"/>
                <a:gd name="T100" fmla="*/ 103 w 175"/>
                <a:gd name="T101" fmla="*/ 197 h 222"/>
                <a:gd name="T102" fmla="*/ 107 w 175"/>
                <a:gd name="T103" fmla="*/ 186 h 222"/>
                <a:gd name="T104" fmla="*/ 116 w 175"/>
                <a:gd name="T105" fmla="*/ 166 h 222"/>
                <a:gd name="T106" fmla="*/ 121 w 175"/>
                <a:gd name="T107" fmla="*/ 148 h 222"/>
                <a:gd name="T108" fmla="*/ 128 w 175"/>
                <a:gd name="T109" fmla="*/ 157 h 222"/>
                <a:gd name="T110" fmla="*/ 136 w 175"/>
                <a:gd name="T111" fmla="*/ 150 h 222"/>
                <a:gd name="T112" fmla="*/ 143 w 175"/>
                <a:gd name="T113" fmla="*/ 150 h 222"/>
                <a:gd name="T114" fmla="*/ 150 w 175"/>
                <a:gd name="T115" fmla="*/ 157 h 222"/>
                <a:gd name="T116" fmla="*/ 159 w 175"/>
                <a:gd name="T117" fmla="*/ 155 h 222"/>
                <a:gd name="T118" fmla="*/ 174 w 175"/>
                <a:gd name="T119" fmla="*/ 155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5" h="222">
                  <a:moveTo>
                    <a:pt x="175" y="152"/>
                  </a:moveTo>
                  <a:lnTo>
                    <a:pt x="174" y="152"/>
                  </a:lnTo>
                  <a:lnTo>
                    <a:pt x="174" y="152"/>
                  </a:lnTo>
                  <a:lnTo>
                    <a:pt x="174" y="153"/>
                  </a:lnTo>
                  <a:lnTo>
                    <a:pt x="172" y="152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48"/>
                  </a:lnTo>
                  <a:lnTo>
                    <a:pt x="170" y="148"/>
                  </a:lnTo>
                  <a:lnTo>
                    <a:pt x="168" y="148"/>
                  </a:lnTo>
                  <a:lnTo>
                    <a:pt x="168" y="148"/>
                  </a:lnTo>
                  <a:lnTo>
                    <a:pt x="168" y="148"/>
                  </a:lnTo>
                  <a:lnTo>
                    <a:pt x="168" y="148"/>
                  </a:lnTo>
                  <a:lnTo>
                    <a:pt x="168" y="148"/>
                  </a:lnTo>
                  <a:lnTo>
                    <a:pt x="166" y="146"/>
                  </a:lnTo>
                  <a:lnTo>
                    <a:pt x="166" y="146"/>
                  </a:lnTo>
                  <a:lnTo>
                    <a:pt x="165" y="146"/>
                  </a:lnTo>
                  <a:lnTo>
                    <a:pt x="165" y="144"/>
                  </a:lnTo>
                  <a:lnTo>
                    <a:pt x="165" y="142"/>
                  </a:lnTo>
                  <a:lnTo>
                    <a:pt x="165" y="142"/>
                  </a:lnTo>
                  <a:lnTo>
                    <a:pt x="166" y="142"/>
                  </a:lnTo>
                  <a:lnTo>
                    <a:pt x="166" y="141"/>
                  </a:lnTo>
                  <a:lnTo>
                    <a:pt x="166" y="141"/>
                  </a:lnTo>
                  <a:lnTo>
                    <a:pt x="166" y="139"/>
                  </a:lnTo>
                  <a:lnTo>
                    <a:pt x="166" y="139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0"/>
                  </a:lnTo>
                  <a:lnTo>
                    <a:pt x="166" y="130"/>
                  </a:lnTo>
                  <a:lnTo>
                    <a:pt x="166" y="128"/>
                  </a:lnTo>
                  <a:lnTo>
                    <a:pt x="166" y="128"/>
                  </a:lnTo>
                  <a:lnTo>
                    <a:pt x="166" y="128"/>
                  </a:lnTo>
                  <a:lnTo>
                    <a:pt x="166" y="126"/>
                  </a:lnTo>
                  <a:lnTo>
                    <a:pt x="166" y="124"/>
                  </a:lnTo>
                  <a:lnTo>
                    <a:pt x="165" y="124"/>
                  </a:lnTo>
                  <a:lnTo>
                    <a:pt x="165" y="124"/>
                  </a:lnTo>
                  <a:lnTo>
                    <a:pt x="165" y="124"/>
                  </a:lnTo>
                  <a:lnTo>
                    <a:pt x="165" y="124"/>
                  </a:lnTo>
                  <a:lnTo>
                    <a:pt x="163" y="124"/>
                  </a:lnTo>
                  <a:lnTo>
                    <a:pt x="163" y="124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1" y="121"/>
                  </a:lnTo>
                  <a:lnTo>
                    <a:pt x="159" y="121"/>
                  </a:lnTo>
                  <a:lnTo>
                    <a:pt x="159" y="121"/>
                  </a:lnTo>
                  <a:lnTo>
                    <a:pt x="157" y="121"/>
                  </a:lnTo>
                  <a:lnTo>
                    <a:pt x="156" y="121"/>
                  </a:lnTo>
                  <a:lnTo>
                    <a:pt x="154" y="119"/>
                  </a:lnTo>
                  <a:lnTo>
                    <a:pt x="154" y="117"/>
                  </a:lnTo>
                  <a:lnTo>
                    <a:pt x="154" y="117"/>
                  </a:lnTo>
                  <a:lnTo>
                    <a:pt x="152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5"/>
                  </a:lnTo>
                  <a:lnTo>
                    <a:pt x="148" y="115"/>
                  </a:lnTo>
                  <a:lnTo>
                    <a:pt x="148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4"/>
                  </a:lnTo>
                  <a:lnTo>
                    <a:pt x="147" y="114"/>
                  </a:lnTo>
                  <a:lnTo>
                    <a:pt x="147" y="112"/>
                  </a:lnTo>
                  <a:lnTo>
                    <a:pt x="148" y="110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6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47" y="105"/>
                  </a:lnTo>
                  <a:lnTo>
                    <a:pt x="147" y="105"/>
                  </a:lnTo>
                  <a:lnTo>
                    <a:pt x="145" y="106"/>
                  </a:lnTo>
                  <a:lnTo>
                    <a:pt x="145" y="106"/>
                  </a:lnTo>
                  <a:lnTo>
                    <a:pt x="145" y="106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5" y="103"/>
                  </a:lnTo>
                  <a:lnTo>
                    <a:pt x="145" y="101"/>
                  </a:lnTo>
                  <a:lnTo>
                    <a:pt x="147" y="101"/>
                  </a:lnTo>
                  <a:lnTo>
                    <a:pt x="147" y="99"/>
                  </a:lnTo>
                  <a:lnTo>
                    <a:pt x="147" y="96"/>
                  </a:lnTo>
                  <a:lnTo>
                    <a:pt x="147" y="94"/>
                  </a:lnTo>
                  <a:lnTo>
                    <a:pt x="147" y="92"/>
                  </a:lnTo>
                  <a:lnTo>
                    <a:pt x="148" y="92"/>
                  </a:lnTo>
                  <a:lnTo>
                    <a:pt x="148" y="90"/>
                  </a:lnTo>
                  <a:lnTo>
                    <a:pt x="148" y="88"/>
                  </a:lnTo>
                  <a:lnTo>
                    <a:pt x="147" y="86"/>
                  </a:lnTo>
                  <a:lnTo>
                    <a:pt x="147" y="86"/>
                  </a:lnTo>
                  <a:lnTo>
                    <a:pt x="145" y="86"/>
                  </a:lnTo>
                  <a:lnTo>
                    <a:pt x="145" y="86"/>
                  </a:lnTo>
                  <a:lnTo>
                    <a:pt x="143" y="86"/>
                  </a:lnTo>
                  <a:lnTo>
                    <a:pt x="143" y="86"/>
                  </a:lnTo>
                  <a:lnTo>
                    <a:pt x="143" y="88"/>
                  </a:lnTo>
                  <a:lnTo>
                    <a:pt x="141" y="88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5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4" y="83"/>
                  </a:lnTo>
                  <a:lnTo>
                    <a:pt x="134" y="83"/>
                  </a:lnTo>
                  <a:lnTo>
                    <a:pt x="134" y="83"/>
                  </a:lnTo>
                  <a:lnTo>
                    <a:pt x="134" y="81"/>
                  </a:lnTo>
                  <a:lnTo>
                    <a:pt x="134" y="81"/>
                  </a:lnTo>
                  <a:lnTo>
                    <a:pt x="132" y="79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28" y="77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7" y="77"/>
                  </a:lnTo>
                  <a:lnTo>
                    <a:pt x="127" y="77"/>
                  </a:lnTo>
                  <a:lnTo>
                    <a:pt x="127" y="76"/>
                  </a:lnTo>
                  <a:lnTo>
                    <a:pt x="127" y="76"/>
                  </a:lnTo>
                  <a:lnTo>
                    <a:pt x="125" y="74"/>
                  </a:lnTo>
                  <a:lnTo>
                    <a:pt x="125" y="74"/>
                  </a:lnTo>
                  <a:lnTo>
                    <a:pt x="125" y="74"/>
                  </a:lnTo>
                  <a:lnTo>
                    <a:pt x="125" y="74"/>
                  </a:lnTo>
                  <a:lnTo>
                    <a:pt x="125" y="72"/>
                  </a:lnTo>
                  <a:lnTo>
                    <a:pt x="125" y="70"/>
                  </a:lnTo>
                  <a:lnTo>
                    <a:pt x="127" y="68"/>
                  </a:lnTo>
                  <a:lnTo>
                    <a:pt x="128" y="65"/>
                  </a:lnTo>
                  <a:lnTo>
                    <a:pt x="128" y="63"/>
                  </a:lnTo>
                  <a:lnTo>
                    <a:pt x="128" y="59"/>
                  </a:lnTo>
                  <a:lnTo>
                    <a:pt x="128" y="58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54"/>
                  </a:lnTo>
                  <a:lnTo>
                    <a:pt x="130" y="54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8" y="50"/>
                  </a:lnTo>
                  <a:lnTo>
                    <a:pt x="128" y="49"/>
                  </a:lnTo>
                  <a:lnTo>
                    <a:pt x="130" y="49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7" y="43"/>
                  </a:lnTo>
                  <a:lnTo>
                    <a:pt x="127" y="41"/>
                  </a:lnTo>
                  <a:lnTo>
                    <a:pt x="127" y="40"/>
                  </a:lnTo>
                  <a:lnTo>
                    <a:pt x="127" y="40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3" y="38"/>
                  </a:lnTo>
                  <a:lnTo>
                    <a:pt x="121" y="40"/>
                  </a:lnTo>
                  <a:lnTo>
                    <a:pt x="119" y="41"/>
                  </a:lnTo>
                  <a:lnTo>
                    <a:pt x="118" y="43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4" y="40"/>
                  </a:lnTo>
                  <a:lnTo>
                    <a:pt x="112" y="38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0" y="36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2"/>
                  </a:lnTo>
                  <a:lnTo>
                    <a:pt x="110" y="30"/>
                  </a:lnTo>
                  <a:lnTo>
                    <a:pt x="109" y="30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7" y="27"/>
                  </a:lnTo>
                  <a:lnTo>
                    <a:pt x="105" y="27"/>
                  </a:lnTo>
                  <a:lnTo>
                    <a:pt x="101" y="27"/>
                  </a:lnTo>
                  <a:lnTo>
                    <a:pt x="98" y="25"/>
                  </a:lnTo>
                  <a:lnTo>
                    <a:pt x="96" y="25"/>
                  </a:lnTo>
                  <a:lnTo>
                    <a:pt x="94" y="25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2" y="32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1" y="25"/>
                  </a:lnTo>
                  <a:lnTo>
                    <a:pt x="91" y="25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7" y="25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1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5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2" y="20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78" y="20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6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2" y="18"/>
                  </a:lnTo>
                  <a:lnTo>
                    <a:pt x="74" y="16"/>
                  </a:lnTo>
                  <a:lnTo>
                    <a:pt x="74" y="14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9" y="12"/>
                  </a:lnTo>
                  <a:lnTo>
                    <a:pt x="67" y="12"/>
                  </a:lnTo>
                  <a:lnTo>
                    <a:pt x="65" y="11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2" y="7"/>
                  </a:lnTo>
                  <a:lnTo>
                    <a:pt x="62" y="5"/>
                  </a:lnTo>
                  <a:lnTo>
                    <a:pt x="58" y="3"/>
                  </a:lnTo>
                  <a:lnTo>
                    <a:pt x="56" y="3"/>
                  </a:lnTo>
                  <a:lnTo>
                    <a:pt x="51" y="3"/>
                  </a:lnTo>
                  <a:lnTo>
                    <a:pt x="49" y="2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6" y="3"/>
                  </a:lnTo>
                  <a:lnTo>
                    <a:pt x="35" y="5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29" y="11"/>
                  </a:lnTo>
                  <a:lnTo>
                    <a:pt x="27" y="9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21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7" y="27"/>
                  </a:lnTo>
                  <a:lnTo>
                    <a:pt x="18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2" y="32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6" y="40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7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50"/>
                  </a:lnTo>
                  <a:lnTo>
                    <a:pt x="29" y="50"/>
                  </a:lnTo>
                  <a:lnTo>
                    <a:pt x="31" y="50"/>
                  </a:lnTo>
                  <a:lnTo>
                    <a:pt x="31" y="52"/>
                  </a:lnTo>
                  <a:lnTo>
                    <a:pt x="31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9"/>
                  </a:lnTo>
                  <a:lnTo>
                    <a:pt x="35" y="61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7" y="76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81"/>
                  </a:lnTo>
                  <a:lnTo>
                    <a:pt x="47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49" y="85"/>
                  </a:lnTo>
                  <a:lnTo>
                    <a:pt x="51" y="86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3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60" y="97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58" y="99"/>
                  </a:lnTo>
                  <a:lnTo>
                    <a:pt x="60" y="101"/>
                  </a:lnTo>
                  <a:lnTo>
                    <a:pt x="62" y="101"/>
                  </a:lnTo>
                  <a:lnTo>
                    <a:pt x="62" y="101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3" y="105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7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71" y="108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2" y="112"/>
                  </a:lnTo>
                  <a:lnTo>
                    <a:pt x="72" y="114"/>
                  </a:lnTo>
                  <a:lnTo>
                    <a:pt x="74" y="115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6" y="124"/>
                  </a:lnTo>
                  <a:lnTo>
                    <a:pt x="78" y="128"/>
                  </a:lnTo>
                  <a:lnTo>
                    <a:pt x="78" y="130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2" y="137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2" y="141"/>
                  </a:lnTo>
                  <a:lnTo>
                    <a:pt x="80" y="141"/>
                  </a:lnTo>
                  <a:lnTo>
                    <a:pt x="80" y="142"/>
                  </a:lnTo>
                  <a:lnTo>
                    <a:pt x="80" y="142"/>
                  </a:lnTo>
                  <a:lnTo>
                    <a:pt x="80" y="144"/>
                  </a:lnTo>
                  <a:lnTo>
                    <a:pt x="80" y="144"/>
                  </a:lnTo>
                  <a:lnTo>
                    <a:pt x="80" y="146"/>
                  </a:lnTo>
                  <a:lnTo>
                    <a:pt x="80" y="148"/>
                  </a:lnTo>
                  <a:lnTo>
                    <a:pt x="80" y="148"/>
                  </a:lnTo>
                  <a:lnTo>
                    <a:pt x="82" y="150"/>
                  </a:lnTo>
                  <a:lnTo>
                    <a:pt x="82" y="148"/>
                  </a:lnTo>
                  <a:lnTo>
                    <a:pt x="82" y="150"/>
                  </a:lnTo>
                  <a:lnTo>
                    <a:pt x="82" y="150"/>
                  </a:lnTo>
                  <a:lnTo>
                    <a:pt x="82" y="152"/>
                  </a:lnTo>
                  <a:lnTo>
                    <a:pt x="82" y="152"/>
                  </a:lnTo>
                  <a:lnTo>
                    <a:pt x="82" y="153"/>
                  </a:lnTo>
                  <a:lnTo>
                    <a:pt x="80" y="153"/>
                  </a:lnTo>
                  <a:lnTo>
                    <a:pt x="80" y="153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78" y="159"/>
                  </a:lnTo>
                  <a:lnTo>
                    <a:pt x="78" y="159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74" y="168"/>
                  </a:lnTo>
                  <a:lnTo>
                    <a:pt x="76" y="168"/>
                  </a:lnTo>
                  <a:lnTo>
                    <a:pt x="76" y="170"/>
                  </a:lnTo>
                  <a:lnTo>
                    <a:pt x="76" y="170"/>
                  </a:lnTo>
                  <a:lnTo>
                    <a:pt x="76" y="170"/>
                  </a:lnTo>
                  <a:lnTo>
                    <a:pt x="76" y="171"/>
                  </a:lnTo>
                  <a:lnTo>
                    <a:pt x="76" y="173"/>
                  </a:lnTo>
                  <a:lnTo>
                    <a:pt x="74" y="175"/>
                  </a:lnTo>
                  <a:lnTo>
                    <a:pt x="74" y="177"/>
                  </a:lnTo>
                  <a:lnTo>
                    <a:pt x="74" y="177"/>
                  </a:lnTo>
                  <a:lnTo>
                    <a:pt x="74" y="177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4" y="186"/>
                  </a:lnTo>
                  <a:lnTo>
                    <a:pt x="74" y="188"/>
                  </a:lnTo>
                  <a:lnTo>
                    <a:pt x="74" y="188"/>
                  </a:lnTo>
                  <a:lnTo>
                    <a:pt x="74" y="188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6" y="191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4" y="193"/>
                  </a:lnTo>
                  <a:lnTo>
                    <a:pt x="74" y="193"/>
                  </a:lnTo>
                  <a:lnTo>
                    <a:pt x="74" y="195"/>
                  </a:lnTo>
                  <a:lnTo>
                    <a:pt x="76" y="198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8" y="207"/>
                  </a:lnTo>
                  <a:lnTo>
                    <a:pt x="76" y="209"/>
                  </a:lnTo>
                  <a:lnTo>
                    <a:pt x="78" y="209"/>
                  </a:lnTo>
                  <a:lnTo>
                    <a:pt x="76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11"/>
                  </a:lnTo>
                  <a:lnTo>
                    <a:pt x="72" y="211"/>
                  </a:lnTo>
                  <a:lnTo>
                    <a:pt x="72" y="213"/>
                  </a:lnTo>
                  <a:lnTo>
                    <a:pt x="74" y="213"/>
                  </a:lnTo>
                  <a:lnTo>
                    <a:pt x="76" y="215"/>
                  </a:lnTo>
                  <a:lnTo>
                    <a:pt x="76" y="217"/>
                  </a:lnTo>
                  <a:lnTo>
                    <a:pt x="76" y="217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8" y="220"/>
                  </a:lnTo>
                  <a:lnTo>
                    <a:pt x="78" y="220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80" y="220"/>
                  </a:lnTo>
                  <a:lnTo>
                    <a:pt x="80" y="220"/>
                  </a:lnTo>
                  <a:lnTo>
                    <a:pt x="80" y="220"/>
                  </a:lnTo>
                  <a:lnTo>
                    <a:pt x="80" y="220"/>
                  </a:lnTo>
                  <a:lnTo>
                    <a:pt x="83" y="217"/>
                  </a:lnTo>
                  <a:lnTo>
                    <a:pt x="83" y="217"/>
                  </a:lnTo>
                  <a:lnTo>
                    <a:pt x="85" y="218"/>
                  </a:lnTo>
                  <a:lnTo>
                    <a:pt x="91" y="218"/>
                  </a:lnTo>
                  <a:lnTo>
                    <a:pt x="92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6" y="213"/>
                  </a:lnTo>
                  <a:lnTo>
                    <a:pt x="96" y="213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4" y="206"/>
                  </a:lnTo>
                  <a:lnTo>
                    <a:pt x="94" y="204"/>
                  </a:lnTo>
                  <a:lnTo>
                    <a:pt x="96" y="204"/>
                  </a:lnTo>
                  <a:lnTo>
                    <a:pt x="98" y="204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98" y="200"/>
                  </a:lnTo>
                  <a:lnTo>
                    <a:pt x="101" y="200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7"/>
                  </a:lnTo>
                  <a:lnTo>
                    <a:pt x="103" y="197"/>
                  </a:lnTo>
                  <a:lnTo>
                    <a:pt x="103" y="197"/>
                  </a:lnTo>
                  <a:lnTo>
                    <a:pt x="105" y="197"/>
                  </a:lnTo>
                  <a:lnTo>
                    <a:pt x="105" y="195"/>
                  </a:lnTo>
                  <a:lnTo>
                    <a:pt x="105" y="195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1"/>
                  </a:lnTo>
                  <a:lnTo>
                    <a:pt x="105" y="189"/>
                  </a:lnTo>
                  <a:lnTo>
                    <a:pt x="105" y="188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6" y="184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16" y="179"/>
                  </a:lnTo>
                  <a:lnTo>
                    <a:pt x="116" y="177"/>
                  </a:lnTo>
                  <a:lnTo>
                    <a:pt x="116" y="175"/>
                  </a:lnTo>
                  <a:lnTo>
                    <a:pt x="118" y="173"/>
                  </a:lnTo>
                  <a:lnTo>
                    <a:pt x="119" y="171"/>
                  </a:lnTo>
                  <a:lnTo>
                    <a:pt x="119" y="170"/>
                  </a:lnTo>
                  <a:lnTo>
                    <a:pt x="119" y="168"/>
                  </a:lnTo>
                  <a:lnTo>
                    <a:pt x="118" y="168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6" y="162"/>
                  </a:lnTo>
                  <a:lnTo>
                    <a:pt x="116" y="161"/>
                  </a:lnTo>
                  <a:lnTo>
                    <a:pt x="116" y="161"/>
                  </a:lnTo>
                  <a:lnTo>
                    <a:pt x="116" y="157"/>
                  </a:lnTo>
                  <a:lnTo>
                    <a:pt x="114" y="153"/>
                  </a:lnTo>
                  <a:lnTo>
                    <a:pt x="116" y="152"/>
                  </a:lnTo>
                  <a:lnTo>
                    <a:pt x="116" y="150"/>
                  </a:lnTo>
                  <a:lnTo>
                    <a:pt x="119" y="148"/>
                  </a:lnTo>
                  <a:lnTo>
                    <a:pt x="121" y="148"/>
                  </a:lnTo>
                  <a:lnTo>
                    <a:pt x="123" y="146"/>
                  </a:lnTo>
                  <a:lnTo>
                    <a:pt x="127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6"/>
                  </a:lnTo>
                  <a:lnTo>
                    <a:pt x="128" y="146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7"/>
                  </a:lnTo>
                  <a:lnTo>
                    <a:pt x="128" y="157"/>
                  </a:lnTo>
                  <a:lnTo>
                    <a:pt x="130" y="157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4" y="155"/>
                  </a:lnTo>
                  <a:lnTo>
                    <a:pt x="134" y="153"/>
                  </a:lnTo>
                  <a:lnTo>
                    <a:pt x="134" y="153"/>
                  </a:lnTo>
                  <a:lnTo>
                    <a:pt x="134" y="152"/>
                  </a:lnTo>
                  <a:lnTo>
                    <a:pt x="134" y="150"/>
                  </a:lnTo>
                  <a:lnTo>
                    <a:pt x="134" y="150"/>
                  </a:lnTo>
                  <a:lnTo>
                    <a:pt x="136" y="150"/>
                  </a:lnTo>
                  <a:lnTo>
                    <a:pt x="136" y="152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9" y="150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3" y="148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3" y="150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3"/>
                  </a:lnTo>
                  <a:lnTo>
                    <a:pt x="143" y="153"/>
                  </a:lnTo>
                  <a:lnTo>
                    <a:pt x="145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8" y="155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2" y="157"/>
                  </a:lnTo>
                  <a:lnTo>
                    <a:pt x="152" y="155"/>
                  </a:lnTo>
                  <a:lnTo>
                    <a:pt x="152" y="153"/>
                  </a:lnTo>
                  <a:lnTo>
                    <a:pt x="152" y="153"/>
                  </a:lnTo>
                  <a:lnTo>
                    <a:pt x="154" y="153"/>
                  </a:lnTo>
                  <a:lnTo>
                    <a:pt x="154" y="152"/>
                  </a:lnTo>
                  <a:lnTo>
                    <a:pt x="156" y="152"/>
                  </a:lnTo>
                  <a:lnTo>
                    <a:pt x="156" y="150"/>
                  </a:lnTo>
                  <a:lnTo>
                    <a:pt x="156" y="150"/>
                  </a:lnTo>
                  <a:lnTo>
                    <a:pt x="157" y="153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57"/>
                  </a:lnTo>
                  <a:lnTo>
                    <a:pt x="159" y="157"/>
                  </a:lnTo>
                  <a:lnTo>
                    <a:pt x="161" y="159"/>
                  </a:lnTo>
                  <a:lnTo>
                    <a:pt x="161" y="159"/>
                  </a:lnTo>
                  <a:lnTo>
                    <a:pt x="163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70" y="157"/>
                  </a:lnTo>
                  <a:lnTo>
                    <a:pt x="174" y="157"/>
                  </a:lnTo>
                  <a:lnTo>
                    <a:pt x="174" y="155"/>
                  </a:lnTo>
                  <a:lnTo>
                    <a:pt x="175" y="153"/>
                  </a:lnTo>
                  <a:lnTo>
                    <a:pt x="175" y="152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6" name="Freeform 135">
              <a:extLst>
                <a:ext uri="{FF2B5EF4-FFF2-40B4-BE49-F238E27FC236}">
                  <a16:creationId xmlns:a16="http://schemas.microsoft.com/office/drawing/2014/main" id="{28F1F7A8-3D1D-761C-9D05-D2AE06C288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6238" y="5526088"/>
              <a:ext cx="31750" cy="25400"/>
            </a:xfrm>
            <a:custGeom>
              <a:avLst/>
              <a:gdLst>
                <a:gd name="T0" fmla="*/ 20 w 20"/>
                <a:gd name="T1" fmla="*/ 12 h 16"/>
                <a:gd name="T2" fmla="*/ 18 w 20"/>
                <a:gd name="T3" fmla="*/ 10 h 16"/>
                <a:gd name="T4" fmla="*/ 16 w 20"/>
                <a:gd name="T5" fmla="*/ 10 h 16"/>
                <a:gd name="T6" fmla="*/ 16 w 20"/>
                <a:gd name="T7" fmla="*/ 10 h 16"/>
                <a:gd name="T8" fmla="*/ 16 w 20"/>
                <a:gd name="T9" fmla="*/ 10 h 16"/>
                <a:gd name="T10" fmla="*/ 16 w 20"/>
                <a:gd name="T11" fmla="*/ 9 h 16"/>
                <a:gd name="T12" fmla="*/ 16 w 20"/>
                <a:gd name="T13" fmla="*/ 9 h 16"/>
                <a:gd name="T14" fmla="*/ 15 w 20"/>
                <a:gd name="T15" fmla="*/ 9 h 16"/>
                <a:gd name="T16" fmla="*/ 13 w 20"/>
                <a:gd name="T17" fmla="*/ 7 h 16"/>
                <a:gd name="T18" fmla="*/ 13 w 20"/>
                <a:gd name="T19" fmla="*/ 7 h 16"/>
                <a:gd name="T20" fmla="*/ 9 w 20"/>
                <a:gd name="T21" fmla="*/ 5 h 16"/>
                <a:gd name="T22" fmla="*/ 9 w 20"/>
                <a:gd name="T23" fmla="*/ 5 h 16"/>
                <a:gd name="T24" fmla="*/ 9 w 20"/>
                <a:gd name="T25" fmla="*/ 5 h 16"/>
                <a:gd name="T26" fmla="*/ 9 w 20"/>
                <a:gd name="T27" fmla="*/ 5 h 16"/>
                <a:gd name="T28" fmla="*/ 9 w 20"/>
                <a:gd name="T29" fmla="*/ 5 h 16"/>
                <a:gd name="T30" fmla="*/ 9 w 20"/>
                <a:gd name="T31" fmla="*/ 5 h 16"/>
                <a:gd name="T32" fmla="*/ 9 w 20"/>
                <a:gd name="T33" fmla="*/ 5 h 16"/>
                <a:gd name="T34" fmla="*/ 7 w 20"/>
                <a:gd name="T35" fmla="*/ 5 h 16"/>
                <a:gd name="T36" fmla="*/ 7 w 20"/>
                <a:gd name="T37" fmla="*/ 5 h 16"/>
                <a:gd name="T38" fmla="*/ 7 w 20"/>
                <a:gd name="T39" fmla="*/ 7 h 16"/>
                <a:gd name="T40" fmla="*/ 7 w 20"/>
                <a:gd name="T41" fmla="*/ 7 h 16"/>
                <a:gd name="T42" fmla="*/ 7 w 20"/>
                <a:gd name="T43" fmla="*/ 10 h 16"/>
                <a:gd name="T44" fmla="*/ 7 w 20"/>
                <a:gd name="T45" fmla="*/ 12 h 16"/>
                <a:gd name="T46" fmla="*/ 9 w 20"/>
                <a:gd name="T47" fmla="*/ 12 h 16"/>
                <a:gd name="T48" fmla="*/ 9 w 20"/>
                <a:gd name="T49" fmla="*/ 12 h 16"/>
                <a:gd name="T50" fmla="*/ 9 w 20"/>
                <a:gd name="T51" fmla="*/ 12 h 16"/>
                <a:gd name="T52" fmla="*/ 11 w 20"/>
                <a:gd name="T53" fmla="*/ 14 h 16"/>
                <a:gd name="T54" fmla="*/ 13 w 20"/>
                <a:gd name="T55" fmla="*/ 16 h 16"/>
                <a:gd name="T56" fmla="*/ 15 w 20"/>
                <a:gd name="T57" fmla="*/ 16 h 16"/>
                <a:gd name="T58" fmla="*/ 16 w 20"/>
                <a:gd name="T59" fmla="*/ 16 h 16"/>
                <a:gd name="T60" fmla="*/ 16 w 20"/>
                <a:gd name="T61" fmla="*/ 16 h 16"/>
                <a:gd name="T62" fmla="*/ 18 w 20"/>
                <a:gd name="T63" fmla="*/ 16 h 16"/>
                <a:gd name="T64" fmla="*/ 18 w 20"/>
                <a:gd name="T65" fmla="*/ 16 h 16"/>
                <a:gd name="T66" fmla="*/ 18 w 20"/>
                <a:gd name="T67" fmla="*/ 16 h 16"/>
                <a:gd name="T68" fmla="*/ 18 w 20"/>
                <a:gd name="T69" fmla="*/ 14 h 16"/>
                <a:gd name="T70" fmla="*/ 20 w 20"/>
                <a:gd name="T71" fmla="*/ 14 h 16"/>
                <a:gd name="T72" fmla="*/ 20 w 20"/>
                <a:gd name="T73" fmla="*/ 14 h 16"/>
                <a:gd name="T74" fmla="*/ 20 w 20"/>
                <a:gd name="T75" fmla="*/ 12 h 16"/>
                <a:gd name="T76" fmla="*/ 7 w 20"/>
                <a:gd name="T77" fmla="*/ 1 h 16"/>
                <a:gd name="T78" fmla="*/ 7 w 20"/>
                <a:gd name="T79" fmla="*/ 1 h 16"/>
                <a:gd name="T80" fmla="*/ 6 w 20"/>
                <a:gd name="T81" fmla="*/ 0 h 16"/>
                <a:gd name="T82" fmla="*/ 4 w 20"/>
                <a:gd name="T83" fmla="*/ 0 h 16"/>
                <a:gd name="T84" fmla="*/ 0 w 20"/>
                <a:gd name="T85" fmla="*/ 0 h 16"/>
                <a:gd name="T86" fmla="*/ 0 w 20"/>
                <a:gd name="T87" fmla="*/ 0 h 16"/>
                <a:gd name="T88" fmla="*/ 0 w 20"/>
                <a:gd name="T89" fmla="*/ 1 h 16"/>
                <a:gd name="T90" fmla="*/ 0 w 20"/>
                <a:gd name="T91" fmla="*/ 1 h 16"/>
                <a:gd name="T92" fmla="*/ 0 w 20"/>
                <a:gd name="T93" fmla="*/ 1 h 16"/>
                <a:gd name="T94" fmla="*/ 2 w 20"/>
                <a:gd name="T95" fmla="*/ 3 h 16"/>
                <a:gd name="T96" fmla="*/ 2 w 20"/>
                <a:gd name="T97" fmla="*/ 3 h 16"/>
                <a:gd name="T98" fmla="*/ 4 w 20"/>
                <a:gd name="T99" fmla="*/ 3 h 16"/>
                <a:gd name="T100" fmla="*/ 4 w 20"/>
                <a:gd name="T101" fmla="*/ 3 h 16"/>
                <a:gd name="T102" fmla="*/ 6 w 20"/>
                <a:gd name="T103" fmla="*/ 3 h 16"/>
                <a:gd name="T104" fmla="*/ 6 w 20"/>
                <a:gd name="T105" fmla="*/ 3 h 16"/>
                <a:gd name="T106" fmla="*/ 7 w 20"/>
                <a:gd name="T107" fmla="*/ 3 h 16"/>
                <a:gd name="T108" fmla="*/ 7 w 20"/>
                <a:gd name="T10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" h="16">
                  <a:moveTo>
                    <a:pt x="20" y="12"/>
                  </a:moveTo>
                  <a:lnTo>
                    <a:pt x="18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1" y="14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2"/>
                  </a:lnTo>
                  <a:close/>
                  <a:moveTo>
                    <a:pt x="7" y="1"/>
                  </a:moveTo>
                  <a:lnTo>
                    <a:pt x="7" y="1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1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7" name="Freeform 136">
              <a:extLst>
                <a:ext uri="{FF2B5EF4-FFF2-40B4-BE49-F238E27FC236}">
                  <a16:creationId xmlns:a16="http://schemas.microsoft.com/office/drawing/2014/main" id="{101A8BA7-890D-EA85-B29E-C2F07C7C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4713" y="4879976"/>
              <a:ext cx="204788" cy="163513"/>
            </a:xfrm>
            <a:custGeom>
              <a:avLst/>
              <a:gdLst>
                <a:gd name="T0" fmla="*/ 125 w 129"/>
                <a:gd name="T1" fmla="*/ 40 h 103"/>
                <a:gd name="T2" fmla="*/ 121 w 129"/>
                <a:gd name="T3" fmla="*/ 34 h 103"/>
                <a:gd name="T4" fmla="*/ 121 w 129"/>
                <a:gd name="T5" fmla="*/ 29 h 103"/>
                <a:gd name="T6" fmla="*/ 120 w 129"/>
                <a:gd name="T7" fmla="*/ 25 h 103"/>
                <a:gd name="T8" fmla="*/ 118 w 129"/>
                <a:gd name="T9" fmla="*/ 24 h 103"/>
                <a:gd name="T10" fmla="*/ 114 w 129"/>
                <a:gd name="T11" fmla="*/ 24 h 103"/>
                <a:gd name="T12" fmla="*/ 109 w 129"/>
                <a:gd name="T13" fmla="*/ 20 h 103"/>
                <a:gd name="T14" fmla="*/ 102 w 129"/>
                <a:gd name="T15" fmla="*/ 13 h 103"/>
                <a:gd name="T16" fmla="*/ 91 w 129"/>
                <a:gd name="T17" fmla="*/ 2 h 103"/>
                <a:gd name="T18" fmla="*/ 82 w 129"/>
                <a:gd name="T19" fmla="*/ 6 h 103"/>
                <a:gd name="T20" fmla="*/ 74 w 129"/>
                <a:gd name="T21" fmla="*/ 4 h 103"/>
                <a:gd name="T22" fmla="*/ 64 w 129"/>
                <a:gd name="T23" fmla="*/ 7 h 103"/>
                <a:gd name="T24" fmla="*/ 58 w 129"/>
                <a:gd name="T25" fmla="*/ 9 h 103"/>
                <a:gd name="T26" fmla="*/ 51 w 129"/>
                <a:gd name="T27" fmla="*/ 9 h 103"/>
                <a:gd name="T28" fmla="*/ 49 w 129"/>
                <a:gd name="T29" fmla="*/ 9 h 103"/>
                <a:gd name="T30" fmla="*/ 46 w 129"/>
                <a:gd name="T31" fmla="*/ 11 h 103"/>
                <a:gd name="T32" fmla="*/ 42 w 129"/>
                <a:gd name="T33" fmla="*/ 16 h 103"/>
                <a:gd name="T34" fmla="*/ 40 w 129"/>
                <a:gd name="T35" fmla="*/ 20 h 103"/>
                <a:gd name="T36" fmla="*/ 37 w 129"/>
                <a:gd name="T37" fmla="*/ 15 h 103"/>
                <a:gd name="T38" fmla="*/ 29 w 129"/>
                <a:gd name="T39" fmla="*/ 15 h 103"/>
                <a:gd name="T40" fmla="*/ 17 w 129"/>
                <a:gd name="T41" fmla="*/ 20 h 103"/>
                <a:gd name="T42" fmla="*/ 15 w 129"/>
                <a:gd name="T43" fmla="*/ 31 h 103"/>
                <a:gd name="T44" fmla="*/ 13 w 129"/>
                <a:gd name="T45" fmla="*/ 36 h 103"/>
                <a:gd name="T46" fmla="*/ 9 w 129"/>
                <a:gd name="T47" fmla="*/ 36 h 103"/>
                <a:gd name="T48" fmla="*/ 4 w 129"/>
                <a:gd name="T49" fmla="*/ 36 h 103"/>
                <a:gd name="T50" fmla="*/ 4 w 129"/>
                <a:gd name="T51" fmla="*/ 42 h 103"/>
                <a:gd name="T52" fmla="*/ 4 w 129"/>
                <a:gd name="T53" fmla="*/ 52 h 103"/>
                <a:gd name="T54" fmla="*/ 2 w 129"/>
                <a:gd name="T55" fmla="*/ 56 h 103"/>
                <a:gd name="T56" fmla="*/ 0 w 129"/>
                <a:gd name="T57" fmla="*/ 60 h 103"/>
                <a:gd name="T58" fmla="*/ 2 w 129"/>
                <a:gd name="T59" fmla="*/ 63 h 103"/>
                <a:gd name="T60" fmla="*/ 4 w 129"/>
                <a:gd name="T61" fmla="*/ 67 h 103"/>
                <a:gd name="T62" fmla="*/ 2 w 129"/>
                <a:gd name="T63" fmla="*/ 71 h 103"/>
                <a:gd name="T64" fmla="*/ 6 w 129"/>
                <a:gd name="T65" fmla="*/ 83 h 103"/>
                <a:gd name="T66" fmla="*/ 8 w 129"/>
                <a:gd name="T67" fmla="*/ 87 h 103"/>
                <a:gd name="T68" fmla="*/ 11 w 129"/>
                <a:gd name="T69" fmla="*/ 92 h 103"/>
                <a:gd name="T70" fmla="*/ 17 w 129"/>
                <a:gd name="T71" fmla="*/ 99 h 103"/>
                <a:gd name="T72" fmla="*/ 26 w 129"/>
                <a:gd name="T73" fmla="*/ 99 h 103"/>
                <a:gd name="T74" fmla="*/ 40 w 129"/>
                <a:gd name="T75" fmla="*/ 101 h 103"/>
                <a:gd name="T76" fmla="*/ 47 w 129"/>
                <a:gd name="T77" fmla="*/ 98 h 103"/>
                <a:gd name="T78" fmla="*/ 56 w 129"/>
                <a:gd name="T79" fmla="*/ 101 h 103"/>
                <a:gd name="T80" fmla="*/ 60 w 129"/>
                <a:gd name="T81" fmla="*/ 99 h 103"/>
                <a:gd name="T82" fmla="*/ 65 w 129"/>
                <a:gd name="T83" fmla="*/ 98 h 103"/>
                <a:gd name="T84" fmla="*/ 69 w 129"/>
                <a:gd name="T85" fmla="*/ 92 h 103"/>
                <a:gd name="T86" fmla="*/ 73 w 129"/>
                <a:gd name="T87" fmla="*/ 89 h 103"/>
                <a:gd name="T88" fmla="*/ 74 w 129"/>
                <a:gd name="T89" fmla="*/ 85 h 103"/>
                <a:gd name="T90" fmla="*/ 80 w 129"/>
                <a:gd name="T91" fmla="*/ 83 h 103"/>
                <a:gd name="T92" fmla="*/ 84 w 129"/>
                <a:gd name="T93" fmla="*/ 85 h 103"/>
                <a:gd name="T94" fmla="*/ 89 w 129"/>
                <a:gd name="T95" fmla="*/ 81 h 103"/>
                <a:gd name="T96" fmla="*/ 93 w 129"/>
                <a:gd name="T97" fmla="*/ 83 h 103"/>
                <a:gd name="T98" fmla="*/ 96 w 129"/>
                <a:gd name="T99" fmla="*/ 83 h 103"/>
                <a:gd name="T100" fmla="*/ 103 w 129"/>
                <a:gd name="T101" fmla="*/ 85 h 103"/>
                <a:gd name="T102" fmla="*/ 109 w 129"/>
                <a:gd name="T103" fmla="*/ 83 h 103"/>
                <a:gd name="T104" fmla="*/ 111 w 129"/>
                <a:gd name="T105" fmla="*/ 81 h 103"/>
                <a:gd name="T106" fmla="*/ 112 w 129"/>
                <a:gd name="T107" fmla="*/ 83 h 103"/>
                <a:gd name="T108" fmla="*/ 116 w 129"/>
                <a:gd name="T109" fmla="*/ 72 h 103"/>
                <a:gd name="T110" fmla="*/ 125 w 129"/>
                <a:gd name="T111" fmla="*/ 69 h 103"/>
                <a:gd name="T112" fmla="*/ 125 w 129"/>
                <a:gd name="T113" fmla="*/ 63 h 103"/>
                <a:gd name="T114" fmla="*/ 125 w 129"/>
                <a:gd name="T115" fmla="*/ 56 h 103"/>
                <a:gd name="T116" fmla="*/ 125 w 129"/>
                <a:gd name="T117" fmla="*/ 52 h 103"/>
                <a:gd name="T118" fmla="*/ 127 w 129"/>
                <a:gd name="T119" fmla="*/ 4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3">
                  <a:moveTo>
                    <a:pt x="129" y="43"/>
                  </a:moveTo>
                  <a:lnTo>
                    <a:pt x="127" y="42"/>
                  </a:lnTo>
                  <a:lnTo>
                    <a:pt x="127" y="42"/>
                  </a:lnTo>
                  <a:lnTo>
                    <a:pt x="125" y="42"/>
                  </a:lnTo>
                  <a:lnTo>
                    <a:pt x="125" y="42"/>
                  </a:lnTo>
                  <a:lnTo>
                    <a:pt x="125" y="40"/>
                  </a:lnTo>
                  <a:lnTo>
                    <a:pt x="123" y="38"/>
                  </a:lnTo>
                  <a:lnTo>
                    <a:pt x="123" y="36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1" y="31"/>
                  </a:lnTo>
                  <a:lnTo>
                    <a:pt x="121" y="29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1" y="22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2" y="15"/>
                  </a:lnTo>
                  <a:lnTo>
                    <a:pt x="102" y="13"/>
                  </a:lnTo>
                  <a:lnTo>
                    <a:pt x="100" y="11"/>
                  </a:lnTo>
                  <a:lnTo>
                    <a:pt x="94" y="6"/>
                  </a:lnTo>
                  <a:lnTo>
                    <a:pt x="94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89" y="2"/>
                  </a:lnTo>
                  <a:lnTo>
                    <a:pt x="82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3" y="4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4" y="7"/>
                  </a:lnTo>
                  <a:lnTo>
                    <a:pt x="64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0" y="9"/>
                  </a:lnTo>
                  <a:lnTo>
                    <a:pt x="58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7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37" y="15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1" y="13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2" y="18"/>
                  </a:lnTo>
                  <a:lnTo>
                    <a:pt x="19" y="20"/>
                  </a:lnTo>
                  <a:lnTo>
                    <a:pt x="17" y="20"/>
                  </a:lnTo>
                  <a:lnTo>
                    <a:pt x="15" y="22"/>
                  </a:lnTo>
                  <a:lnTo>
                    <a:pt x="15" y="24"/>
                  </a:lnTo>
                  <a:lnTo>
                    <a:pt x="15" y="25"/>
                  </a:lnTo>
                  <a:lnTo>
                    <a:pt x="15" y="27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6" y="34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2" y="42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2"/>
                  </a:lnTo>
                  <a:lnTo>
                    <a:pt x="2" y="76"/>
                  </a:lnTo>
                  <a:lnTo>
                    <a:pt x="2" y="78"/>
                  </a:lnTo>
                  <a:lnTo>
                    <a:pt x="4" y="81"/>
                  </a:lnTo>
                  <a:lnTo>
                    <a:pt x="6" y="83"/>
                  </a:lnTo>
                  <a:lnTo>
                    <a:pt x="6" y="85"/>
                  </a:lnTo>
                  <a:lnTo>
                    <a:pt x="6" y="85"/>
                  </a:lnTo>
                  <a:lnTo>
                    <a:pt x="6" y="87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11" y="89"/>
                  </a:lnTo>
                  <a:lnTo>
                    <a:pt x="11" y="92"/>
                  </a:lnTo>
                  <a:lnTo>
                    <a:pt x="13" y="96"/>
                  </a:lnTo>
                  <a:lnTo>
                    <a:pt x="13" y="98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7" y="99"/>
                  </a:lnTo>
                  <a:lnTo>
                    <a:pt x="19" y="98"/>
                  </a:lnTo>
                  <a:lnTo>
                    <a:pt x="19" y="98"/>
                  </a:lnTo>
                  <a:lnTo>
                    <a:pt x="19" y="98"/>
                  </a:lnTo>
                  <a:lnTo>
                    <a:pt x="22" y="98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6" y="101"/>
                  </a:lnTo>
                  <a:lnTo>
                    <a:pt x="26" y="103"/>
                  </a:lnTo>
                  <a:lnTo>
                    <a:pt x="33" y="101"/>
                  </a:lnTo>
                  <a:lnTo>
                    <a:pt x="37" y="101"/>
                  </a:lnTo>
                  <a:lnTo>
                    <a:pt x="38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2" y="101"/>
                  </a:lnTo>
                  <a:lnTo>
                    <a:pt x="44" y="101"/>
                  </a:lnTo>
                  <a:lnTo>
                    <a:pt x="46" y="101"/>
                  </a:lnTo>
                  <a:lnTo>
                    <a:pt x="47" y="99"/>
                  </a:lnTo>
                  <a:lnTo>
                    <a:pt x="47" y="98"/>
                  </a:lnTo>
                  <a:lnTo>
                    <a:pt x="49" y="98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5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8" y="99"/>
                  </a:lnTo>
                  <a:lnTo>
                    <a:pt x="58" y="99"/>
                  </a:lnTo>
                  <a:lnTo>
                    <a:pt x="58" y="99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2" y="98"/>
                  </a:lnTo>
                  <a:lnTo>
                    <a:pt x="64" y="98"/>
                  </a:lnTo>
                  <a:lnTo>
                    <a:pt x="65" y="98"/>
                  </a:lnTo>
                  <a:lnTo>
                    <a:pt x="65" y="98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4"/>
                  </a:lnTo>
                  <a:lnTo>
                    <a:pt x="67" y="94"/>
                  </a:lnTo>
                  <a:lnTo>
                    <a:pt x="69" y="92"/>
                  </a:lnTo>
                  <a:lnTo>
                    <a:pt x="69" y="92"/>
                  </a:lnTo>
                  <a:lnTo>
                    <a:pt x="69" y="92"/>
                  </a:lnTo>
                  <a:lnTo>
                    <a:pt x="69" y="92"/>
                  </a:lnTo>
                  <a:lnTo>
                    <a:pt x="69" y="92"/>
                  </a:lnTo>
                  <a:lnTo>
                    <a:pt x="71" y="90"/>
                  </a:lnTo>
                  <a:lnTo>
                    <a:pt x="73" y="89"/>
                  </a:lnTo>
                  <a:lnTo>
                    <a:pt x="73" y="89"/>
                  </a:lnTo>
                  <a:lnTo>
                    <a:pt x="73" y="89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6" y="85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2" y="85"/>
                  </a:lnTo>
                  <a:lnTo>
                    <a:pt x="84" y="85"/>
                  </a:lnTo>
                  <a:lnTo>
                    <a:pt x="84" y="83"/>
                  </a:lnTo>
                  <a:lnTo>
                    <a:pt x="85" y="83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91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5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5"/>
                  </a:lnTo>
                  <a:lnTo>
                    <a:pt x="102" y="85"/>
                  </a:lnTo>
                  <a:lnTo>
                    <a:pt x="102" y="85"/>
                  </a:lnTo>
                  <a:lnTo>
                    <a:pt x="103" y="85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7" y="85"/>
                  </a:lnTo>
                  <a:lnTo>
                    <a:pt x="107" y="85"/>
                  </a:lnTo>
                  <a:lnTo>
                    <a:pt x="107" y="83"/>
                  </a:lnTo>
                  <a:lnTo>
                    <a:pt x="109" y="83"/>
                  </a:lnTo>
                  <a:lnTo>
                    <a:pt x="109" y="81"/>
                  </a:lnTo>
                  <a:lnTo>
                    <a:pt x="109" y="81"/>
                  </a:lnTo>
                  <a:lnTo>
                    <a:pt x="109" y="81"/>
                  </a:lnTo>
                  <a:lnTo>
                    <a:pt x="109" y="81"/>
                  </a:lnTo>
                  <a:lnTo>
                    <a:pt x="111" y="80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2" y="83"/>
                  </a:lnTo>
                  <a:lnTo>
                    <a:pt x="112" y="83"/>
                  </a:lnTo>
                  <a:lnTo>
                    <a:pt x="114" y="83"/>
                  </a:lnTo>
                  <a:lnTo>
                    <a:pt x="114" y="81"/>
                  </a:lnTo>
                  <a:lnTo>
                    <a:pt x="114" y="80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8" y="71"/>
                  </a:lnTo>
                  <a:lnTo>
                    <a:pt x="120" y="71"/>
                  </a:lnTo>
                  <a:lnTo>
                    <a:pt x="123" y="71"/>
                  </a:lnTo>
                  <a:lnTo>
                    <a:pt x="125" y="69"/>
                  </a:lnTo>
                  <a:lnTo>
                    <a:pt x="125" y="69"/>
                  </a:lnTo>
                  <a:lnTo>
                    <a:pt x="125" y="67"/>
                  </a:lnTo>
                  <a:lnTo>
                    <a:pt x="125" y="65"/>
                  </a:lnTo>
                  <a:lnTo>
                    <a:pt x="125" y="65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2"/>
                  </a:lnTo>
                  <a:lnTo>
                    <a:pt x="125" y="58"/>
                  </a:lnTo>
                  <a:lnTo>
                    <a:pt x="125" y="56"/>
                  </a:lnTo>
                  <a:lnTo>
                    <a:pt x="125" y="56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5" y="51"/>
                  </a:lnTo>
                  <a:lnTo>
                    <a:pt x="125" y="51"/>
                  </a:lnTo>
                  <a:lnTo>
                    <a:pt x="125" y="51"/>
                  </a:lnTo>
                  <a:lnTo>
                    <a:pt x="125" y="49"/>
                  </a:lnTo>
                  <a:lnTo>
                    <a:pt x="127" y="49"/>
                  </a:lnTo>
                  <a:lnTo>
                    <a:pt x="127" y="49"/>
                  </a:lnTo>
                  <a:lnTo>
                    <a:pt x="127" y="49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9" y="45"/>
                  </a:lnTo>
                  <a:lnTo>
                    <a:pt x="129" y="43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DD24E854-B00D-F86C-D165-B72FD2C35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138" y="3986213"/>
              <a:ext cx="63500" cy="88900"/>
            </a:xfrm>
            <a:custGeom>
              <a:avLst/>
              <a:gdLst>
                <a:gd name="T0" fmla="*/ 36 w 40"/>
                <a:gd name="T1" fmla="*/ 28 h 56"/>
                <a:gd name="T2" fmla="*/ 31 w 40"/>
                <a:gd name="T3" fmla="*/ 25 h 56"/>
                <a:gd name="T4" fmla="*/ 31 w 40"/>
                <a:gd name="T5" fmla="*/ 25 h 56"/>
                <a:gd name="T6" fmla="*/ 29 w 40"/>
                <a:gd name="T7" fmla="*/ 23 h 56"/>
                <a:gd name="T8" fmla="*/ 23 w 40"/>
                <a:gd name="T9" fmla="*/ 16 h 56"/>
                <a:gd name="T10" fmla="*/ 22 w 40"/>
                <a:gd name="T11" fmla="*/ 12 h 56"/>
                <a:gd name="T12" fmla="*/ 20 w 40"/>
                <a:gd name="T13" fmla="*/ 9 h 56"/>
                <a:gd name="T14" fmla="*/ 20 w 40"/>
                <a:gd name="T15" fmla="*/ 7 h 56"/>
                <a:gd name="T16" fmla="*/ 20 w 40"/>
                <a:gd name="T17" fmla="*/ 5 h 56"/>
                <a:gd name="T18" fmla="*/ 20 w 40"/>
                <a:gd name="T19" fmla="*/ 1 h 56"/>
                <a:gd name="T20" fmla="*/ 18 w 40"/>
                <a:gd name="T21" fmla="*/ 1 h 56"/>
                <a:gd name="T22" fmla="*/ 16 w 40"/>
                <a:gd name="T23" fmla="*/ 1 h 56"/>
                <a:gd name="T24" fmla="*/ 14 w 40"/>
                <a:gd name="T25" fmla="*/ 0 h 56"/>
                <a:gd name="T26" fmla="*/ 12 w 40"/>
                <a:gd name="T27" fmla="*/ 1 h 56"/>
                <a:gd name="T28" fmla="*/ 9 w 40"/>
                <a:gd name="T29" fmla="*/ 5 h 56"/>
                <a:gd name="T30" fmla="*/ 7 w 40"/>
                <a:gd name="T31" fmla="*/ 9 h 56"/>
                <a:gd name="T32" fmla="*/ 7 w 40"/>
                <a:gd name="T33" fmla="*/ 10 h 56"/>
                <a:gd name="T34" fmla="*/ 5 w 40"/>
                <a:gd name="T35" fmla="*/ 12 h 56"/>
                <a:gd name="T36" fmla="*/ 5 w 40"/>
                <a:gd name="T37" fmla="*/ 16 h 56"/>
                <a:gd name="T38" fmla="*/ 3 w 40"/>
                <a:gd name="T39" fmla="*/ 16 h 56"/>
                <a:gd name="T40" fmla="*/ 0 w 40"/>
                <a:gd name="T41" fmla="*/ 21 h 56"/>
                <a:gd name="T42" fmla="*/ 2 w 40"/>
                <a:gd name="T43" fmla="*/ 23 h 56"/>
                <a:gd name="T44" fmla="*/ 2 w 40"/>
                <a:gd name="T45" fmla="*/ 25 h 56"/>
                <a:gd name="T46" fmla="*/ 0 w 40"/>
                <a:gd name="T47" fmla="*/ 27 h 56"/>
                <a:gd name="T48" fmla="*/ 2 w 40"/>
                <a:gd name="T49" fmla="*/ 28 h 56"/>
                <a:gd name="T50" fmla="*/ 5 w 40"/>
                <a:gd name="T51" fmla="*/ 32 h 56"/>
                <a:gd name="T52" fmla="*/ 5 w 40"/>
                <a:gd name="T53" fmla="*/ 34 h 56"/>
                <a:gd name="T54" fmla="*/ 7 w 40"/>
                <a:gd name="T55" fmla="*/ 34 h 56"/>
                <a:gd name="T56" fmla="*/ 7 w 40"/>
                <a:gd name="T57" fmla="*/ 36 h 56"/>
                <a:gd name="T58" fmla="*/ 7 w 40"/>
                <a:gd name="T59" fmla="*/ 37 h 56"/>
                <a:gd name="T60" fmla="*/ 7 w 40"/>
                <a:gd name="T61" fmla="*/ 39 h 56"/>
                <a:gd name="T62" fmla="*/ 9 w 40"/>
                <a:gd name="T63" fmla="*/ 41 h 56"/>
                <a:gd name="T64" fmla="*/ 7 w 40"/>
                <a:gd name="T65" fmla="*/ 45 h 56"/>
                <a:gd name="T66" fmla="*/ 5 w 40"/>
                <a:gd name="T67" fmla="*/ 48 h 56"/>
                <a:gd name="T68" fmla="*/ 7 w 40"/>
                <a:gd name="T69" fmla="*/ 52 h 56"/>
                <a:gd name="T70" fmla="*/ 14 w 40"/>
                <a:gd name="T71" fmla="*/ 56 h 56"/>
                <a:gd name="T72" fmla="*/ 20 w 40"/>
                <a:gd name="T73" fmla="*/ 54 h 56"/>
                <a:gd name="T74" fmla="*/ 20 w 40"/>
                <a:gd name="T75" fmla="*/ 52 h 56"/>
                <a:gd name="T76" fmla="*/ 25 w 40"/>
                <a:gd name="T77" fmla="*/ 52 h 56"/>
                <a:gd name="T78" fmla="*/ 31 w 40"/>
                <a:gd name="T79" fmla="*/ 54 h 56"/>
                <a:gd name="T80" fmla="*/ 32 w 40"/>
                <a:gd name="T81" fmla="*/ 50 h 56"/>
                <a:gd name="T82" fmla="*/ 32 w 40"/>
                <a:gd name="T83" fmla="*/ 45 h 56"/>
                <a:gd name="T84" fmla="*/ 36 w 40"/>
                <a:gd name="T85" fmla="*/ 41 h 56"/>
                <a:gd name="T86" fmla="*/ 34 w 40"/>
                <a:gd name="T87" fmla="*/ 39 h 56"/>
                <a:gd name="T88" fmla="*/ 40 w 40"/>
                <a:gd name="T89" fmla="*/ 36 h 56"/>
                <a:gd name="T90" fmla="*/ 40 w 40"/>
                <a:gd name="T91" fmla="*/ 34 h 56"/>
                <a:gd name="T92" fmla="*/ 40 w 40"/>
                <a:gd name="T93" fmla="*/ 32 h 56"/>
                <a:gd name="T94" fmla="*/ 40 w 40"/>
                <a:gd name="T95" fmla="*/ 28 h 56"/>
                <a:gd name="T96" fmla="*/ 40 w 40"/>
                <a:gd name="T97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56">
                  <a:moveTo>
                    <a:pt x="40" y="28"/>
                  </a:moveTo>
                  <a:lnTo>
                    <a:pt x="40" y="28"/>
                  </a:lnTo>
                  <a:lnTo>
                    <a:pt x="38" y="28"/>
                  </a:lnTo>
                  <a:lnTo>
                    <a:pt x="36" y="28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2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8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22" y="12"/>
                  </a:lnTo>
                  <a:lnTo>
                    <a:pt x="20" y="10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7" y="45"/>
                  </a:lnTo>
                  <a:lnTo>
                    <a:pt x="5" y="45"/>
                  </a:lnTo>
                  <a:lnTo>
                    <a:pt x="7" y="45"/>
                  </a:lnTo>
                  <a:lnTo>
                    <a:pt x="7" y="46"/>
                  </a:lnTo>
                  <a:lnTo>
                    <a:pt x="5" y="48"/>
                  </a:lnTo>
                  <a:lnTo>
                    <a:pt x="3" y="48"/>
                  </a:lnTo>
                  <a:lnTo>
                    <a:pt x="5" y="50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11" y="52"/>
                  </a:lnTo>
                  <a:lnTo>
                    <a:pt x="12" y="54"/>
                  </a:lnTo>
                  <a:lnTo>
                    <a:pt x="12" y="56"/>
                  </a:lnTo>
                  <a:lnTo>
                    <a:pt x="14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2" y="46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4" y="43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6" y="37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0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39" name="Freeform 138">
              <a:extLst>
                <a:ext uri="{FF2B5EF4-FFF2-40B4-BE49-F238E27FC236}">
                  <a16:creationId xmlns:a16="http://schemas.microsoft.com/office/drawing/2014/main" id="{76420F6C-D94A-6A3A-1F46-589080A59B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2813" y="3151188"/>
              <a:ext cx="466725" cy="355600"/>
            </a:xfrm>
            <a:custGeom>
              <a:avLst/>
              <a:gdLst>
                <a:gd name="T0" fmla="*/ 7 w 294"/>
                <a:gd name="T1" fmla="*/ 85 h 224"/>
                <a:gd name="T2" fmla="*/ 7 w 294"/>
                <a:gd name="T3" fmla="*/ 96 h 224"/>
                <a:gd name="T4" fmla="*/ 9 w 294"/>
                <a:gd name="T5" fmla="*/ 81 h 224"/>
                <a:gd name="T6" fmla="*/ 282 w 294"/>
                <a:gd name="T7" fmla="*/ 101 h 224"/>
                <a:gd name="T8" fmla="*/ 280 w 294"/>
                <a:gd name="T9" fmla="*/ 88 h 224"/>
                <a:gd name="T10" fmla="*/ 283 w 294"/>
                <a:gd name="T11" fmla="*/ 74 h 224"/>
                <a:gd name="T12" fmla="*/ 264 w 294"/>
                <a:gd name="T13" fmla="*/ 52 h 224"/>
                <a:gd name="T14" fmla="*/ 238 w 294"/>
                <a:gd name="T15" fmla="*/ 31 h 224"/>
                <a:gd name="T16" fmla="*/ 209 w 294"/>
                <a:gd name="T17" fmla="*/ 23 h 224"/>
                <a:gd name="T18" fmla="*/ 199 w 294"/>
                <a:gd name="T19" fmla="*/ 2 h 224"/>
                <a:gd name="T20" fmla="*/ 193 w 294"/>
                <a:gd name="T21" fmla="*/ 4 h 224"/>
                <a:gd name="T22" fmla="*/ 171 w 294"/>
                <a:gd name="T23" fmla="*/ 13 h 224"/>
                <a:gd name="T24" fmla="*/ 148 w 294"/>
                <a:gd name="T25" fmla="*/ 9 h 224"/>
                <a:gd name="T26" fmla="*/ 139 w 294"/>
                <a:gd name="T27" fmla="*/ 7 h 224"/>
                <a:gd name="T28" fmla="*/ 112 w 294"/>
                <a:gd name="T29" fmla="*/ 7 h 224"/>
                <a:gd name="T30" fmla="*/ 97 w 294"/>
                <a:gd name="T31" fmla="*/ 4 h 224"/>
                <a:gd name="T32" fmla="*/ 79 w 294"/>
                <a:gd name="T33" fmla="*/ 4 h 224"/>
                <a:gd name="T34" fmla="*/ 34 w 294"/>
                <a:gd name="T35" fmla="*/ 13 h 224"/>
                <a:gd name="T36" fmla="*/ 14 w 294"/>
                <a:gd name="T37" fmla="*/ 27 h 224"/>
                <a:gd name="T38" fmla="*/ 5 w 294"/>
                <a:gd name="T39" fmla="*/ 45 h 224"/>
                <a:gd name="T40" fmla="*/ 11 w 294"/>
                <a:gd name="T41" fmla="*/ 67 h 224"/>
                <a:gd name="T42" fmla="*/ 14 w 294"/>
                <a:gd name="T43" fmla="*/ 81 h 224"/>
                <a:gd name="T44" fmla="*/ 14 w 294"/>
                <a:gd name="T45" fmla="*/ 92 h 224"/>
                <a:gd name="T46" fmla="*/ 16 w 294"/>
                <a:gd name="T47" fmla="*/ 99 h 224"/>
                <a:gd name="T48" fmla="*/ 16 w 294"/>
                <a:gd name="T49" fmla="*/ 103 h 224"/>
                <a:gd name="T50" fmla="*/ 34 w 294"/>
                <a:gd name="T51" fmla="*/ 110 h 224"/>
                <a:gd name="T52" fmla="*/ 50 w 294"/>
                <a:gd name="T53" fmla="*/ 121 h 224"/>
                <a:gd name="T54" fmla="*/ 56 w 294"/>
                <a:gd name="T55" fmla="*/ 125 h 224"/>
                <a:gd name="T56" fmla="*/ 81 w 294"/>
                <a:gd name="T57" fmla="*/ 121 h 224"/>
                <a:gd name="T58" fmla="*/ 88 w 294"/>
                <a:gd name="T59" fmla="*/ 132 h 224"/>
                <a:gd name="T60" fmla="*/ 94 w 294"/>
                <a:gd name="T61" fmla="*/ 137 h 224"/>
                <a:gd name="T62" fmla="*/ 92 w 294"/>
                <a:gd name="T63" fmla="*/ 150 h 224"/>
                <a:gd name="T64" fmla="*/ 88 w 294"/>
                <a:gd name="T65" fmla="*/ 155 h 224"/>
                <a:gd name="T66" fmla="*/ 88 w 294"/>
                <a:gd name="T67" fmla="*/ 179 h 224"/>
                <a:gd name="T68" fmla="*/ 101 w 294"/>
                <a:gd name="T69" fmla="*/ 181 h 224"/>
                <a:gd name="T70" fmla="*/ 105 w 294"/>
                <a:gd name="T71" fmla="*/ 186 h 224"/>
                <a:gd name="T72" fmla="*/ 115 w 294"/>
                <a:gd name="T73" fmla="*/ 191 h 224"/>
                <a:gd name="T74" fmla="*/ 125 w 294"/>
                <a:gd name="T75" fmla="*/ 199 h 224"/>
                <a:gd name="T76" fmla="*/ 126 w 294"/>
                <a:gd name="T77" fmla="*/ 215 h 224"/>
                <a:gd name="T78" fmla="*/ 128 w 294"/>
                <a:gd name="T79" fmla="*/ 218 h 224"/>
                <a:gd name="T80" fmla="*/ 143 w 294"/>
                <a:gd name="T81" fmla="*/ 220 h 224"/>
                <a:gd name="T82" fmla="*/ 155 w 294"/>
                <a:gd name="T83" fmla="*/ 220 h 224"/>
                <a:gd name="T84" fmla="*/ 170 w 294"/>
                <a:gd name="T85" fmla="*/ 222 h 224"/>
                <a:gd name="T86" fmla="*/ 188 w 294"/>
                <a:gd name="T87" fmla="*/ 215 h 224"/>
                <a:gd name="T88" fmla="*/ 195 w 294"/>
                <a:gd name="T89" fmla="*/ 215 h 224"/>
                <a:gd name="T90" fmla="*/ 195 w 294"/>
                <a:gd name="T91" fmla="*/ 204 h 224"/>
                <a:gd name="T92" fmla="*/ 206 w 294"/>
                <a:gd name="T93" fmla="*/ 202 h 224"/>
                <a:gd name="T94" fmla="*/ 222 w 294"/>
                <a:gd name="T95" fmla="*/ 193 h 224"/>
                <a:gd name="T96" fmla="*/ 229 w 294"/>
                <a:gd name="T97" fmla="*/ 195 h 224"/>
                <a:gd name="T98" fmla="*/ 229 w 294"/>
                <a:gd name="T99" fmla="*/ 202 h 224"/>
                <a:gd name="T100" fmla="*/ 242 w 294"/>
                <a:gd name="T101" fmla="*/ 200 h 224"/>
                <a:gd name="T102" fmla="*/ 242 w 294"/>
                <a:gd name="T103" fmla="*/ 193 h 224"/>
                <a:gd name="T104" fmla="*/ 238 w 294"/>
                <a:gd name="T105" fmla="*/ 188 h 224"/>
                <a:gd name="T106" fmla="*/ 231 w 294"/>
                <a:gd name="T107" fmla="*/ 184 h 224"/>
                <a:gd name="T108" fmla="*/ 238 w 294"/>
                <a:gd name="T109" fmla="*/ 168 h 224"/>
                <a:gd name="T110" fmla="*/ 240 w 294"/>
                <a:gd name="T111" fmla="*/ 153 h 224"/>
                <a:gd name="T112" fmla="*/ 242 w 294"/>
                <a:gd name="T113" fmla="*/ 144 h 224"/>
                <a:gd name="T114" fmla="*/ 247 w 294"/>
                <a:gd name="T115" fmla="*/ 135 h 224"/>
                <a:gd name="T116" fmla="*/ 260 w 294"/>
                <a:gd name="T117" fmla="*/ 130 h 224"/>
                <a:gd name="T118" fmla="*/ 267 w 294"/>
                <a:gd name="T119" fmla="*/ 115 h 224"/>
                <a:gd name="T120" fmla="*/ 283 w 294"/>
                <a:gd name="T121" fmla="*/ 117 h 224"/>
                <a:gd name="T122" fmla="*/ 291 w 294"/>
                <a:gd name="T123" fmla="*/ 10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4" h="224">
                  <a:moveTo>
                    <a:pt x="9" y="67"/>
                  </a:moveTo>
                  <a:lnTo>
                    <a:pt x="7" y="65"/>
                  </a:lnTo>
                  <a:lnTo>
                    <a:pt x="9" y="67"/>
                  </a:lnTo>
                  <a:lnTo>
                    <a:pt x="7" y="72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6"/>
                  </a:lnTo>
                  <a:lnTo>
                    <a:pt x="9" y="78"/>
                  </a:lnTo>
                  <a:lnTo>
                    <a:pt x="7" y="85"/>
                  </a:lnTo>
                  <a:lnTo>
                    <a:pt x="5" y="92"/>
                  </a:lnTo>
                  <a:lnTo>
                    <a:pt x="4" y="96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4" y="105"/>
                  </a:lnTo>
                  <a:lnTo>
                    <a:pt x="4" y="103"/>
                  </a:lnTo>
                  <a:lnTo>
                    <a:pt x="5" y="99"/>
                  </a:lnTo>
                  <a:lnTo>
                    <a:pt x="5" y="97"/>
                  </a:lnTo>
                  <a:lnTo>
                    <a:pt x="7" y="96"/>
                  </a:lnTo>
                  <a:lnTo>
                    <a:pt x="7" y="94"/>
                  </a:lnTo>
                  <a:lnTo>
                    <a:pt x="9" y="92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7" y="88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5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11" y="79"/>
                  </a:lnTo>
                  <a:lnTo>
                    <a:pt x="11" y="78"/>
                  </a:lnTo>
                  <a:lnTo>
                    <a:pt x="11" y="70"/>
                  </a:lnTo>
                  <a:lnTo>
                    <a:pt x="9" y="67"/>
                  </a:lnTo>
                  <a:close/>
                  <a:moveTo>
                    <a:pt x="294" y="103"/>
                  </a:moveTo>
                  <a:lnTo>
                    <a:pt x="292" y="101"/>
                  </a:lnTo>
                  <a:lnTo>
                    <a:pt x="283" y="99"/>
                  </a:lnTo>
                  <a:lnTo>
                    <a:pt x="282" y="101"/>
                  </a:lnTo>
                  <a:lnTo>
                    <a:pt x="280" y="101"/>
                  </a:lnTo>
                  <a:lnTo>
                    <a:pt x="276" y="99"/>
                  </a:lnTo>
                  <a:lnTo>
                    <a:pt x="276" y="99"/>
                  </a:lnTo>
                  <a:lnTo>
                    <a:pt x="276" y="97"/>
                  </a:lnTo>
                  <a:lnTo>
                    <a:pt x="276" y="97"/>
                  </a:lnTo>
                  <a:lnTo>
                    <a:pt x="278" y="94"/>
                  </a:lnTo>
                  <a:lnTo>
                    <a:pt x="278" y="94"/>
                  </a:lnTo>
                  <a:lnTo>
                    <a:pt x="278" y="90"/>
                  </a:lnTo>
                  <a:lnTo>
                    <a:pt x="280" y="88"/>
                  </a:lnTo>
                  <a:lnTo>
                    <a:pt x="282" y="87"/>
                  </a:lnTo>
                  <a:lnTo>
                    <a:pt x="282" y="87"/>
                  </a:lnTo>
                  <a:lnTo>
                    <a:pt x="280" y="85"/>
                  </a:lnTo>
                  <a:lnTo>
                    <a:pt x="280" y="83"/>
                  </a:lnTo>
                  <a:lnTo>
                    <a:pt x="282" y="81"/>
                  </a:lnTo>
                  <a:lnTo>
                    <a:pt x="283" y="79"/>
                  </a:lnTo>
                  <a:lnTo>
                    <a:pt x="283" y="78"/>
                  </a:lnTo>
                  <a:lnTo>
                    <a:pt x="283" y="76"/>
                  </a:lnTo>
                  <a:lnTo>
                    <a:pt x="283" y="74"/>
                  </a:lnTo>
                  <a:lnTo>
                    <a:pt x="283" y="72"/>
                  </a:lnTo>
                  <a:lnTo>
                    <a:pt x="283" y="69"/>
                  </a:lnTo>
                  <a:lnTo>
                    <a:pt x="280" y="69"/>
                  </a:lnTo>
                  <a:lnTo>
                    <a:pt x="278" y="69"/>
                  </a:lnTo>
                  <a:lnTo>
                    <a:pt x="271" y="65"/>
                  </a:lnTo>
                  <a:lnTo>
                    <a:pt x="267" y="63"/>
                  </a:lnTo>
                  <a:lnTo>
                    <a:pt x="265" y="58"/>
                  </a:lnTo>
                  <a:lnTo>
                    <a:pt x="264" y="54"/>
                  </a:lnTo>
                  <a:lnTo>
                    <a:pt x="264" y="52"/>
                  </a:lnTo>
                  <a:lnTo>
                    <a:pt x="258" y="49"/>
                  </a:lnTo>
                  <a:lnTo>
                    <a:pt x="255" y="45"/>
                  </a:lnTo>
                  <a:lnTo>
                    <a:pt x="251" y="43"/>
                  </a:lnTo>
                  <a:lnTo>
                    <a:pt x="247" y="40"/>
                  </a:lnTo>
                  <a:lnTo>
                    <a:pt x="244" y="36"/>
                  </a:lnTo>
                  <a:lnTo>
                    <a:pt x="242" y="34"/>
                  </a:lnTo>
                  <a:lnTo>
                    <a:pt x="240" y="32"/>
                  </a:lnTo>
                  <a:lnTo>
                    <a:pt x="238" y="32"/>
                  </a:lnTo>
                  <a:lnTo>
                    <a:pt x="238" y="31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33" y="27"/>
                  </a:lnTo>
                  <a:lnTo>
                    <a:pt x="233" y="27"/>
                  </a:lnTo>
                  <a:lnTo>
                    <a:pt x="229" y="25"/>
                  </a:lnTo>
                  <a:lnTo>
                    <a:pt x="226" y="27"/>
                  </a:lnTo>
                  <a:lnTo>
                    <a:pt x="222" y="25"/>
                  </a:lnTo>
                  <a:lnTo>
                    <a:pt x="209" y="23"/>
                  </a:lnTo>
                  <a:lnTo>
                    <a:pt x="208" y="22"/>
                  </a:lnTo>
                  <a:lnTo>
                    <a:pt x="206" y="20"/>
                  </a:lnTo>
                  <a:lnTo>
                    <a:pt x="206" y="16"/>
                  </a:lnTo>
                  <a:lnTo>
                    <a:pt x="204" y="16"/>
                  </a:lnTo>
                  <a:lnTo>
                    <a:pt x="202" y="14"/>
                  </a:lnTo>
                  <a:lnTo>
                    <a:pt x="202" y="13"/>
                  </a:lnTo>
                  <a:lnTo>
                    <a:pt x="202" y="11"/>
                  </a:lnTo>
                  <a:lnTo>
                    <a:pt x="200" y="5"/>
                  </a:lnTo>
                  <a:lnTo>
                    <a:pt x="199" y="2"/>
                  </a:lnTo>
                  <a:lnTo>
                    <a:pt x="199" y="0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7" y="2"/>
                  </a:lnTo>
                  <a:lnTo>
                    <a:pt x="197" y="2"/>
                  </a:lnTo>
                  <a:lnTo>
                    <a:pt x="197" y="4"/>
                  </a:lnTo>
                  <a:lnTo>
                    <a:pt x="195" y="4"/>
                  </a:lnTo>
                  <a:lnTo>
                    <a:pt x="195" y="4"/>
                  </a:lnTo>
                  <a:lnTo>
                    <a:pt x="193" y="4"/>
                  </a:lnTo>
                  <a:lnTo>
                    <a:pt x="190" y="5"/>
                  </a:lnTo>
                  <a:lnTo>
                    <a:pt x="188" y="5"/>
                  </a:lnTo>
                  <a:lnTo>
                    <a:pt x="186" y="7"/>
                  </a:lnTo>
                  <a:lnTo>
                    <a:pt x="182" y="13"/>
                  </a:lnTo>
                  <a:lnTo>
                    <a:pt x="181" y="14"/>
                  </a:lnTo>
                  <a:lnTo>
                    <a:pt x="177" y="16"/>
                  </a:lnTo>
                  <a:lnTo>
                    <a:pt x="177" y="16"/>
                  </a:lnTo>
                  <a:lnTo>
                    <a:pt x="175" y="16"/>
                  </a:lnTo>
                  <a:lnTo>
                    <a:pt x="171" y="13"/>
                  </a:lnTo>
                  <a:lnTo>
                    <a:pt x="170" y="13"/>
                  </a:lnTo>
                  <a:lnTo>
                    <a:pt x="168" y="13"/>
                  </a:lnTo>
                  <a:lnTo>
                    <a:pt x="162" y="16"/>
                  </a:lnTo>
                  <a:lnTo>
                    <a:pt x="161" y="16"/>
                  </a:lnTo>
                  <a:lnTo>
                    <a:pt x="161" y="16"/>
                  </a:lnTo>
                  <a:lnTo>
                    <a:pt x="159" y="16"/>
                  </a:lnTo>
                  <a:lnTo>
                    <a:pt x="157" y="14"/>
                  </a:lnTo>
                  <a:lnTo>
                    <a:pt x="153" y="11"/>
                  </a:lnTo>
                  <a:lnTo>
                    <a:pt x="148" y="9"/>
                  </a:lnTo>
                  <a:lnTo>
                    <a:pt x="146" y="9"/>
                  </a:lnTo>
                  <a:lnTo>
                    <a:pt x="144" y="9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39" y="9"/>
                  </a:lnTo>
                  <a:lnTo>
                    <a:pt x="141" y="9"/>
                  </a:lnTo>
                  <a:lnTo>
                    <a:pt x="139" y="9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7" y="7"/>
                  </a:lnTo>
                  <a:lnTo>
                    <a:pt x="134" y="7"/>
                  </a:lnTo>
                  <a:lnTo>
                    <a:pt x="132" y="9"/>
                  </a:lnTo>
                  <a:lnTo>
                    <a:pt x="130" y="11"/>
                  </a:lnTo>
                  <a:lnTo>
                    <a:pt x="128" y="11"/>
                  </a:lnTo>
                  <a:lnTo>
                    <a:pt x="123" y="7"/>
                  </a:lnTo>
                  <a:lnTo>
                    <a:pt x="119" y="7"/>
                  </a:lnTo>
                  <a:lnTo>
                    <a:pt x="117" y="5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2" y="9"/>
                  </a:lnTo>
                  <a:lnTo>
                    <a:pt x="110" y="13"/>
                  </a:lnTo>
                  <a:lnTo>
                    <a:pt x="106" y="13"/>
                  </a:lnTo>
                  <a:lnTo>
                    <a:pt x="105" y="11"/>
                  </a:lnTo>
                  <a:lnTo>
                    <a:pt x="103" y="5"/>
                  </a:lnTo>
                  <a:lnTo>
                    <a:pt x="101" y="4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6" y="5"/>
                  </a:lnTo>
                  <a:lnTo>
                    <a:pt x="88" y="9"/>
                  </a:lnTo>
                  <a:lnTo>
                    <a:pt x="87" y="9"/>
                  </a:lnTo>
                  <a:lnTo>
                    <a:pt x="87" y="7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79" y="4"/>
                  </a:lnTo>
                  <a:lnTo>
                    <a:pt x="65" y="5"/>
                  </a:lnTo>
                  <a:lnTo>
                    <a:pt x="63" y="4"/>
                  </a:lnTo>
                  <a:lnTo>
                    <a:pt x="61" y="4"/>
                  </a:lnTo>
                  <a:lnTo>
                    <a:pt x="61" y="2"/>
                  </a:lnTo>
                  <a:lnTo>
                    <a:pt x="58" y="2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38" y="13"/>
                  </a:lnTo>
                  <a:lnTo>
                    <a:pt x="34" y="13"/>
                  </a:lnTo>
                  <a:lnTo>
                    <a:pt x="31" y="13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8" y="22"/>
                  </a:lnTo>
                  <a:lnTo>
                    <a:pt x="16" y="23"/>
                  </a:lnTo>
                  <a:lnTo>
                    <a:pt x="14" y="25"/>
                  </a:lnTo>
                  <a:lnTo>
                    <a:pt x="14" y="27"/>
                  </a:lnTo>
                  <a:lnTo>
                    <a:pt x="14" y="31"/>
                  </a:lnTo>
                  <a:lnTo>
                    <a:pt x="13" y="32"/>
                  </a:lnTo>
                  <a:lnTo>
                    <a:pt x="11" y="32"/>
                  </a:lnTo>
                  <a:lnTo>
                    <a:pt x="9" y="32"/>
                  </a:lnTo>
                  <a:lnTo>
                    <a:pt x="5" y="32"/>
                  </a:lnTo>
                  <a:lnTo>
                    <a:pt x="7" y="36"/>
                  </a:lnTo>
                  <a:lnTo>
                    <a:pt x="7" y="43"/>
                  </a:lnTo>
                  <a:lnTo>
                    <a:pt x="7" y="45"/>
                  </a:lnTo>
                  <a:lnTo>
                    <a:pt x="5" y="45"/>
                  </a:lnTo>
                  <a:lnTo>
                    <a:pt x="5" y="47"/>
                  </a:lnTo>
                  <a:lnTo>
                    <a:pt x="5" y="50"/>
                  </a:lnTo>
                  <a:lnTo>
                    <a:pt x="7" y="58"/>
                  </a:lnTo>
                  <a:lnTo>
                    <a:pt x="7" y="59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9" y="63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1" y="70"/>
                  </a:lnTo>
                  <a:lnTo>
                    <a:pt x="11" y="72"/>
                  </a:lnTo>
                  <a:lnTo>
                    <a:pt x="13" y="76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6" y="85"/>
                  </a:lnTo>
                  <a:lnTo>
                    <a:pt x="16" y="88"/>
                  </a:lnTo>
                  <a:lnTo>
                    <a:pt x="16" y="9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22" y="103"/>
                  </a:lnTo>
                  <a:lnTo>
                    <a:pt x="22" y="103"/>
                  </a:lnTo>
                  <a:lnTo>
                    <a:pt x="23" y="105"/>
                  </a:lnTo>
                  <a:lnTo>
                    <a:pt x="27" y="110"/>
                  </a:lnTo>
                  <a:lnTo>
                    <a:pt x="29" y="110"/>
                  </a:lnTo>
                  <a:lnTo>
                    <a:pt x="34" y="110"/>
                  </a:lnTo>
                  <a:lnTo>
                    <a:pt x="36" y="112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1" y="117"/>
                  </a:lnTo>
                  <a:lnTo>
                    <a:pt x="45" y="117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9" y="119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2" y="119"/>
                  </a:lnTo>
                  <a:lnTo>
                    <a:pt x="54" y="119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4" y="123"/>
                  </a:lnTo>
                  <a:lnTo>
                    <a:pt x="54" y="125"/>
                  </a:lnTo>
                  <a:lnTo>
                    <a:pt x="56" y="125"/>
                  </a:lnTo>
                  <a:lnTo>
                    <a:pt x="58" y="125"/>
                  </a:lnTo>
                  <a:lnTo>
                    <a:pt x="58" y="125"/>
                  </a:lnTo>
                  <a:lnTo>
                    <a:pt x="60" y="125"/>
                  </a:lnTo>
                  <a:lnTo>
                    <a:pt x="60" y="125"/>
                  </a:lnTo>
                  <a:lnTo>
                    <a:pt x="61" y="123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76" y="123"/>
                  </a:lnTo>
                  <a:lnTo>
                    <a:pt x="81" y="121"/>
                  </a:lnTo>
                  <a:lnTo>
                    <a:pt x="81" y="123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83" y="125"/>
                  </a:lnTo>
                  <a:lnTo>
                    <a:pt x="85" y="128"/>
                  </a:lnTo>
                  <a:lnTo>
                    <a:pt x="85" y="130"/>
                  </a:lnTo>
                  <a:lnTo>
                    <a:pt x="85" y="132"/>
                  </a:lnTo>
                  <a:lnTo>
                    <a:pt x="87" y="132"/>
                  </a:lnTo>
                  <a:lnTo>
                    <a:pt x="88" y="132"/>
                  </a:lnTo>
                  <a:lnTo>
                    <a:pt x="90" y="132"/>
                  </a:lnTo>
                  <a:lnTo>
                    <a:pt x="90" y="132"/>
                  </a:lnTo>
                  <a:lnTo>
                    <a:pt x="90" y="134"/>
                  </a:lnTo>
                  <a:lnTo>
                    <a:pt x="90" y="134"/>
                  </a:lnTo>
                  <a:lnTo>
                    <a:pt x="92" y="134"/>
                  </a:lnTo>
                  <a:lnTo>
                    <a:pt x="90" y="135"/>
                  </a:lnTo>
                  <a:lnTo>
                    <a:pt x="90" y="135"/>
                  </a:lnTo>
                  <a:lnTo>
                    <a:pt x="94" y="137"/>
                  </a:lnTo>
                  <a:lnTo>
                    <a:pt x="94" y="137"/>
                  </a:lnTo>
                  <a:lnTo>
                    <a:pt x="96" y="139"/>
                  </a:lnTo>
                  <a:lnTo>
                    <a:pt x="96" y="143"/>
                  </a:lnTo>
                  <a:lnTo>
                    <a:pt x="96" y="144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4" y="148"/>
                  </a:lnTo>
                  <a:lnTo>
                    <a:pt x="94" y="150"/>
                  </a:lnTo>
                  <a:lnTo>
                    <a:pt x="92" y="150"/>
                  </a:lnTo>
                  <a:lnTo>
                    <a:pt x="92" y="150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7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61"/>
                  </a:lnTo>
                  <a:lnTo>
                    <a:pt x="88" y="164"/>
                  </a:lnTo>
                  <a:lnTo>
                    <a:pt x="87" y="171"/>
                  </a:lnTo>
                  <a:lnTo>
                    <a:pt x="88" y="175"/>
                  </a:lnTo>
                  <a:lnTo>
                    <a:pt x="88" y="179"/>
                  </a:lnTo>
                  <a:lnTo>
                    <a:pt x="92" y="184"/>
                  </a:lnTo>
                  <a:lnTo>
                    <a:pt x="92" y="182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6" y="179"/>
                  </a:lnTo>
                  <a:lnTo>
                    <a:pt x="97" y="181"/>
                  </a:lnTo>
                  <a:lnTo>
                    <a:pt x="99" y="181"/>
                  </a:lnTo>
                  <a:lnTo>
                    <a:pt x="99" y="181"/>
                  </a:lnTo>
                  <a:lnTo>
                    <a:pt x="101" y="181"/>
                  </a:lnTo>
                  <a:lnTo>
                    <a:pt x="101" y="181"/>
                  </a:lnTo>
                  <a:lnTo>
                    <a:pt x="103" y="182"/>
                  </a:lnTo>
                  <a:lnTo>
                    <a:pt x="103" y="182"/>
                  </a:lnTo>
                  <a:lnTo>
                    <a:pt x="103" y="182"/>
                  </a:lnTo>
                  <a:lnTo>
                    <a:pt x="103" y="184"/>
                  </a:lnTo>
                  <a:lnTo>
                    <a:pt x="103" y="184"/>
                  </a:lnTo>
                  <a:lnTo>
                    <a:pt x="105" y="184"/>
                  </a:lnTo>
                  <a:lnTo>
                    <a:pt x="106" y="184"/>
                  </a:lnTo>
                  <a:lnTo>
                    <a:pt x="105" y="186"/>
                  </a:lnTo>
                  <a:lnTo>
                    <a:pt x="105" y="186"/>
                  </a:lnTo>
                  <a:lnTo>
                    <a:pt x="105" y="188"/>
                  </a:lnTo>
                  <a:lnTo>
                    <a:pt x="106" y="188"/>
                  </a:lnTo>
                  <a:lnTo>
                    <a:pt x="106" y="188"/>
                  </a:lnTo>
                  <a:lnTo>
                    <a:pt x="108" y="188"/>
                  </a:lnTo>
                  <a:lnTo>
                    <a:pt x="110" y="188"/>
                  </a:lnTo>
                  <a:lnTo>
                    <a:pt x="110" y="188"/>
                  </a:lnTo>
                  <a:lnTo>
                    <a:pt x="114" y="191"/>
                  </a:lnTo>
                  <a:lnTo>
                    <a:pt x="115" y="191"/>
                  </a:lnTo>
                  <a:lnTo>
                    <a:pt x="119" y="193"/>
                  </a:lnTo>
                  <a:lnTo>
                    <a:pt x="121" y="195"/>
                  </a:lnTo>
                  <a:lnTo>
                    <a:pt x="121" y="195"/>
                  </a:lnTo>
                  <a:lnTo>
                    <a:pt x="123" y="197"/>
                  </a:lnTo>
                  <a:lnTo>
                    <a:pt x="123" y="199"/>
                  </a:lnTo>
                  <a:lnTo>
                    <a:pt x="123" y="199"/>
                  </a:lnTo>
                  <a:lnTo>
                    <a:pt x="125" y="199"/>
                  </a:lnTo>
                  <a:lnTo>
                    <a:pt x="125" y="199"/>
                  </a:lnTo>
                  <a:lnTo>
                    <a:pt x="125" y="199"/>
                  </a:lnTo>
                  <a:lnTo>
                    <a:pt x="126" y="200"/>
                  </a:lnTo>
                  <a:lnTo>
                    <a:pt x="126" y="202"/>
                  </a:lnTo>
                  <a:lnTo>
                    <a:pt x="128" y="204"/>
                  </a:lnTo>
                  <a:lnTo>
                    <a:pt x="128" y="206"/>
                  </a:lnTo>
                  <a:lnTo>
                    <a:pt x="128" y="209"/>
                  </a:lnTo>
                  <a:lnTo>
                    <a:pt x="128" y="211"/>
                  </a:lnTo>
                  <a:lnTo>
                    <a:pt x="128" y="213"/>
                  </a:lnTo>
                  <a:lnTo>
                    <a:pt x="126" y="213"/>
                  </a:lnTo>
                  <a:lnTo>
                    <a:pt x="126" y="215"/>
                  </a:lnTo>
                  <a:lnTo>
                    <a:pt x="126" y="215"/>
                  </a:lnTo>
                  <a:lnTo>
                    <a:pt x="126" y="215"/>
                  </a:lnTo>
                  <a:lnTo>
                    <a:pt x="126" y="217"/>
                  </a:lnTo>
                  <a:lnTo>
                    <a:pt x="126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30" y="220"/>
                  </a:lnTo>
                  <a:lnTo>
                    <a:pt x="134" y="222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9" y="222"/>
                  </a:lnTo>
                  <a:lnTo>
                    <a:pt x="141" y="220"/>
                  </a:lnTo>
                  <a:lnTo>
                    <a:pt x="143" y="220"/>
                  </a:lnTo>
                  <a:lnTo>
                    <a:pt x="143" y="220"/>
                  </a:lnTo>
                  <a:lnTo>
                    <a:pt x="143" y="220"/>
                  </a:lnTo>
                  <a:lnTo>
                    <a:pt x="144" y="220"/>
                  </a:lnTo>
                  <a:lnTo>
                    <a:pt x="144" y="220"/>
                  </a:lnTo>
                  <a:lnTo>
                    <a:pt x="144" y="220"/>
                  </a:lnTo>
                  <a:lnTo>
                    <a:pt x="148" y="218"/>
                  </a:lnTo>
                  <a:lnTo>
                    <a:pt x="150" y="218"/>
                  </a:lnTo>
                  <a:lnTo>
                    <a:pt x="150" y="218"/>
                  </a:lnTo>
                  <a:lnTo>
                    <a:pt x="152" y="220"/>
                  </a:lnTo>
                  <a:lnTo>
                    <a:pt x="153" y="220"/>
                  </a:lnTo>
                  <a:lnTo>
                    <a:pt x="155" y="220"/>
                  </a:lnTo>
                  <a:lnTo>
                    <a:pt x="157" y="218"/>
                  </a:lnTo>
                  <a:lnTo>
                    <a:pt x="161" y="218"/>
                  </a:lnTo>
                  <a:lnTo>
                    <a:pt x="162" y="217"/>
                  </a:lnTo>
                  <a:lnTo>
                    <a:pt x="164" y="218"/>
                  </a:lnTo>
                  <a:lnTo>
                    <a:pt x="164" y="220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8" y="222"/>
                  </a:lnTo>
                  <a:lnTo>
                    <a:pt x="170" y="222"/>
                  </a:lnTo>
                  <a:lnTo>
                    <a:pt x="171" y="224"/>
                  </a:lnTo>
                  <a:lnTo>
                    <a:pt x="173" y="224"/>
                  </a:lnTo>
                  <a:lnTo>
                    <a:pt x="175" y="222"/>
                  </a:lnTo>
                  <a:lnTo>
                    <a:pt x="181" y="217"/>
                  </a:lnTo>
                  <a:lnTo>
                    <a:pt x="182" y="217"/>
                  </a:lnTo>
                  <a:lnTo>
                    <a:pt x="186" y="215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8" y="217"/>
                  </a:lnTo>
                  <a:lnTo>
                    <a:pt x="190" y="217"/>
                  </a:lnTo>
                  <a:lnTo>
                    <a:pt x="190" y="217"/>
                  </a:lnTo>
                  <a:lnTo>
                    <a:pt x="193" y="217"/>
                  </a:lnTo>
                  <a:lnTo>
                    <a:pt x="193" y="217"/>
                  </a:lnTo>
                  <a:lnTo>
                    <a:pt x="195" y="215"/>
                  </a:lnTo>
                  <a:lnTo>
                    <a:pt x="195" y="215"/>
                  </a:lnTo>
                  <a:lnTo>
                    <a:pt x="195" y="215"/>
                  </a:lnTo>
                  <a:lnTo>
                    <a:pt x="195" y="211"/>
                  </a:lnTo>
                  <a:lnTo>
                    <a:pt x="195" y="211"/>
                  </a:lnTo>
                  <a:lnTo>
                    <a:pt x="193" y="209"/>
                  </a:lnTo>
                  <a:lnTo>
                    <a:pt x="193" y="208"/>
                  </a:lnTo>
                  <a:lnTo>
                    <a:pt x="193" y="206"/>
                  </a:lnTo>
                  <a:lnTo>
                    <a:pt x="193" y="206"/>
                  </a:lnTo>
                  <a:lnTo>
                    <a:pt x="193" y="206"/>
                  </a:lnTo>
                  <a:lnTo>
                    <a:pt x="193" y="206"/>
                  </a:lnTo>
                  <a:lnTo>
                    <a:pt x="195" y="204"/>
                  </a:lnTo>
                  <a:lnTo>
                    <a:pt x="195" y="204"/>
                  </a:lnTo>
                  <a:lnTo>
                    <a:pt x="195" y="204"/>
                  </a:lnTo>
                  <a:lnTo>
                    <a:pt x="195" y="202"/>
                  </a:lnTo>
                  <a:lnTo>
                    <a:pt x="195" y="202"/>
                  </a:lnTo>
                  <a:lnTo>
                    <a:pt x="197" y="202"/>
                  </a:lnTo>
                  <a:lnTo>
                    <a:pt x="197" y="200"/>
                  </a:lnTo>
                  <a:lnTo>
                    <a:pt x="199" y="200"/>
                  </a:lnTo>
                  <a:lnTo>
                    <a:pt x="200" y="202"/>
                  </a:lnTo>
                  <a:lnTo>
                    <a:pt x="206" y="202"/>
                  </a:lnTo>
                  <a:lnTo>
                    <a:pt x="208" y="202"/>
                  </a:lnTo>
                  <a:lnTo>
                    <a:pt x="209" y="200"/>
                  </a:lnTo>
                  <a:lnTo>
                    <a:pt x="211" y="199"/>
                  </a:lnTo>
                  <a:lnTo>
                    <a:pt x="213" y="197"/>
                  </a:lnTo>
                  <a:lnTo>
                    <a:pt x="213" y="193"/>
                  </a:lnTo>
                  <a:lnTo>
                    <a:pt x="215" y="191"/>
                  </a:lnTo>
                  <a:lnTo>
                    <a:pt x="215" y="191"/>
                  </a:lnTo>
                  <a:lnTo>
                    <a:pt x="218" y="193"/>
                  </a:lnTo>
                  <a:lnTo>
                    <a:pt x="222" y="193"/>
                  </a:lnTo>
                  <a:lnTo>
                    <a:pt x="224" y="191"/>
                  </a:lnTo>
                  <a:lnTo>
                    <a:pt x="226" y="190"/>
                  </a:lnTo>
                  <a:lnTo>
                    <a:pt x="227" y="188"/>
                  </a:lnTo>
                  <a:lnTo>
                    <a:pt x="227" y="188"/>
                  </a:lnTo>
                  <a:lnTo>
                    <a:pt x="227" y="190"/>
                  </a:lnTo>
                  <a:lnTo>
                    <a:pt x="227" y="190"/>
                  </a:lnTo>
                  <a:lnTo>
                    <a:pt x="231" y="193"/>
                  </a:lnTo>
                  <a:lnTo>
                    <a:pt x="231" y="195"/>
                  </a:lnTo>
                  <a:lnTo>
                    <a:pt x="229" y="195"/>
                  </a:lnTo>
                  <a:lnTo>
                    <a:pt x="229" y="195"/>
                  </a:lnTo>
                  <a:lnTo>
                    <a:pt x="229" y="195"/>
                  </a:lnTo>
                  <a:lnTo>
                    <a:pt x="229" y="197"/>
                  </a:lnTo>
                  <a:lnTo>
                    <a:pt x="231" y="197"/>
                  </a:lnTo>
                  <a:lnTo>
                    <a:pt x="229" y="199"/>
                  </a:lnTo>
                  <a:lnTo>
                    <a:pt x="229" y="199"/>
                  </a:lnTo>
                  <a:lnTo>
                    <a:pt x="227" y="199"/>
                  </a:lnTo>
                  <a:lnTo>
                    <a:pt x="229" y="200"/>
                  </a:lnTo>
                  <a:lnTo>
                    <a:pt x="229" y="202"/>
                  </a:lnTo>
                  <a:lnTo>
                    <a:pt x="231" y="202"/>
                  </a:lnTo>
                  <a:lnTo>
                    <a:pt x="235" y="202"/>
                  </a:lnTo>
                  <a:lnTo>
                    <a:pt x="236" y="202"/>
                  </a:lnTo>
                  <a:lnTo>
                    <a:pt x="236" y="202"/>
                  </a:lnTo>
                  <a:lnTo>
                    <a:pt x="238" y="202"/>
                  </a:lnTo>
                  <a:lnTo>
                    <a:pt x="238" y="200"/>
                  </a:lnTo>
                  <a:lnTo>
                    <a:pt x="240" y="202"/>
                  </a:lnTo>
                  <a:lnTo>
                    <a:pt x="240" y="202"/>
                  </a:lnTo>
                  <a:lnTo>
                    <a:pt x="242" y="200"/>
                  </a:lnTo>
                  <a:lnTo>
                    <a:pt x="242" y="199"/>
                  </a:lnTo>
                  <a:lnTo>
                    <a:pt x="242" y="195"/>
                  </a:lnTo>
                  <a:lnTo>
                    <a:pt x="242" y="195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2" y="193"/>
                  </a:lnTo>
                  <a:lnTo>
                    <a:pt x="242" y="193"/>
                  </a:lnTo>
                  <a:lnTo>
                    <a:pt x="242" y="191"/>
                  </a:lnTo>
                  <a:lnTo>
                    <a:pt x="242" y="191"/>
                  </a:lnTo>
                  <a:lnTo>
                    <a:pt x="242" y="190"/>
                  </a:lnTo>
                  <a:lnTo>
                    <a:pt x="240" y="190"/>
                  </a:lnTo>
                  <a:lnTo>
                    <a:pt x="240" y="190"/>
                  </a:lnTo>
                  <a:lnTo>
                    <a:pt x="240" y="190"/>
                  </a:lnTo>
                  <a:lnTo>
                    <a:pt x="240" y="190"/>
                  </a:lnTo>
                  <a:lnTo>
                    <a:pt x="240" y="190"/>
                  </a:lnTo>
                  <a:lnTo>
                    <a:pt x="238" y="188"/>
                  </a:lnTo>
                  <a:lnTo>
                    <a:pt x="238" y="188"/>
                  </a:lnTo>
                  <a:lnTo>
                    <a:pt x="238" y="186"/>
                  </a:lnTo>
                  <a:lnTo>
                    <a:pt x="238" y="186"/>
                  </a:lnTo>
                  <a:lnTo>
                    <a:pt x="236" y="186"/>
                  </a:lnTo>
                  <a:lnTo>
                    <a:pt x="235" y="188"/>
                  </a:lnTo>
                  <a:lnTo>
                    <a:pt x="231" y="188"/>
                  </a:lnTo>
                  <a:lnTo>
                    <a:pt x="231" y="188"/>
                  </a:lnTo>
                  <a:lnTo>
                    <a:pt x="231" y="186"/>
                  </a:lnTo>
                  <a:lnTo>
                    <a:pt x="231" y="184"/>
                  </a:lnTo>
                  <a:lnTo>
                    <a:pt x="231" y="182"/>
                  </a:lnTo>
                  <a:lnTo>
                    <a:pt x="233" y="179"/>
                  </a:lnTo>
                  <a:lnTo>
                    <a:pt x="235" y="177"/>
                  </a:lnTo>
                  <a:lnTo>
                    <a:pt x="235" y="177"/>
                  </a:lnTo>
                  <a:lnTo>
                    <a:pt x="235" y="175"/>
                  </a:lnTo>
                  <a:lnTo>
                    <a:pt x="235" y="171"/>
                  </a:lnTo>
                  <a:lnTo>
                    <a:pt x="235" y="170"/>
                  </a:lnTo>
                  <a:lnTo>
                    <a:pt x="236" y="170"/>
                  </a:lnTo>
                  <a:lnTo>
                    <a:pt x="238" y="168"/>
                  </a:lnTo>
                  <a:lnTo>
                    <a:pt x="240" y="166"/>
                  </a:lnTo>
                  <a:lnTo>
                    <a:pt x="240" y="164"/>
                  </a:lnTo>
                  <a:lnTo>
                    <a:pt x="242" y="164"/>
                  </a:lnTo>
                  <a:lnTo>
                    <a:pt x="240" y="162"/>
                  </a:lnTo>
                  <a:lnTo>
                    <a:pt x="240" y="159"/>
                  </a:lnTo>
                  <a:lnTo>
                    <a:pt x="238" y="157"/>
                  </a:lnTo>
                  <a:lnTo>
                    <a:pt x="240" y="155"/>
                  </a:lnTo>
                  <a:lnTo>
                    <a:pt x="240" y="155"/>
                  </a:lnTo>
                  <a:lnTo>
                    <a:pt x="240" y="153"/>
                  </a:lnTo>
                  <a:lnTo>
                    <a:pt x="240" y="153"/>
                  </a:lnTo>
                  <a:lnTo>
                    <a:pt x="240" y="152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0" y="146"/>
                  </a:lnTo>
                  <a:lnTo>
                    <a:pt x="242" y="144"/>
                  </a:lnTo>
                  <a:lnTo>
                    <a:pt x="242" y="144"/>
                  </a:lnTo>
                  <a:lnTo>
                    <a:pt x="242" y="144"/>
                  </a:lnTo>
                  <a:lnTo>
                    <a:pt x="242" y="144"/>
                  </a:lnTo>
                  <a:lnTo>
                    <a:pt x="244" y="144"/>
                  </a:lnTo>
                  <a:lnTo>
                    <a:pt x="244" y="143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4" y="139"/>
                  </a:lnTo>
                  <a:lnTo>
                    <a:pt x="244" y="137"/>
                  </a:lnTo>
                  <a:lnTo>
                    <a:pt x="246" y="137"/>
                  </a:lnTo>
                  <a:lnTo>
                    <a:pt x="246" y="135"/>
                  </a:lnTo>
                  <a:lnTo>
                    <a:pt x="247" y="135"/>
                  </a:lnTo>
                  <a:lnTo>
                    <a:pt x="247" y="134"/>
                  </a:lnTo>
                  <a:lnTo>
                    <a:pt x="247" y="134"/>
                  </a:lnTo>
                  <a:lnTo>
                    <a:pt x="247" y="134"/>
                  </a:lnTo>
                  <a:lnTo>
                    <a:pt x="249" y="132"/>
                  </a:lnTo>
                  <a:lnTo>
                    <a:pt x="251" y="132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8" y="132"/>
                  </a:lnTo>
                  <a:lnTo>
                    <a:pt x="260" y="130"/>
                  </a:lnTo>
                  <a:lnTo>
                    <a:pt x="262" y="130"/>
                  </a:lnTo>
                  <a:lnTo>
                    <a:pt x="262" y="128"/>
                  </a:lnTo>
                  <a:lnTo>
                    <a:pt x="264" y="126"/>
                  </a:lnTo>
                  <a:lnTo>
                    <a:pt x="265" y="123"/>
                  </a:lnTo>
                  <a:lnTo>
                    <a:pt x="265" y="123"/>
                  </a:lnTo>
                  <a:lnTo>
                    <a:pt x="265" y="121"/>
                  </a:lnTo>
                  <a:lnTo>
                    <a:pt x="265" y="119"/>
                  </a:lnTo>
                  <a:lnTo>
                    <a:pt x="265" y="117"/>
                  </a:lnTo>
                  <a:lnTo>
                    <a:pt x="267" y="115"/>
                  </a:lnTo>
                  <a:lnTo>
                    <a:pt x="269" y="115"/>
                  </a:lnTo>
                  <a:lnTo>
                    <a:pt x="274" y="117"/>
                  </a:lnTo>
                  <a:lnTo>
                    <a:pt x="274" y="117"/>
                  </a:lnTo>
                  <a:lnTo>
                    <a:pt x="276" y="117"/>
                  </a:lnTo>
                  <a:lnTo>
                    <a:pt x="276" y="115"/>
                  </a:lnTo>
                  <a:lnTo>
                    <a:pt x="276" y="115"/>
                  </a:lnTo>
                  <a:lnTo>
                    <a:pt x="276" y="115"/>
                  </a:lnTo>
                  <a:lnTo>
                    <a:pt x="278" y="115"/>
                  </a:lnTo>
                  <a:lnTo>
                    <a:pt x="283" y="117"/>
                  </a:lnTo>
                  <a:lnTo>
                    <a:pt x="283" y="117"/>
                  </a:lnTo>
                  <a:lnTo>
                    <a:pt x="285" y="115"/>
                  </a:lnTo>
                  <a:lnTo>
                    <a:pt x="285" y="114"/>
                  </a:lnTo>
                  <a:lnTo>
                    <a:pt x="285" y="110"/>
                  </a:lnTo>
                  <a:lnTo>
                    <a:pt x="285" y="110"/>
                  </a:lnTo>
                  <a:lnTo>
                    <a:pt x="287" y="108"/>
                  </a:lnTo>
                  <a:lnTo>
                    <a:pt x="289" y="108"/>
                  </a:lnTo>
                  <a:lnTo>
                    <a:pt x="289" y="106"/>
                  </a:lnTo>
                  <a:lnTo>
                    <a:pt x="291" y="106"/>
                  </a:lnTo>
                  <a:lnTo>
                    <a:pt x="292" y="106"/>
                  </a:lnTo>
                  <a:lnTo>
                    <a:pt x="292" y="105"/>
                  </a:lnTo>
                  <a:lnTo>
                    <a:pt x="294" y="105"/>
                  </a:lnTo>
                  <a:lnTo>
                    <a:pt x="294" y="103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4A352C13-0618-0358-E08E-F210980A2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5" y="4335463"/>
              <a:ext cx="9525" cy="22225"/>
            </a:xfrm>
            <a:custGeom>
              <a:avLst/>
              <a:gdLst>
                <a:gd name="T0" fmla="*/ 6 w 6"/>
                <a:gd name="T1" fmla="*/ 9 h 14"/>
                <a:gd name="T2" fmla="*/ 4 w 6"/>
                <a:gd name="T3" fmla="*/ 7 h 14"/>
                <a:gd name="T4" fmla="*/ 4 w 6"/>
                <a:gd name="T5" fmla="*/ 7 h 14"/>
                <a:gd name="T6" fmla="*/ 4 w 6"/>
                <a:gd name="T7" fmla="*/ 5 h 14"/>
                <a:gd name="T8" fmla="*/ 4 w 6"/>
                <a:gd name="T9" fmla="*/ 5 h 14"/>
                <a:gd name="T10" fmla="*/ 4 w 6"/>
                <a:gd name="T11" fmla="*/ 4 h 14"/>
                <a:gd name="T12" fmla="*/ 4 w 6"/>
                <a:gd name="T13" fmla="*/ 4 h 14"/>
                <a:gd name="T14" fmla="*/ 2 w 6"/>
                <a:gd name="T15" fmla="*/ 2 h 14"/>
                <a:gd name="T16" fmla="*/ 2 w 6"/>
                <a:gd name="T17" fmla="*/ 2 h 14"/>
                <a:gd name="T18" fmla="*/ 4 w 6"/>
                <a:gd name="T19" fmla="*/ 2 h 14"/>
                <a:gd name="T20" fmla="*/ 2 w 6"/>
                <a:gd name="T21" fmla="*/ 0 h 14"/>
                <a:gd name="T22" fmla="*/ 2 w 6"/>
                <a:gd name="T23" fmla="*/ 0 h 14"/>
                <a:gd name="T24" fmla="*/ 0 w 6"/>
                <a:gd name="T25" fmla="*/ 0 h 14"/>
                <a:gd name="T26" fmla="*/ 0 w 6"/>
                <a:gd name="T27" fmla="*/ 4 h 14"/>
                <a:gd name="T28" fmla="*/ 0 w 6"/>
                <a:gd name="T29" fmla="*/ 5 h 14"/>
                <a:gd name="T30" fmla="*/ 0 w 6"/>
                <a:gd name="T31" fmla="*/ 7 h 14"/>
                <a:gd name="T32" fmla="*/ 0 w 6"/>
                <a:gd name="T33" fmla="*/ 7 h 14"/>
                <a:gd name="T34" fmla="*/ 2 w 6"/>
                <a:gd name="T35" fmla="*/ 9 h 14"/>
                <a:gd name="T36" fmla="*/ 2 w 6"/>
                <a:gd name="T37" fmla="*/ 11 h 14"/>
                <a:gd name="T38" fmla="*/ 0 w 6"/>
                <a:gd name="T39" fmla="*/ 13 h 14"/>
                <a:gd name="T40" fmla="*/ 0 w 6"/>
                <a:gd name="T41" fmla="*/ 13 h 14"/>
                <a:gd name="T42" fmla="*/ 0 w 6"/>
                <a:gd name="T43" fmla="*/ 13 h 14"/>
                <a:gd name="T44" fmla="*/ 0 w 6"/>
                <a:gd name="T45" fmla="*/ 14 h 14"/>
                <a:gd name="T46" fmla="*/ 0 w 6"/>
                <a:gd name="T47" fmla="*/ 14 h 14"/>
                <a:gd name="T48" fmla="*/ 4 w 6"/>
                <a:gd name="T49" fmla="*/ 14 h 14"/>
                <a:gd name="T50" fmla="*/ 4 w 6"/>
                <a:gd name="T51" fmla="*/ 14 h 14"/>
                <a:gd name="T52" fmla="*/ 6 w 6"/>
                <a:gd name="T53" fmla="*/ 13 h 14"/>
                <a:gd name="T54" fmla="*/ 6 w 6"/>
                <a:gd name="T55" fmla="*/ 11 h 14"/>
                <a:gd name="T56" fmla="*/ 6 w 6"/>
                <a:gd name="T5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14">
                  <a:moveTo>
                    <a:pt x="6" y="9"/>
                  </a:moveTo>
                  <a:lnTo>
                    <a:pt x="4" y="7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6" y="9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5E590BE1-402B-06A0-390C-096E7E48F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5" y="4335463"/>
              <a:ext cx="9525" cy="22225"/>
            </a:xfrm>
            <a:custGeom>
              <a:avLst/>
              <a:gdLst>
                <a:gd name="T0" fmla="*/ 6 w 6"/>
                <a:gd name="T1" fmla="*/ 9 h 14"/>
                <a:gd name="T2" fmla="*/ 4 w 6"/>
                <a:gd name="T3" fmla="*/ 7 h 14"/>
                <a:gd name="T4" fmla="*/ 4 w 6"/>
                <a:gd name="T5" fmla="*/ 7 h 14"/>
                <a:gd name="T6" fmla="*/ 4 w 6"/>
                <a:gd name="T7" fmla="*/ 5 h 14"/>
                <a:gd name="T8" fmla="*/ 4 w 6"/>
                <a:gd name="T9" fmla="*/ 5 h 14"/>
                <a:gd name="T10" fmla="*/ 4 w 6"/>
                <a:gd name="T11" fmla="*/ 4 h 14"/>
                <a:gd name="T12" fmla="*/ 4 w 6"/>
                <a:gd name="T13" fmla="*/ 4 h 14"/>
                <a:gd name="T14" fmla="*/ 2 w 6"/>
                <a:gd name="T15" fmla="*/ 2 h 14"/>
                <a:gd name="T16" fmla="*/ 2 w 6"/>
                <a:gd name="T17" fmla="*/ 2 h 14"/>
                <a:gd name="T18" fmla="*/ 4 w 6"/>
                <a:gd name="T19" fmla="*/ 2 h 14"/>
                <a:gd name="T20" fmla="*/ 2 w 6"/>
                <a:gd name="T21" fmla="*/ 0 h 14"/>
                <a:gd name="T22" fmla="*/ 2 w 6"/>
                <a:gd name="T23" fmla="*/ 0 h 14"/>
                <a:gd name="T24" fmla="*/ 0 w 6"/>
                <a:gd name="T25" fmla="*/ 0 h 14"/>
                <a:gd name="T26" fmla="*/ 0 w 6"/>
                <a:gd name="T27" fmla="*/ 4 h 14"/>
                <a:gd name="T28" fmla="*/ 0 w 6"/>
                <a:gd name="T29" fmla="*/ 5 h 14"/>
                <a:gd name="T30" fmla="*/ 0 w 6"/>
                <a:gd name="T31" fmla="*/ 7 h 14"/>
                <a:gd name="T32" fmla="*/ 0 w 6"/>
                <a:gd name="T33" fmla="*/ 7 h 14"/>
                <a:gd name="T34" fmla="*/ 2 w 6"/>
                <a:gd name="T35" fmla="*/ 9 h 14"/>
                <a:gd name="T36" fmla="*/ 2 w 6"/>
                <a:gd name="T37" fmla="*/ 11 h 14"/>
                <a:gd name="T38" fmla="*/ 0 w 6"/>
                <a:gd name="T39" fmla="*/ 13 h 14"/>
                <a:gd name="T40" fmla="*/ 0 w 6"/>
                <a:gd name="T41" fmla="*/ 13 h 14"/>
                <a:gd name="T42" fmla="*/ 0 w 6"/>
                <a:gd name="T43" fmla="*/ 13 h 14"/>
                <a:gd name="T44" fmla="*/ 0 w 6"/>
                <a:gd name="T45" fmla="*/ 14 h 14"/>
                <a:gd name="T46" fmla="*/ 0 w 6"/>
                <a:gd name="T47" fmla="*/ 14 h 14"/>
                <a:gd name="T48" fmla="*/ 4 w 6"/>
                <a:gd name="T49" fmla="*/ 14 h 14"/>
                <a:gd name="T50" fmla="*/ 4 w 6"/>
                <a:gd name="T51" fmla="*/ 14 h 14"/>
                <a:gd name="T52" fmla="*/ 6 w 6"/>
                <a:gd name="T53" fmla="*/ 13 h 14"/>
                <a:gd name="T54" fmla="*/ 6 w 6"/>
                <a:gd name="T55" fmla="*/ 11 h 14"/>
                <a:gd name="T56" fmla="*/ 6 w 6"/>
                <a:gd name="T5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14">
                  <a:moveTo>
                    <a:pt x="6" y="9"/>
                  </a:moveTo>
                  <a:lnTo>
                    <a:pt x="4" y="7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6" y="9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599F98E2-76D4-6CF4-356F-1D6A6B3BC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988" y="2909888"/>
              <a:ext cx="576263" cy="350838"/>
            </a:xfrm>
            <a:custGeom>
              <a:avLst/>
              <a:gdLst>
                <a:gd name="T0" fmla="*/ 357 w 363"/>
                <a:gd name="T1" fmla="*/ 146 h 221"/>
                <a:gd name="T2" fmla="*/ 352 w 363"/>
                <a:gd name="T3" fmla="*/ 137 h 221"/>
                <a:gd name="T4" fmla="*/ 348 w 363"/>
                <a:gd name="T5" fmla="*/ 118 h 221"/>
                <a:gd name="T6" fmla="*/ 334 w 363"/>
                <a:gd name="T7" fmla="*/ 112 h 221"/>
                <a:gd name="T8" fmla="*/ 337 w 363"/>
                <a:gd name="T9" fmla="*/ 94 h 221"/>
                <a:gd name="T10" fmla="*/ 345 w 363"/>
                <a:gd name="T11" fmla="*/ 74 h 221"/>
                <a:gd name="T12" fmla="*/ 328 w 363"/>
                <a:gd name="T13" fmla="*/ 58 h 221"/>
                <a:gd name="T14" fmla="*/ 301 w 363"/>
                <a:gd name="T15" fmla="*/ 45 h 221"/>
                <a:gd name="T16" fmla="*/ 294 w 363"/>
                <a:gd name="T17" fmla="*/ 45 h 221"/>
                <a:gd name="T18" fmla="*/ 281 w 363"/>
                <a:gd name="T19" fmla="*/ 53 h 221"/>
                <a:gd name="T20" fmla="*/ 276 w 363"/>
                <a:gd name="T21" fmla="*/ 53 h 221"/>
                <a:gd name="T22" fmla="*/ 260 w 363"/>
                <a:gd name="T23" fmla="*/ 36 h 221"/>
                <a:gd name="T24" fmla="*/ 253 w 363"/>
                <a:gd name="T25" fmla="*/ 24 h 221"/>
                <a:gd name="T26" fmla="*/ 234 w 363"/>
                <a:gd name="T27" fmla="*/ 16 h 221"/>
                <a:gd name="T28" fmla="*/ 229 w 363"/>
                <a:gd name="T29" fmla="*/ 11 h 221"/>
                <a:gd name="T30" fmla="*/ 218 w 363"/>
                <a:gd name="T31" fmla="*/ 6 h 221"/>
                <a:gd name="T32" fmla="*/ 216 w 363"/>
                <a:gd name="T33" fmla="*/ 7 h 221"/>
                <a:gd name="T34" fmla="*/ 206 w 363"/>
                <a:gd name="T35" fmla="*/ 2 h 221"/>
                <a:gd name="T36" fmla="*/ 193 w 363"/>
                <a:gd name="T37" fmla="*/ 11 h 221"/>
                <a:gd name="T38" fmla="*/ 179 w 363"/>
                <a:gd name="T39" fmla="*/ 13 h 221"/>
                <a:gd name="T40" fmla="*/ 166 w 363"/>
                <a:gd name="T41" fmla="*/ 22 h 221"/>
                <a:gd name="T42" fmla="*/ 171 w 363"/>
                <a:gd name="T43" fmla="*/ 44 h 221"/>
                <a:gd name="T44" fmla="*/ 171 w 363"/>
                <a:gd name="T45" fmla="*/ 78 h 221"/>
                <a:gd name="T46" fmla="*/ 162 w 363"/>
                <a:gd name="T47" fmla="*/ 90 h 221"/>
                <a:gd name="T48" fmla="*/ 144 w 363"/>
                <a:gd name="T49" fmla="*/ 101 h 221"/>
                <a:gd name="T50" fmla="*/ 119 w 363"/>
                <a:gd name="T51" fmla="*/ 96 h 221"/>
                <a:gd name="T52" fmla="*/ 110 w 363"/>
                <a:gd name="T53" fmla="*/ 76 h 221"/>
                <a:gd name="T54" fmla="*/ 106 w 363"/>
                <a:gd name="T55" fmla="*/ 67 h 221"/>
                <a:gd name="T56" fmla="*/ 81 w 363"/>
                <a:gd name="T57" fmla="*/ 33 h 221"/>
                <a:gd name="T58" fmla="*/ 77 w 363"/>
                <a:gd name="T59" fmla="*/ 31 h 221"/>
                <a:gd name="T60" fmla="*/ 27 w 363"/>
                <a:gd name="T61" fmla="*/ 65 h 221"/>
                <a:gd name="T62" fmla="*/ 21 w 363"/>
                <a:gd name="T63" fmla="*/ 85 h 221"/>
                <a:gd name="T64" fmla="*/ 18 w 363"/>
                <a:gd name="T65" fmla="*/ 103 h 221"/>
                <a:gd name="T66" fmla="*/ 3 w 363"/>
                <a:gd name="T67" fmla="*/ 116 h 221"/>
                <a:gd name="T68" fmla="*/ 2 w 363"/>
                <a:gd name="T69" fmla="*/ 143 h 221"/>
                <a:gd name="T70" fmla="*/ 5 w 363"/>
                <a:gd name="T71" fmla="*/ 146 h 221"/>
                <a:gd name="T72" fmla="*/ 5 w 363"/>
                <a:gd name="T73" fmla="*/ 157 h 221"/>
                <a:gd name="T74" fmla="*/ 3 w 363"/>
                <a:gd name="T75" fmla="*/ 146 h 221"/>
                <a:gd name="T76" fmla="*/ 2 w 363"/>
                <a:gd name="T77" fmla="*/ 154 h 221"/>
                <a:gd name="T78" fmla="*/ 0 w 363"/>
                <a:gd name="T79" fmla="*/ 166 h 221"/>
                <a:gd name="T80" fmla="*/ 3 w 363"/>
                <a:gd name="T81" fmla="*/ 184 h 221"/>
                <a:gd name="T82" fmla="*/ 18 w 363"/>
                <a:gd name="T83" fmla="*/ 172 h 221"/>
                <a:gd name="T84" fmla="*/ 56 w 363"/>
                <a:gd name="T85" fmla="*/ 154 h 221"/>
                <a:gd name="T86" fmla="*/ 85 w 363"/>
                <a:gd name="T87" fmla="*/ 159 h 221"/>
                <a:gd name="T88" fmla="*/ 103 w 363"/>
                <a:gd name="T89" fmla="*/ 163 h 221"/>
                <a:gd name="T90" fmla="*/ 126 w 363"/>
                <a:gd name="T91" fmla="*/ 163 h 221"/>
                <a:gd name="T92" fmla="*/ 137 w 363"/>
                <a:gd name="T93" fmla="*/ 161 h 221"/>
                <a:gd name="T94" fmla="*/ 159 w 363"/>
                <a:gd name="T95" fmla="*/ 168 h 221"/>
                <a:gd name="T96" fmla="*/ 179 w 363"/>
                <a:gd name="T97" fmla="*/ 166 h 221"/>
                <a:gd name="T98" fmla="*/ 195 w 363"/>
                <a:gd name="T99" fmla="*/ 154 h 221"/>
                <a:gd name="T100" fmla="*/ 200 w 363"/>
                <a:gd name="T101" fmla="*/ 166 h 221"/>
                <a:gd name="T102" fmla="*/ 231 w 363"/>
                <a:gd name="T103" fmla="*/ 179 h 221"/>
                <a:gd name="T104" fmla="*/ 242 w 363"/>
                <a:gd name="T105" fmla="*/ 188 h 221"/>
                <a:gd name="T106" fmla="*/ 269 w 363"/>
                <a:gd name="T107" fmla="*/ 217 h 221"/>
                <a:gd name="T108" fmla="*/ 292 w 363"/>
                <a:gd name="T109" fmla="*/ 217 h 221"/>
                <a:gd name="T110" fmla="*/ 314 w 363"/>
                <a:gd name="T111" fmla="*/ 210 h 221"/>
                <a:gd name="T112" fmla="*/ 332 w 363"/>
                <a:gd name="T113" fmla="*/ 210 h 221"/>
                <a:gd name="T114" fmla="*/ 346 w 363"/>
                <a:gd name="T115" fmla="*/ 186 h 221"/>
                <a:gd name="T116" fmla="*/ 355 w 363"/>
                <a:gd name="T117" fmla="*/ 179 h 221"/>
                <a:gd name="T118" fmla="*/ 363 w 363"/>
                <a:gd name="T119" fmla="*/ 16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" h="221">
                  <a:moveTo>
                    <a:pt x="363" y="166"/>
                  </a:moveTo>
                  <a:lnTo>
                    <a:pt x="361" y="161"/>
                  </a:lnTo>
                  <a:lnTo>
                    <a:pt x="361" y="159"/>
                  </a:lnTo>
                  <a:lnTo>
                    <a:pt x="361" y="156"/>
                  </a:lnTo>
                  <a:lnTo>
                    <a:pt x="361" y="154"/>
                  </a:lnTo>
                  <a:lnTo>
                    <a:pt x="361" y="152"/>
                  </a:lnTo>
                  <a:lnTo>
                    <a:pt x="359" y="152"/>
                  </a:lnTo>
                  <a:lnTo>
                    <a:pt x="357" y="148"/>
                  </a:lnTo>
                  <a:lnTo>
                    <a:pt x="357" y="146"/>
                  </a:lnTo>
                  <a:lnTo>
                    <a:pt x="357" y="146"/>
                  </a:lnTo>
                  <a:lnTo>
                    <a:pt x="357" y="145"/>
                  </a:lnTo>
                  <a:lnTo>
                    <a:pt x="357" y="145"/>
                  </a:lnTo>
                  <a:lnTo>
                    <a:pt x="359" y="143"/>
                  </a:lnTo>
                  <a:lnTo>
                    <a:pt x="359" y="143"/>
                  </a:lnTo>
                  <a:lnTo>
                    <a:pt x="357" y="141"/>
                  </a:lnTo>
                  <a:lnTo>
                    <a:pt x="354" y="139"/>
                  </a:lnTo>
                  <a:lnTo>
                    <a:pt x="352" y="139"/>
                  </a:lnTo>
                  <a:lnTo>
                    <a:pt x="352" y="137"/>
                  </a:lnTo>
                  <a:lnTo>
                    <a:pt x="352" y="136"/>
                  </a:lnTo>
                  <a:lnTo>
                    <a:pt x="352" y="132"/>
                  </a:lnTo>
                  <a:lnTo>
                    <a:pt x="350" y="130"/>
                  </a:lnTo>
                  <a:lnTo>
                    <a:pt x="346" y="127"/>
                  </a:lnTo>
                  <a:lnTo>
                    <a:pt x="345" y="125"/>
                  </a:lnTo>
                  <a:lnTo>
                    <a:pt x="346" y="123"/>
                  </a:lnTo>
                  <a:lnTo>
                    <a:pt x="346" y="121"/>
                  </a:lnTo>
                  <a:lnTo>
                    <a:pt x="348" y="119"/>
                  </a:lnTo>
                  <a:lnTo>
                    <a:pt x="348" y="118"/>
                  </a:lnTo>
                  <a:lnTo>
                    <a:pt x="346" y="116"/>
                  </a:lnTo>
                  <a:lnTo>
                    <a:pt x="345" y="114"/>
                  </a:lnTo>
                  <a:lnTo>
                    <a:pt x="343" y="114"/>
                  </a:lnTo>
                  <a:lnTo>
                    <a:pt x="341" y="112"/>
                  </a:lnTo>
                  <a:lnTo>
                    <a:pt x="339" y="114"/>
                  </a:lnTo>
                  <a:lnTo>
                    <a:pt x="336" y="116"/>
                  </a:lnTo>
                  <a:lnTo>
                    <a:pt x="334" y="116"/>
                  </a:lnTo>
                  <a:lnTo>
                    <a:pt x="334" y="116"/>
                  </a:lnTo>
                  <a:lnTo>
                    <a:pt x="334" y="112"/>
                  </a:lnTo>
                  <a:lnTo>
                    <a:pt x="337" y="105"/>
                  </a:lnTo>
                  <a:lnTo>
                    <a:pt x="337" y="103"/>
                  </a:lnTo>
                  <a:lnTo>
                    <a:pt x="337" y="101"/>
                  </a:lnTo>
                  <a:lnTo>
                    <a:pt x="337" y="101"/>
                  </a:lnTo>
                  <a:lnTo>
                    <a:pt x="339" y="100"/>
                  </a:lnTo>
                  <a:lnTo>
                    <a:pt x="339" y="98"/>
                  </a:lnTo>
                  <a:lnTo>
                    <a:pt x="339" y="98"/>
                  </a:lnTo>
                  <a:lnTo>
                    <a:pt x="339" y="94"/>
                  </a:lnTo>
                  <a:lnTo>
                    <a:pt x="337" y="94"/>
                  </a:lnTo>
                  <a:lnTo>
                    <a:pt x="337" y="92"/>
                  </a:lnTo>
                  <a:lnTo>
                    <a:pt x="336" y="92"/>
                  </a:lnTo>
                  <a:lnTo>
                    <a:pt x="337" y="90"/>
                  </a:lnTo>
                  <a:lnTo>
                    <a:pt x="341" y="89"/>
                  </a:lnTo>
                  <a:lnTo>
                    <a:pt x="343" y="87"/>
                  </a:lnTo>
                  <a:lnTo>
                    <a:pt x="343" y="85"/>
                  </a:lnTo>
                  <a:lnTo>
                    <a:pt x="345" y="81"/>
                  </a:lnTo>
                  <a:lnTo>
                    <a:pt x="345" y="76"/>
                  </a:lnTo>
                  <a:lnTo>
                    <a:pt x="345" y="74"/>
                  </a:lnTo>
                  <a:lnTo>
                    <a:pt x="343" y="72"/>
                  </a:lnTo>
                  <a:lnTo>
                    <a:pt x="343" y="72"/>
                  </a:lnTo>
                  <a:lnTo>
                    <a:pt x="337" y="69"/>
                  </a:lnTo>
                  <a:lnTo>
                    <a:pt x="337" y="69"/>
                  </a:lnTo>
                  <a:lnTo>
                    <a:pt x="334" y="65"/>
                  </a:lnTo>
                  <a:lnTo>
                    <a:pt x="328" y="63"/>
                  </a:lnTo>
                  <a:lnTo>
                    <a:pt x="327" y="62"/>
                  </a:lnTo>
                  <a:lnTo>
                    <a:pt x="328" y="60"/>
                  </a:lnTo>
                  <a:lnTo>
                    <a:pt x="328" y="58"/>
                  </a:lnTo>
                  <a:lnTo>
                    <a:pt x="328" y="56"/>
                  </a:lnTo>
                  <a:lnTo>
                    <a:pt x="328" y="53"/>
                  </a:lnTo>
                  <a:lnTo>
                    <a:pt x="319" y="53"/>
                  </a:lnTo>
                  <a:lnTo>
                    <a:pt x="318" y="53"/>
                  </a:lnTo>
                  <a:lnTo>
                    <a:pt x="310" y="51"/>
                  </a:lnTo>
                  <a:lnTo>
                    <a:pt x="307" y="51"/>
                  </a:lnTo>
                  <a:lnTo>
                    <a:pt x="305" y="49"/>
                  </a:lnTo>
                  <a:lnTo>
                    <a:pt x="303" y="49"/>
                  </a:lnTo>
                  <a:lnTo>
                    <a:pt x="301" y="45"/>
                  </a:lnTo>
                  <a:lnTo>
                    <a:pt x="301" y="45"/>
                  </a:lnTo>
                  <a:lnTo>
                    <a:pt x="300" y="44"/>
                  </a:lnTo>
                  <a:lnTo>
                    <a:pt x="298" y="44"/>
                  </a:lnTo>
                  <a:lnTo>
                    <a:pt x="298" y="44"/>
                  </a:lnTo>
                  <a:lnTo>
                    <a:pt x="296" y="44"/>
                  </a:lnTo>
                  <a:lnTo>
                    <a:pt x="296" y="44"/>
                  </a:lnTo>
                  <a:lnTo>
                    <a:pt x="296" y="44"/>
                  </a:lnTo>
                  <a:lnTo>
                    <a:pt x="294" y="44"/>
                  </a:lnTo>
                  <a:lnTo>
                    <a:pt x="294" y="45"/>
                  </a:lnTo>
                  <a:lnTo>
                    <a:pt x="294" y="45"/>
                  </a:lnTo>
                  <a:lnTo>
                    <a:pt x="292" y="47"/>
                  </a:lnTo>
                  <a:lnTo>
                    <a:pt x="292" y="49"/>
                  </a:lnTo>
                  <a:lnTo>
                    <a:pt x="290" y="49"/>
                  </a:lnTo>
                  <a:lnTo>
                    <a:pt x="287" y="49"/>
                  </a:lnTo>
                  <a:lnTo>
                    <a:pt x="285" y="49"/>
                  </a:lnTo>
                  <a:lnTo>
                    <a:pt x="283" y="49"/>
                  </a:lnTo>
                  <a:lnTo>
                    <a:pt x="281" y="51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0" y="53"/>
                  </a:lnTo>
                  <a:lnTo>
                    <a:pt x="280" y="53"/>
                  </a:lnTo>
                  <a:lnTo>
                    <a:pt x="280" y="53"/>
                  </a:lnTo>
                  <a:lnTo>
                    <a:pt x="278" y="53"/>
                  </a:lnTo>
                  <a:lnTo>
                    <a:pt x="278" y="53"/>
                  </a:lnTo>
                  <a:lnTo>
                    <a:pt x="276" y="53"/>
                  </a:lnTo>
                  <a:lnTo>
                    <a:pt x="276" y="53"/>
                  </a:lnTo>
                  <a:lnTo>
                    <a:pt x="274" y="51"/>
                  </a:lnTo>
                  <a:lnTo>
                    <a:pt x="274" y="49"/>
                  </a:lnTo>
                  <a:lnTo>
                    <a:pt x="274" y="49"/>
                  </a:lnTo>
                  <a:lnTo>
                    <a:pt x="269" y="47"/>
                  </a:lnTo>
                  <a:lnTo>
                    <a:pt x="269" y="47"/>
                  </a:lnTo>
                  <a:lnTo>
                    <a:pt x="267" y="45"/>
                  </a:lnTo>
                  <a:lnTo>
                    <a:pt x="265" y="44"/>
                  </a:lnTo>
                  <a:lnTo>
                    <a:pt x="260" y="36"/>
                  </a:lnTo>
                  <a:lnTo>
                    <a:pt x="258" y="34"/>
                  </a:lnTo>
                  <a:lnTo>
                    <a:pt x="253" y="29"/>
                  </a:lnTo>
                  <a:lnTo>
                    <a:pt x="253" y="27"/>
                  </a:lnTo>
                  <a:lnTo>
                    <a:pt x="253" y="25"/>
                  </a:lnTo>
                  <a:lnTo>
                    <a:pt x="253" y="25"/>
                  </a:lnTo>
                  <a:lnTo>
                    <a:pt x="253" y="25"/>
                  </a:lnTo>
                  <a:lnTo>
                    <a:pt x="253" y="24"/>
                  </a:lnTo>
                  <a:lnTo>
                    <a:pt x="253" y="24"/>
                  </a:lnTo>
                  <a:lnTo>
                    <a:pt x="253" y="24"/>
                  </a:lnTo>
                  <a:lnTo>
                    <a:pt x="253" y="22"/>
                  </a:lnTo>
                  <a:lnTo>
                    <a:pt x="242" y="22"/>
                  </a:lnTo>
                  <a:lnTo>
                    <a:pt x="240" y="20"/>
                  </a:lnTo>
                  <a:lnTo>
                    <a:pt x="240" y="18"/>
                  </a:lnTo>
                  <a:lnTo>
                    <a:pt x="240" y="16"/>
                  </a:lnTo>
                  <a:lnTo>
                    <a:pt x="238" y="15"/>
                  </a:lnTo>
                  <a:lnTo>
                    <a:pt x="238" y="15"/>
                  </a:lnTo>
                  <a:lnTo>
                    <a:pt x="236" y="15"/>
                  </a:lnTo>
                  <a:lnTo>
                    <a:pt x="234" y="16"/>
                  </a:lnTo>
                  <a:lnTo>
                    <a:pt x="233" y="16"/>
                  </a:lnTo>
                  <a:lnTo>
                    <a:pt x="233" y="16"/>
                  </a:lnTo>
                  <a:lnTo>
                    <a:pt x="231" y="16"/>
                  </a:lnTo>
                  <a:lnTo>
                    <a:pt x="229" y="15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29" y="11"/>
                  </a:lnTo>
                  <a:lnTo>
                    <a:pt x="229" y="11"/>
                  </a:lnTo>
                  <a:lnTo>
                    <a:pt x="227" y="11"/>
                  </a:lnTo>
                  <a:lnTo>
                    <a:pt x="225" y="9"/>
                  </a:lnTo>
                  <a:lnTo>
                    <a:pt x="222" y="6"/>
                  </a:lnTo>
                  <a:lnTo>
                    <a:pt x="220" y="6"/>
                  </a:lnTo>
                  <a:lnTo>
                    <a:pt x="218" y="6"/>
                  </a:lnTo>
                  <a:lnTo>
                    <a:pt x="218" y="6"/>
                  </a:lnTo>
                  <a:lnTo>
                    <a:pt x="218" y="6"/>
                  </a:lnTo>
                  <a:lnTo>
                    <a:pt x="218" y="6"/>
                  </a:lnTo>
                  <a:lnTo>
                    <a:pt x="218" y="4"/>
                  </a:lnTo>
                  <a:lnTo>
                    <a:pt x="216" y="2"/>
                  </a:lnTo>
                  <a:lnTo>
                    <a:pt x="216" y="2"/>
                  </a:lnTo>
                  <a:lnTo>
                    <a:pt x="216" y="0"/>
                  </a:lnTo>
                  <a:lnTo>
                    <a:pt x="215" y="0"/>
                  </a:lnTo>
                  <a:lnTo>
                    <a:pt x="215" y="2"/>
                  </a:lnTo>
                  <a:lnTo>
                    <a:pt x="215" y="4"/>
                  </a:lnTo>
                  <a:lnTo>
                    <a:pt x="216" y="6"/>
                  </a:lnTo>
                  <a:lnTo>
                    <a:pt x="216" y="7"/>
                  </a:lnTo>
                  <a:lnTo>
                    <a:pt x="215" y="9"/>
                  </a:lnTo>
                  <a:lnTo>
                    <a:pt x="213" y="9"/>
                  </a:lnTo>
                  <a:lnTo>
                    <a:pt x="213" y="9"/>
                  </a:lnTo>
                  <a:lnTo>
                    <a:pt x="211" y="9"/>
                  </a:lnTo>
                  <a:lnTo>
                    <a:pt x="211" y="7"/>
                  </a:lnTo>
                  <a:lnTo>
                    <a:pt x="211" y="4"/>
                  </a:lnTo>
                  <a:lnTo>
                    <a:pt x="209" y="2"/>
                  </a:lnTo>
                  <a:lnTo>
                    <a:pt x="209" y="2"/>
                  </a:lnTo>
                  <a:lnTo>
                    <a:pt x="206" y="2"/>
                  </a:lnTo>
                  <a:lnTo>
                    <a:pt x="206" y="2"/>
                  </a:lnTo>
                  <a:lnTo>
                    <a:pt x="204" y="2"/>
                  </a:lnTo>
                  <a:lnTo>
                    <a:pt x="204" y="4"/>
                  </a:lnTo>
                  <a:lnTo>
                    <a:pt x="200" y="7"/>
                  </a:lnTo>
                  <a:lnTo>
                    <a:pt x="198" y="7"/>
                  </a:lnTo>
                  <a:lnTo>
                    <a:pt x="195" y="7"/>
                  </a:lnTo>
                  <a:lnTo>
                    <a:pt x="195" y="9"/>
                  </a:lnTo>
                  <a:lnTo>
                    <a:pt x="193" y="9"/>
                  </a:lnTo>
                  <a:lnTo>
                    <a:pt x="193" y="11"/>
                  </a:lnTo>
                  <a:lnTo>
                    <a:pt x="191" y="9"/>
                  </a:lnTo>
                  <a:lnTo>
                    <a:pt x="189" y="9"/>
                  </a:lnTo>
                  <a:lnTo>
                    <a:pt x="188" y="9"/>
                  </a:lnTo>
                  <a:lnTo>
                    <a:pt x="188" y="9"/>
                  </a:lnTo>
                  <a:lnTo>
                    <a:pt x="188" y="13"/>
                  </a:lnTo>
                  <a:lnTo>
                    <a:pt x="186" y="13"/>
                  </a:lnTo>
                  <a:lnTo>
                    <a:pt x="182" y="13"/>
                  </a:lnTo>
                  <a:lnTo>
                    <a:pt x="179" y="13"/>
                  </a:lnTo>
                  <a:lnTo>
                    <a:pt x="179" y="13"/>
                  </a:lnTo>
                  <a:lnTo>
                    <a:pt x="175" y="16"/>
                  </a:lnTo>
                  <a:lnTo>
                    <a:pt x="173" y="16"/>
                  </a:lnTo>
                  <a:lnTo>
                    <a:pt x="173" y="18"/>
                  </a:lnTo>
                  <a:lnTo>
                    <a:pt x="173" y="20"/>
                  </a:lnTo>
                  <a:lnTo>
                    <a:pt x="171" y="20"/>
                  </a:lnTo>
                  <a:lnTo>
                    <a:pt x="171" y="22"/>
                  </a:lnTo>
                  <a:lnTo>
                    <a:pt x="169" y="22"/>
                  </a:lnTo>
                  <a:lnTo>
                    <a:pt x="168" y="20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6" y="24"/>
                  </a:lnTo>
                  <a:lnTo>
                    <a:pt x="166" y="25"/>
                  </a:lnTo>
                  <a:lnTo>
                    <a:pt x="166" y="31"/>
                  </a:lnTo>
                  <a:lnTo>
                    <a:pt x="166" y="33"/>
                  </a:lnTo>
                  <a:lnTo>
                    <a:pt x="168" y="34"/>
                  </a:lnTo>
                  <a:lnTo>
                    <a:pt x="169" y="38"/>
                  </a:lnTo>
                  <a:lnTo>
                    <a:pt x="169" y="38"/>
                  </a:lnTo>
                  <a:lnTo>
                    <a:pt x="171" y="44"/>
                  </a:lnTo>
                  <a:lnTo>
                    <a:pt x="169" y="47"/>
                  </a:lnTo>
                  <a:lnTo>
                    <a:pt x="169" y="51"/>
                  </a:lnTo>
                  <a:lnTo>
                    <a:pt x="169" y="51"/>
                  </a:lnTo>
                  <a:lnTo>
                    <a:pt x="171" y="53"/>
                  </a:lnTo>
                  <a:lnTo>
                    <a:pt x="171" y="54"/>
                  </a:lnTo>
                  <a:lnTo>
                    <a:pt x="171" y="58"/>
                  </a:lnTo>
                  <a:lnTo>
                    <a:pt x="171" y="69"/>
                  </a:lnTo>
                  <a:lnTo>
                    <a:pt x="171" y="74"/>
                  </a:lnTo>
                  <a:lnTo>
                    <a:pt x="171" y="78"/>
                  </a:lnTo>
                  <a:lnTo>
                    <a:pt x="171" y="80"/>
                  </a:lnTo>
                  <a:lnTo>
                    <a:pt x="168" y="83"/>
                  </a:lnTo>
                  <a:lnTo>
                    <a:pt x="166" y="85"/>
                  </a:lnTo>
                  <a:lnTo>
                    <a:pt x="166" y="85"/>
                  </a:lnTo>
                  <a:lnTo>
                    <a:pt x="166" y="87"/>
                  </a:lnTo>
                  <a:lnTo>
                    <a:pt x="164" y="87"/>
                  </a:lnTo>
                  <a:lnTo>
                    <a:pt x="164" y="87"/>
                  </a:lnTo>
                  <a:lnTo>
                    <a:pt x="162" y="89"/>
                  </a:lnTo>
                  <a:lnTo>
                    <a:pt x="162" y="90"/>
                  </a:lnTo>
                  <a:lnTo>
                    <a:pt x="157" y="92"/>
                  </a:lnTo>
                  <a:lnTo>
                    <a:pt x="155" y="94"/>
                  </a:lnTo>
                  <a:lnTo>
                    <a:pt x="153" y="94"/>
                  </a:lnTo>
                  <a:lnTo>
                    <a:pt x="153" y="96"/>
                  </a:lnTo>
                  <a:lnTo>
                    <a:pt x="151" y="98"/>
                  </a:lnTo>
                  <a:lnTo>
                    <a:pt x="151" y="98"/>
                  </a:lnTo>
                  <a:lnTo>
                    <a:pt x="150" y="100"/>
                  </a:lnTo>
                  <a:lnTo>
                    <a:pt x="148" y="101"/>
                  </a:lnTo>
                  <a:lnTo>
                    <a:pt x="144" y="101"/>
                  </a:lnTo>
                  <a:lnTo>
                    <a:pt x="137" y="103"/>
                  </a:lnTo>
                  <a:lnTo>
                    <a:pt x="133" y="103"/>
                  </a:lnTo>
                  <a:lnTo>
                    <a:pt x="132" y="103"/>
                  </a:lnTo>
                  <a:lnTo>
                    <a:pt x="130" y="103"/>
                  </a:lnTo>
                  <a:lnTo>
                    <a:pt x="130" y="103"/>
                  </a:lnTo>
                  <a:lnTo>
                    <a:pt x="128" y="100"/>
                  </a:lnTo>
                  <a:lnTo>
                    <a:pt x="128" y="98"/>
                  </a:lnTo>
                  <a:lnTo>
                    <a:pt x="123" y="98"/>
                  </a:lnTo>
                  <a:lnTo>
                    <a:pt x="119" y="96"/>
                  </a:lnTo>
                  <a:lnTo>
                    <a:pt x="117" y="92"/>
                  </a:lnTo>
                  <a:lnTo>
                    <a:pt x="115" y="92"/>
                  </a:lnTo>
                  <a:lnTo>
                    <a:pt x="115" y="92"/>
                  </a:lnTo>
                  <a:lnTo>
                    <a:pt x="113" y="90"/>
                  </a:lnTo>
                  <a:lnTo>
                    <a:pt x="113" y="81"/>
                  </a:lnTo>
                  <a:lnTo>
                    <a:pt x="112" y="81"/>
                  </a:lnTo>
                  <a:lnTo>
                    <a:pt x="112" y="80"/>
                  </a:lnTo>
                  <a:lnTo>
                    <a:pt x="112" y="78"/>
                  </a:lnTo>
                  <a:lnTo>
                    <a:pt x="110" y="76"/>
                  </a:lnTo>
                  <a:lnTo>
                    <a:pt x="110" y="74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06" y="67"/>
                  </a:lnTo>
                  <a:lnTo>
                    <a:pt x="103" y="65"/>
                  </a:lnTo>
                  <a:lnTo>
                    <a:pt x="99" y="62"/>
                  </a:lnTo>
                  <a:lnTo>
                    <a:pt x="95" y="56"/>
                  </a:lnTo>
                  <a:lnTo>
                    <a:pt x="85" y="47"/>
                  </a:lnTo>
                  <a:lnTo>
                    <a:pt x="81" y="44"/>
                  </a:lnTo>
                  <a:lnTo>
                    <a:pt x="81" y="42"/>
                  </a:lnTo>
                  <a:lnTo>
                    <a:pt x="81" y="40"/>
                  </a:lnTo>
                  <a:lnTo>
                    <a:pt x="81" y="36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7" y="31"/>
                  </a:lnTo>
                  <a:lnTo>
                    <a:pt x="76" y="33"/>
                  </a:lnTo>
                  <a:lnTo>
                    <a:pt x="61" y="40"/>
                  </a:lnTo>
                  <a:lnTo>
                    <a:pt x="52" y="45"/>
                  </a:lnTo>
                  <a:lnTo>
                    <a:pt x="48" y="45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6" y="49"/>
                  </a:lnTo>
                  <a:lnTo>
                    <a:pt x="30" y="60"/>
                  </a:lnTo>
                  <a:lnTo>
                    <a:pt x="27" y="65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72"/>
                  </a:lnTo>
                  <a:lnTo>
                    <a:pt x="23" y="74"/>
                  </a:lnTo>
                  <a:lnTo>
                    <a:pt x="21" y="76"/>
                  </a:lnTo>
                  <a:lnTo>
                    <a:pt x="21" y="78"/>
                  </a:lnTo>
                  <a:lnTo>
                    <a:pt x="21" y="83"/>
                  </a:lnTo>
                  <a:lnTo>
                    <a:pt x="21" y="85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1" y="94"/>
                  </a:lnTo>
                  <a:lnTo>
                    <a:pt x="21" y="98"/>
                  </a:lnTo>
                  <a:lnTo>
                    <a:pt x="21" y="100"/>
                  </a:lnTo>
                  <a:lnTo>
                    <a:pt x="20" y="101"/>
                  </a:lnTo>
                  <a:lnTo>
                    <a:pt x="18" y="103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4" y="109"/>
                  </a:lnTo>
                  <a:lnTo>
                    <a:pt x="12" y="110"/>
                  </a:lnTo>
                  <a:lnTo>
                    <a:pt x="9" y="112"/>
                  </a:lnTo>
                  <a:lnTo>
                    <a:pt x="9" y="112"/>
                  </a:lnTo>
                  <a:lnTo>
                    <a:pt x="5" y="116"/>
                  </a:lnTo>
                  <a:lnTo>
                    <a:pt x="3" y="116"/>
                  </a:lnTo>
                  <a:lnTo>
                    <a:pt x="3" y="118"/>
                  </a:lnTo>
                  <a:lnTo>
                    <a:pt x="5" y="119"/>
                  </a:lnTo>
                  <a:lnTo>
                    <a:pt x="5" y="121"/>
                  </a:lnTo>
                  <a:lnTo>
                    <a:pt x="5" y="130"/>
                  </a:lnTo>
                  <a:lnTo>
                    <a:pt x="3" y="132"/>
                  </a:lnTo>
                  <a:lnTo>
                    <a:pt x="2" y="137"/>
                  </a:lnTo>
                  <a:lnTo>
                    <a:pt x="2" y="141"/>
                  </a:lnTo>
                  <a:lnTo>
                    <a:pt x="2" y="141"/>
                  </a:lnTo>
                  <a:lnTo>
                    <a:pt x="2" y="143"/>
                  </a:lnTo>
                  <a:lnTo>
                    <a:pt x="2" y="143"/>
                  </a:lnTo>
                  <a:lnTo>
                    <a:pt x="2" y="145"/>
                  </a:lnTo>
                  <a:lnTo>
                    <a:pt x="2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8"/>
                  </a:lnTo>
                  <a:lnTo>
                    <a:pt x="5" y="150"/>
                  </a:lnTo>
                  <a:lnTo>
                    <a:pt x="5" y="150"/>
                  </a:lnTo>
                  <a:lnTo>
                    <a:pt x="5" y="152"/>
                  </a:lnTo>
                  <a:lnTo>
                    <a:pt x="5" y="154"/>
                  </a:lnTo>
                  <a:lnTo>
                    <a:pt x="5" y="156"/>
                  </a:lnTo>
                  <a:lnTo>
                    <a:pt x="5" y="156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3" y="157"/>
                  </a:lnTo>
                  <a:lnTo>
                    <a:pt x="3" y="156"/>
                  </a:lnTo>
                  <a:lnTo>
                    <a:pt x="3" y="154"/>
                  </a:lnTo>
                  <a:lnTo>
                    <a:pt x="3" y="152"/>
                  </a:lnTo>
                  <a:lnTo>
                    <a:pt x="3" y="152"/>
                  </a:lnTo>
                  <a:lnTo>
                    <a:pt x="3" y="152"/>
                  </a:lnTo>
                  <a:lnTo>
                    <a:pt x="3" y="150"/>
                  </a:lnTo>
                  <a:lnTo>
                    <a:pt x="3" y="148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2" y="145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2" y="148"/>
                  </a:lnTo>
                  <a:lnTo>
                    <a:pt x="2" y="150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2" y="154"/>
                  </a:lnTo>
                  <a:lnTo>
                    <a:pt x="2" y="154"/>
                  </a:lnTo>
                  <a:lnTo>
                    <a:pt x="0" y="156"/>
                  </a:lnTo>
                  <a:lnTo>
                    <a:pt x="0" y="157"/>
                  </a:lnTo>
                  <a:lnTo>
                    <a:pt x="0" y="159"/>
                  </a:lnTo>
                  <a:lnTo>
                    <a:pt x="0" y="161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70"/>
                  </a:lnTo>
                  <a:lnTo>
                    <a:pt x="2" y="174"/>
                  </a:lnTo>
                  <a:lnTo>
                    <a:pt x="3" y="179"/>
                  </a:lnTo>
                  <a:lnTo>
                    <a:pt x="3" y="181"/>
                  </a:lnTo>
                  <a:lnTo>
                    <a:pt x="3" y="184"/>
                  </a:lnTo>
                  <a:lnTo>
                    <a:pt x="3" y="184"/>
                  </a:lnTo>
                  <a:lnTo>
                    <a:pt x="3" y="184"/>
                  </a:lnTo>
                  <a:lnTo>
                    <a:pt x="7" y="184"/>
                  </a:lnTo>
                  <a:lnTo>
                    <a:pt x="9" y="184"/>
                  </a:lnTo>
                  <a:lnTo>
                    <a:pt x="11" y="184"/>
                  </a:lnTo>
                  <a:lnTo>
                    <a:pt x="12" y="183"/>
                  </a:lnTo>
                  <a:lnTo>
                    <a:pt x="12" y="179"/>
                  </a:lnTo>
                  <a:lnTo>
                    <a:pt x="12" y="177"/>
                  </a:lnTo>
                  <a:lnTo>
                    <a:pt x="14" y="175"/>
                  </a:lnTo>
                  <a:lnTo>
                    <a:pt x="16" y="174"/>
                  </a:lnTo>
                  <a:lnTo>
                    <a:pt x="18" y="172"/>
                  </a:lnTo>
                  <a:lnTo>
                    <a:pt x="20" y="170"/>
                  </a:lnTo>
                  <a:lnTo>
                    <a:pt x="21" y="170"/>
                  </a:lnTo>
                  <a:lnTo>
                    <a:pt x="23" y="170"/>
                  </a:lnTo>
                  <a:lnTo>
                    <a:pt x="29" y="165"/>
                  </a:lnTo>
                  <a:lnTo>
                    <a:pt x="32" y="165"/>
                  </a:lnTo>
                  <a:lnTo>
                    <a:pt x="36" y="165"/>
                  </a:lnTo>
                  <a:lnTo>
                    <a:pt x="50" y="157"/>
                  </a:lnTo>
                  <a:lnTo>
                    <a:pt x="50" y="157"/>
                  </a:lnTo>
                  <a:lnTo>
                    <a:pt x="56" y="154"/>
                  </a:lnTo>
                  <a:lnTo>
                    <a:pt x="59" y="154"/>
                  </a:lnTo>
                  <a:lnTo>
                    <a:pt x="59" y="156"/>
                  </a:lnTo>
                  <a:lnTo>
                    <a:pt x="61" y="156"/>
                  </a:lnTo>
                  <a:lnTo>
                    <a:pt x="63" y="157"/>
                  </a:lnTo>
                  <a:lnTo>
                    <a:pt x="77" y="156"/>
                  </a:lnTo>
                  <a:lnTo>
                    <a:pt x="81" y="157"/>
                  </a:lnTo>
                  <a:lnTo>
                    <a:pt x="81" y="157"/>
                  </a:lnTo>
                  <a:lnTo>
                    <a:pt x="81" y="157"/>
                  </a:lnTo>
                  <a:lnTo>
                    <a:pt x="85" y="159"/>
                  </a:lnTo>
                  <a:lnTo>
                    <a:pt x="85" y="161"/>
                  </a:lnTo>
                  <a:lnTo>
                    <a:pt x="86" y="161"/>
                  </a:lnTo>
                  <a:lnTo>
                    <a:pt x="94" y="157"/>
                  </a:lnTo>
                  <a:lnTo>
                    <a:pt x="95" y="156"/>
                  </a:lnTo>
                  <a:lnTo>
                    <a:pt x="95" y="156"/>
                  </a:lnTo>
                  <a:lnTo>
                    <a:pt x="97" y="154"/>
                  </a:lnTo>
                  <a:lnTo>
                    <a:pt x="99" y="156"/>
                  </a:lnTo>
                  <a:lnTo>
                    <a:pt x="101" y="157"/>
                  </a:lnTo>
                  <a:lnTo>
                    <a:pt x="103" y="163"/>
                  </a:lnTo>
                  <a:lnTo>
                    <a:pt x="104" y="165"/>
                  </a:lnTo>
                  <a:lnTo>
                    <a:pt x="108" y="165"/>
                  </a:lnTo>
                  <a:lnTo>
                    <a:pt x="110" y="161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15" y="157"/>
                  </a:lnTo>
                  <a:lnTo>
                    <a:pt x="117" y="159"/>
                  </a:lnTo>
                  <a:lnTo>
                    <a:pt x="121" y="159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30" y="161"/>
                  </a:lnTo>
                  <a:lnTo>
                    <a:pt x="132" y="159"/>
                  </a:lnTo>
                  <a:lnTo>
                    <a:pt x="135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61"/>
                  </a:lnTo>
                  <a:lnTo>
                    <a:pt x="139" y="161"/>
                  </a:lnTo>
                  <a:lnTo>
                    <a:pt x="137" y="161"/>
                  </a:lnTo>
                  <a:lnTo>
                    <a:pt x="139" y="163"/>
                  </a:lnTo>
                  <a:lnTo>
                    <a:pt x="139" y="163"/>
                  </a:lnTo>
                  <a:lnTo>
                    <a:pt x="142" y="161"/>
                  </a:lnTo>
                  <a:lnTo>
                    <a:pt x="144" y="161"/>
                  </a:lnTo>
                  <a:lnTo>
                    <a:pt x="146" y="161"/>
                  </a:lnTo>
                  <a:lnTo>
                    <a:pt x="151" y="163"/>
                  </a:lnTo>
                  <a:lnTo>
                    <a:pt x="155" y="166"/>
                  </a:lnTo>
                  <a:lnTo>
                    <a:pt x="157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60" y="168"/>
                  </a:lnTo>
                  <a:lnTo>
                    <a:pt x="166" y="165"/>
                  </a:lnTo>
                  <a:lnTo>
                    <a:pt x="168" y="165"/>
                  </a:lnTo>
                  <a:lnTo>
                    <a:pt x="169" y="165"/>
                  </a:lnTo>
                  <a:lnTo>
                    <a:pt x="173" y="168"/>
                  </a:lnTo>
                  <a:lnTo>
                    <a:pt x="175" y="168"/>
                  </a:lnTo>
                  <a:lnTo>
                    <a:pt x="175" y="168"/>
                  </a:lnTo>
                  <a:lnTo>
                    <a:pt x="179" y="166"/>
                  </a:lnTo>
                  <a:lnTo>
                    <a:pt x="180" y="165"/>
                  </a:lnTo>
                  <a:lnTo>
                    <a:pt x="184" y="159"/>
                  </a:lnTo>
                  <a:lnTo>
                    <a:pt x="186" y="157"/>
                  </a:lnTo>
                  <a:lnTo>
                    <a:pt x="188" y="157"/>
                  </a:lnTo>
                  <a:lnTo>
                    <a:pt x="191" y="156"/>
                  </a:lnTo>
                  <a:lnTo>
                    <a:pt x="193" y="156"/>
                  </a:lnTo>
                  <a:lnTo>
                    <a:pt x="193" y="156"/>
                  </a:lnTo>
                  <a:lnTo>
                    <a:pt x="195" y="156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5" y="152"/>
                  </a:lnTo>
                  <a:lnTo>
                    <a:pt x="195" y="152"/>
                  </a:lnTo>
                  <a:lnTo>
                    <a:pt x="197" y="152"/>
                  </a:lnTo>
                  <a:lnTo>
                    <a:pt x="197" y="154"/>
                  </a:lnTo>
                  <a:lnTo>
                    <a:pt x="198" y="157"/>
                  </a:lnTo>
                  <a:lnTo>
                    <a:pt x="200" y="163"/>
                  </a:lnTo>
                  <a:lnTo>
                    <a:pt x="200" y="165"/>
                  </a:lnTo>
                  <a:lnTo>
                    <a:pt x="200" y="166"/>
                  </a:lnTo>
                  <a:lnTo>
                    <a:pt x="202" y="168"/>
                  </a:lnTo>
                  <a:lnTo>
                    <a:pt x="204" y="168"/>
                  </a:lnTo>
                  <a:lnTo>
                    <a:pt x="204" y="172"/>
                  </a:lnTo>
                  <a:lnTo>
                    <a:pt x="206" y="174"/>
                  </a:lnTo>
                  <a:lnTo>
                    <a:pt x="207" y="175"/>
                  </a:lnTo>
                  <a:lnTo>
                    <a:pt x="220" y="177"/>
                  </a:lnTo>
                  <a:lnTo>
                    <a:pt x="224" y="179"/>
                  </a:lnTo>
                  <a:lnTo>
                    <a:pt x="227" y="177"/>
                  </a:lnTo>
                  <a:lnTo>
                    <a:pt x="231" y="179"/>
                  </a:lnTo>
                  <a:lnTo>
                    <a:pt x="231" y="179"/>
                  </a:lnTo>
                  <a:lnTo>
                    <a:pt x="234" y="179"/>
                  </a:lnTo>
                  <a:lnTo>
                    <a:pt x="234" y="179"/>
                  </a:lnTo>
                  <a:lnTo>
                    <a:pt x="234" y="179"/>
                  </a:lnTo>
                  <a:lnTo>
                    <a:pt x="236" y="183"/>
                  </a:lnTo>
                  <a:lnTo>
                    <a:pt x="236" y="184"/>
                  </a:lnTo>
                  <a:lnTo>
                    <a:pt x="238" y="184"/>
                  </a:lnTo>
                  <a:lnTo>
                    <a:pt x="240" y="186"/>
                  </a:lnTo>
                  <a:lnTo>
                    <a:pt x="242" y="188"/>
                  </a:lnTo>
                  <a:lnTo>
                    <a:pt x="245" y="192"/>
                  </a:lnTo>
                  <a:lnTo>
                    <a:pt x="249" y="195"/>
                  </a:lnTo>
                  <a:lnTo>
                    <a:pt x="253" y="197"/>
                  </a:lnTo>
                  <a:lnTo>
                    <a:pt x="256" y="201"/>
                  </a:lnTo>
                  <a:lnTo>
                    <a:pt x="262" y="204"/>
                  </a:lnTo>
                  <a:lnTo>
                    <a:pt x="262" y="206"/>
                  </a:lnTo>
                  <a:lnTo>
                    <a:pt x="263" y="210"/>
                  </a:lnTo>
                  <a:lnTo>
                    <a:pt x="265" y="215"/>
                  </a:lnTo>
                  <a:lnTo>
                    <a:pt x="269" y="217"/>
                  </a:lnTo>
                  <a:lnTo>
                    <a:pt x="276" y="221"/>
                  </a:lnTo>
                  <a:lnTo>
                    <a:pt x="278" y="221"/>
                  </a:lnTo>
                  <a:lnTo>
                    <a:pt x="281" y="221"/>
                  </a:lnTo>
                  <a:lnTo>
                    <a:pt x="283" y="219"/>
                  </a:lnTo>
                  <a:lnTo>
                    <a:pt x="283" y="219"/>
                  </a:lnTo>
                  <a:lnTo>
                    <a:pt x="285" y="219"/>
                  </a:lnTo>
                  <a:lnTo>
                    <a:pt x="289" y="221"/>
                  </a:lnTo>
                  <a:lnTo>
                    <a:pt x="289" y="221"/>
                  </a:lnTo>
                  <a:lnTo>
                    <a:pt x="292" y="217"/>
                  </a:lnTo>
                  <a:lnTo>
                    <a:pt x="294" y="217"/>
                  </a:lnTo>
                  <a:lnTo>
                    <a:pt x="298" y="211"/>
                  </a:lnTo>
                  <a:lnTo>
                    <a:pt x="300" y="208"/>
                  </a:lnTo>
                  <a:lnTo>
                    <a:pt x="301" y="208"/>
                  </a:lnTo>
                  <a:lnTo>
                    <a:pt x="301" y="206"/>
                  </a:lnTo>
                  <a:lnTo>
                    <a:pt x="307" y="206"/>
                  </a:lnTo>
                  <a:lnTo>
                    <a:pt x="309" y="206"/>
                  </a:lnTo>
                  <a:lnTo>
                    <a:pt x="310" y="208"/>
                  </a:lnTo>
                  <a:lnTo>
                    <a:pt x="314" y="210"/>
                  </a:lnTo>
                  <a:lnTo>
                    <a:pt x="316" y="210"/>
                  </a:lnTo>
                  <a:lnTo>
                    <a:pt x="316" y="210"/>
                  </a:lnTo>
                  <a:lnTo>
                    <a:pt x="318" y="208"/>
                  </a:lnTo>
                  <a:lnTo>
                    <a:pt x="319" y="206"/>
                  </a:lnTo>
                  <a:lnTo>
                    <a:pt x="321" y="208"/>
                  </a:lnTo>
                  <a:lnTo>
                    <a:pt x="323" y="210"/>
                  </a:lnTo>
                  <a:lnTo>
                    <a:pt x="323" y="210"/>
                  </a:lnTo>
                  <a:lnTo>
                    <a:pt x="330" y="210"/>
                  </a:lnTo>
                  <a:lnTo>
                    <a:pt x="332" y="210"/>
                  </a:lnTo>
                  <a:lnTo>
                    <a:pt x="332" y="208"/>
                  </a:lnTo>
                  <a:lnTo>
                    <a:pt x="332" y="206"/>
                  </a:lnTo>
                  <a:lnTo>
                    <a:pt x="332" y="202"/>
                  </a:lnTo>
                  <a:lnTo>
                    <a:pt x="334" y="199"/>
                  </a:lnTo>
                  <a:lnTo>
                    <a:pt x="339" y="195"/>
                  </a:lnTo>
                  <a:lnTo>
                    <a:pt x="341" y="192"/>
                  </a:lnTo>
                  <a:lnTo>
                    <a:pt x="341" y="190"/>
                  </a:lnTo>
                  <a:lnTo>
                    <a:pt x="343" y="188"/>
                  </a:lnTo>
                  <a:lnTo>
                    <a:pt x="346" y="186"/>
                  </a:lnTo>
                  <a:lnTo>
                    <a:pt x="346" y="184"/>
                  </a:lnTo>
                  <a:lnTo>
                    <a:pt x="346" y="184"/>
                  </a:lnTo>
                  <a:lnTo>
                    <a:pt x="348" y="183"/>
                  </a:lnTo>
                  <a:lnTo>
                    <a:pt x="348" y="183"/>
                  </a:lnTo>
                  <a:lnTo>
                    <a:pt x="348" y="181"/>
                  </a:lnTo>
                  <a:lnTo>
                    <a:pt x="350" y="181"/>
                  </a:lnTo>
                  <a:lnTo>
                    <a:pt x="354" y="181"/>
                  </a:lnTo>
                  <a:lnTo>
                    <a:pt x="354" y="179"/>
                  </a:lnTo>
                  <a:lnTo>
                    <a:pt x="355" y="179"/>
                  </a:lnTo>
                  <a:lnTo>
                    <a:pt x="357" y="177"/>
                  </a:lnTo>
                  <a:lnTo>
                    <a:pt x="359" y="179"/>
                  </a:lnTo>
                  <a:lnTo>
                    <a:pt x="361" y="177"/>
                  </a:lnTo>
                  <a:lnTo>
                    <a:pt x="361" y="175"/>
                  </a:lnTo>
                  <a:lnTo>
                    <a:pt x="361" y="174"/>
                  </a:lnTo>
                  <a:lnTo>
                    <a:pt x="361" y="170"/>
                  </a:lnTo>
                  <a:lnTo>
                    <a:pt x="363" y="170"/>
                  </a:lnTo>
                  <a:lnTo>
                    <a:pt x="363" y="170"/>
                  </a:lnTo>
                  <a:lnTo>
                    <a:pt x="363" y="168"/>
                  </a:lnTo>
                  <a:lnTo>
                    <a:pt x="363" y="168"/>
                  </a:lnTo>
                  <a:lnTo>
                    <a:pt x="363" y="166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E80C224B-C0BD-17A6-EA4D-BB086DF95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1375" y="4784726"/>
              <a:ext cx="136525" cy="152400"/>
            </a:xfrm>
            <a:custGeom>
              <a:avLst/>
              <a:gdLst>
                <a:gd name="T0" fmla="*/ 83 w 86"/>
                <a:gd name="T1" fmla="*/ 40 h 96"/>
                <a:gd name="T2" fmla="*/ 77 w 86"/>
                <a:gd name="T3" fmla="*/ 37 h 96"/>
                <a:gd name="T4" fmla="*/ 68 w 86"/>
                <a:gd name="T5" fmla="*/ 37 h 96"/>
                <a:gd name="T6" fmla="*/ 68 w 86"/>
                <a:gd name="T7" fmla="*/ 33 h 96"/>
                <a:gd name="T8" fmla="*/ 68 w 86"/>
                <a:gd name="T9" fmla="*/ 28 h 96"/>
                <a:gd name="T10" fmla="*/ 63 w 86"/>
                <a:gd name="T11" fmla="*/ 26 h 96"/>
                <a:gd name="T12" fmla="*/ 59 w 86"/>
                <a:gd name="T13" fmla="*/ 22 h 96"/>
                <a:gd name="T14" fmla="*/ 58 w 86"/>
                <a:gd name="T15" fmla="*/ 19 h 96"/>
                <a:gd name="T16" fmla="*/ 54 w 86"/>
                <a:gd name="T17" fmla="*/ 11 h 96"/>
                <a:gd name="T18" fmla="*/ 41 w 86"/>
                <a:gd name="T19" fmla="*/ 6 h 96"/>
                <a:gd name="T20" fmla="*/ 41 w 86"/>
                <a:gd name="T21" fmla="*/ 4 h 96"/>
                <a:gd name="T22" fmla="*/ 41 w 86"/>
                <a:gd name="T23" fmla="*/ 2 h 96"/>
                <a:gd name="T24" fmla="*/ 38 w 86"/>
                <a:gd name="T25" fmla="*/ 0 h 96"/>
                <a:gd name="T26" fmla="*/ 29 w 86"/>
                <a:gd name="T27" fmla="*/ 4 h 96"/>
                <a:gd name="T28" fmla="*/ 30 w 86"/>
                <a:gd name="T29" fmla="*/ 10 h 96"/>
                <a:gd name="T30" fmla="*/ 32 w 86"/>
                <a:gd name="T31" fmla="*/ 11 h 96"/>
                <a:gd name="T32" fmla="*/ 27 w 86"/>
                <a:gd name="T33" fmla="*/ 17 h 96"/>
                <a:gd name="T34" fmla="*/ 25 w 86"/>
                <a:gd name="T35" fmla="*/ 19 h 96"/>
                <a:gd name="T36" fmla="*/ 21 w 86"/>
                <a:gd name="T37" fmla="*/ 22 h 96"/>
                <a:gd name="T38" fmla="*/ 23 w 86"/>
                <a:gd name="T39" fmla="*/ 26 h 96"/>
                <a:gd name="T40" fmla="*/ 11 w 86"/>
                <a:gd name="T41" fmla="*/ 31 h 96"/>
                <a:gd name="T42" fmla="*/ 9 w 86"/>
                <a:gd name="T43" fmla="*/ 35 h 96"/>
                <a:gd name="T44" fmla="*/ 2 w 86"/>
                <a:gd name="T45" fmla="*/ 33 h 96"/>
                <a:gd name="T46" fmla="*/ 0 w 86"/>
                <a:gd name="T47" fmla="*/ 38 h 96"/>
                <a:gd name="T48" fmla="*/ 3 w 86"/>
                <a:gd name="T49" fmla="*/ 44 h 96"/>
                <a:gd name="T50" fmla="*/ 2 w 86"/>
                <a:gd name="T51" fmla="*/ 47 h 96"/>
                <a:gd name="T52" fmla="*/ 5 w 86"/>
                <a:gd name="T53" fmla="*/ 53 h 96"/>
                <a:gd name="T54" fmla="*/ 7 w 86"/>
                <a:gd name="T55" fmla="*/ 56 h 96"/>
                <a:gd name="T56" fmla="*/ 9 w 86"/>
                <a:gd name="T57" fmla="*/ 60 h 96"/>
                <a:gd name="T58" fmla="*/ 9 w 86"/>
                <a:gd name="T59" fmla="*/ 62 h 96"/>
                <a:gd name="T60" fmla="*/ 14 w 86"/>
                <a:gd name="T61" fmla="*/ 64 h 96"/>
                <a:gd name="T62" fmla="*/ 23 w 86"/>
                <a:gd name="T63" fmla="*/ 71 h 96"/>
                <a:gd name="T64" fmla="*/ 27 w 86"/>
                <a:gd name="T65" fmla="*/ 82 h 96"/>
                <a:gd name="T66" fmla="*/ 29 w 86"/>
                <a:gd name="T67" fmla="*/ 91 h 96"/>
                <a:gd name="T68" fmla="*/ 27 w 86"/>
                <a:gd name="T69" fmla="*/ 93 h 96"/>
                <a:gd name="T70" fmla="*/ 29 w 86"/>
                <a:gd name="T71" fmla="*/ 96 h 96"/>
                <a:gd name="T72" fmla="*/ 32 w 86"/>
                <a:gd name="T73" fmla="*/ 96 h 96"/>
                <a:gd name="T74" fmla="*/ 36 w 86"/>
                <a:gd name="T75" fmla="*/ 93 h 96"/>
                <a:gd name="T76" fmla="*/ 36 w 86"/>
                <a:gd name="T77" fmla="*/ 87 h 96"/>
                <a:gd name="T78" fmla="*/ 40 w 86"/>
                <a:gd name="T79" fmla="*/ 80 h 96"/>
                <a:gd name="T80" fmla="*/ 50 w 86"/>
                <a:gd name="T81" fmla="*/ 75 h 96"/>
                <a:gd name="T82" fmla="*/ 54 w 86"/>
                <a:gd name="T83" fmla="*/ 73 h 96"/>
                <a:gd name="T84" fmla="*/ 59 w 86"/>
                <a:gd name="T85" fmla="*/ 78 h 96"/>
                <a:gd name="T86" fmla="*/ 63 w 86"/>
                <a:gd name="T87" fmla="*/ 80 h 96"/>
                <a:gd name="T88" fmla="*/ 63 w 86"/>
                <a:gd name="T89" fmla="*/ 76 h 96"/>
                <a:gd name="T90" fmla="*/ 68 w 86"/>
                <a:gd name="T91" fmla="*/ 71 h 96"/>
                <a:gd name="T92" fmla="*/ 70 w 86"/>
                <a:gd name="T93" fmla="*/ 69 h 96"/>
                <a:gd name="T94" fmla="*/ 72 w 86"/>
                <a:gd name="T95" fmla="*/ 69 h 96"/>
                <a:gd name="T96" fmla="*/ 77 w 86"/>
                <a:gd name="T97" fmla="*/ 69 h 96"/>
                <a:gd name="T98" fmla="*/ 79 w 86"/>
                <a:gd name="T99" fmla="*/ 60 h 96"/>
                <a:gd name="T100" fmla="*/ 79 w 86"/>
                <a:gd name="T101" fmla="*/ 55 h 96"/>
                <a:gd name="T102" fmla="*/ 85 w 86"/>
                <a:gd name="T103" fmla="*/ 46 h 96"/>
                <a:gd name="T104" fmla="*/ 85 w 86"/>
                <a:gd name="T105" fmla="*/ 46 h 96"/>
                <a:gd name="T106" fmla="*/ 86 w 86"/>
                <a:gd name="T10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6" h="96">
                  <a:moveTo>
                    <a:pt x="86" y="40"/>
                  </a:moveTo>
                  <a:lnTo>
                    <a:pt x="86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3" y="40"/>
                  </a:lnTo>
                  <a:lnTo>
                    <a:pt x="81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7" y="37"/>
                  </a:lnTo>
                  <a:lnTo>
                    <a:pt x="76" y="37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3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5" y="28"/>
                  </a:lnTo>
                  <a:lnTo>
                    <a:pt x="65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1" y="26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59" y="20"/>
                  </a:lnTo>
                  <a:lnTo>
                    <a:pt x="59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0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5" y="8"/>
                  </a:lnTo>
                  <a:lnTo>
                    <a:pt x="41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2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0" y="15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1" y="20"/>
                  </a:lnTo>
                  <a:lnTo>
                    <a:pt x="21" y="22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1" y="28"/>
                  </a:lnTo>
                  <a:lnTo>
                    <a:pt x="20" y="29"/>
                  </a:lnTo>
                  <a:lnTo>
                    <a:pt x="16" y="29"/>
                  </a:lnTo>
                  <a:lnTo>
                    <a:pt x="12" y="31"/>
                  </a:lnTo>
                  <a:lnTo>
                    <a:pt x="11" y="31"/>
                  </a:lnTo>
                  <a:lnTo>
                    <a:pt x="9" y="31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3" y="35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3" y="40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9"/>
                  </a:lnTo>
                  <a:lnTo>
                    <a:pt x="3" y="49"/>
                  </a:lnTo>
                  <a:lnTo>
                    <a:pt x="5" y="51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9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5" y="76"/>
                  </a:lnTo>
                  <a:lnTo>
                    <a:pt x="25" y="78"/>
                  </a:lnTo>
                  <a:lnTo>
                    <a:pt x="27" y="78"/>
                  </a:lnTo>
                  <a:lnTo>
                    <a:pt x="27" y="80"/>
                  </a:lnTo>
                  <a:lnTo>
                    <a:pt x="27" y="82"/>
                  </a:lnTo>
                  <a:lnTo>
                    <a:pt x="29" y="85"/>
                  </a:lnTo>
                  <a:lnTo>
                    <a:pt x="29" y="87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30" y="96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4" y="96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1"/>
                  </a:lnTo>
                  <a:lnTo>
                    <a:pt x="36" y="89"/>
                  </a:lnTo>
                  <a:lnTo>
                    <a:pt x="36" y="87"/>
                  </a:lnTo>
                  <a:lnTo>
                    <a:pt x="36" y="85"/>
                  </a:lnTo>
                  <a:lnTo>
                    <a:pt x="36" y="84"/>
                  </a:lnTo>
                  <a:lnTo>
                    <a:pt x="36" y="82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3" y="78"/>
                  </a:lnTo>
                  <a:lnTo>
                    <a:pt x="47" y="76"/>
                  </a:lnTo>
                  <a:lnTo>
                    <a:pt x="49" y="76"/>
                  </a:lnTo>
                  <a:lnTo>
                    <a:pt x="50" y="76"/>
                  </a:lnTo>
                  <a:lnTo>
                    <a:pt x="50" y="75"/>
                  </a:lnTo>
                  <a:lnTo>
                    <a:pt x="52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8" y="75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3" y="80"/>
                  </a:lnTo>
                  <a:lnTo>
                    <a:pt x="63" y="80"/>
                  </a:lnTo>
                  <a:lnTo>
                    <a:pt x="63" y="80"/>
                  </a:lnTo>
                  <a:lnTo>
                    <a:pt x="63" y="78"/>
                  </a:lnTo>
                  <a:lnTo>
                    <a:pt x="63" y="78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8" y="71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6" y="67"/>
                  </a:lnTo>
                  <a:lnTo>
                    <a:pt x="74" y="64"/>
                  </a:lnTo>
                  <a:lnTo>
                    <a:pt x="74" y="62"/>
                  </a:lnTo>
                  <a:lnTo>
                    <a:pt x="76" y="62"/>
                  </a:lnTo>
                  <a:lnTo>
                    <a:pt x="79" y="60"/>
                  </a:lnTo>
                  <a:lnTo>
                    <a:pt x="79" y="60"/>
                  </a:lnTo>
                  <a:lnTo>
                    <a:pt x="79" y="58"/>
                  </a:lnTo>
                  <a:lnTo>
                    <a:pt x="79" y="56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81" y="53"/>
                  </a:lnTo>
                  <a:lnTo>
                    <a:pt x="85" y="49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58BE784F-31FA-5E96-E1F2-BF0543275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1375" y="4784726"/>
              <a:ext cx="136525" cy="152400"/>
            </a:xfrm>
            <a:custGeom>
              <a:avLst/>
              <a:gdLst>
                <a:gd name="T0" fmla="*/ 83 w 86"/>
                <a:gd name="T1" fmla="*/ 40 h 96"/>
                <a:gd name="T2" fmla="*/ 77 w 86"/>
                <a:gd name="T3" fmla="*/ 37 h 96"/>
                <a:gd name="T4" fmla="*/ 68 w 86"/>
                <a:gd name="T5" fmla="*/ 37 h 96"/>
                <a:gd name="T6" fmla="*/ 68 w 86"/>
                <a:gd name="T7" fmla="*/ 33 h 96"/>
                <a:gd name="T8" fmla="*/ 68 w 86"/>
                <a:gd name="T9" fmla="*/ 28 h 96"/>
                <a:gd name="T10" fmla="*/ 63 w 86"/>
                <a:gd name="T11" fmla="*/ 26 h 96"/>
                <a:gd name="T12" fmla="*/ 59 w 86"/>
                <a:gd name="T13" fmla="*/ 22 h 96"/>
                <a:gd name="T14" fmla="*/ 58 w 86"/>
                <a:gd name="T15" fmla="*/ 19 h 96"/>
                <a:gd name="T16" fmla="*/ 54 w 86"/>
                <a:gd name="T17" fmla="*/ 11 h 96"/>
                <a:gd name="T18" fmla="*/ 41 w 86"/>
                <a:gd name="T19" fmla="*/ 6 h 96"/>
                <a:gd name="T20" fmla="*/ 41 w 86"/>
                <a:gd name="T21" fmla="*/ 4 h 96"/>
                <a:gd name="T22" fmla="*/ 41 w 86"/>
                <a:gd name="T23" fmla="*/ 2 h 96"/>
                <a:gd name="T24" fmla="*/ 38 w 86"/>
                <a:gd name="T25" fmla="*/ 0 h 96"/>
                <a:gd name="T26" fmla="*/ 29 w 86"/>
                <a:gd name="T27" fmla="*/ 4 h 96"/>
                <a:gd name="T28" fmla="*/ 30 w 86"/>
                <a:gd name="T29" fmla="*/ 10 h 96"/>
                <a:gd name="T30" fmla="*/ 32 w 86"/>
                <a:gd name="T31" fmla="*/ 11 h 96"/>
                <a:gd name="T32" fmla="*/ 27 w 86"/>
                <a:gd name="T33" fmla="*/ 17 h 96"/>
                <a:gd name="T34" fmla="*/ 25 w 86"/>
                <a:gd name="T35" fmla="*/ 19 h 96"/>
                <a:gd name="T36" fmla="*/ 21 w 86"/>
                <a:gd name="T37" fmla="*/ 22 h 96"/>
                <a:gd name="T38" fmla="*/ 23 w 86"/>
                <a:gd name="T39" fmla="*/ 26 h 96"/>
                <a:gd name="T40" fmla="*/ 11 w 86"/>
                <a:gd name="T41" fmla="*/ 31 h 96"/>
                <a:gd name="T42" fmla="*/ 9 w 86"/>
                <a:gd name="T43" fmla="*/ 35 h 96"/>
                <a:gd name="T44" fmla="*/ 2 w 86"/>
                <a:gd name="T45" fmla="*/ 33 h 96"/>
                <a:gd name="T46" fmla="*/ 0 w 86"/>
                <a:gd name="T47" fmla="*/ 38 h 96"/>
                <a:gd name="T48" fmla="*/ 3 w 86"/>
                <a:gd name="T49" fmla="*/ 44 h 96"/>
                <a:gd name="T50" fmla="*/ 2 w 86"/>
                <a:gd name="T51" fmla="*/ 47 h 96"/>
                <a:gd name="T52" fmla="*/ 5 w 86"/>
                <a:gd name="T53" fmla="*/ 53 h 96"/>
                <a:gd name="T54" fmla="*/ 7 w 86"/>
                <a:gd name="T55" fmla="*/ 56 h 96"/>
                <a:gd name="T56" fmla="*/ 9 w 86"/>
                <a:gd name="T57" fmla="*/ 60 h 96"/>
                <a:gd name="T58" fmla="*/ 9 w 86"/>
                <a:gd name="T59" fmla="*/ 62 h 96"/>
                <a:gd name="T60" fmla="*/ 14 w 86"/>
                <a:gd name="T61" fmla="*/ 64 h 96"/>
                <a:gd name="T62" fmla="*/ 23 w 86"/>
                <a:gd name="T63" fmla="*/ 71 h 96"/>
                <a:gd name="T64" fmla="*/ 27 w 86"/>
                <a:gd name="T65" fmla="*/ 82 h 96"/>
                <a:gd name="T66" fmla="*/ 29 w 86"/>
                <a:gd name="T67" fmla="*/ 91 h 96"/>
                <a:gd name="T68" fmla="*/ 27 w 86"/>
                <a:gd name="T69" fmla="*/ 93 h 96"/>
                <a:gd name="T70" fmla="*/ 29 w 86"/>
                <a:gd name="T71" fmla="*/ 96 h 96"/>
                <a:gd name="T72" fmla="*/ 32 w 86"/>
                <a:gd name="T73" fmla="*/ 96 h 96"/>
                <a:gd name="T74" fmla="*/ 36 w 86"/>
                <a:gd name="T75" fmla="*/ 93 h 96"/>
                <a:gd name="T76" fmla="*/ 36 w 86"/>
                <a:gd name="T77" fmla="*/ 87 h 96"/>
                <a:gd name="T78" fmla="*/ 40 w 86"/>
                <a:gd name="T79" fmla="*/ 80 h 96"/>
                <a:gd name="T80" fmla="*/ 50 w 86"/>
                <a:gd name="T81" fmla="*/ 75 h 96"/>
                <a:gd name="T82" fmla="*/ 54 w 86"/>
                <a:gd name="T83" fmla="*/ 73 h 96"/>
                <a:gd name="T84" fmla="*/ 59 w 86"/>
                <a:gd name="T85" fmla="*/ 78 h 96"/>
                <a:gd name="T86" fmla="*/ 63 w 86"/>
                <a:gd name="T87" fmla="*/ 80 h 96"/>
                <a:gd name="T88" fmla="*/ 63 w 86"/>
                <a:gd name="T89" fmla="*/ 76 h 96"/>
                <a:gd name="T90" fmla="*/ 68 w 86"/>
                <a:gd name="T91" fmla="*/ 71 h 96"/>
                <a:gd name="T92" fmla="*/ 70 w 86"/>
                <a:gd name="T93" fmla="*/ 69 h 96"/>
                <a:gd name="T94" fmla="*/ 72 w 86"/>
                <a:gd name="T95" fmla="*/ 69 h 96"/>
                <a:gd name="T96" fmla="*/ 77 w 86"/>
                <a:gd name="T97" fmla="*/ 69 h 96"/>
                <a:gd name="T98" fmla="*/ 79 w 86"/>
                <a:gd name="T99" fmla="*/ 60 h 96"/>
                <a:gd name="T100" fmla="*/ 79 w 86"/>
                <a:gd name="T101" fmla="*/ 55 h 96"/>
                <a:gd name="T102" fmla="*/ 85 w 86"/>
                <a:gd name="T103" fmla="*/ 46 h 96"/>
                <a:gd name="T104" fmla="*/ 85 w 86"/>
                <a:gd name="T105" fmla="*/ 46 h 96"/>
                <a:gd name="T106" fmla="*/ 86 w 86"/>
                <a:gd name="T107" fmla="*/ 4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6" h="96">
                  <a:moveTo>
                    <a:pt x="86" y="40"/>
                  </a:moveTo>
                  <a:lnTo>
                    <a:pt x="86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3" y="40"/>
                  </a:lnTo>
                  <a:lnTo>
                    <a:pt x="81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7" y="37"/>
                  </a:lnTo>
                  <a:lnTo>
                    <a:pt x="76" y="37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3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5" y="28"/>
                  </a:lnTo>
                  <a:lnTo>
                    <a:pt x="65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1" y="26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59" y="20"/>
                  </a:lnTo>
                  <a:lnTo>
                    <a:pt x="59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0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5" y="8"/>
                  </a:lnTo>
                  <a:lnTo>
                    <a:pt x="41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2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0" y="15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1" y="20"/>
                  </a:lnTo>
                  <a:lnTo>
                    <a:pt x="21" y="22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1" y="28"/>
                  </a:lnTo>
                  <a:lnTo>
                    <a:pt x="20" y="29"/>
                  </a:lnTo>
                  <a:lnTo>
                    <a:pt x="16" y="29"/>
                  </a:lnTo>
                  <a:lnTo>
                    <a:pt x="12" y="31"/>
                  </a:lnTo>
                  <a:lnTo>
                    <a:pt x="11" y="31"/>
                  </a:lnTo>
                  <a:lnTo>
                    <a:pt x="9" y="31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3" y="35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3" y="40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9"/>
                  </a:lnTo>
                  <a:lnTo>
                    <a:pt x="3" y="49"/>
                  </a:lnTo>
                  <a:lnTo>
                    <a:pt x="5" y="51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9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5" y="76"/>
                  </a:lnTo>
                  <a:lnTo>
                    <a:pt x="25" y="78"/>
                  </a:lnTo>
                  <a:lnTo>
                    <a:pt x="27" y="78"/>
                  </a:lnTo>
                  <a:lnTo>
                    <a:pt x="27" y="80"/>
                  </a:lnTo>
                  <a:lnTo>
                    <a:pt x="27" y="82"/>
                  </a:lnTo>
                  <a:lnTo>
                    <a:pt x="29" y="85"/>
                  </a:lnTo>
                  <a:lnTo>
                    <a:pt x="29" y="87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30" y="96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4" y="96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1"/>
                  </a:lnTo>
                  <a:lnTo>
                    <a:pt x="36" y="89"/>
                  </a:lnTo>
                  <a:lnTo>
                    <a:pt x="36" y="87"/>
                  </a:lnTo>
                  <a:lnTo>
                    <a:pt x="36" y="85"/>
                  </a:lnTo>
                  <a:lnTo>
                    <a:pt x="36" y="84"/>
                  </a:lnTo>
                  <a:lnTo>
                    <a:pt x="36" y="82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3" y="78"/>
                  </a:lnTo>
                  <a:lnTo>
                    <a:pt x="47" y="76"/>
                  </a:lnTo>
                  <a:lnTo>
                    <a:pt x="49" y="76"/>
                  </a:lnTo>
                  <a:lnTo>
                    <a:pt x="50" y="76"/>
                  </a:lnTo>
                  <a:lnTo>
                    <a:pt x="50" y="75"/>
                  </a:lnTo>
                  <a:lnTo>
                    <a:pt x="52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8" y="75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3" y="80"/>
                  </a:lnTo>
                  <a:lnTo>
                    <a:pt x="63" y="80"/>
                  </a:lnTo>
                  <a:lnTo>
                    <a:pt x="63" y="80"/>
                  </a:lnTo>
                  <a:lnTo>
                    <a:pt x="63" y="78"/>
                  </a:lnTo>
                  <a:lnTo>
                    <a:pt x="63" y="78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8" y="71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6" y="67"/>
                  </a:lnTo>
                  <a:lnTo>
                    <a:pt x="74" y="64"/>
                  </a:lnTo>
                  <a:lnTo>
                    <a:pt x="74" y="62"/>
                  </a:lnTo>
                  <a:lnTo>
                    <a:pt x="76" y="62"/>
                  </a:lnTo>
                  <a:lnTo>
                    <a:pt x="79" y="60"/>
                  </a:lnTo>
                  <a:lnTo>
                    <a:pt x="79" y="60"/>
                  </a:lnTo>
                  <a:lnTo>
                    <a:pt x="79" y="58"/>
                  </a:lnTo>
                  <a:lnTo>
                    <a:pt x="79" y="56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81" y="53"/>
                  </a:lnTo>
                  <a:lnTo>
                    <a:pt x="85" y="49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5" name="Freeform 144">
              <a:extLst>
                <a:ext uri="{FF2B5EF4-FFF2-40B4-BE49-F238E27FC236}">
                  <a16:creationId xmlns:a16="http://schemas.microsoft.com/office/drawing/2014/main" id="{99E9191B-9480-75B9-8353-81CC83067B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4575" y="4356101"/>
              <a:ext cx="946150" cy="1227138"/>
            </a:xfrm>
            <a:custGeom>
              <a:avLst/>
              <a:gdLst>
                <a:gd name="T0" fmla="*/ 177 w 596"/>
                <a:gd name="T1" fmla="*/ 307 h 773"/>
                <a:gd name="T2" fmla="*/ 285 w 596"/>
                <a:gd name="T3" fmla="*/ 619 h 773"/>
                <a:gd name="T4" fmla="*/ 83 w 596"/>
                <a:gd name="T5" fmla="*/ 545 h 773"/>
                <a:gd name="T6" fmla="*/ 154 w 596"/>
                <a:gd name="T7" fmla="*/ 435 h 773"/>
                <a:gd name="T8" fmla="*/ 148 w 596"/>
                <a:gd name="T9" fmla="*/ 422 h 773"/>
                <a:gd name="T10" fmla="*/ 141 w 596"/>
                <a:gd name="T11" fmla="*/ 411 h 773"/>
                <a:gd name="T12" fmla="*/ 116 w 596"/>
                <a:gd name="T13" fmla="*/ 419 h 773"/>
                <a:gd name="T14" fmla="*/ 79 w 596"/>
                <a:gd name="T15" fmla="*/ 444 h 773"/>
                <a:gd name="T16" fmla="*/ 90 w 596"/>
                <a:gd name="T17" fmla="*/ 487 h 773"/>
                <a:gd name="T18" fmla="*/ 92 w 596"/>
                <a:gd name="T19" fmla="*/ 505 h 773"/>
                <a:gd name="T20" fmla="*/ 96 w 596"/>
                <a:gd name="T21" fmla="*/ 547 h 773"/>
                <a:gd name="T22" fmla="*/ 121 w 596"/>
                <a:gd name="T23" fmla="*/ 541 h 773"/>
                <a:gd name="T24" fmla="*/ 146 w 596"/>
                <a:gd name="T25" fmla="*/ 545 h 773"/>
                <a:gd name="T26" fmla="*/ 155 w 596"/>
                <a:gd name="T27" fmla="*/ 493 h 773"/>
                <a:gd name="T28" fmla="*/ 90 w 596"/>
                <a:gd name="T29" fmla="*/ 554 h 773"/>
                <a:gd name="T30" fmla="*/ 144 w 596"/>
                <a:gd name="T31" fmla="*/ 408 h 773"/>
                <a:gd name="T32" fmla="*/ 432 w 596"/>
                <a:gd name="T33" fmla="*/ 565 h 773"/>
                <a:gd name="T34" fmla="*/ 571 w 596"/>
                <a:gd name="T35" fmla="*/ 446 h 773"/>
                <a:gd name="T36" fmla="*/ 479 w 596"/>
                <a:gd name="T37" fmla="*/ 370 h 773"/>
                <a:gd name="T38" fmla="*/ 365 w 596"/>
                <a:gd name="T39" fmla="*/ 294 h 773"/>
                <a:gd name="T40" fmla="*/ 289 w 596"/>
                <a:gd name="T41" fmla="*/ 204 h 773"/>
                <a:gd name="T42" fmla="*/ 294 w 596"/>
                <a:gd name="T43" fmla="*/ 158 h 773"/>
                <a:gd name="T44" fmla="*/ 285 w 596"/>
                <a:gd name="T45" fmla="*/ 142 h 773"/>
                <a:gd name="T46" fmla="*/ 284 w 596"/>
                <a:gd name="T47" fmla="*/ 119 h 773"/>
                <a:gd name="T48" fmla="*/ 293 w 596"/>
                <a:gd name="T49" fmla="*/ 115 h 773"/>
                <a:gd name="T50" fmla="*/ 341 w 596"/>
                <a:gd name="T51" fmla="*/ 99 h 773"/>
                <a:gd name="T52" fmla="*/ 349 w 596"/>
                <a:gd name="T53" fmla="*/ 92 h 773"/>
                <a:gd name="T54" fmla="*/ 341 w 596"/>
                <a:gd name="T55" fmla="*/ 56 h 773"/>
                <a:gd name="T56" fmla="*/ 289 w 596"/>
                <a:gd name="T57" fmla="*/ 27 h 773"/>
                <a:gd name="T58" fmla="*/ 253 w 596"/>
                <a:gd name="T59" fmla="*/ 7 h 773"/>
                <a:gd name="T60" fmla="*/ 206 w 596"/>
                <a:gd name="T61" fmla="*/ 21 h 773"/>
                <a:gd name="T62" fmla="*/ 173 w 596"/>
                <a:gd name="T63" fmla="*/ 36 h 773"/>
                <a:gd name="T64" fmla="*/ 154 w 596"/>
                <a:gd name="T65" fmla="*/ 57 h 773"/>
                <a:gd name="T66" fmla="*/ 119 w 596"/>
                <a:gd name="T67" fmla="*/ 75 h 773"/>
                <a:gd name="T68" fmla="*/ 99 w 596"/>
                <a:gd name="T69" fmla="*/ 70 h 773"/>
                <a:gd name="T70" fmla="*/ 65 w 596"/>
                <a:gd name="T71" fmla="*/ 79 h 773"/>
                <a:gd name="T72" fmla="*/ 13 w 596"/>
                <a:gd name="T73" fmla="*/ 90 h 773"/>
                <a:gd name="T74" fmla="*/ 14 w 596"/>
                <a:gd name="T75" fmla="*/ 137 h 773"/>
                <a:gd name="T76" fmla="*/ 22 w 596"/>
                <a:gd name="T77" fmla="*/ 171 h 773"/>
                <a:gd name="T78" fmla="*/ 52 w 596"/>
                <a:gd name="T79" fmla="*/ 209 h 773"/>
                <a:gd name="T80" fmla="*/ 90 w 596"/>
                <a:gd name="T81" fmla="*/ 205 h 773"/>
                <a:gd name="T82" fmla="*/ 144 w 596"/>
                <a:gd name="T83" fmla="*/ 204 h 773"/>
                <a:gd name="T84" fmla="*/ 182 w 596"/>
                <a:gd name="T85" fmla="*/ 233 h 773"/>
                <a:gd name="T86" fmla="*/ 226 w 596"/>
                <a:gd name="T87" fmla="*/ 317 h 773"/>
                <a:gd name="T88" fmla="*/ 262 w 596"/>
                <a:gd name="T89" fmla="*/ 354 h 773"/>
                <a:gd name="T90" fmla="*/ 330 w 596"/>
                <a:gd name="T91" fmla="*/ 404 h 773"/>
                <a:gd name="T92" fmla="*/ 390 w 596"/>
                <a:gd name="T93" fmla="*/ 437 h 773"/>
                <a:gd name="T94" fmla="*/ 417 w 596"/>
                <a:gd name="T95" fmla="*/ 473 h 773"/>
                <a:gd name="T96" fmla="*/ 462 w 596"/>
                <a:gd name="T97" fmla="*/ 513 h 773"/>
                <a:gd name="T98" fmla="*/ 453 w 596"/>
                <a:gd name="T99" fmla="*/ 606 h 773"/>
                <a:gd name="T100" fmla="*/ 516 w 596"/>
                <a:gd name="T101" fmla="*/ 556 h 773"/>
                <a:gd name="T102" fmla="*/ 498 w 596"/>
                <a:gd name="T103" fmla="*/ 511 h 773"/>
                <a:gd name="T104" fmla="*/ 531 w 596"/>
                <a:gd name="T105" fmla="*/ 462 h 773"/>
                <a:gd name="T106" fmla="*/ 589 w 596"/>
                <a:gd name="T107" fmla="*/ 500 h 773"/>
                <a:gd name="T108" fmla="*/ 287 w 596"/>
                <a:gd name="T109" fmla="*/ 121 h 773"/>
                <a:gd name="T110" fmla="*/ 446 w 596"/>
                <a:gd name="T111" fmla="*/ 597 h 773"/>
                <a:gd name="T112" fmla="*/ 376 w 596"/>
                <a:gd name="T113" fmla="*/ 615 h 773"/>
                <a:gd name="T114" fmla="*/ 325 w 596"/>
                <a:gd name="T115" fmla="*/ 606 h 773"/>
                <a:gd name="T116" fmla="*/ 293 w 596"/>
                <a:gd name="T117" fmla="*/ 628 h 773"/>
                <a:gd name="T118" fmla="*/ 350 w 596"/>
                <a:gd name="T119" fmla="*/ 662 h 773"/>
                <a:gd name="T120" fmla="*/ 430 w 596"/>
                <a:gd name="T121" fmla="*/ 682 h 773"/>
                <a:gd name="T122" fmla="*/ 424 w 596"/>
                <a:gd name="T123" fmla="*/ 657 h 773"/>
                <a:gd name="T124" fmla="*/ 367 w 596"/>
                <a:gd name="T125" fmla="*/ 44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6" h="773">
                  <a:moveTo>
                    <a:pt x="175" y="316"/>
                  </a:moveTo>
                  <a:lnTo>
                    <a:pt x="175" y="316"/>
                  </a:lnTo>
                  <a:lnTo>
                    <a:pt x="173" y="314"/>
                  </a:lnTo>
                  <a:lnTo>
                    <a:pt x="173" y="314"/>
                  </a:lnTo>
                  <a:lnTo>
                    <a:pt x="173" y="316"/>
                  </a:lnTo>
                  <a:lnTo>
                    <a:pt x="173" y="316"/>
                  </a:lnTo>
                  <a:lnTo>
                    <a:pt x="173" y="316"/>
                  </a:lnTo>
                  <a:lnTo>
                    <a:pt x="172" y="316"/>
                  </a:lnTo>
                  <a:lnTo>
                    <a:pt x="173" y="317"/>
                  </a:lnTo>
                  <a:lnTo>
                    <a:pt x="173" y="317"/>
                  </a:lnTo>
                  <a:lnTo>
                    <a:pt x="173" y="317"/>
                  </a:lnTo>
                  <a:lnTo>
                    <a:pt x="175" y="317"/>
                  </a:lnTo>
                  <a:lnTo>
                    <a:pt x="175" y="316"/>
                  </a:lnTo>
                  <a:lnTo>
                    <a:pt x="175" y="316"/>
                  </a:lnTo>
                  <a:lnTo>
                    <a:pt x="175" y="316"/>
                  </a:lnTo>
                  <a:lnTo>
                    <a:pt x="175" y="316"/>
                  </a:lnTo>
                  <a:close/>
                  <a:moveTo>
                    <a:pt x="191" y="299"/>
                  </a:moveTo>
                  <a:lnTo>
                    <a:pt x="191" y="299"/>
                  </a:lnTo>
                  <a:lnTo>
                    <a:pt x="191" y="298"/>
                  </a:lnTo>
                  <a:lnTo>
                    <a:pt x="191" y="298"/>
                  </a:lnTo>
                  <a:lnTo>
                    <a:pt x="191" y="298"/>
                  </a:lnTo>
                  <a:lnTo>
                    <a:pt x="191" y="298"/>
                  </a:lnTo>
                  <a:lnTo>
                    <a:pt x="190" y="298"/>
                  </a:lnTo>
                  <a:lnTo>
                    <a:pt x="190" y="298"/>
                  </a:lnTo>
                  <a:lnTo>
                    <a:pt x="190" y="299"/>
                  </a:lnTo>
                  <a:lnTo>
                    <a:pt x="188" y="299"/>
                  </a:lnTo>
                  <a:lnTo>
                    <a:pt x="188" y="299"/>
                  </a:lnTo>
                  <a:lnTo>
                    <a:pt x="188" y="301"/>
                  </a:lnTo>
                  <a:lnTo>
                    <a:pt x="188" y="301"/>
                  </a:lnTo>
                  <a:lnTo>
                    <a:pt x="188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1" y="301"/>
                  </a:lnTo>
                  <a:lnTo>
                    <a:pt x="181" y="301"/>
                  </a:lnTo>
                  <a:lnTo>
                    <a:pt x="179" y="301"/>
                  </a:lnTo>
                  <a:lnTo>
                    <a:pt x="179" y="301"/>
                  </a:lnTo>
                  <a:lnTo>
                    <a:pt x="177" y="301"/>
                  </a:lnTo>
                  <a:lnTo>
                    <a:pt x="177" y="301"/>
                  </a:lnTo>
                  <a:lnTo>
                    <a:pt x="175" y="301"/>
                  </a:lnTo>
                  <a:lnTo>
                    <a:pt x="175" y="303"/>
                  </a:lnTo>
                  <a:lnTo>
                    <a:pt x="175" y="305"/>
                  </a:lnTo>
                  <a:lnTo>
                    <a:pt x="177" y="305"/>
                  </a:lnTo>
                  <a:lnTo>
                    <a:pt x="177" y="307"/>
                  </a:lnTo>
                  <a:lnTo>
                    <a:pt x="181" y="307"/>
                  </a:lnTo>
                  <a:lnTo>
                    <a:pt x="182" y="307"/>
                  </a:lnTo>
                  <a:lnTo>
                    <a:pt x="182" y="305"/>
                  </a:lnTo>
                  <a:lnTo>
                    <a:pt x="182" y="305"/>
                  </a:lnTo>
                  <a:lnTo>
                    <a:pt x="182" y="305"/>
                  </a:lnTo>
                  <a:lnTo>
                    <a:pt x="186" y="305"/>
                  </a:lnTo>
                  <a:lnTo>
                    <a:pt x="186" y="305"/>
                  </a:lnTo>
                  <a:lnTo>
                    <a:pt x="186" y="305"/>
                  </a:lnTo>
                  <a:lnTo>
                    <a:pt x="186" y="305"/>
                  </a:lnTo>
                  <a:lnTo>
                    <a:pt x="188" y="305"/>
                  </a:lnTo>
                  <a:lnTo>
                    <a:pt x="188" y="305"/>
                  </a:lnTo>
                  <a:lnTo>
                    <a:pt x="188" y="305"/>
                  </a:lnTo>
                  <a:lnTo>
                    <a:pt x="190" y="307"/>
                  </a:lnTo>
                  <a:lnTo>
                    <a:pt x="190" y="307"/>
                  </a:lnTo>
                  <a:lnTo>
                    <a:pt x="190" y="307"/>
                  </a:lnTo>
                  <a:lnTo>
                    <a:pt x="190" y="307"/>
                  </a:lnTo>
                  <a:lnTo>
                    <a:pt x="190" y="307"/>
                  </a:lnTo>
                  <a:lnTo>
                    <a:pt x="191" y="308"/>
                  </a:lnTo>
                  <a:lnTo>
                    <a:pt x="191" y="307"/>
                  </a:lnTo>
                  <a:lnTo>
                    <a:pt x="191" y="307"/>
                  </a:lnTo>
                  <a:lnTo>
                    <a:pt x="190" y="305"/>
                  </a:lnTo>
                  <a:lnTo>
                    <a:pt x="190" y="305"/>
                  </a:lnTo>
                  <a:lnTo>
                    <a:pt x="190" y="303"/>
                  </a:lnTo>
                  <a:lnTo>
                    <a:pt x="191" y="303"/>
                  </a:lnTo>
                  <a:lnTo>
                    <a:pt x="191" y="303"/>
                  </a:lnTo>
                  <a:lnTo>
                    <a:pt x="191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9"/>
                  </a:lnTo>
                  <a:close/>
                  <a:moveTo>
                    <a:pt x="184" y="332"/>
                  </a:moveTo>
                  <a:lnTo>
                    <a:pt x="184" y="334"/>
                  </a:lnTo>
                  <a:lnTo>
                    <a:pt x="186" y="334"/>
                  </a:lnTo>
                  <a:lnTo>
                    <a:pt x="186" y="334"/>
                  </a:lnTo>
                  <a:lnTo>
                    <a:pt x="186" y="332"/>
                  </a:lnTo>
                  <a:lnTo>
                    <a:pt x="184" y="332"/>
                  </a:lnTo>
                  <a:close/>
                  <a:moveTo>
                    <a:pt x="217" y="332"/>
                  </a:moveTo>
                  <a:lnTo>
                    <a:pt x="215" y="330"/>
                  </a:lnTo>
                  <a:lnTo>
                    <a:pt x="215" y="330"/>
                  </a:lnTo>
                  <a:lnTo>
                    <a:pt x="215" y="330"/>
                  </a:lnTo>
                  <a:lnTo>
                    <a:pt x="213" y="330"/>
                  </a:lnTo>
                  <a:lnTo>
                    <a:pt x="213" y="330"/>
                  </a:lnTo>
                  <a:lnTo>
                    <a:pt x="213" y="332"/>
                  </a:lnTo>
                  <a:lnTo>
                    <a:pt x="213" y="332"/>
                  </a:lnTo>
                  <a:lnTo>
                    <a:pt x="215" y="334"/>
                  </a:lnTo>
                  <a:lnTo>
                    <a:pt x="217" y="334"/>
                  </a:lnTo>
                  <a:lnTo>
                    <a:pt x="217" y="334"/>
                  </a:lnTo>
                  <a:lnTo>
                    <a:pt x="217" y="334"/>
                  </a:lnTo>
                  <a:lnTo>
                    <a:pt x="217" y="332"/>
                  </a:lnTo>
                  <a:close/>
                  <a:moveTo>
                    <a:pt x="287" y="621"/>
                  </a:moveTo>
                  <a:lnTo>
                    <a:pt x="285" y="621"/>
                  </a:lnTo>
                  <a:lnTo>
                    <a:pt x="285" y="619"/>
                  </a:lnTo>
                  <a:lnTo>
                    <a:pt x="285" y="619"/>
                  </a:lnTo>
                  <a:lnTo>
                    <a:pt x="285" y="619"/>
                  </a:lnTo>
                  <a:lnTo>
                    <a:pt x="284" y="621"/>
                  </a:lnTo>
                  <a:lnTo>
                    <a:pt x="284" y="621"/>
                  </a:lnTo>
                  <a:lnTo>
                    <a:pt x="284" y="621"/>
                  </a:lnTo>
                  <a:lnTo>
                    <a:pt x="284" y="621"/>
                  </a:lnTo>
                  <a:lnTo>
                    <a:pt x="285" y="621"/>
                  </a:lnTo>
                  <a:lnTo>
                    <a:pt x="285" y="621"/>
                  </a:lnTo>
                  <a:lnTo>
                    <a:pt x="287" y="621"/>
                  </a:lnTo>
                  <a:lnTo>
                    <a:pt x="287" y="621"/>
                  </a:lnTo>
                  <a:lnTo>
                    <a:pt x="287" y="621"/>
                  </a:lnTo>
                  <a:lnTo>
                    <a:pt x="289" y="621"/>
                  </a:lnTo>
                  <a:lnTo>
                    <a:pt x="287" y="621"/>
                  </a:lnTo>
                  <a:lnTo>
                    <a:pt x="287" y="621"/>
                  </a:lnTo>
                  <a:close/>
                  <a:moveTo>
                    <a:pt x="274" y="619"/>
                  </a:moveTo>
                  <a:lnTo>
                    <a:pt x="273" y="617"/>
                  </a:lnTo>
                  <a:lnTo>
                    <a:pt x="273" y="617"/>
                  </a:lnTo>
                  <a:lnTo>
                    <a:pt x="273" y="617"/>
                  </a:lnTo>
                  <a:lnTo>
                    <a:pt x="271" y="617"/>
                  </a:lnTo>
                  <a:lnTo>
                    <a:pt x="273" y="617"/>
                  </a:lnTo>
                  <a:lnTo>
                    <a:pt x="273" y="619"/>
                  </a:lnTo>
                  <a:lnTo>
                    <a:pt x="273" y="619"/>
                  </a:lnTo>
                  <a:lnTo>
                    <a:pt x="274" y="619"/>
                  </a:lnTo>
                  <a:lnTo>
                    <a:pt x="274" y="619"/>
                  </a:lnTo>
                  <a:lnTo>
                    <a:pt x="274" y="619"/>
                  </a:lnTo>
                  <a:close/>
                  <a:moveTo>
                    <a:pt x="273" y="691"/>
                  </a:moveTo>
                  <a:lnTo>
                    <a:pt x="269" y="690"/>
                  </a:lnTo>
                  <a:lnTo>
                    <a:pt x="269" y="690"/>
                  </a:lnTo>
                  <a:lnTo>
                    <a:pt x="269" y="690"/>
                  </a:lnTo>
                  <a:lnTo>
                    <a:pt x="269" y="690"/>
                  </a:lnTo>
                  <a:lnTo>
                    <a:pt x="269" y="690"/>
                  </a:lnTo>
                  <a:lnTo>
                    <a:pt x="269" y="690"/>
                  </a:lnTo>
                  <a:lnTo>
                    <a:pt x="267" y="690"/>
                  </a:lnTo>
                  <a:lnTo>
                    <a:pt x="267" y="690"/>
                  </a:lnTo>
                  <a:lnTo>
                    <a:pt x="267" y="690"/>
                  </a:lnTo>
                  <a:lnTo>
                    <a:pt x="267" y="690"/>
                  </a:lnTo>
                  <a:lnTo>
                    <a:pt x="267" y="690"/>
                  </a:lnTo>
                  <a:lnTo>
                    <a:pt x="265" y="690"/>
                  </a:lnTo>
                  <a:lnTo>
                    <a:pt x="265" y="691"/>
                  </a:lnTo>
                  <a:lnTo>
                    <a:pt x="267" y="691"/>
                  </a:lnTo>
                  <a:lnTo>
                    <a:pt x="267" y="693"/>
                  </a:lnTo>
                  <a:lnTo>
                    <a:pt x="267" y="693"/>
                  </a:lnTo>
                  <a:lnTo>
                    <a:pt x="269" y="695"/>
                  </a:lnTo>
                  <a:lnTo>
                    <a:pt x="271" y="695"/>
                  </a:lnTo>
                  <a:lnTo>
                    <a:pt x="273" y="693"/>
                  </a:lnTo>
                  <a:lnTo>
                    <a:pt x="273" y="691"/>
                  </a:lnTo>
                  <a:lnTo>
                    <a:pt x="273" y="691"/>
                  </a:lnTo>
                  <a:close/>
                  <a:moveTo>
                    <a:pt x="85" y="540"/>
                  </a:moveTo>
                  <a:lnTo>
                    <a:pt x="85" y="540"/>
                  </a:lnTo>
                  <a:lnTo>
                    <a:pt x="81" y="541"/>
                  </a:lnTo>
                  <a:lnTo>
                    <a:pt x="81" y="541"/>
                  </a:lnTo>
                  <a:lnTo>
                    <a:pt x="81" y="543"/>
                  </a:lnTo>
                  <a:lnTo>
                    <a:pt x="81" y="543"/>
                  </a:lnTo>
                  <a:lnTo>
                    <a:pt x="83" y="545"/>
                  </a:lnTo>
                  <a:lnTo>
                    <a:pt x="83" y="545"/>
                  </a:lnTo>
                  <a:lnTo>
                    <a:pt x="83" y="545"/>
                  </a:lnTo>
                  <a:lnTo>
                    <a:pt x="83" y="547"/>
                  </a:lnTo>
                  <a:lnTo>
                    <a:pt x="85" y="547"/>
                  </a:lnTo>
                  <a:lnTo>
                    <a:pt x="85" y="545"/>
                  </a:lnTo>
                  <a:lnTo>
                    <a:pt x="85" y="545"/>
                  </a:lnTo>
                  <a:lnTo>
                    <a:pt x="85" y="541"/>
                  </a:lnTo>
                  <a:lnTo>
                    <a:pt x="85" y="540"/>
                  </a:lnTo>
                  <a:close/>
                  <a:moveTo>
                    <a:pt x="163" y="283"/>
                  </a:moveTo>
                  <a:lnTo>
                    <a:pt x="163" y="283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61" y="283"/>
                  </a:lnTo>
                  <a:lnTo>
                    <a:pt x="159" y="287"/>
                  </a:lnTo>
                  <a:lnTo>
                    <a:pt x="161" y="287"/>
                  </a:lnTo>
                  <a:lnTo>
                    <a:pt x="161" y="287"/>
                  </a:lnTo>
                  <a:lnTo>
                    <a:pt x="163" y="287"/>
                  </a:lnTo>
                  <a:lnTo>
                    <a:pt x="163" y="285"/>
                  </a:lnTo>
                  <a:lnTo>
                    <a:pt x="163" y="285"/>
                  </a:lnTo>
                  <a:lnTo>
                    <a:pt x="163" y="283"/>
                  </a:lnTo>
                  <a:close/>
                  <a:moveTo>
                    <a:pt x="302" y="771"/>
                  </a:moveTo>
                  <a:lnTo>
                    <a:pt x="302" y="771"/>
                  </a:lnTo>
                  <a:lnTo>
                    <a:pt x="302" y="771"/>
                  </a:lnTo>
                  <a:lnTo>
                    <a:pt x="300" y="771"/>
                  </a:lnTo>
                  <a:lnTo>
                    <a:pt x="298" y="771"/>
                  </a:lnTo>
                  <a:lnTo>
                    <a:pt x="298" y="771"/>
                  </a:lnTo>
                  <a:lnTo>
                    <a:pt x="296" y="771"/>
                  </a:lnTo>
                  <a:lnTo>
                    <a:pt x="296" y="771"/>
                  </a:lnTo>
                  <a:lnTo>
                    <a:pt x="296" y="771"/>
                  </a:lnTo>
                  <a:lnTo>
                    <a:pt x="298" y="771"/>
                  </a:lnTo>
                  <a:lnTo>
                    <a:pt x="300" y="773"/>
                  </a:lnTo>
                  <a:lnTo>
                    <a:pt x="300" y="773"/>
                  </a:lnTo>
                  <a:lnTo>
                    <a:pt x="300" y="773"/>
                  </a:lnTo>
                  <a:lnTo>
                    <a:pt x="300" y="773"/>
                  </a:lnTo>
                  <a:lnTo>
                    <a:pt x="302" y="773"/>
                  </a:lnTo>
                  <a:lnTo>
                    <a:pt x="302" y="773"/>
                  </a:lnTo>
                  <a:lnTo>
                    <a:pt x="302" y="771"/>
                  </a:lnTo>
                  <a:lnTo>
                    <a:pt x="302" y="771"/>
                  </a:lnTo>
                  <a:close/>
                  <a:moveTo>
                    <a:pt x="161" y="453"/>
                  </a:moveTo>
                  <a:lnTo>
                    <a:pt x="159" y="451"/>
                  </a:lnTo>
                  <a:lnTo>
                    <a:pt x="159" y="451"/>
                  </a:lnTo>
                  <a:lnTo>
                    <a:pt x="159" y="451"/>
                  </a:lnTo>
                  <a:lnTo>
                    <a:pt x="159" y="449"/>
                  </a:lnTo>
                  <a:lnTo>
                    <a:pt x="159" y="449"/>
                  </a:lnTo>
                  <a:lnTo>
                    <a:pt x="157" y="449"/>
                  </a:lnTo>
                  <a:lnTo>
                    <a:pt x="157" y="449"/>
                  </a:lnTo>
                  <a:lnTo>
                    <a:pt x="157" y="448"/>
                  </a:lnTo>
                  <a:lnTo>
                    <a:pt x="157" y="444"/>
                  </a:lnTo>
                  <a:lnTo>
                    <a:pt x="157" y="444"/>
                  </a:lnTo>
                  <a:lnTo>
                    <a:pt x="155" y="440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4" y="437"/>
                  </a:lnTo>
                  <a:lnTo>
                    <a:pt x="154" y="435"/>
                  </a:lnTo>
                  <a:lnTo>
                    <a:pt x="154" y="437"/>
                  </a:lnTo>
                  <a:lnTo>
                    <a:pt x="154" y="435"/>
                  </a:lnTo>
                  <a:lnTo>
                    <a:pt x="154" y="435"/>
                  </a:lnTo>
                  <a:lnTo>
                    <a:pt x="154" y="435"/>
                  </a:lnTo>
                  <a:lnTo>
                    <a:pt x="154" y="435"/>
                  </a:lnTo>
                  <a:lnTo>
                    <a:pt x="154" y="435"/>
                  </a:lnTo>
                  <a:lnTo>
                    <a:pt x="154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4" y="431"/>
                  </a:lnTo>
                  <a:lnTo>
                    <a:pt x="154" y="431"/>
                  </a:lnTo>
                  <a:lnTo>
                    <a:pt x="154" y="431"/>
                  </a:lnTo>
                  <a:lnTo>
                    <a:pt x="154" y="431"/>
                  </a:lnTo>
                  <a:lnTo>
                    <a:pt x="154" y="431"/>
                  </a:lnTo>
                  <a:lnTo>
                    <a:pt x="154" y="431"/>
                  </a:lnTo>
                  <a:lnTo>
                    <a:pt x="152" y="429"/>
                  </a:lnTo>
                  <a:lnTo>
                    <a:pt x="150" y="429"/>
                  </a:lnTo>
                  <a:lnTo>
                    <a:pt x="150" y="429"/>
                  </a:lnTo>
                  <a:lnTo>
                    <a:pt x="152" y="429"/>
                  </a:lnTo>
                  <a:lnTo>
                    <a:pt x="152" y="429"/>
                  </a:lnTo>
                  <a:lnTo>
                    <a:pt x="152" y="428"/>
                  </a:lnTo>
                  <a:lnTo>
                    <a:pt x="152" y="428"/>
                  </a:lnTo>
                  <a:lnTo>
                    <a:pt x="152" y="428"/>
                  </a:lnTo>
                  <a:lnTo>
                    <a:pt x="150" y="428"/>
                  </a:lnTo>
                  <a:lnTo>
                    <a:pt x="150" y="428"/>
                  </a:lnTo>
                  <a:lnTo>
                    <a:pt x="148" y="428"/>
                  </a:lnTo>
                  <a:lnTo>
                    <a:pt x="148" y="428"/>
                  </a:lnTo>
                  <a:lnTo>
                    <a:pt x="148" y="428"/>
                  </a:lnTo>
                  <a:lnTo>
                    <a:pt x="146" y="428"/>
                  </a:lnTo>
                  <a:lnTo>
                    <a:pt x="146" y="428"/>
                  </a:lnTo>
                  <a:lnTo>
                    <a:pt x="146" y="428"/>
                  </a:lnTo>
                  <a:lnTo>
                    <a:pt x="146" y="428"/>
                  </a:lnTo>
                  <a:lnTo>
                    <a:pt x="144" y="428"/>
                  </a:lnTo>
                  <a:lnTo>
                    <a:pt x="146" y="428"/>
                  </a:lnTo>
                  <a:lnTo>
                    <a:pt x="146" y="428"/>
                  </a:lnTo>
                  <a:lnTo>
                    <a:pt x="146" y="426"/>
                  </a:lnTo>
                  <a:lnTo>
                    <a:pt x="148" y="428"/>
                  </a:lnTo>
                  <a:lnTo>
                    <a:pt x="148" y="426"/>
                  </a:lnTo>
                  <a:lnTo>
                    <a:pt x="148" y="426"/>
                  </a:lnTo>
                  <a:lnTo>
                    <a:pt x="148" y="424"/>
                  </a:lnTo>
                  <a:lnTo>
                    <a:pt x="150" y="424"/>
                  </a:lnTo>
                  <a:lnTo>
                    <a:pt x="150" y="422"/>
                  </a:lnTo>
                  <a:lnTo>
                    <a:pt x="150" y="422"/>
                  </a:lnTo>
                  <a:lnTo>
                    <a:pt x="152" y="422"/>
                  </a:lnTo>
                  <a:lnTo>
                    <a:pt x="152" y="422"/>
                  </a:lnTo>
                  <a:lnTo>
                    <a:pt x="152" y="422"/>
                  </a:lnTo>
                  <a:lnTo>
                    <a:pt x="154" y="422"/>
                  </a:lnTo>
                  <a:lnTo>
                    <a:pt x="152" y="422"/>
                  </a:lnTo>
                  <a:lnTo>
                    <a:pt x="150" y="420"/>
                  </a:lnTo>
                  <a:lnTo>
                    <a:pt x="150" y="420"/>
                  </a:lnTo>
                  <a:lnTo>
                    <a:pt x="148" y="422"/>
                  </a:lnTo>
                  <a:lnTo>
                    <a:pt x="148" y="422"/>
                  </a:lnTo>
                  <a:lnTo>
                    <a:pt x="148" y="422"/>
                  </a:lnTo>
                  <a:lnTo>
                    <a:pt x="148" y="420"/>
                  </a:lnTo>
                  <a:lnTo>
                    <a:pt x="148" y="422"/>
                  </a:lnTo>
                  <a:lnTo>
                    <a:pt x="148" y="422"/>
                  </a:lnTo>
                  <a:lnTo>
                    <a:pt x="148" y="422"/>
                  </a:lnTo>
                  <a:lnTo>
                    <a:pt x="148" y="422"/>
                  </a:lnTo>
                  <a:lnTo>
                    <a:pt x="148" y="420"/>
                  </a:lnTo>
                  <a:lnTo>
                    <a:pt x="148" y="420"/>
                  </a:lnTo>
                  <a:lnTo>
                    <a:pt x="146" y="420"/>
                  </a:lnTo>
                  <a:lnTo>
                    <a:pt x="146" y="420"/>
                  </a:lnTo>
                  <a:lnTo>
                    <a:pt x="146" y="420"/>
                  </a:lnTo>
                  <a:lnTo>
                    <a:pt x="146" y="420"/>
                  </a:lnTo>
                  <a:lnTo>
                    <a:pt x="146" y="420"/>
                  </a:lnTo>
                  <a:lnTo>
                    <a:pt x="146" y="417"/>
                  </a:lnTo>
                  <a:lnTo>
                    <a:pt x="146" y="417"/>
                  </a:lnTo>
                  <a:lnTo>
                    <a:pt x="146" y="417"/>
                  </a:lnTo>
                  <a:lnTo>
                    <a:pt x="146" y="417"/>
                  </a:lnTo>
                  <a:lnTo>
                    <a:pt x="148" y="417"/>
                  </a:lnTo>
                  <a:lnTo>
                    <a:pt x="148" y="417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8" y="415"/>
                  </a:lnTo>
                  <a:lnTo>
                    <a:pt x="148" y="413"/>
                  </a:lnTo>
                  <a:lnTo>
                    <a:pt x="148" y="413"/>
                  </a:lnTo>
                  <a:lnTo>
                    <a:pt x="146" y="415"/>
                  </a:lnTo>
                  <a:lnTo>
                    <a:pt x="146" y="415"/>
                  </a:lnTo>
                  <a:lnTo>
                    <a:pt x="146" y="413"/>
                  </a:lnTo>
                  <a:lnTo>
                    <a:pt x="146" y="413"/>
                  </a:lnTo>
                  <a:lnTo>
                    <a:pt x="146" y="413"/>
                  </a:lnTo>
                  <a:lnTo>
                    <a:pt x="146" y="413"/>
                  </a:lnTo>
                  <a:lnTo>
                    <a:pt x="146" y="413"/>
                  </a:lnTo>
                  <a:lnTo>
                    <a:pt x="146" y="413"/>
                  </a:lnTo>
                  <a:lnTo>
                    <a:pt x="144" y="413"/>
                  </a:lnTo>
                  <a:lnTo>
                    <a:pt x="144" y="413"/>
                  </a:lnTo>
                  <a:lnTo>
                    <a:pt x="144" y="413"/>
                  </a:lnTo>
                  <a:lnTo>
                    <a:pt x="143" y="413"/>
                  </a:lnTo>
                  <a:lnTo>
                    <a:pt x="143" y="413"/>
                  </a:lnTo>
                  <a:lnTo>
                    <a:pt x="143" y="413"/>
                  </a:lnTo>
                  <a:lnTo>
                    <a:pt x="143" y="413"/>
                  </a:lnTo>
                  <a:lnTo>
                    <a:pt x="143" y="413"/>
                  </a:lnTo>
                  <a:lnTo>
                    <a:pt x="143" y="413"/>
                  </a:lnTo>
                  <a:lnTo>
                    <a:pt x="143" y="415"/>
                  </a:lnTo>
                  <a:lnTo>
                    <a:pt x="143" y="415"/>
                  </a:lnTo>
                  <a:lnTo>
                    <a:pt x="143" y="417"/>
                  </a:lnTo>
                  <a:lnTo>
                    <a:pt x="141" y="415"/>
                  </a:lnTo>
                  <a:lnTo>
                    <a:pt x="141" y="413"/>
                  </a:lnTo>
                  <a:lnTo>
                    <a:pt x="143" y="413"/>
                  </a:lnTo>
                  <a:lnTo>
                    <a:pt x="141" y="413"/>
                  </a:lnTo>
                  <a:lnTo>
                    <a:pt x="141" y="413"/>
                  </a:lnTo>
                  <a:lnTo>
                    <a:pt x="141" y="411"/>
                  </a:lnTo>
                  <a:lnTo>
                    <a:pt x="141" y="411"/>
                  </a:lnTo>
                  <a:lnTo>
                    <a:pt x="141" y="411"/>
                  </a:lnTo>
                  <a:lnTo>
                    <a:pt x="141" y="411"/>
                  </a:lnTo>
                  <a:lnTo>
                    <a:pt x="141" y="411"/>
                  </a:lnTo>
                  <a:lnTo>
                    <a:pt x="141" y="411"/>
                  </a:lnTo>
                  <a:lnTo>
                    <a:pt x="141" y="410"/>
                  </a:lnTo>
                  <a:lnTo>
                    <a:pt x="141" y="410"/>
                  </a:lnTo>
                  <a:lnTo>
                    <a:pt x="141" y="410"/>
                  </a:lnTo>
                  <a:lnTo>
                    <a:pt x="139" y="410"/>
                  </a:lnTo>
                  <a:lnTo>
                    <a:pt x="139" y="410"/>
                  </a:lnTo>
                  <a:lnTo>
                    <a:pt x="139" y="410"/>
                  </a:lnTo>
                  <a:lnTo>
                    <a:pt x="137" y="408"/>
                  </a:lnTo>
                  <a:lnTo>
                    <a:pt x="137" y="408"/>
                  </a:lnTo>
                  <a:lnTo>
                    <a:pt x="137" y="410"/>
                  </a:lnTo>
                  <a:lnTo>
                    <a:pt x="135" y="410"/>
                  </a:lnTo>
                  <a:lnTo>
                    <a:pt x="135" y="410"/>
                  </a:lnTo>
                  <a:lnTo>
                    <a:pt x="135" y="410"/>
                  </a:lnTo>
                  <a:lnTo>
                    <a:pt x="135" y="410"/>
                  </a:lnTo>
                  <a:lnTo>
                    <a:pt x="134" y="410"/>
                  </a:lnTo>
                  <a:lnTo>
                    <a:pt x="134" y="410"/>
                  </a:lnTo>
                  <a:lnTo>
                    <a:pt x="134" y="410"/>
                  </a:lnTo>
                  <a:lnTo>
                    <a:pt x="134" y="408"/>
                  </a:lnTo>
                  <a:lnTo>
                    <a:pt x="134" y="408"/>
                  </a:lnTo>
                  <a:lnTo>
                    <a:pt x="134" y="408"/>
                  </a:lnTo>
                  <a:lnTo>
                    <a:pt x="134" y="408"/>
                  </a:lnTo>
                  <a:lnTo>
                    <a:pt x="134" y="410"/>
                  </a:lnTo>
                  <a:lnTo>
                    <a:pt x="134" y="410"/>
                  </a:lnTo>
                  <a:lnTo>
                    <a:pt x="134" y="410"/>
                  </a:lnTo>
                  <a:lnTo>
                    <a:pt x="134" y="410"/>
                  </a:lnTo>
                  <a:lnTo>
                    <a:pt x="134" y="406"/>
                  </a:lnTo>
                  <a:lnTo>
                    <a:pt x="134" y="406"/>
                  </a:lnTo>
                  <a:lnTo>
                    <a:pt x="132" y="406"/>
                  </a:lnTo>
                  <a:lnTo>
                    <a:pt x="132" y="406"/>
                  </a:lnTo>
                  <a:lnTo>
                    <a:pt x="132" y="406"/>
                  </a:lnTo>
                  <a:lnTo>
                    <a:pt x="132" y="404"/>
                  </a:lnTo>
                  <a:lnTo>
                    <a:pt x="130" y="406"/>
                  </a:lnTo>
                  <a:lnTo>
                    <a:pt x="130" y="406"/>
                  </a:lnTo>
                  <a:lnTo>
                    <a:pt x="128" y="406"/>
                  </a:lnTo>
                  <a:lnTo>
                    <a:pt x="128" y="408"/>
                  </a:lnTo>
                  <a:lnTo>
                    <a:pt x="128" y="410"/>
                  </a:lnTo>
                  <a:lnTo>
                    <a:pt x="128" y="411"/>
                  </a:lnTo>
                  <a:lnTo>
                    <a:pt x="126" y="411"/>
                  </a:lnTo>
                  <a:lnTo>
                    <a:pt x="126" y="411"/>
                  </a:lnTo>
                  <a:lnTo>
                    <a:pt x="125" y="413"/>
                  </a:lnTo>
                  <a:lnTo>
                    <a:pt x="125" y="413"/>
                  </a:lnTo>
                  <a:lnTo>
                    <a:pt x="121" y="413"/>
                  </a:lnTo>
                  <a:lnTo>
                    <a:pt x="121" y="415"/>
                  </a:lnTo>
                  <a:lnTo>
                    <a:pt x="119" y="417"/>
                  </a:lnTo>
                  <a:lnTo>
                    <a:pt x="119" y="417"/>
                  </a:lnTo>
                  <a:lnTo>
                    <a:pt x="117" y="419"/>
                  </a:lnTo>
                  <a:lnTo>
                    <a:pt x="117" y="419"/>
                  </a:lnTo>
                  <a:lnTo>
                    <a:pt x="117" y="419"/>
                  </a:lnTo>
                  <a:lnTo>
                    <a:pt x="116" y="419"/>
                  </a:lnTo>
                  <a:lnTo>
                    <a:pt x="116" y="420"/>
                  </a:lnTo>
                  <a:lnTo>
                    <a:pt x="116" y="420"/>
                  </a:lnTo>
                  <a:lnTo>
                    <a:pt x="114" y="420"/>
                  </a:lnTo>
                  <a:lnTo>
                    <a:pt x="114" y="420"/>
                  </a:lnTo>
                  <a:lnTo>
                    <a:pt x="114" y="420"/>
                  </a:lnTo>
                  <a:lnTo>
                    <a:pt x="114" y="420"/>
                  </a:lnTo>
                  <a:lnTo>
                    <a:pt x="114" y="420"/>
                  </a:lnTo>
                  <a:lnTo>
                    <a:pt x="114" y="422"/>
                  </a:lnTo>
                  <a:lnTo>
                    <a:pt x="112" y="424"/>
                  </a:lnTo>
                  <a:lnTo>
                    <a:pt x="110" y="426"/>
                  </a:lnTo>
                  <a:lnTo>
                    <a:pt x="108" y="428"/>
                  </a:lnTo>
                  <a:lnTo>
                    <a:pt x="107" y="428"/>
                  </a:lnTo>
                  <a:lnTo>
                    <a:pt x="107" y="428"/>
                  </a:lnTo>
                  <a:lnTo>
                    <a:pt x="105" y="428"/>
                  </a:lnTo>
                  <a:lnTo>
                    <a:pt x="101" y="429"/>
                  </a:lnTo>
                  <a:lnTo>
                    <a:pt x="101" y="429"/>
                  </a:lnTo>
                  <a:lnTo>
                    <a:pt x="101" y="431"/>
                  </a:lnTo>
                  <a:lnTo>
                    <a:pt x="99" y="431"/>
                  </a:lnTo>
                  <a:lnTo>
                    <a:pt x="96" y="433"/>
                  </a:lnTo>
                  <a:lnTo>
                    <a:pt x="96" y="433"/>
                  </a:lnTo>
                  <a:lnTo>
                    <a:pt x="94" y="433"/>
                  </a:lnTo>
                  <a:lnTo>
                    <a:pt x="90" y="433"/>
                  </a:lnTo>
                  <a:lnTo>
                    <a:pt x="85" y="433"/>
                  </a:lnTo>
                  <a:lnTo>
                    <a:pt x="83" y="431"/>
                  </a:lnTo>
                  <a:lnTo>
                    <a:pt x="81" y="428"/>
                  </a:lnTo>
                  <a:lnTo>
                    <a:pt x="81" y="428"/>
                  </a:lnTo>
                  <a:lnTo>
                    <a:pt x="81" y="426"/>
                  </a:lnTo>
                  <a:lnTo>
                    <a:pt x="81" y="426"/>
                  </a:lnTo>
                  <a:lnTo>
                    <a:pt x="81" y="426"/>
                  </a:lnTo>
                  <a:lnTo>
                    <a:pt x="81" y="424"/>
                  </a:lnTo>
                  <a:lnTo>
                    <a:pt x="81" y="424"/>
                  </a:lnTo>
                  <a:lnTo>
                    <a:pt x="81" y="424"/>
                  </a:lnTo>
                  <a:lnTo>
                    <a:pt x="79" y="424"/>
                  </a:lnTo>
                  <a:lnTo>
                    <a:pt x="79" y="424"/>
                  </a:lnTo>
                  <a:lnTo>
                    <a:pt x="79" y="424"/>
                  </a:lnTo>
                  <a:lnTo>
                    <a:pt x="79" y="426"/>
                  </a:lnTo>
                  <a:lnTo>
                    <a:pt x="79" y="428"/>
                  </a:lnTo>
                  <a:lnTo>
                    <a:pt x="79" y="428"/>
                  </a:lnTo>
                  <a:lnTo>
                    <a:pt x="79" y="428"/>
                  </a:lnTo>
                  <a:lnTo>
                    <a:pt x="81" y="429"/>
                  </a:lnTo>
                  <a:lnTo>
                    <a:pt x="81" y="429"/>
                  </a:lnTo>
                  <a:lnTo>
                    <a:pt x="79" y="431"/>
                  </a:lnTo>
                  <a:lnTo>
                    <a:pt x="76" y="440"/>
                  </a:lnTo>
                  <a:lnTo>
                    <a:pt x="78" y="440"/>
                  </a:lnTo>
                  <a:lnTo>
                    <a:pt x="78" y="440"/>
                  </a:lnTo>
                  <a:lnTo>
                    <a:pt x="78" y="442"/>
                  </a:lnTo>
                  <a:lnTo>
                    <a:pt x="78" y="442"/>
                  </a:lnTo>
                  <a:lnTo>
                    <a:pt x="79" y="442"/>
                  </a:lnTo>
                  <a:lnTo>
                    <a:pt x="79" y="442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4"/>
                  </a:lnTo>
                  <a:lnTo>
                    <a:pt x="79" y="444"/>
                  </a:lnTo>
                  <a:lnTo>
                    <a:pt x="79" y="446"/>
                  </a:lnTo>
                  <a:lnTo>
                    <a:pt x="78" y="446"/>
                  </a:lnTo>
                  <a:lnTo>
                    <a:pt x="78" y="446"/>
                  </a:lnTo>
                  <a:lnTo>
                    <a:pt x="78" y="448"/>
                  </a:lnTo>
                  <a:lnTo>
                    <a:pt x="78" y="448"/>
                  </a:lnTo>
                  <a:lnTo>
                    <a:pt x="78" y="449"/>
                  </a:lnTo>
                  <a:lnTo>
                    <a:pt x="78" y="449"/>
                  </a:lnTo>
                  <a:lnTo>
                    <a:pt x="78" y="451"/>
                  </a:lnTo>
                  <a:lnTo>
                    <a:pt x="78" y="449"/>
                  </a:lnTo>
                  <a:lnTo>
                    <a:pt x="79" y="448"/>
                  </a:lnTo>
                  <a:lnTo>
                    <a:pt x="79" y="448"/>
                  </a:lnTo>
                  <a:lnTo>
                    <a:pt x="81" y="448"/>
                  </a:lnTo>
                  <a:lnTo>
                    <a:pt x="79" y="449"/>
                  </a:lnTo>
                  <a:lnTo>
                    <a:pt x="79" y="449"/>
                  </a:lnTo>
                  <a:lnTo>
                    <a:pt x="81" y="451"/>
                  </a:lnTo>
                  <a:lnTo>
                    <a:pt x="83" y="449"/>
                  </a:lnTo>
                  <a:lnTo>
                    <a:pt x="85" y="449"/>
                  </a:lnTo>
                  <a:lnTo>
                    <a:pt x="85" y="449"/>
                  </a:lnTo>
                  <a:lnTo>
                    <a:pt x="85" y="451"/>
                  </a:lnTo>
                  <a:lnTo>
                    <a:pt x="87" y="453"/>
                  </a:lnTo>
                  <a:lnTo>
                    <a:pt x="87" y="455"/>
                  </a:lnTo>
                  <a:lnTo>
                    <a:pt x="87" y="455"/>
                  </a:lnTo>
                  <a:lnTo>
                    <a:pt x="88" y="457"/>
                  </a:lnTo>
                  <a:lnTo>
                    <a:pt x="88" y="457"/>
                  </a:lnTo>
                  <a:lnTo>
                    <a:pt x="88" y="458"/>
                  </a:lnTo>
                  <a:lnTo>
                    <a:pt x="90" y="460"/>
                  </a:lnTo>
                  <a:lnTo>
                    <a:pt x="88" y="464"/>
                  </a:lnTo>
                  <a:lnTo>
                    <a:pt x="88" y="466"/>
                  </a:lnTo>
                  <a:lnTo>
                    <a:pt x="90" y="466"/>
                  </a:lnTo>
                  <a:lnTo>
                    <a:pt x="90" y="466"/>
                  </a:lnTo>
                  <a:lnTo>
                    <a:pt x="92" y="466"/>
                  </a:lnTo>
                  <a:lnTo>
                    <a:pt x="92" y="467"/>
                  </a:lnTo>
                  <a:lnTo>
                    <a:pt x="94" y="469"/>
                  </a:lnTo>
                  <a:lnTo>
                    <a:pt x="94" y="471"/>
                  </a:lnTo>
                  <a:lnTo>
                    <a:pt x="92" y="475"/>
                  </a:lnTo>
                  <a:lnTo>
                    <a:pt x="92" y="476"/>
                  </a:lnTo>
                  <a:lnTo>
                    <a:pt x="94" y="478"/>
                  </a:lnTo>
                  <a:lnTo>
                    <a:pt x="94" y="480"/>
                  </a:lnTo>
                  <a:lnTo>
                    <a:pt x="94" y="482"/>
                  </a:lnTo>
                  <a:lnTo>
                    <a:pt x="94" y="482"/>
                  </a:lnTo>
                  <a:lnTo>
                    <a:pt x="94" y="484"/>
                  </a:lnTo>
                  <a:lnTo>
                    <a:pt x="94" y="484"/>
                  </a:lnTo>
                  <a:lnTo>
                    <a:pt x="92" y="484"/>
                  </a:lnTo>
                  <a:lnTo>
                    <a:pt x="92" y="484"/>
                  </a:lnTo>
                  <a:lnTo>
                    <a:pt x="92" y="485"/>
                  </a:lnTo>
                  <a:lnTo>
                    <a:pt x="90" y="485"/>
                  </a:lnTo>
                  <a:lnTo>
                    <a:pt x="90" y="485"/>
                  </a:lnTo>
                  <a:lnTo>
                    <a:pt x="88" y="485"/>
                  </a:lnTo>
                  <a:lnTo>
                    <a:pt x="88" y="485"/>
                  </a:lnTo>
                  <a:lnTo>
                    <a:pt x="88" y="485"/>
                  </a:lnTo>
                  <a:lnTo>
                    <a:pt x="90" y="485"/>
                  </a:lnTo>
                  <a:lnTo>
                    <a:pt x="90" y="487"/>
                  </a:lnTo>
                  <a:lnTo>
                    <a:pt x="90" y="487"/>
                  </a:lnTo>
                  <a:lnTo>
                    <a:pt x="90" y="489"/>
                  </a:lnTo>
                  <a:lnTo>
                    <a:pt x="90" y="489"/>
                  </a:lnTo>
                  <a:lnTo>
                    <a:pt x="90" y="493"/>
                  </a:lnTo>
                  <a:lnTo>
                    <a:pt x="90" y="493"/>
                  </a:lnTo>
                  <a:lnTo>
                    <a:pt x="90" y="493"/>
                  </a:lnTo>
                  <a:lnTo>
                    <a:pt x="90" y="493"/>
                  </a:lnTo>
                  <a:lnTo>
                    <a:pt x="90" y="494"/>
                  </a:lnTo>
                  <a:lnTo>
                    <a:pt x="90" y="494"/>
                  </a:lnTo>
                  <a:lnTo>
                    <a:pt x="90" y="494"/>
                  </a:lnTo>
                  <a:lnTo>
                    <a:pt x="90" y="494"/>
                  </a:lnTo>
                  <a:lnTo>
                    <a:pt x="90" y="494"/>
                  </a:lnTo>
                  <a:lnTo>
                    <a:pt x="92" y="496"/>
                  </a:lnTo>
                  <a:lnTo>
                    <a:pt x="92" y="496"/>
                  </a:lnTo>
                  <a:lnTo>
                    <a:pt x="92" y="496"/>
                  </a:lnTo>
                  <a:lnTo>
                    <a:pt x="92" y="496"/>
                  </a:lnTo>
                  <a:lnTo>
                    <a:pt x="92" y="496"/>
                  </a:lnTo>
                  <a:lnTo>
                    <a:pt x="92" y="494"/>
                  </a:lnTo>
                  <a:lnTo>
                    <a:pt x="92" y="494"/>
                  </a:lnTo>
                  <a:lnTo>
                    <a:pt x="92" y="494"/>
                  </a:lnTo>
                  <a:lnTo>
                    <a:pt x="92" y="494"/>
                  </a:lnTo>
                  <a:lnTo>
                    <a:pt x="92" y="494"/>
                  </a:lnTo>
                  <a:lnTo>
                    <a:pt x="92" y="494"/>
                  </a:lnTo>
                  <a:lnTo>
                    <a:pt x="92" y="494"/>
                  </a:lnTo>
                  <a:lnTo>
                    <a:pt x="92" y="493"/>
                  </a:lnTo>
                  <a:lnTo>
                    <a:pt x="94" y="494"/>
                  </a:lnTo>
                  <a:lnTo>
                    <a:pt x="96" y="494"/>
                  </a:lnTo>
                  <a:lnTo>
                    <a:pt x="98" y="496"/>
                  </a:lnTo>
                  <a:lnTo>
                    <a:pt x="98" y="496"/>
                  </a:lnTo>
                  <a:lnTo>
                    <a:pt x="98" y="498"/>
                  </a:lnTo>
                  <a:lnTo>
                    <a:pt x="98" y="500"/>
                  </a:lnTo>
                  <a:lnTo>
                    <a:pt x="98" y="500"/>
                  </a:lnTo>
                  <a:lnTo>
                    <a:pt x="98" y="502"/>
                  </a:lnTo>
                  <a:lnTo>
                    <a:pt x="96" y="503"/>
                  </a:lnTo>
                  <a:lnTo>
                    <a:pt x="96" y="503"/>
                  </a:lnTo>
                  <a:lnTo>
                    <a:pt x="96" y="503"/>
                  </a:lnTo>
                  <a:lnTo>
                    <a:pt x="96" y="503"/>
                  </a:lnTo>
                  <a:lnTo>
                    <a:pt x="96" y="502"/>
                  </a:lnTo>
                  <a:lnTo>
                    <a:pt x="98" y="502"/>
                  </a:lnTo>
                  <a:lnTo>
                    <a:pt x="98" y="502"/>
                  </a:lnTo>
                  <a:lnTo>
                    <a:pt x="96" y="503"/>
                  </a:lnTo>
                  <a:lnTo>
                    <a:pt x="96" y="503"/>
                  </a:lnTo>
                  <a:lnTo>
                    <a:pt x="96" y="505"/>
                  </a:lnTo>
                  <a:lnTo>
                    <a:pt x="96" y="505"/>
                  </a:lnTo>
                  <a:lnTo>
                    <a:pt x="96" y="507"/>
                  </a:lnTo>
                  <a:lnTo>
                    <a:pt x="98" y="507"/>
                  </a:lnTo>
                  <a:lnTo>
                    <a:pt x="98" y="507"/>
                  </a:lnTo>
                  <a:lnTo>
                    <a:pt x="96" y="507"/>
                  </a:lnTo>
                  <a:lnTo>
                    <a:pt x="94" y="507"/>
                  </a:lnTo>
                  <a:lnTo>
                    <a:pt x="94" y="503"/>
                  </a:lnTo>
                  <a:lnTo>
                    <a:pt x="92" y="503"/>
                  </a:lnTo>
                  <a:lnTo>
                    <a:pt x="92" y="503"/>
                  </a:lnTo>
                  <a:lnTo>
                    <a:pt x="92" y="503"/>
                  </a:lnTo>
                  <a:lnTo>
                    <a:pt x="92" y="505"/>
                  </a:lnTo>
                  <a:lnTo>
                    <a:pt x="92" y="505"/>
                  </a:lnTo>
                  <a:lnTo>
                    <a:pt x="92" y="507"/>
                  </a:lnTo>
                  <a:lnTo>
                    <a:pt x="92" y="507"/>
                  </a:lnTo>
                  <a:lnTo>
                    <a:pt x="92" y="511"/>
                  </a:lnTo>
                  <a:lnTo>
                    <a:pt x="92" y="513"/>
                  </a:lnTo>
                  <a:lnTo>
                    <a:pt x="92" y="514"/>
                  </a:lnTo>
                  <a:lnTo>
                    <a:pt x="92" y="514"/>
                  </a:lnTo>
                  <a:lnTo>
                    <a:pt x="92" y="516"/>
                  </a:lnTo>
                  <a:lnTo>
                    <a:pt x="92" y="516"/>
                  </a:lnTo>
                  <a:lnTo>
                    <a:pt x="92" y="518"/>
                  </a:lnTo>
                  <a:lnTo>
                    <a:pt x="90" y="520"/>
                  </a:lnTo>
                  <a:lnTo>
                    <a:pt x="90" y="522"/>
                  </a:lnTo>
                  <a:lnTo>
                    <a:pt x="88" y="522"/>
                  </a:lnTo>
                  <a:lnTo>
                    <a:pt x="88" y="523"/>
                  </a:lnTo>
                  <a:lnTo>
                    <a:pt x="88" y="523"/>
                  </a:lnTo>
                  <a:lnTo>
                    <a:pt x="90" y="525"/>
                  </a:lnTo>
                  <a:lnTo>
                    <a:pt x="90" y="525"/>
                  </a:lnTo>
                  <a:lnTo>
                    <a:pt x="90" y="525"/>
                  </a:lnTo>
                  <a:lnTo>
                    <a:pt x="90" y="527"/>
                  </a:lnTo>
                  <a:lnTo>
                    <a:pt x="88" y="527"/>
                  </a:lnTo>
                  <a:lnTo>
                    <a:pt x="88" y="529"/>
                  </a:lnTo>
                  <a:lnTo>
                    <a:pt x="88" y="529"/>
                  </a:lnTo>
                  <a:lnTo>
                    <a:pt x="90" y="531"/>
                  </a:lnTo>
                  <a:lnTo>
                    <a:pt x="90" y="532"/>
                  </a:lnTo>
                  <a:lnTo>
                    <a:pt x="92" y="532"/>
                  </a:lnTo>
                  <a:lnTo>
                    <a:pt x="90" y="534"/>
                  </a:lnTo>
                  <a:lnTo>
                    <a:pt x="88" y="538"/>
                  </a:lnTo>
                  <a:lnTo>
                    <a:pt x="88" y="538"/>
                  </a:lnTo>
                  <a:lnTo>
                    <a:pt x="88" y="538"/>
                  </a:lnTo>
                  <a:lnTo>
                    <a:pt x="88" y="540"/>
                  </a:lnTo>
                  <a:lnTo>
                    <a:pt x="88" y="540"/>
                  </a:lnTo>
                  <a:lnTo>
                    <a:pt x="90" y="540"/>
                  </a:lnTo>
                  <a:lnTo>
                    <a:pt x="90" y="540"/>
                  </a:lnTo>
                  <a:lnTo>
                    <a:pt x="90" y="540"/>
                  </a:lnTo>
                  <a:lnTo>
                    <a:pt x="90" y="541"/>
                  </a:lnTo>
                  <a:lnTo>
                    <a:pt x="90" y="541"/>
                  </a:lnTo>
                  <a:lnTo>
                    <a:pt x="90" y="541"/>
                  </a:lnTo>
                  <a:lnTo>
                    <a:pt x="90" y="541"/>
                  </a:lnTo>
                  <a:lnTo>
                    <a:pt x="90" y="541"/>
                  </a:lnTo>
                  <a:lnTo>
                    <a:pt x="90" y="541"/>
                  </a:lnTo>
                  <a:lnTo>
                    <a:pt x="92" y="541"/>
                  </a:lnTo>
                  <a:lnTo>
                    <a:pt x="92" y="541"/>
                  </a:lnTo>
                  <a:lnTo>
                    <a:pt x="92" y="543"/>
                  </a:lnTo>
                  <a:lnTo>
                    <a:pt x="92" y="545"/>
                  </a:lnTo>
                  <a:lnTo>
                    <a:pt x="92" y="545"/>
                  </a:lnTo>
                  <a:lnTo>
                    <a:pt x="92" y="545"/>
                  </a:lnTo>
                  <a:lnTo>
                    <a:pt x="94" y="545"/>
                  </a:lnTo>
                  <a:lnTo>
                    <a:pt x="94" y="545"/>
                  </a:lnTo>
                  <a:lnTo>
                    <a:pt x="94" y="547"/>
                  </a:lnTo>
                  <a:lnTo>
                    <a:pt x="94" y="547"/>
                  </a:lnTo>
                  <a:lnTo>
                    <a:pt x="94" y="547"/>
                  </a:lnTo>
                  <a:lnTo>
                    <a:pt x="96" y="547"/>
                  </a:lnTo>
                  <a:lnTo>
                    <a:pt x="96" y="547"/>
                  </a:lnTo>
                  <a:lnTo>
                    <a:pt x="96" y="549"/>
                  </a:lnTo>
                  <a:lnTo>
                    <a:pt x="96" y="549"/>
                  </a:lnTo>
                  <a:lnTo>
                    <a:pt x="96" y="549"/>
                  </a:lnTo>
                  <a:lnTo>
                    <a:pt x="98" y="549"/>
                  </a:lnTo>
                  <a:lnTo>
                    <a:pt x="98" y="549"/>
                  </a:lnTo>
                  <a:lnTo>
                    <a:pt x="98" y="549"/>
                  </a:lnTo>
                  <a:lnTo>
                    <a:pt x="98" y="552"/>
                  </a:lnTo>
                  <a:lnTo>
                    <a:pt x="99" y="556"/>
                  </a:lnTo>
                  <a:lnTo>
                    <a:pt x="99" y="554"/>
                  </a:lnTo>
                  <a:lnTo>
                    <a:pt x="101" y="556"/>
                  </a:lnTo>
                  <a:lnTo>
                    <a:pt x="101" y="558"/>
                  </a:lnTo>
                  <a:lnTo>
                    <a:pt x="99" y="559"/>
                  </a:lnTo>
                  <a:lnTo>
                    <a:pt x="99" y="559"/>
                  </a:lnTo>
                  <a:lnTo>
                    <a:pt x="101" y="559"/>
                  </a:lnTo>
                  <a:lnTo>
                    <a:pt x="101" y="559"/>
                  </a:lnTo>
                  <a:lnTo>
                    <a:pt x="101" y="559"/>
                  </a:lnTo>
                  <a:lnTo>
                    <a:pt x="101" y="561"/>
                  </a:lnTo>
                  <a:lnTo>
                    <a:pt x="101" y="561"/>
                  </a:lnTo>
                  <a:lnTo>
                    <a:pt x="103" y="561"/>
                  </a:lnTo>
                  <a:lnTo>
                    <a:pt x="103" y="559"/>
                  </a:lnTo>
                  <a:lnTo>
                    <a:pt x="103" y="558"/>
                  </a:lnTo>
                  <a:lnTo>
                    <a:pt x="105" y="558"/>
                  </a:lnTo>
                  <a:lnTo>
                    <a:pt x="105" y="558"/>
                  </a:lnTo>
                  <a:lnTo>
                    <a:pt x="107" y="558"/>
                  </a:lnTo>
                  <a:lnTo>
                    <a:pt x="108" y="558"/>
                  </a:lnTo>
                  <a:lnTo>
                    <a:pt x="110" y="559"/>
                  </a:lnTo>
                  <a:lnTo>
                    <a:pt x="110" y="559"/>
                  </a:lnTo>
                  <a:lnTo>
                    <a:pt x="110" y="559"/>
                  </a:lnTo>
                  <a:lnTo>
                    <a:pt x="112" y="559"/>
                  </a:lnTo>
                  <a:lnTo>
                    <a:pt x="112" y="559"/>
                  </a:lnTo>
                  <a:lnTo>
                    <a:pt x="112" y="559"/>
                  </a:lnTo>
                  <a:lnTo>
                    <a:pt x="114" y="559"/>
                  </a:lnTo>
                  <a:lnTo>
                    <a:pt x="114" y="559"/>
                  </a:lnTo>
                  <a:lnTo>
                    <a:pt x="114" y="559"/>
                  </a:lnTo>
                  <a:lnTo>
                    <a:pt x="114" y="559"/>
                  </a:lnTo>
                  <a:lnTo>
                    <a:pt x="114" y="559"/>
                  </a:lnTo>
                  <a:lnTo>
                    <a:pt x="119" y="554"/>
                  </a:lnTo>
                  <a:lnTo>
                    <a:pt x="119" y="552"/>
                  </a:lnTo>
                  <a:lnTo>
                    <a:pt x="121" y="552"/>
                  </a:lnTo>
                  <a:lnTo>
                    <a:pt x="121" y="554"/>
                  </a:lnTo>
                  <a:lnTo>
                    <a:pt x="121" y="552"/>
                  </a:lnTo>
                  <a:lnTo>
                    <a:pt x="121" y="552"/>
                  </a:lnTo>
                  <a:lnTo>
                    <a:pt x="121" y="550"/>
                  </a:lnTo>
                  <a:lnTo>
                    <a:pt x="123" y="549"/>
                  </a:lnTo>
                  <a:lnTo>
                    <a:pt x="123" y="549"/>
                  </a:lnTo>
                  <a:lnTo>
                    <a:pt x="121" y="549"/>
                  </a:lnTo>
                  <a:lnTo>
                    <a:pt x="121" y="549"/>
                  </a:lnTo>
                  <a:lnTo>
                    <a:pt x="121" y="547"/>
                  </a:lnTo>
                  <a:lnTo>
                    <a:pt x="121" y="545"/>
                  </a:lnTo>
                  <a:lnTo>
                    <a:pt x="121" y="545"/>
                  </a:lnTo>
                  <a:lnTo>
                    <a:pt x="121" y="543"/>
                  </a:lnTo>
                  <a:lnTo>
                    <a:pt x="121" y="541"/>
                  </a:lnTo>
                  <a:lnTo>
                    <a:pt x="121" y="541"/>
                  </a:lnTo>
                  <a:lnTo>
                    <a:pt x="125" y="540"/>
                  </a:lnTo>
                  <a:lnTo>
                    <a:pt x="125" y="538"/>
                  </a:lnTo>
                  <a:lnTo>
                    <a:pt x="125" y="538"/>
                  </a:lnTo>
                  <a:lnTo>
                    <a:pt x="123" y="538"/>
                  </a:lnTo>
                  <a:lnTo>
                    <a:pt x="123" y="538"/>
                  </a:lnTo>
                  <a:lnTo>
                    <a:pt x="121" y="538"/>
                  </a:lnTo>
                  <a:lnTo>
                    <a:pt x="121" y="538"/>
                  </a:lnTo>
                  <a:lnTo>
                    <a:pt x="121" y="538"/>
                  </a:lnTo>
                  <a:lnTo>
                    <a:pt x="121" y="538"/>
                  </a:lnTo>
                  <a:lnTo>
                    <a:pt x="121" y="538"/>
                  </a:lnTo>
                  <a:lnTo>
                    <a:pt x="121" y="536"/>
                  </a:lnTo>
                  <a:lnTo>
                    <a:pt x="121" y="536"/>
                  </a:lnTo>
                  <a:lnTo>
                    <a:pt x="121" y="536"/>
                  </a:lnTo>
                  <a:lnTo>
                    <a:pt x="121" y="536"/>
                  </a:lnTo>
                  <a:lnTo>
                    <a:pt x="121" y="536"/>
                  </a:lnTo>
                  <a:lnTo>
                    <a:pt x="121" y="536"/>
                  </a:lnTo>
                  <a:lnTo>
                    <a:pt x="123" y="536"/>
                  </a:lnTo>
                  <a:lnTo>
                    <a:pt x="123" y="536"/>
                  </a:lnTo>
                  <a:lnTo>
                    <a:pt x="123" y="538"/>
                  </a:lnTo>
                  <a:lnTo>
                    <a:pt x="123" y="536"/>
                  </a:lnTo>
                  <a:lnTo>
                    <a:pt x="126" y="540"/>
                  </a:lnTo>
                  <a:lnTo>
                    <a:pt x="126" y="540"/>
                  </a:lnTo>
                  <a:lnTo>
                    <a:pt x="128" y="541"/>
                  </a:lnTo>
                  <a:lnTo>
                    <a:pt x="128" y="540"/>
                  </a:lnTo>
                  <a:lnTo>
                    <a:pt x="128" y="540"/>
                  </a:lnTo>
                  <a:lnTo>
                    <a:pt x="130" y="538"/>
                  </a:lnTo>
                  <a:lnTo>
                    <a:pt x="130" y="538"/>
                  </a:lnTo>
                  <a:lnTo>
                    <a:pt x="132" y="538"/>
                  </a:lnTo>
                  <a:lnTo>
                    <a:pt x="134" y="538"/>
                  </a:lnTo>
                  <a:lnTo>
                    <a:pt x="134" y="540"/>
                  </a:lnTo>
                  <a:lnTo>
                    <a:pt x="134" y="538"/>
                  </a:lnTo>
                  <a:lnTo>
                    <a:pt x="135" y="540"/>
                  </a:lnTo>
                  <a:lnTo>
                    <a:pt x="135" y="540"/>
                  </a:lnTo>
                  <a:lnTo>
                    <a:pt x="135" y="540"/>
                  </a:lnTo>
                  <a:lnTo>
                    <a:pt x="137" y="540"/>
                  </a:lnTo>
                  <a:lnTo>
                    <a:pt x="137" y="540"/>
                  </a:lnTo>
                  <a:lnTo>
                    <a:pt x="139" y="541"/>
                  </a:lnTo>
                  <a:lnTo>
                    <a:pt x="139" y="541"/>
                  </a:lnTo>
                  <a:lnTo>
                    <a:pt x="139" y="541"/>
                  </a:lnTo>
                  <a:lnTo>
                    <a:pt x="141" y="543"/>
                  </a:lnTo>
                  <a:lnTo>
                    <a:pt x="141" y="543"/>
                  </a:lnTo>
                  <a:lnTo>
                    <a:pt x="141" y="543"/>
                  </a:lnTo>
                  <a:lnTo>
                    <a:pt x="143" y="545"/>
                  </a:lnTo>
                  <a:lnTo>
                    <a:pt x="143" y="545"/>
                  </a:lnTo>
                  <a:lnTo>
                    <a:pt x="143" y="543"/>
                  </a:lnTo>
                  <a:lnTo>
                    <a:pt x="144" y="543"/>
                  </a:lnTo>
                  <a:lnTo>
                    <a:pt x="144" y="543"/>
                  </a:lnTo>
                  <a:lnTo>
                    <a:pt x="146" y="545"/>
                  </a:lnTo>
                  <a:lnTo>
                    <a:pt x="144" y="545"/>
                  </a:lnTo>
                  <a:lnTo>
                    <a:pt x="144" y="545"/>
                  </a:lnTo>
                  <a:lnTo>
                    <a:pt x="146" y="545"/>
                  </a:lnTo>
                  <a:lnTo>
                    <a:pt x="146" y="545"/>
                  </a:lnTo>
                  <a:lnTo>
                    <a:pt x="146" y="545"/>
                  </a:lnTo>
                  <a:lnTo>
                    <a:pt x="146" y="543"/>
                  </a:lnTo>
                  <a:lnTo>
                    <a:pt x="148" y="543"/>
                  </a:lnTo>
                  <a:lnTo>
                    <a:pt x="148" y="543"/>
                  </a:lnTo>
                  <a:lnTo>
                    <a:pt x="148" y="541"/>
                  </a:lnTo>
                  <a:lnTo>
                    <a:pt x="148" y="541"/>
                  </a:lnTo>
                  <a:lnTo>
                    <a:pt x="148" y="541"/>
                  </a:lnTo>
                  <a:lnTo>
                    <a:pt x="148" y="540"/>
                  </a:lnTo>
                  <a:lnTo>
                    <a:pt x="148" y="540"/>
                  </a:lnTo>
                  <a:lnTo>
                    <a:pt x="148" y="540"/>
                  </a:lnTo>
                  <a:lnTo>
                    <a:pt x="148" y="540"/>
                  </a:lnTo>
                  <a:lnTo>
                    <a:pt x="148" y="538"/>
                  </a:lnTo>
                  <a:lnTo>
                    <a:pt x="148" y="536"/>
                  </a:lnTo>
                  <a:lnTo>
                    <a:pt x="150" y="534"/>
                  </a:lnTo>
                  <a:lnTo>
                    <a:pt x="152" y="534"/>
                  </a:lnTo>
                  <a:lnTo>
                    <a:pt x="152" y="532"/>
                  </a:lnTo>
                  <a:lnTo>
                    <a:pt x="150" y="532"/>
                  </a:lnTo>
                  <a:lnTo>
                    <a:pt x="150" y="532"/>
                  </a:lnTo>
                  <a:lnTo>
                    <a:pt x="150" y="531"/>
                  </a:lnTo>
                  <a:lnTo>
                    <a:pt x="150" y="531"/>
                  </a:lnTo>
                  <a:lnTo>
                    <a:pt x="150" y="527"/>
                  </a:lnTo>
                  <a:lnTo>
                    <a:pt x="152" y="523"/>
                  </a:lnTo>
                  <a:lnTo>
                    <a:pt x="152" y="522"/>
                  </a:lnTo>
                  <a:lnTo>
                    <a:pt x="152" y="520"/>
                  </a:lnTo>
                  <a:lnTo>
                    <a:pt x="152" y="516"/>
                  </a:lnTo>
                  <a:lnTo>
                    <a:pt x="154" y="514"/>
                  </a:lnTo>
                  <a:lnTo>
                    <a:pt x="152" y="511"/>
                  </a:lnTo>
                  <a:lnTo>
                    <a:pt x="152" y="511"/>
                  </a:lnTo>
                  <a:lnTo>
                    <a:pt x="154" y="511"/>
                  </a:lnTo>
                  <a:lnTo>
                    <a:pt x="154" y="509"/>
                  </a:lnTo>
                  <a:lnTo>
                    <a:pt x="154" y="509"/>
                  </a:lnTo>
                  <a:lnTo>
                    <a:pt x="154" y="507"/>
                  </a:lnTo>
                  <a:lnTo>
                    <a:pt x="154" y="507"/>
                  </a:lnTo>
                  <a:lnTo>
                    <a:pt x="154" y="507"/>
                  </a:lnTo>
                  <a:lnTo>
                    <a:pt x="154" y="505"/>
                  </a:lnTo>
                  <a:lnTo>
                    <a:pt x="154" y="503"/>
                  </a:lnTo>
                  <a:lnTo>
                    <a:pt x="154" y="503"/>
                  </a:lnTo>
                  <a:lnTo>
                    <a:pt x="154" y="502"/>
                  </a:lnTo>
                  <a:lnTo>
                    <a:pt x="154" y="500"/>
                  </a:lnTo>
                  <a:lnTo>
                    <a:pt x="154" y="498"/>
                  </a:lnTo>
                  <a:lnTo>
                    <a:pt x="155" y="498"/>
                  </a:lnTo>
                  <a:lnTo>
                    <a:pt x="155" y="496"/>
                  </a:lnTo>
                  <a:lnTo>
                    <a:pt x="155" y="496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4" y="494"/>
                  </a:lnTo>
                  <a:lnTo>
                    <a:pt x="154" y="494"/>
                  </a:lnTo>
                  <a:lnTo>
                    <a:pt x="155" y="493"/>
                  </a:lnTo>
                  <a:lnTo>
                    <a:pt x="155" y="493"/>
                  </a:lnTo>
                  <a:lnTo>
                    <a:pt x="155" y="493"/>
                  </a:lnTo>
                  <a:lnTo>
                    <a:pt x="155" y="493"/>
                  </a:lnTo>
                  <a:lnTo>
                    <a:pt x="155" y="493"/>
                  </a:lnTo>
                  <a:lnTo>
                    <a:pt x="155" y="493"/>
                  </a:lnTo>
                  <a:lnTo>
                    <a:pt x="155" y="493"/>
                  </a:lnTo>
                  <a:lnTo>
                    <a:pt x="155" y="493"/>
                  </a:lnTo>
                  <a:lnTo>
                    <a:pt x="155" y="493"/>
                  </a:lnTo>
                  <a:lnTo>
                    <a:pt x="154" y="491"/>
                  </a:lnTo>
                  <a:lnTo>
                    <a:pt x="155" y="489"/>
                  </a:lnTo>
                  <a:lnTo>
                    <a:pt x="157" y="484"/>
                  </a:lnTo>
                  <a:lnTo>
                    <a:pt x="157" y="482"/>
                  </a:lnTo>
                  <a:lnTo>
                    <a:pt x="155" y="482"/>
                  </a:lnTo>
                  <a:lnTo>
                    <a:pt x="154" y="480"/>
                  </a:lnTo>
                  <a:lnTo>
                    <a:pt x="154" y="480"/>
                  </a:lnTo>
                  <a:lnTo>
                    <a:pt x="154" y="480"/>
                  </a:lnTo>
                  <a:lnTo>
                    <a:pt x="154" y="478"/>
                  </a:lnTo>
                  <a:lnTo>
                    <a:pt x="152" y="475"/>
                  </a:lnTo>
                  <a:lnTo>
                    <a:pt x="152" y="475"/>
                  </a:lnTo>
                  <a:lnTo>
                    <a:pt x="152" y="471"/>
                  </a:lnTo>
                  <a:lnTo>
                    <a:pt x="152" y="471"/>
                  </a:lnTo>
                  <a:lnTo>
                    <a:pt x="152" y="469"/>
                  </a:lnTo>
                  <a:lnTo>
                    <a:pt x="152" y="469"/>
                  </a:lnTo>
                  <a:lnTo>
                    <a:pt x="154" y="467"/>
                  </a:lnTo>
                  <a:lnTo>
                    <a:pt x="154" y="467"/>
                  </a:lnTo>
                  <a:lnTo>
                    <a:pt x="155" y="466"/>
                  </a:lnTo>
                  <a:lnTo>
                    <a:pt x="155" y="464"/>
                  </a:lnTo>
                  <a:lnTo>
                    <a:pt x="157" y="464"/>
                  </a:lnTo>
                  <a:lnTo>
                    <a:pt x="157" y="464"/>
                  </a:lnTo>
                  <a:lnTo>
                    <a:pt x="157" y="462"/>
                  </a:lnTo>
                  <a:lnTo>
                    <a:pt x="159" y="460"/>
                  </a:lnTo>
                  <a:lnTo>
                    <a:pt x="161" y="458"/>
                  </a:lnTo>
                  <a:lnTo>
                    <a:pt x="161" y="457"/>
                  </a:lnTo>
                  <a:lnTo>
                    <a:pt x="161" y="457"/>
                  </a:lnTo>
                  <a:lnTo>
                    <a:pt x="161" y="455"/>
                  </a:lnTo>
                  <a:lnTo>
                    <a:pt x="161" y="455"/>
                  </a:lnTo>
                  <a:lnTo>
                    <a:pt x="161" y="453"/>
                  </a:lnTo>
                  <a:lnTo>
                    <a:pt x="161" y="453"/>
                  </a:lnTo>
                  <a:close/>
                  <a:moveTo>
                    <a:pt x="94" y="549"/>
                  </a:moveTo>
                  <a:lnTo>
                    <a:pt x="94" y="549"/>
                  </a:lnTo>
                  <a:lnTo>
                    <a:pt x="94" y="549"/>
                  </a:lnTo>
                  <a:lnTo>
                    <a:pt x="92" y="549"/>
                  </a:lnTo>
                  <a:lnTo>
                    <a:pt x="92" y="549"/>
                  </a:lnTo>
                  <a:lnTo>
                    <a:pt x="92" y="549"/>
                  </a:lnTo>
                  <a:lnTo>
                    <a:pt x="92" y="547"/>
                  </a:lnTo>
                  <a:lnTo>
                    <a:pt x="90" y="545"/>
                  </a:lnTo>
                  <a:lnTo>
                    <a:pt x="88" y="545"/>
                  </a:lnTo>
                  <a:lnTo>
                    <a:pt x="88" y="545"/>
                  </a:lnTo>
                  <a:lnTo>
                    <a:pt x="87" y="547"/>
                  </a:lnTo>
                  <a:lnTo>
                    <a:pt x="87" y="547"/>
                  </a:lnTo>
                  <a:lnTo>
                    <a:pt x="87" y="547"/>
                  </a:lnTo>
                  <a:lnTo>
                    <a:pt x="87" y="547"/>
                  </a:lnTo>
                  <a:lnTo>
                    <a:pt x="87" y="549"/>
                  </a:lnTo>
                  <a:lnTo>
                    <a:pt x="88" y="550"/>
                  </a:lnTo>
                  <a:lnTo>
                    <a:pt x="90" y="554"/>
                  </a:lnTo>
                  <a:lnTo>
                    <a:pt x="90" y="554"/>
                  </a:lnTo>
                  <a:lnTo>
                    <a:pt x="90" y="554"/>
                  </a:lnTo>
                  <a:lnTo>
                    <a:pt x="90" y="556"/>
                  </a:lnTo>
                  <a:lnTo>
                    <a:pt x="90" y="556"/>
                  </a:lnTo>
                  <a:lnTo>
                    <a:pt x="92" y="554"/>
                  </a:lnTo>
                  <a:lnTo>
                    <a:pt x="92" y="554"/>
                  </a:lnTo>
                  <a:lnTo>
                    <a:pt x="92" y="552"/>
                  </a:lnTo>
                  <a:lnTo>
                    <a:pt x="92" y="550"/>
                  </a:lnTo>
                  <a:lnTo>
                    <a:pt x="92" y="550"/>
                  </a:lnTo>
                  <a:lnTo>
                    <a:pt x="92" y="549"/>
                  </a:lnTo>
                  <a:lnTo>
                    <a:pt x="92" y="549"/>
                  </a:lnTo>
                  <a:lnTo>
                    <a:pt x="94" y="549"/>
                  </a:lnTo>
                  <a:lnTo>
                    <a:pt x="94" y="549"/>
                  </a:lnTo>
                  <a:lnTo>
                    <a:pt x="94" y="549"/>
                  </a:lnTo>
                  <a:close/>
                  <a:moveTo>
                    <a:pt x="83" y="419"/>
                  </a:moveTo>
                  <a:lnTo>
                    <a:pt x="81" y="419"/>
                  </a:lnTo>
                  <a:lnTo>
                    <a:pt x="81" y="420"/>
                  </a:lnTo>
                  <a:lnTo>
                    <a:pt x="81" y="420"/>
                  </a:lnTo>
                  <a:lnTo>
                    <a:pt x="81" y="420"/>
                  </a:lnTo>
                  <a:lnTo>
                    <a:pt x="81" y="422"/>
                  </a:lnTo>
                  <a:lnTo>
                    <a:pt x="81" y="422"/>
                  </a:lnTo>
                  <a:lnTo>
                    <a:pt x="79" y="422"/>
                  </a:lnTo>
                  <a:lnTo>
                    <a:pt x="81" y="422"/>
                  </a:lnTo>
                  <a:lnTo>
                    <a:pt x="83" y="420"/>
                  </a:lnTo>
                  <a:lnTo>
                    <a:pt x="83" y="419"/>
                  </a:lnTo>
                  <a:lnTo>
                    <a:pt x="83" y="419"/>
                  </a:lnTo>
                  <a:lnTo>
                    <a:pt x="87" y="419"/>
                  </a:lnTo>
                  <a:lnTo>
                    <a:pt x="87" y="417"/>
                  </a:lnTo>
                  <a:lnTo>
                    <a:pt x="87" y="417"/>
                  </a:lnTo>
                  <a:lnTo>
                    <a:pt x="87" y="415"/>
                  </a:lnTo>
                  <a:lnTo>
                    <a:pt x="87" y="415"/>
                  </a:lnTo>
                  <a:lnTo>
                    <a:pt x="87" y="415"/>
                  </a:lnTo>
                  <a:lnTo>
                    <a:pt x="87" y="415"/>
                  </a:lnTo>
                  <a:lnTo>
                    <a:pt x="87" y="413"/>
                  </a:lnTo>
                  <a:lnTo>
                    <a:pt x="85" y="415"/>
                  </a:lnTo>
                  <a:lnTo>
                    <a:pt x="85" y="415"/>
                  </a:lnTo>
                  <a:lnTo>
                    <a:pt x="85" y="415"/>
                  </a:lnTo>
                  <a:lnTo>
                    <a:pt x="85" y="415"/>
                  </a:lnTo>
                  <a:lnTo>
                    <a:pt x="85" y="415"/>
                  </a:lnTo>
                  <a:lnTo>
                    <a:pt x="83" y="415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9"/>
                  </a:lnTo>
                  <a:lnTo>
                    <a:pt x="83" y="419"/>
                  </a:lnTo>
                  <a:close/>
                  <a:moveTo>
                    <a:pt x="143" y="410"/>
                  </a:moveTo>
                  <a:lnTo>
                    <a:pt x="143" y="410"/>
                  </a:lnTo>
                  <a:lnTo>
                    <a:pt x="143" y="410"/>
                  </a:lnTo>
                  <a:lnTo>
                    <a:pt x="143" y="411"/>
                  </a:lnTo>
                  <a:lnTo>
                    <a:pt x="143" y="411"/>
                  </a:lnTo>
                  <a:lnTo>
                    <a:pt x="144" y="411"/>
                  </a:lnTo>
                  <a:lnTo>
                    <a:pt x="144" y="410"/>
                  </a:lnTo>
                  <a:lnTo>
                    <a:pt x="143" y="410"/>
                  </a:lnTo>
                  <a:lnTo>
                    <a:pt x="144" y="408"/>
                  </a:lnTo>
                  <a:lnTo>
                    <a:pt x="144" y="408"/>
                  </a:lnTo>
                  <a:lnTo>
                    <a:pt x="144" y="408"/>
                  </a:lnTo>
                  <a:lnTo>
                    <a:pt x="144" y="406"/>
                  </a:lnTo>
                  <a:lnTo>
                    <a:pt x="143" y="406"/>
                  </a:lnTo>
                  <a:lnTo>
                    <a:pt x="143" y="406"/>
                  </a:lnTo>
                  <a:lnTo>
                    <a:pt x="143" y="406"/>
                  </a:lnTo>
                  <a:lnTo>
                    <a:pt x="143" y="408"/>
                  </a:lnTo>
                  <a:lnTo>
                    <a:pt x="143" y="408"/>
                  </a:lnTo>
                  <a:lnTo>
                    <a:pt x="143" y="410"/>
                  </a:lnTo>
                  <a:lnTo>
                    <a:pt x="141" y="410"/>
                  </a:lnTo>
                  <a:lnTo>
                    <a:pt x="143" y="410"/>
                  </a:lnTo>
                  <a:close/>
                  <a:moveTo>
                    <a:pt x="141" y="406"/>
                  </a:moveTo>
                  <a:lnTo>
                    <a:pt x="141" y="406"/>
                  </a:lnTo>
                  <a:lnTo>
                    <a:pt x="141" y="406"/>
                  </a:lnTo>
                  <a:lnTo>
                    <a:pt x="141" y="404"/>
                  </a:lnTo>
                  <a:lnTo>
                    <a:pt x="141" y="406"/>
                  </a:lnTo>
                  <a:lnTo>
                    <a:pt x="141" y="406"/>
                  </a:lnTo>
                  <a:lnTo>
                    <a:pt x="139" y="406"/>
                  </a:lnTo>
                  <a:lnTo>
                    <a:pt x="139" y="406"/>
                  </a:lnTo>
                  <a:lnTo>
                    <a:pt x="139" y="406"/>
                  </a:lnTo>
                  <a:lnTo>
                    <a:pt x="139" y="406"/>
                  </a:lnTo>
                  <a:lnTo>
                    <a:pt x="139" y="408"/>
                  </a:lnTo>
                  <a:lnTo>
                    <a:pt x="139" y="408"/>
                  </a:lnTo>
                  <a:lnTo>
                    <a:pt x="139" y="408"/>
                  </a:lnTo>
                  <a:lnTo>
                    <a:pt x="139" y="408"/>
                  </a:lnTo>
                  <a:lnTo>
                    <a:pt x="139" y="408"/>
                  </a:lnTo>
                  <a:lnTo>
                    <a:pt x="141" y="408"/>
                  </a:lnTo>
                  <a:lnTo>
                    <a:pt x="141" y="408"/>
                  </a:lnTo>
                  <a:lnTo>
                    <a:pt x="141" y="408"/>
                  </a:lnTo>
                  <a:lnTo>
                    <a:pt x="141" y="408"/>
                  </a:lnTo>
                  <a:lnTo>
                    <a:pt x="141" y="406"/>
                  </a:lnTo>
                  <a:lnTo>
                    <a:pt x="141" y="406"/>
                  </a:lnTo>
                  <a:close/>
                  <a:moveTo>
                    <a:pt x="419" y="588"/>
                  </a:moveTo>
                  <a:lnTo>
                    <a:pt x="417" y="590"/>
                  </a:lnTo>
                  <a:lnTo>
                    <a:pt x="417" y="592"/>
                  </a:lnTo>
                  <a:lnTo>
                    <a:pt x="419" y="592"/>
                  </a:lnTo>
                  <a:lnTo>
                    <a:pt x="419" y="594"/>
                  </a:lnTo>
                  <a:lnTo>
                    <a:pt x="421" y="592"/>
                  </a:lnTo>
                  <a:lnTo>
                    <a:pt x="421" y="592"/>
                  </a:lnTo>
                  <a:lnTo>
                    <a:pt x="421" y="592"/>
                  </a:lnTo>
                  <a:lnTo>
                    <a:pt x="419" y="590"/>
                  </a:lnTo>
                  <a:lnTo>
                    <a:pt x="419" y="590"/>
                  </a:lnTo>
                  <a:lnTo>
                    <a:pt x="419" y="590"/>
                  </a:lnTo>
                  <a:lnTo>
                    <a:pt x="419" y="588"/>
                  </a:lnTo>
                  <a:lnTo>
                    <a:pt x="419" y="588"/>
                  </a:lnTo>
                  <a:close/>
                  <a:moveTo>
                    <a:pt x="432" y="567"/>
                  </a:moveTo>
                  <a:lnTo>
                    <a:pt x="432" y="567"/>
                  </a:lnTo>
                  <a:lnTo>
                    <a:pt x="432" y="567"/>
                  </a:lnTo>
                  <a:lnTo>
                    <a:pt x="432" y="567"/>
                  </a:lnTo>
                  <a:lnTo>
                    <a:pt x="432" y="565"/>
                  </a:lnTo>
                  <a:lnTo>
                    <a:pt x="432" y="565"/>
                  </a:lnTo>
                  <a:lnTo>
                    <a:pt x="432" y="565"/>
                  </a:lnTo>
                  <a:lnTo>
                    <a:pt x="432" y="565"/>
                  </a:lnTo>
                  <a:lnTo>
                    <a:pt x="432" y="565"/>
                  </a:lnTo>
                  <a:lnTo>
                    <a:pt x="432" y="565"/>
                  </a:lnTo>
                  <a:lnTo>
                    <a:pt x="430" y="565"/>
                  </a:lnTo>
                  <a:lnTo>
                    <a:pt x="430" y="565"/>
                  </a:lnTo>
                  <a:lnTo>
                    <a:pt x="430" y="565"/>
                  </a:lnTo>
                  <a:lnTo>
                    <a:pt x="430" y="567"/>
                  </a:lnTo>
                  <a:lnTo>
                    <a:pt x="430" y="567"/>
                  </a:lnTo>
                  <a:lnTo>
                    <a:pt x="430" y="567"/>
                  </a:lnTo>
                  <a:lnTo>
                    <a:pt x="432" y="567"/>
                  </a:lnTo>
                  <a:close/>
                  <a:moveTo>
                    <a:pt x="417" y="583"/>
                  </a:moveTo>
                  <a:lnTo>
                    <a:pt x="417" y="583"/>
                  </a:lnTo>
                  <a:lnTo>
                    <a:pt x="415" y="583"/>
                  </a:lnTo>
                  <a:lnTo>
                    <a:pt x="415" y="585"/>
                  </a:lnTo>
                  <a:lnTo>
                    <a:pt x="415" y="587"/>
                  </a:lnTo>
                  <a:lnTo>
                    <a:pt x="415" y="587"/>
                  </a:lnTo>
                  <a:lnTo>
                    <a:pt x="415" y="587"/>
                  </a:lnTo>
                  <a:lnTo>
                    <a:pt x="417" y="587"/>
                  </a:lnTo>
                  <a:lnTo>
                    <a:pt x="417" y="588"/>
                  </a:lnTo>
                  <a:lnTo>
                    <a:pt x="419" y="588"/>
                  </a:lnTo>
                  <a:lnTo>
                    <a:pt x="419" y="587"/>
                  </a:lnTo>
                  <a:lnTo>
                    <a:pt x="419" y="587"/>
                  </a:lnTo>
                  <a:lnTo>
                    <a:pt x="417" y="587"/>
                  </a:lnTo>
                  <a:lnTo>
                    <a:pt x="417" y="587"/>
                  </a:lnTo>
                  <a:lnTo>
                    <a:pt x="419" y="587"/>
                  </a:lnTo>
                  <a:lnTo>
                    <a:pt x="419" y="585"/>
                  </a:lnTo>
                  <a:lnTo>
                    <a:pt x="419" y="585"/>
                  </a:lnTo>
                  <a:lnTo>
                    <a:pt x="419" y="585"/>
                  </a:lnTo>
                  <a:lnTo>
                    <a:pt x="419" y="585"/>
                  </a:lnTo>
                  <a:lnTo>
                    <a:pt x="419" y="583"/>
                  </a:lnTo>
                  <a:lnTo>
                    <a:pt x="417" y="583"/>
                  </a:lnTo>
                  <a:close/>
                  <a:moveTo>
                    <a:pt x="596" y="480"/>
                  </a:moveTo>
                  <a:lnTo>
                    <a:pt x="596" y="480"/>
                  </a:lnTo>
                  <a:lnTo>
                    <a:pt x="596" y="478"/>
                  </a:lnTo>
                  <a:lnTo>
                    <a:pt x="596" y="478"/>
                  </a:lnTo>
                  <a:lnTo>
                    <a:pt x="596" y="478"/>
                  </a:lnTo>
                  <a:lnTo>
                    <a:pt x="596" y="478"/>
                  </a:lnTo>
                  <a:lnTo>
                    <a:pt x="592" y="471"/>
                  </a:lnTo>
                  <a:lnTo>
                    <a:pt x="589" y="466"/>
                  </a:lnTo>
                  <a:lnTo>
                    <a:pt x="589" y="466"/>
                  </a:lnTo>
                  <a:lnTo>
                    <a:pt x="587" y="466"/>
                  </a:lnTo>
                  <a:lnTo>
                    <a:pt x="587" y="464"/>
                  </a:lnTo>
                  <a:lnTo>
                    <a:pt x="585" y="462"/>
                  </a:lnTo>
                  <a:lnTo>
                    <a:pt x="583" y="460"/>
                  </a:lnTo>
                  <a:lnTo>
                    <a:pt x="583" y="460"/>
                  </a:lnTo>
                  <a:lnTo>
                    <a:pt x="581" y="458"/>
                  </a:lnTo>
                  <a:lnTo>
                    <a:pt x="581" y="458"/>
                  </a:lnTo>
                  <a:lnTo>
                    <a:pt x="581" y="458"/>
                  </a:lnTo>
                  <a:lnTo>
                    <a:pt x="576" y="455"/>
                  </a:lnTo>
                  <a:lnTo>
                    <a:pt x="572" y="451"/>
                  </a:lnTo>
                  <a:lnTo>
                    <a:pt x="572" y="449"/>
                  </a:lnTo>
                  <a:lnTo>
                    <a:pt x="572" y="448"/>
                  </a:lnTo>
                  <a:lnTo>
                    <a:pt x="571" y="448"/>
                  </a:lnTo>
                  <a:lnTo>
                    <a:pt x="571" y="446"/>
                  </a:lnTo>
                  <a:lnTo>
                    <a:pt x="571" y="446"/>
                  </a:lnTo>
                  <a:lnTo>
                    <a:pt x="571" y="446"/>
                  </a:lnTo>
                  <a:lnTo>
                    <a:pt x="571" y="446"/>
                  </a:lnTo>
                  <a:lnTo>
                    <a:pt x="569" y="446"/>
                  </a:lnTo>
                  <a:lnTo>
                    <a:pt x="569" y="446"/>
                  </a:lnTo>
                  <a:lnTo>
                    <a:pt x="569" y="444"/>
                  </a:lnTo>
                  <a:lnTo>
                    <a:pt x="567" y="444"/>
                  </a:lnTo>
                  <a:lnTo>
                    <a:pt x="562" y="442"/>
                  </a:lnTo>
                  <a:lnTo>
                    <a:pt x="558" y="438"/>
                  </a:lnTo>
                  <a:lnTo>
                    <a:pt x="553" y="437"/>
                  </a:lnTo>
                  <a:lnTo>
                    <a:pt x="553" y="437"/>
                  </a:lnTo>
                  <a:lnTo>
                    <a:pt x="547" y="435"/>
                  </a:lnTo>
                  <a:lnTo>
                    <a:pt x="545" y="435"/>
                  </a:lnTo>
                  <a:lnTo>
                    <a:pt x="545" y="433"/>
                  </a:lnTo>
                  <a:lnTo>
                    <a:pt x="544" y="433"/>
                  </a:lnTo>
                  <a:lnTo>
                    <a:pt x="542" y="429"/>
                  </a:lnTo>
                  <a:lnTo>
                    <a:pt x="540" y="429"/>
                  </a:lnTo>
                  <a:lnTo>
                    <a:pt x="538" y="428"/>
                  </a:lnTo>
                  <a:lnTo>
                    <a:pt x="538" y="428"/>
                  </a:lnTo>
                  <a:lnTo>
                    <a:pt x="536" y="426"/>
                  </a:lnTo>
                  <a:lnTo>
                    <a:pt x="535" y="424"/>
                  </a:lnTo>
                  <a:lnTo>
                    <a:pt x="531" y="420"/>
                  </a:lnTo>
                  <a:lnTo>
                    <a:pt x="524" y="417"/>
                  </a:lnTo>
                  <a:lnTo>
                    <a:pt x="515" y="415"/>
                  </a:lnTo>
                  <a:lnTo>
                    <a:pt x="513" y="413"/>
                  </a:lnTo>
                  <a:lnTo>
                    <a:pt x="513" y="413"/>
                  </a:lnTo>
                  <a:lnTo>
                    <a:pt x="513" y="413"/>
                  </a:lnTo>
                  <a:lnTo>
                    <a:pt x="513" y="413"/>
                  </a:lnTo>
                  <a:lnTo>
                    <a:pt x="511" y="413"/>
                  </a:lnTo>
                  <a:lnTo>
                    <a:pt x="500" y="408"/>
                  </a:lnTo>
                  <a:lnTo>
                    <a:pt x="498" y="408"/>
                  </a:lnTo>
                  <a:lnTo>
                    <a:pt x="497" y="406"/>
                  </a:lnTo>
                  <a:lnTo>
                    <a:pt x="497" y="406"/>
                  </a:lnTo>
                  <a:lnTo>
                    <a:pt x="493" y="404"/>
                  </a:lnTo>
                  <a:lnTo>
                    <a:pt x="486" y="401"/>
                  </a:lnTo>
                  <a:lnTo>
                    <a:pt x="477" y="397"/>
                  </a:lnTo>
                  <a:lnTo>
                    <a:pt x="475" y="395"/>
                  </a:lnTo>
                  <a:lnTo>
                    <a:pt x="475" y="395"/>
                  </a:lnTo>
                  <a:lnTo>
                    <a:pt x="471" y="393"/>
                  </a:lnTo>
                  <a:lnTo>
                    <a:pt x="468" y="392"/>
                  </a:lnTo>
                  <a:lnTo>
                    <a:pt x="468" y="390"/>
                  </a:lnTo>
                  <a:lnTo>
                    <a:pt x="466" y="390"/>
                  </a:lnTo>
                  <a:lnTo>
                    <a:pt x="466" y="386"/>
                  </a:lnTo>
                  <a:lnTo>
                    <a:pt x="464" y="384"/>
                  </a:lnTo>
                  <a:lnTo>
                    <a:pt x="466" y="381"/>
                  </a:lnTo>
                  <a:lnTo>
                    <a:pt x="466" y="381"/>
                  </a:lnTo>
                  <a:lnTo>
                    <a:pt x="471" y="377"/>
                  </a:lnTo>
                  <a:lnTo>
                    <a:pt x="473" y="375"/>
                  </a:lnTo>
                  <a:lnTo>
                    <a:pt x="475" y="373"/>
                  </a:lnTo>
                  <a:lnTo>
                    <a:pt x="475" y="373"/>
                  </a:lnTo>
                  <a:lnTo>
                    <a:pt x="477" y="373"/>
                  </a:lnTo>
                  <a:lnTo>
                    <a:pt x="477" y="373"/>
                  </a:lnTo>
                  <a:lnTo>
                    <a:pt x="479" y="372"/>
                  </a:lnTo>
                  <a:lnTo>
                    <a:pt x="479" y="370"/>
                  </a:lnTo>
                  <a:lnTo>
                    <a:pt x="480" y="370"/>
                  </a:lnTo>
                  <a:lnTo>
                    <a:pt x="480" y="368"/>
                  </a:lnTo>
                  <a:lnTo>
                    <a:pt x="480" y="368"/>
                  </a:lnTo>
                  <a:lnTo>
                    <a:pt x="479" y="364"/>
                  </a:lnTo>
                  <a:lnTo>
                    <a:pt x="479" y="364"/>
                  </a:lnTo>
                  <a:lnTo>
                    <a:pt x="479" y="363"/>
                  </a:lnTo>
                  <a:lnTo>
                    <a:pt x="479" y="363"/>
                  </a:lnTo>
                  <a:lnTo>
                    <a:pt x="477" y="361"/>
                  </a:lnTo>
                  <a:lnTo>
                    <a:pt x="475" y="361"/>
                  </a:lnTo>
                  <a:lnTo>
                    <a:pt x="475" y="361"/>
                  </a:lnTo>
                  <a:lnTo>
                    <a:pt x="471" y="359"/>
                  </a:lnTo>
                  <a:lnTo>
                    <a:pt x="459" y="361"/>
                  </a:lnTo>
                  <a:lnTo>
                    <a:pt x="451" y="361"/>
                  </a:lnTo>
                  <a:lnTo>
                    <a:pt x="442" y="363"/>
                  </a:lnTo>
                  <a:lnTo>
                    <a:pt x="441" y="363"/>
                  </a:lnTo>
                  <a:lnTo>
                    <a:pt x="433" y="361"/>
                  </a:lnTo>
                  <a:lnTo>
                    <a:pt x="428" y="361"/>
                  </a:lnTo>
                  <a:lnTo>
                    <a:pt x="428" y="361"/>
                  </a:lnTo>
                  <a:lnTo>
                    <a:pt x="426" y="361"/>
                  </a:lnTo>
                  <a:lnTo>
                    <a:pt x="426" y="359"/>
                  </a:lnTo>
                  <a:lnTo>
                    <a:pt x="423" y="359"/>
                  </a:lnTo>
                  <a:lnTo>
                    <a:pt x="423" y="357"/>
                  </a:lnTo>
                  <a:lnTo>
                    <a:pt x="423" y="357"/>
                  </a:lnTo>
                  <a:lnTo>
                    <a:pt x="421" y="355"/>
                  </a:lnTo>
                  <a:lnTo>
                    <a:pt x="419" y="355"/>
                  </a:lnTo>
                  <a:lnTo>
                    <a:pt x="417" y="354"/>
                  </a:lnTo>
                  <a:lnTo>
                    <a:pt x="414" y="354"/>
                  </a:lnTo>
                  <a:lnTo>
                    <a:pt x="412" y="354"/>
                  </a:lnTo>
                  <a:lnTo>
                    <a:pt x="410" y="352"/>
                  </a:lnTo>
                  <a:lnTo>
                    <a:pt x="410" y="350"/>
                  </a:lnTo>
                  <a:lnTo>
                    <a:pt x="408" y="350"/>
                  </a:lnTo>
                  <a:lnTo>
                    <a:pt x="408" y="350"/>
                  </a:lnTo>
                  <a:lnTo>
                    <a:pt x="406" y="350"/>
                  </a:lnTo>
                  <a:lnTo>
                    <a:pt x="406" y="350"/>
                  </a:lnTo>
                  <a:lnTo>
                    <a:pt x="406" y="348"/>
                  </a:lnTo>
                  <a:lnTo>
                    <a:pt x="406" y="345"/>
                  </a:lnTo>
                  <a:lnTo>
                    <a:pt x="406" y="345"/>
                  </a:lnTo>
                  <a:lnTo>
                    <a:pt x="405" y="343"/>
                  </a:lnTo>
                  <a:lnTo>
                    <a:pt x="403" y="343"/>
                  </a:lnTo>
                  <a:lnTo>
                    <a:pt x="399" y="341"/>
                  </a:lnTo>
                  <a:lnTo>
                    <a:pt x="397" y="341"/>
                  </a:lnTo>
                  <a:lnTo>
                    <a:pt x="392" y="334"/>
                  </a:lnTo>
                  <a:lnTo>
                    <a:pt x="390" y="330"/>
                  </a:lnTo>
                  <a:lnTo>
                    <a:pt x="388" y="330"/>
                  </a:lnTo>
                  <a:lnTo>
                    <a:pt x="385" y="326"/>
                  </a:lnTo>
                  <a:lnTo>
                    <a:pt x="381" y="325"/>
                  </a:lnTo>
                  <a:lnTo>
                    <a:pt x="374" y="316"/>
                  </a:lnTo>
                  <a:lnTo>
                    <a:pt x="374" y="314"/>
                  </a:lnTo>
                  <a:lnTo>
                    <a:pt x="374" y="314"/>
                  </a:lnTo>
                  <a:lnTo>
                    <a:pt x="370" y="308"/>
                  </a:lnTo>
                  <a:lnTo>
                    <a:pt x="368" y="307"/>
                  </a:lnTo>
                  <a:lnTo>
                    <a:pt x="367" y="301"/>
                  </a:lnTo>
                  <a:lnTo>
                    <a:pt x="365" y="294"/>
                  </a:lnTo>
                  <a:lnTo>
                    <a:pt x="363" y="287"/>
                  </a:lnTo>
                  <a:lnTo>
                    <a:pt x="363" y="281"/>
                  </a:lnTo>
                  <a:lnTo>
                    <a:pt x="361" y="280"/>
                  </a:lnTo>
                  <a:lnTo>
                    <a:pt x="359" y="276"/>
                  </a:lnTo>
                  <a:lnTo>
                    <a:pt x="359" y="274"/>
                  </a:lnTo>
                  <a:lnTo>
                    <a:pt x="359" y="274"/>
                  </a:lnTo>
                  <a:lnTo>
                    <a:pt x="359" y="272"/>
                  </a:lnTo>
                  <a:lnTo>
                    <a:pt x="359" y="272"/>
                  </a:lnTo>
                  <a:lnTo>
                    <a:pt x="358" y="270"/>
                  </a:lnTo>
                  <a:lnTo>
                    <a:pt x="350" y="252"/>
                  </a:lnTo>
                  <a:lnTo>
                    <a:pt x="352" y="251"/>
                  </a:lnTo>
                  <a:lnTo>
                    <a:pt x="350" y="249"/>
                  </a:lnTo>
                  <a:lnTo>
                    <a:pt x="350" y="249"/>
                  </a:lnTo>
                  <a:lnTo>
                    <a:pt x="349" y="249"/>
                  </a:lnTo>
                  <a:lnTo>
                    <a:pt x="349" y="249"/>
                  </a:lnTo>
                  <a:lnTo>
                    <a:pt x="349" y="247"/>
                  </a:lnTo>
                  <a:lnTo>
                    <a:pt x="347" y="245"/>
                  </a:lnTo>
                  <a:lnTo>
                    <a:pt x="347" y="245"/>
                  </a:lnTo>
                  <a:lnTo>
                    <a:pt x="347" y="245"/>
                  </a:lnTo>
                  <a:lnTo>
                    <a:pt x="347" y="245"/>
                  </a:lnTo>
                  <a:lnTo>
                    <a:pt x="347" y="245"/>
                  </a:lnTo>
                  <a:lnTo>
                    <a:pt x="345" y="245"/>
                  </a:lnTo>
                  <a:lnTo>
                    <a:pt x="345" y="245"/>
                  </a:lnTo>
                  <a:lnTo>
                    <a:pt x="345" y="245"/>
                  </a:lnTo>
                  <a:lnTo>
                    <a:pt x="345" y="245"/>
                  </a:lnTo>
                  <a:lnTo>
                    <a:pt x="345" y="245"/>
                  </a:lnTo>
                  <a:lnTo>
                    <a:pt x="345" y="245"/>
                  </a:lnTo>
                  <a:lnTo>
                    <a:pt x="345" y="245"/>
                  </a:lnTo>
                  <a:lnTo>
                    <a:pt x="343" y="247"/>
                  </a:lnTo>
                  <a:lnTo>
                    <a:pt x="343" y="245"/>
                  </a:lnTo>
                  <a:lnTo>
                    <a:pt x="340" y="245"/>
                  </a:lnTo>
                  <a:lnTo>
                    <a:pt x="340" y="243"/>
                  </a:lnTo>
                  <a:lnTo>
                    <a:pt x="338" y="243"/>
                  </a:lnTo>
                  <a:lnTo>
                    <a:pt x="332" y="240"/>
                  </a:lnTo>
                  <a:lnTo>
                    <a:pt x="318" y="227"/>
                  </a:lnTo>
                  <a:lnTo>
                    <a:pt x="318" y="225"/>
                  </a:lnTo>
                  <a:lnTo>
                    <a:pt x="316" y="225"/>
                  </a:lnTo>
                  <a:lnTo>
                    <a:pt x="312" y="224"/>
                  </a:lnTo>
                  <a:lnTo>
                    <a:pt x="311" y="222"/>
                  </a:lnTo>
                  <a:lnTo>
                    <a:pt x="311" y="222"/>
                  </a:lnTo>
                  <a:lnTo>
                    <a:pt x="307" y="222"/>
                  </a:lnTo>
                  <a:lnTo>
                    <a:pt x="307" y="222"/>
                  </a:lnTo>
                  <a:lnTo>
                    <a:pt x="305" y="220"/>
                  </a:lnTo>
                  <a:lnTo>
                    <a:pt x="305" y="220"/>
                  </a:lnTo>
                  <a:lnTo>
                    <a:pt x="303" y="218"/>
                  </a:lnTo>
                  <a:lnTo>
                    <a:pt x="302" y="218"/>
                  </a:lnTo>
                  <a:lnTo>
                    <a:pt x="298" y="213"/>
                  </a:lnTo>
                  <a:lnTo>
                    <a:pt x="298" y="213"/>
                  </a:lnTo>
                  <a:lnTo>
                    <a:pt x="296" y="211"/>
                  </a:lnTo>
                  <a:lnTo>
                    <a:pt x="294" y="209"/>
                  </a:lnTo>
                  <a:lnTo>
                    <a:pt x="293" y="207"/>
                  </a:lnTo>
                  <a:lnTo>
                    <a:pt x="291" y="205"/>
                  </a:lnTo>
                  <a:lnTo>
                    <a:pt x="289" y="204"/>
                  </a:lnTo>
                  <a:lnTo>
                    <a:pt x="289" y="202"/>
                  </a:lnTo>
                  <a:lnTo>
                    <a:pt x="287" y="200"/>
                  </a:lnTo>
                  <a:lnTo>
                    <a:pt x="287" y="198"/>
                  </a:lnTo>
                  <a:lnTo>
                    <a:pt x="287" y="196"/>
                  </a:lnTo>
                  <a:lnTo>
                    <a:pt x="287" y="196"/>
                  </a:lnTo>
                  <a:lnTo>
                    <a:pt x="287" y="195"/>
                  </a:lnTo>
                  <a:lnTo>
                    <a:pt x="285" y="195"/>
                  </a:lnTo>
                  <a:lnTo>
                    <a:pt x="285" y="195"/>
                  </a:lnTo>
                  <a:lnTo>
                    <a:pt x="285" y="193"/>
                  </a:lnTo>
                  <a:lnTo>
                    <a:pt x="284" y="186"/>
                  </a:lnTo>
                  <a:lnTo>
                    <a:pt x="284" y="182"/>
                  </a:lnTo>
                  <a:lnTo>
                    <a:pt x="284" y="177"/>
                  </a:lnTo>
                  <a:lnTo>
                    <a:pt x="284" y="177"/>
                  </a:lnTo>
                  <a:lnTo>
                    <a:pt x="284" y="177"/>
                  </a:lnTo>
                  <a:lnTo>
                    <a:pt x="284" y="175"/>
                  </a:lnTo>
                  <a:lnTo>
                    <a:pt x="284" y="173"/>
                  </a:lnTo>
                  <a:lnTo>
                    <a:pt x="282" y="169"/>
                  </a:lnTo>
                  <a:lnTo>
                    <a:pt x="284" y="168"/>
                  </a:lnTo>
                  <a:lnTo>
                    <a:pt x="284" y="162"/>
                  </a:lnTo>
                  <a:lnTo>
                    <a:pt x="284" y="162"/>
                  </a:lnTo>
                  <a:lnTo>
                    <a:pt x="284" y="162"/>
                  </a:lnTo>
                  <a:lnTo>
                    <a:pt x="285" y="160"/>
                  </a:lnTo>
                  <a:lnTo>
                    <a:pt x="285" y="160"/>
                  </a:lnTo>
                  <a:lnTo>
                    <a:pt x="285" y="160"/>
                  </a:lnTo>
                  <a:lnTo>
                    <a:pt x="287" y="162"/>
                  </a:lnTo>
                  <a:lnTo>
                    <a:pt x="287" y="164"/>
                  </a:lnTo>
                  <a:lnTo>
                    <a:pt x="289" y="164"/>
                  </a:lnTo>
                  <a:lnTo>
                    <a:pt x="291" y="164"/>
                  </a:lnTo>
                  <a:lnTo>
                    <a:pt x="291" y="164"/>
                  </a:lnTo>
                  <a:lnTo>
                    <a:pt x="291" y="162"/>
                  </a:lnTo>
                  <a:lnTo>
                    <a:pt x="291" y="162"/>
                  </a:lnTo>
                  <a:lnTo>
                    <a:pt x="291" y="162"/>
                  </a:lnTo>
                  <a:lnTo>
                    <a:pt x="291" y="162"/>
                  </a:lnTo>
                  <a:lnTo>
                    <a:pt x="291" y="160"/>
                  </a:lnTo>
                  <a:lnTo>
                    <a:pt x="291" y="160"/>
                  </a:lnTo>
                  <a:lnTo>
                    <a:pt x="291" y="160"/>
                  </a:lnTo>
                  <a:lnTo>
                    <a:pt x="291" y="160"/>
                  </a:lnTo>
                  <a:lnTo>
                    <a:pt x="289" y="158"/>
                  </a:lnTo>
                  <a:lnTo>
                    <a:pt x="289" y="158"/>
                  </a:lnTo>
                  <a:lnTo>
                    <a:pt x="291" y="157"/>
                  </a:lnTo>
                  <a:lnTo>
                    <a:pt x="291" y="157"/>
                  </a:lnTo>
                  <a:lnTo>
                    <a:pt x="291" y="157"/>
                  </a:lnTo>
                  <a:lnTo>
                    <a:pt x="291" y="157"/>
                  </a:lnTo>
                  <a:lnTo>
                    <a:pt x="293" y="157"/>
                  </a:lnTo>
                  <a:lnTo>
                    <a:pt x="293" y="157"/>
                  </a:lnTo>
                  <a:lnTo>
                    <a:pt x="293" y="158"/>
                  </a:lnTo>
                  <a:lnTo>
                    <a:pt x="291" y="160"/>
                  </a:lnTo>
                  <a:lnTo>
                    <a:pt x="291" y="160"/>
                  </a:lnTo>
                  <a:lnTo>
                    <a:pt x="293" y="160"/>
                  </a:lnTo>
                  <a:lnTo>
                    <a:pt x="293" y="162"/>
                  </a:lnTo>
                  <a:lnTo>
                    <a:pt x="293" y="162"/>
                  </a:lnTo>
                  <a:lnTo>
                    <a:pt x="294" y="160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6" y="155"/>
                  </a:lnTo>
                  <a:lnTo>
                    <a:pt x="296" y="155"/>
                  </a:lnTo>
                  <a:lnTo>
                    <a:pt x="296" y="155"/>
                  </a:lnTo>
                  <a:lnTo>
                    <a:pt x="296" y="155"/>
                  </a:lnTo>
                  <a:lnTo>
                    <a:pt x="296" y="153"/>
                  </a:lnTo>
                  <a:lnTo>
                    <a:pt x="296" y="153"/>
                  </a:lnTo>
                  <a:lnTo>
                    <a:pt x="296" y="151"/>
                  </a:lnTo>
                  <a:lnTo>
                    <a:pt x="296" y="151"/>
                  </a:lnTo>
                  <a:lnTo>
                    <a:pt x="296" y="151"/>
                  </a:lnTo>
                  <a:lnTo>
                    <a:pt x="296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3" y="149"/>
                  </a:lnTo>
                  <a:lnTo>
                    <a:pt x="293" y="149"/>
                  </a:lnTo>
                  <a:lnTo>
                    <a:pt x="293" y="148"/>
                  </a:lnTo>
                  <a:lnTo>
                    <a:pt x="291" y="148"/>
                  </a:lnTo>
                  <a:lnTo>
                    <a:pt x="291" y="148"/>
                  </a:lnTo>
                  <a:lnTo>
                    <a:pt x="291" y="146"/>
                  </a:lnTo>
                  <a:lnTo>
                    <a:pt x="291" y="146"/>
                  </a:lnTo>
                  <a:lnTo>
                    <a:pt x="289" y="146"/>
                  </a:lnTo>
                  <a:lnTo>
                    <a:pt x="289" y="144"/>
                  </a:lnTo>
                  <a:lnTo>
                    <a:pt x="289" y="146"/>
                  </a:lnTo>
                  <a:lnTo>
                    <a:pt x="289" y="146"/>
                  </a:lnTo>
                  <a:lnTo>
                    <a:pt x="289" y="148"/>
                  </a:lnTo>
                  <a:lnTo>
                    <a:pt x="289" y="149"/>
                  </a:lnTo>
                  <a:lnTo>
                    <a:pt x="287" y="148"/>
                  </a:lnTo>
                  <a:lnTo>
                    <a:pt x="289" y="148"/>
                  </a:lnTo>
                  <a:lnTo>
                    <a:pt x="289" y="148"/>
                  </a:lnTo>
                  <a:lnTo>
                    <a:pt x="289" y="148"/>
                  </a:lnTo>
                  <a:lnTo>
                    <a:pt x="289" y="148"/>
                  </a:lnTo>
                  <a:lnTo>
                    <a:pt x="289" y="146"/>
                  </a:lnTo>
                  <a:lnTo>
                    <a:pt x="289" y="146"/>
                  </a:lnTo>
                  <a:lnTo>
                    <a:pt x="287" y="144"/>
                  </a:lnTo>
                  <a:lnTo>
                    <a:pt x="287" y="144"/>
                  </a:lnTo>
                  <a:lnTo>
                    <a:pt x="285" y="142"/>
                  </a:lnTo>
                  <a:lnTo>
                    <a:pt x="285" y="144"/>
                  </a:lnTo>
                  <a:lnTo>
                    <a:pt x="287" y="144"/>
                  </a:lnTo>
                  <a:lnTo>
                    <a:pt x="287" y="144"/>
                  </a:lnTo>
                  <a:lnTo>
                    <a:pt x="285" y="144"/>
                  </a:lnTo>
                  <a:lnTo>
                    <a:pt x="285" y="142"/>
                  </a:lnTo>
                  <a:lnTo>
                    <a:pt x="285" y="142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5" y="140"/>
                  </a:lnTo>
                  <a:lnTo>
                    <a:pt x="285" y="142"/>
                  </a:lnTo>
                  <a:lnTo>
                    <a:pt x="285" y="142"/>
                  </a:lnTo>
                  <a:lnTo>
                    <a:pt x="287" y="142"/>
                  </a:lnTo>
                  <a:lnTo>
                    <a:pt x="285" y="140"/>
                  </a:lnTo>
                  <a:lnTo>
                    <a:pt x="285" y="137"/>
                  </a:lnTo>
                  <a:lnTo>
                    <a:pt x="285" y="137"/>
                  </a:lnTo>
                  <a:lnTo>
                    <a:pt x="285" y="135"/>
                  </a:lnTo>
                  <a:lnTo>
                    <a:pt x="285" y="135"/>
                  </a:lnTo>
                  <a:lnTo>
                    <a:pt x="285" y="133"/>
                  </a:lnTo>
                  <a:lnTo>
                    <a:pt x="285" y="133"/>
                  </a:lnTo>
                  <a:lnTo>
                    <a:pt x="284" y="135"/>
                  </a:lnTo>
                  <a:lnTo>
                    <a:pt x="284" y="135"/>
                  </a:lnTo>
                  <a:lnTo>
                    <a:pt x="284" y="135"/>
                  </a:lnTo>
                  <a:lnTo>
                    <a:pt x="284" y="135"/>
                  </a:lnTo>
                  <a:lnTo>
                    <a:pt x="284" y="135"/>
                  </a:lnTo>
                  <a:lnTo>
                    <a:pt x="282" y="135"/>
                  </a:lnTo>
                  <a:lnTo>
                    <a:pt x="282" y="135"/>
                  </a:lnTo>
                  <a:lnTo>
                    <a:pt x="282" y="133"/>
                  </a:lnTo>
                  <a:lnTo>
                    <a:pt x="282" y="133"/>
                  </a:lnTo>
                  <a:lnTo>
                    <a:pt x="280" y="133"/>
                  </a:lnTo>
                  <a:lnTo>
                    <a:pt x="280" y="131"/>
                  </a:lnTo>
                  <a:lnTo>
                    <a:pt x="280" y="131"/>
                  </a:lnTo>
                  <a:lnTo>
                    <a:pt x="282" y="131"/>
                  </a:lnTo>
                  <a:lnTo>
                    <a:pt x="282" y="130"/>
                  </a:lnTo>
                  <a:lnTo>
                    <a:pt x="282" y="130"/>
                  </a:lnTo>
                  <a:lnTo>
                    <a:pt x="282" y="128"/>
                  </a:lnTo>
                  <a:lnTo>
                    <a:pt x="280" y="128"/>
                  </a:lnTo>
                  <a:lnTo>
                    <a:pt x="280" y="130"/>
                  </a:lnTo>
                  <a:lnTo>
                    <a:pt x="280" y="130"/>
                  </a:lnTo>
                  <a:lnTo>
                    <a:pt x="280" y="131"/>
                  </a:lnTo>
                  <a:lnTo>
                    <a:pt x="280" y="131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80" y="128"/>
                  </a:lnTo>
                  <a:lnTo>
                    <a:pt x="280" y="128"/>
                  </a:lnTo>
                  <a:lnTo>
                    <a:pt x="282" y="128"/>
                  </a:lnTo>
                  <a:lnTo>
                    <a:pt x="282" y="126"/>
                  </a:lnTo>
                  <a:lnTo>
                    <a:pt x="282" y="126"/>
                  </a:lnTo>
                  <a:lnTo>
                    <a:pt x="282" y="124"/>
                  </a:lnTo>
                  <a:lnTo>
                    <a:pt x="282" y="124"/>
                  </a:lnTo>
                  <a:lnTo>
                    <a:pt x="282" y="124"/>
                  </a:lnTo>
                  <a:lnTo>
                    <a:pt x="282" y="124"/>
                  </a:lnTo>
                  <a:lnTo>
                    <a:pt x="282" y="122"/>
                  </a:lnTo>
                  <a:lnTo>
                    <a:pt x="282" y="122"/>
                  </a:lnTo>
                  <a:lnTo>
                    <a:pt x="282" y="122"/>
                  </a:lnTo>
                  <a:lnTo>
                    <a:pt x="284" y="121"/>
                  </a:lnTo>
                  <a:lnTo>
                    <a:pt x="282" y="121"/>
                  </a:lnTo>
                  <a:lnTo>
                    <a:pt x="282" y="121"/>
                  </a:lnTo>
                  <a:lnTo>
                    <a:pt x="282" y="119"/>
                  </a:lnTo>
                  <a:lnTo>
                    <a:pt x="284" y="119"/>
                  </a:lnTo>
                  <a:lnTo>
                    <a:pt x="284" y="119"/>
                  </a:lnTo>
                  <a:lnTo>
                    <a:pt x="284" y="119"/>
                  </a:lnTo>
                  <a:lnTo>
                    <a:pt x="284" y="117"/>
                  </a:lnTo>
                  <a:lnTo>
                    <a:pt x="285" y="115"/>
                  </a:lnTo>
                  <a:lnTo>
                    <a:pt x="287" y="113"/>
                  </a:lnTo>
                  <a:lnTo>
                    <a:pt x="289" y="113"/>
                  </a:lnTo>
                  <a:lnTo>
                    <a:pt x="289" y="115"/>
                  </a:lnTo>
                  <a:lnTo>
                    <a:pt x="289" y="115"/>
                  </a:lnTo>
                  <a:lnTo>
                    <a:pt x="291" y="115"/>
                  </a:lnTo>
                  <a:lnTo>
                    <a:pt x="291" y="113"/>
                  </a:lnTo>
                  <a:lnTo>
                    <a:pt x="291" y="113"/>
                  </a:lnTo>
                  <a:lnTo>
                    <a:pt x="289" y="113"/>
                  </a:lnTo>
                  <a:lnTo>
                    <a:pt x="289" y="112"/>
                  </a:lnTo>
                  <a:lnTo>
                    <a:pt x="291" y="112"/>
                  </a:lnTo>
                  <a:lnTo>
                    <a:pt x="291" y="113"/>
                  </a:lnTo>
                  <a:lnTo>
                    <a:pt x="291" y="113"/>
                  </a:lnTo>
                  <a:lnTo>
                    <a:pt x="291" y="112"/>
                  </a:lnTo>
                  <a:lnTo>
                    <a:pt x="293" y="113"/>
                  </a:lnTo>
                  <a:lnTo>
                    <a:pt x="293" y="113"/>
                  </a:lnTo>
                  <a:lnTo>
                    <a:pt x="293" y="113"/>
                  </a:lnTo>
                  <a:lnTo>
                    <a:pt x="293" y="112"/>
                  </a:lnTo>
                  <a:lnTo>
                    <a:pt x="293" y="110"/>
                  </a:lnTo>
                  <a:lnTo>
                    <a:pt x="294" y="110"/>
                  </a:lnTo>
                  <a:lnTo>
                    <a:pt x="296" y="108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6" y="112"/>
                  </a:lnTo>
                  <a:lnTo>
                    <a:pt x="298" y="112"/>
                  </a:lnTo>
                  <a:lnTo>
                    <a:pt x="298" y="110"/>
                  </a:lnTo>
                  <a:lnTo>
                    <a:pt x="300" y="110"/>
                  </a:lnTo>
                  <a:lnTo>
                    <a:pt x="298" y="112"/>
                  </a:lnTo>
                  <a:lnTo>
                    <a:pt x="298" y="112"/>
                  </a:lnTo>
                  <a:lnTo>
                    <a:pt x="298" y="112"/>
                  </a:lnTo>
                  <a:lnTo>
                    <a:pt x="296" y="112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5"/>
                  </a:lnTo>
                  <a:lnTo>
                    <a:pt x="294" y="115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3" y="113"/>
                  </a:lnTo>
                  <a:lnTo>
                    <a:pt x="294" y="115"/>
                  </a:lnTo>
                  <a:lnTo>
                    <a:pt x="294" y="115"/>
                  </a:lnTo>
                  <a:lnTo>
                    <a:pt x="293" y="115"/>
                  </a:lnTo>
                  <a:lnTo>
                    <a:pt x="293" y="115"/>
                  </a:lnTo>
                  <a:lnTo>
                    <a:pt x="293" y="113"/>
                  </a:lnTo>
                  <a:lnTo>
                    <a:pt x="293" y="113"/>
                  </a:lnTo>
                  <a:lnTo>
                    <a:pt x="293" y="115"/>
                  </a:lnTo>
                  <a:lnTo>
                    <a:pt x="293" y="115"/>
                  </a:lnTo>
                  <a:lnTo>
                    <a:pt x="293" y="115"/>
                  </a:lnTo>
                  <a:lnTo>
                    <a:pt x="291" y="115"/>
                  </a:lnTo>
                  <a:lnTo>
                    <a:pt x="293" y="115"/>
                  </a:lnTo>
                  <a:lnTo>
                    <a:pt x="291" y="117"/>
                  </a:lnTo>
                  <a:lnTo>
                    <a:pt x="291" y="117"/>
                  </a:lnTo>
                  <a:lnTo>
                    <a:pt x="291" y="119"/>
                  </a:lnTo>
                  <a:lnTo>
                    <a:pt x="291" y="119"/>
                  </a:lnTo>
                  <a:lnTo>
                    <a:pt x="293" y="117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6" y="115"/>
                  </a:lnTo>
                  <a:lnTo>
                    <a:pt x="300" y="113"/>
                  </a:lnTo>
                  <a:lnTo>
                    <a:pt x="309" y="110"/>
                  </a:lnTo>
                  <a:lnTo>
                    <a:pt x="318" y="104"/>
                  </a:lnTo>
                  <a:lnTo>
                    <a:pt x="320" y="104"/>
                  </a:lnTo>
                  <a:lnTo>
                    <a:pt x="323" y="104"/>
                  </a:lnTo>
                  <a:lnTo>
                    <a:pt x="325" y="104"/>
                  </a:lnTo>
                  <a:lnTo>
                    <a:pt x="325" y="102"/>
                  </a:lnTo>
                  <a:lnTo>
                    <a:pt x="325" y="102"/>
                  </a:lnTo>
                  <a:lnTo>
                    <a:pt x="325" y="102"/>
                  </a:lnTo>
                  <a:lnTo>
                    <a:pt x="327" y="101"/>
                  </a:lnTo>
                  <a:lnTo>
                    <a:pt x="327" y="99"/>
                  </a:lnTo>
                  <a:lnTo>
                    <a:pt x="325" y="101"/>
                  </a:lnTo>
                  <a:lnTo>
                    <a:pt x="325" y="101"/>
                  </a:lnTo>
                  <a:lnTo>
                    <a:pt x="323" y="101"/>
                  </a:lnTo>
                  <a:lnTo>
                    <a:pt x="323" y="99"/>
                  </a:lnTo>
                  <a:lnTo>
                    <a:pt x="323" y="97"/>
                  </a:lnTo>
                  <a:lnTo>
                    <a:pt x="325" y="97"/>
                  </a:lnTo>
                  <a:lnTo>
                    <a:pt x="327" y="97"/>
                  </a:lnTo>
                  <a:lnTo>
                    <a:pt x="327" y="97"/>
                  </a:lnTo>
                  <a:lnTo>
                    <a:pt x="325" y="95"/>
                  </a:lnTo>
                  <a:lnTo>
                    <a:pt x="325" y="95"/>
                  </a:lnTo>
                  <a:lnTo>
                    <a:pt x="325" y="95"/>
                  </a:lnTo>
                  <a:lnTo>
                    <a:pt x="327" y="95"/>
                  </a:lnTo>
                  <a:lnTo>
                    <a:pt x="327" y="95"/>
                  </a:lnTo>
                  <a:lnTo>
                    <a:pt x="327" y="95"/>
                  </a:lnTo>
                  <a:lnTo>
                    <a:pt x="327" y="95"/>
                  </a:lnTo>
                  <a:lnTo>
                    <a:pt x="329" y="95"/>
                  </a:lnTo>
                  <a:lnTo>
                    <a:pt x="329" y="95"/>
                  </a:lnTo>
                  <a:lnTo>
                    <a:pt x="330" y="93"/>
                  </a:lnTo>
                  <a:lnTo>
                    <a:pt x="330" y="93"/>
                  </a:lnTo>
                  <a:lnTo>
                    <a:pt x="330" y="93"/>
                  </a:lnTo>
                  <a:lnTo>
                    <a:pt x="332" y="95"/>
                  </a:lnTo>
                  <a:lnTo>
                    <a:pt x="332" y="95"/>
                  </a:lnTo>
                  <a:lnTo>
                    <a:pt x="338" y="97"/>
                  </a:lnTo>
                  <a:lnTo>
                    <a:pt x="338" y="97"/>
                  </a:lnTo>
                  <a:lnTo>
                    <a:pt x="340" y="97"/>
                  </a:lnTo>
                  <a:lnTo>
                    <a:pt x="341" y="97"/>
                  </a:lnTo>
                  <a:lnTo>
                    <a:pt x="341" y="99"/>
                  </a:lnTo>
                  <a:lnTo>
                    <a:pt x="341" y="99"/>
                  </a:lnTo>
                  <a:lnTo>
                    <a:pt x="341" y="101"/>
                  </a:lnTo>
                  <a:lnTo>
                    <a:pt x="340" y="101"/>
                  </a:lnTo>
                  <a:lnTo>
                    <a:pt x="340" y="101"/>
                  </a:lnTo>
                  <a:lnTo>
                    <a:pt x="340" y="101"/>
                  </a:lnTo>
                  <a:lnTo>
                    <a:pt x="341" y="101"/>
                  </a:lnTo>
                  <a:lnTo>
                    <a:pt x="343" y="101"/>
                  </a:lnTo>
                  <a:lnTo>
                    <a:pt x="343" y="99"/>
                  </a:lnTo>
                  <a:lnTo>
                    <a:pt x="345" y="99"/>
                  </a:lnTo>
                  <a:lnTo>
                    <a:pt x="345" y="99"/>
                  </a:lnTo>
                  <a:lnTo>
                    <a:pt x="345" y="99"/>
                  </a:lnTo>
                  <a:lnTo>
                    <a:pt x="347" y="97"/>
                  </a:lnTo>
                  <a:lnTo>
                    <a:pt x="349" y="97"/>
                  </a:lnTo>
                  <a:lnTo>
                    <a:pt x="347" y="97"/>
                  </a:lnTo>
                  <a:lnTo>
                    <a:pt x="347" y="95"/>
                  </a:lnTo>
                  <a:lnTo>
                    <a:pt x="347" y="93"/>
                  </a:lnTo>
                  <a:lnTo>
                    <a:pt x="349" y="93"/>
                  </a:lnTo>
                  <a:lnTo>
                    <a:pt x="349" y="93"/>
                  </a:lnTo>
                  <a:lnTo>
                    <a:pt x="352" y="95"/>
                  </a:lnTo>
                  <a:lnTo>
                    <a:pt x="352" y="95"/>
                  </a:lnTo>
                  <a:lnTo>
                    <a:pt x="356" y="99"/>
                  </a:lnTo>
                  <a:lnTo>
                    <a:pt x="358" y="101"/>
                  </a:lnTo>
                  <a:lnTo>
                    <a:pt x="358" y="102"/>
                  </a:lnTo>
                  <a:lnTo>
                    <a:pt x="358" y="102"/>
                  </a:lnTo>
                  <a:lnTo>
                    <a:pt x="358" y="102"/>
                  </a:lnTo>
                  <a:lnTo>
                    <a:pt x="359" y="104"/>
                  </a:lnTo>
                  <a:lnTo>
                    <a:pt x="359" y="104"/>
                  </a:lnTo>
                  <a:lnTo>
                    <a:pt x="359" y="106"/>
                  </a:lnTo>
                  <a:lnTo>
                    <a:pt x="361" y="106"/>
                  </a:lnTo>
                  <a:lnTo>
                    <a:pt x="359" y="106"/>
                  </a:lnTo>
                  <a:lnTo>
                    <a:pt x="358" y="106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6" y="108"/>
                  </a:lnTo>
                  <a:lnTo>
                    <a:pt x="358" y="108"/>
                  </a:lnTo>
                  <a:lnTo>
                    <a:pt x="359" y="108"/>
                  </a:lnTo>
                  <a:lnTo>
                    <a:pt x="363" y="108"/>
                  </a:lnTo>
                  <a:lnTo>
                    <a:pt x="363" y="106"/>
                  </a:lnTo>
                  <a:lnTo>
                    <a:pt x="365" y="106"/>
                  </a:lnTo>
                  <a:lnTo>
                    <a:pt x="365" y="104"/>
                  </a:lnTo>
                  <a:lnTo>
                    <a:pt x="365" y="104"/>
                  </a:lnTo>
                  <a:lnTo>
                    <a:pt x="365" y="104"/>
                  </a:lnTo>
                  <a:lnTo>
                    <a:pt x="365" y="104"/>
                  </a:lnTo>
                  <a:lnTo>
                    <a:pt x="363" y="104"/>
                  </a:lnTo>
                  <a:lnTo>
                    <a:pt x="363" y="102"/>
                  </a:lnTo>
                  <a:lnTo>
                    <a:pt x="359" y="97"/>
                  </a:lnTo>
                  <a:lnTo>
                    <a:pt x="356" y="95"/>
                  </a:lnTo>
                  <a:lnTo>
                    <a:pt x="356" y="95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0" y="93"/>
                  </a:lnTo>
                  <a:lnTo>
                    <a:pt x="349" y="92"/>
                  </a:lnTo>
                  <a:lnTo>
                    <a:pt x="349" y="92"/>
                  </a:lnTo>
                  <a:lnTo>
                    <a:pt x="349" y="90"/>
                  </a:lnTo>
                  <a:lnTo>
                    <a:pt x="349" y="88"/>
                  </a:lnTo>
                  <a:lnTo>
                    <a:pt x="350" y="84"/>
                  </a:lnTo>
                  <a:lnTo>
                    <a:pt x="350" y="83"/>
                  </a:lnTo>
                  <a:lnTo>
                    <a:pt x="350" y="83"/>
                  </a:lnTo>
                  <a:lnTo>
                    <a:pt x="350" y="81"/>
                  </a:lnTo>
                  <a:lnTo>
                    <a:pt x="350" y="79"/>
                  </a:lnTo>
                  <a:lnTo>
                    <a:pt x="350" y="79"/>
                  </a:lnTo>
                  <a:lnTo>
                    <a:pt x="349" y="79"/>
                  </a:lnTo>
                  <a:lnTo>
                    <a:pt x="347" y="81"/>
                  </a:lnTo>
                  <a:lnTo>
                    <a:pt x="345" y="81"/>
                  </a:lnTo>
                  <a:lnTo>
                    <a:pt x="345" y="79"/>
                  </a:lnTo>
                  <a:lnTo>
                    <a:pt x="345" y="79"/>
                  </a:lnTo>
                  <a:lnTo>
                    <a:pt x="345" y="79"/>
                  </a:lnTo>
                  <a:lnTo>
                    <a:pt x="345" y="79"/>
                  </a:lnTo>
                  <a:lnTo>
                    <a:pt x="345" y="79"/>
                  </a:lnTo>
                  <a:lnTo>
                    <a:pt x="343" y="79"/>
                  </a:lnTo>
                  <a:lnTo>
                    <a:pt x="343" y="77"/>
                  </a:lnTo>
                  <a:lnTo>
                    <a:pt x="343" y="77"/>
                  </a:lnTo>
                  <a:lnTo>
                    <a:pt x="345" y="77"/>
                  </a:lnTo>
                  <a:lnTo>
                    <a:pt x="345" y="75"/>
                  </a:lnTo>
                  <a:lnTo>
                    <a:pt x="345" y="75"/>
                  </a:lnTo>
                  <a:lnTo>
                    <a:pt x="345" y="75"/>
                  </a:lnTo>
                  <a:lnTo>
                    <a:pt x="345" y="75"/>
                  </a:lnTo>
                  <a:lnTo>
                    <a:pt x="345" y="74"/>
                  </a:lnTo>
                  <a:lnTo>
                    <a:pt x="347" y="74"/>
                  </a:lnTo>
                  <a:lnTo>
                    <a:pt x="350" y="70"/>
                  </a:lnTo>
                  <a:lnTo>
                    <a:pt x="352" y="66"/>
                  </a:lnTo>
                  <a:lnTo>
                    <a:pt x="352" y="66"/>
                  </a:lnTo>
                  <a:lnTo>
                    <a:pt x="352" y="65"/>
                  </a:lnTo>
                  <a:lnTo>
                    <a:pt x="352" y="65"/>
                  </a:lnTo>
                  <a:lnTo>
                    <a:pt x="350" y="65"/>
                  </a:lnTo>
                  <a:lnTo>
                    <a:pt x="349" y="65"/>
                  </a:lnTo>
                  <a:lnTo>
                    <a:pt x="349" y="65"/>
                  </a:lnTo>
                  <a:lnTo>
                    <a:pt x="347" y="63"/>
                  </a:lnTo>
                  <a:lnTo>
                    <a:pt x="345" y="63"/>
                  </a:lnTo>
                  <a:lnTo>
                    <a:pt x="345" y="63"/>
                  </a:lnTo>
                  <a:lnTo>
                    <a:pt x="343" y="63"/>
                  </a:lnTo>
                  <a:lnTo>
                    <a:pt x="341" y="63"/>
                  </a:lnTo>
                  <a:lnTo>
                    <a:pt x="341" y="61"/>
                  </a:lnTo>
                  <a:lnTo>
                    <a:pt x="341" y="63"/>
                  </a:lnTo>
                  <a:lnTo>
                    <a:pt x="341" y="63"/>
                  </a:lnTo>
                  <a:lnTo>
                    <a:pt x="340" y="63"/>
                  </a:lnTo>
                  <a:lnTo>
                    <a:pt x="340" y="61"/>
                  </a:lnTo>
                  <a:lnTo>
                    <a:pt x="340" y="61"/>
                  </a:lnTo>
                  <a:lnTo>
                    <a:pt x="340" y="61"/>
                  </a:lnTo>
                  <a:lnTo>
                    <a:pt x="340" y="61"/>
                  </a:lnTo>
                  <a:lnTo>
                    <a:pt x="340" y="59"/>
                  </a:lnTo>
                  <a:lnTo>
                    <a:pt x="340" y="57"/>
                  </a:lnTo>
                  <a:lnTo>
                    <a:pt x="338" y="57"/>
                  </a:lnTo>
                  <a:lnTo>
                    <a:pt x="340" y="56"/>
                  </a:lnTo>
                  <a:lnTo>
                    <a:pt x="340" y="56"/>
                  </a:lnTo>
                  <a:lnTo>
                    <a:pt x="341" y="56"/>
                  </a:lnTo>
                  <a:lnTo>
                    <a:pt x="341" y="54"/>
                  </a:lnTo>
                  <a:lnTo>
                    <a:pt x="341" y="52"/>
                  </a:lnTo>
                  <a:lnTo>
                    <a:pt x="343" y="52"/>
                  </a:lnTo>
                  <a:lnTo>
                    <a:pt x="343" y="52"/>
                  </a:lnTo>
                  <a:lnTo>
                    <a:pt x="345" y="52"/>
                  </a:lnTo>
                  <a:lnTo>
                    <a:pt x="347" y="50"/>
                  </a:lnTo>
                  <a:lnTo>
                    <a:pt x="349" y="48"/>
                  </a:lnTo>
                  <a:lnTo>
                    <a:pt x="349" y="47"/>
                  </a:lnTo>
                  <a:lnTo>
                    <a:pt x="350" y="47"/>
                  </a:lnTo>
                  <a:lnTo>
                    <a:pt x="352" y="47"/>
                  </a:lnTo>
                  <a:lnTo>
                    <a:pt x="352" y="47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3"/>
                  </a:lnTo>
                  <a:lnTo>
                    <a:pt x="356" y="43"/>
                  </a:lnTo>
                  <a:lnTo>
                    <a:pt x="356" y="41"/>
                  </a:lnTo>
                  <a:lnTo>
                    <a:pt x="356" y="41"/>
                  </a:lnTo>
                  <a:lnTo>
                    <a:pt x="356" y="41"/>
                  </a:lnTo>
                  <a:lnTo>
                    <a:pt x="354" y="41"/>
                  </a:lnTo>
                  <a:lnTo>
                    <a:pt x="354" y="41"/>
                  </a:lnTo>
                  <a:lnTo>
                    <a:pt x="347" y="39"/>
                  </a:lnTo>
                  <a:lnTo>
                    <a:pt x="345" y="39"/>
                  </a:lnTo>
                  <a:lnTo>
                    <a:pt x="345" y="39"/>
                  </a:lnTo>
                  <a:lnTo>
                    <a:pt x="345" y="37"/>
                  </a:lnTo>
                  <a:lnTo>
                    <a:pt x="343" y="37"/>
                  </a:lnTo>
                  <a:lnTo>
                    <a:pt x="341" y="37"/>
                  </a:lnTo>
                  <a:lnTo>
                    <a:pt x="340" y="37"/>
                  </a:lnTo>
                  <a:lnTo>
                    <a:pt x="334" y="37"/>
                  </a:lnTo>
                  <a:lnTo>
                    <a:pt x="332" y="37"/>
                  </a:lnTo>
                  <a:lnTo>
                    <a:pt x="330" y="37"/>
                  </a:lnTo>
                  <a:lnTo>
                    <a:pt x="327" y="36"/>
                  </a:lnTo>
                  <a:lnTo>
                    <a:pt x="323" y="36"/>
                  </a:lnTo>
                  <a:lnTo>
                    <a:pt x="312" y="34"/>
                  </a:lnTo>
                  <a:lnTo>
                    <a:pt x="309" y="32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05" y="32"/>
                  </a:lnTo>
                  <a:lnTo>
                    <a:pt x="305" y="32"/>
                  </a:lnTo>
                  <a:lnTo>
                    <a:pt x="305" y="32"/>
                  </a:lnTo>
                  <a:lnTo>
                    <a:pt x="303" y="32"/>
                  </a:lnTo>
                  <a:lnTo>
                    <a:pt x="303" y="30"/>
                  </a:lnTo>
                  <a:lnTo>
                    <a:pt x="303" y="30"/>
                  </a:lnTo>
                  <a:lnTo>
                    <a:pt x="302" y="30"/>
                  </a:lnTo>
                  <a:lnTo>
                    <a:pt x="298" y="30"/>
                  </a:lnTo>
                  <a:lnTo>
                    <a:pt x="298" y="30"/>
                  </a:lnTo>
                  <a:lnTo>
                    <a:pt x="296" y="30"/>
                  </a:lnTo>
                  <a:lnTo>
                    <a:pt x="294" y="30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1" y="28"/>
                  </a:lnTo>
                  <a:lnTo>
                    <a:pt x="289" y="27"/>
                  </a:lnTo>
                  <a:lnTo>
                    <a:pt x="287" y="25"/>
                  </a:lnTo>
                  <a:lnTo>
                    <a:pt x="287" y="23"/>
                  </a:lnTo>
                  <a:lnTo>
                    <a:pt x="287" y="23"/>
                  </a:lnTo>
                  <a:lnTo>
                    <a:pt x="285" y="21"/>
                  </a:lnTo>
                  <a:lnTo>
                    <a:pt x="284" y="21"/>
                  </a:lnTo>
                  <a:lnTo>
                    <a:pt x="284" y="21"/>
                  </a:lnTo>
                  <a:lnTo>
                    <a:pt x="284" y="21"/>
                  </a:lnTo>
                  <a:lnTo>
                    <a:pt x="284" y="21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4" y="18"/>
                  </a:lnTo>
                  <a:lnTo>
                    <a:pt x="284" y="18"/>
                  </a:lnTo>
                  <a:lnTo>
                    <a:pt x="284" y="18"/>
                  </a:lnTo>
                  <a:lnTo>
                    <a:pt x="284" y="16"/>
                  </a:lnTo>
                  <a:lnTo>
                    <a:pt x="282" y="14"/>
                  </a:lnTo>
                  <a:lnTo>
                    <a:pt x="280" y="14"/>
                  </a:lnTo>
                  <a:lnTo>
                    <a:pt x="280" y="14"/>
                  </a:lnTo>
                  <a:lnTo>
                    <a:pt x="280" y="14"/>
                  </a:lnTo>
                  <a:lnTo>
                    <a:pt x="280" y="14"/>
                  </a:lnTo>
                  <a:lnTo>
                    <a:pt x="278" y="12"/>
                  </a:lnTo>
                  <a:lnTo>
                    <a:pt x="278" y="12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6" y="10"/>
                  </a:lnTo>
                  <a:lnTo>
                    <a:pt x="276" y="10"/>
                  </a:lnTo>
                  <a:lnTo>
                    <a:pt x="276" y="9"/>
                  </a:lnTo>
                  <a:lnTo>
                    <a:pt x="276" y="9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6" y="5"/>
                  </a:lnTo>
                  <a:lnTo>
                    <a:pt x="280" y="3"/>
                  </a:lnTo>
                  <a:lnTo>
                    <a:pt x="280" y="1"/>
                  </a:lnTo>
                  <a:lnTo>
                    <a:pt x="280" y="1"/>
                  </a:lnTo>
                  <a:lnTo>
                    <a:pt x="280" y="0"/>
                  </a:lnTo>
                  <a:lnTo>
                    <a:pt x="280" y="0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71" y="3"/>
                  </a:lnTo>
                  <a:lnTo>
                    <a:pt x="267" y="3"/>
                  </a:lnTo>
                  <a:lnTo>
                    <a:pt x="265" y="3"/>
                  </a:lnTo>
                  <a:lnTo>
                    <a:pt x="264" y="5"/>
                  </a:lnTo>
                  <a:lnTo>
                    <a:pt x="262" y="7"/>
                  </a:lnTo>
                  <a:lnTo>
                    <a:pt x="258" y="7"/>
                  </a:lnTo>
                  <a:lnTo>
                    <a:pt x="258" y="7"/>
                  </a:lnTo>
                  <a:lnTo>
                    <a:pt x="256" y="7"/>
                  </a:lnTo>
                  <a:lnTo>
                    <a:pt x="256" y="9"/>
                  </a:lnTo>
                  <a:lnTo>
                    <a:pt x="256" y="7"/>
                  </a:lnTo>
                  <a:lnTo>
                    <a:pt x="255" y="7"/>
                  </a:lnTo>
                  <a:lnTo>
                    <a:pt x="253" y="7"/>
                  </a:lnTo>
                  <a:lnTo>
                    <a:pt x="253" y="7"/>
                  </a:lnTo>
                  <a:lnTo>
                    <a:pt x="253" y="7"/>
                  </a:lnTo>
                  <a:lnTo>
                    <a:pt x="253" y="7"/>
                  </a:lnTo>
                  <a:lnTo>
                    <a:pt x="253" y="7"/>
                  </a:lnTo>
                  <a:lnTo>
                    <a:pt x="249" y="5"/>
                  </a:lnTo>
                  <a:lnTo>
                    <a:pt x="249" y="5"/>
                  </a:lnTo>
                  <a:lnTo>
                    <a:pt x="247" y="7"/>
                  </a:lnTo>
                  <a:lnTo>
                    <a:pt x="247" y="7"/>
                  </a:lnTo>
                  <a:lnTo>
                    <a:pt x="247" y="7"/>
                  </a:lnTo>
                  <a:lnTo>
                    <a:pt x="247" y="7"/>
                  </a:lnTo>
                  <a:lnTo>
                    <a:pt x="247" y="7"/>
                  </a:lnTo>
                  <a:lnTo>
                    <a:pt x="246" y="7"/>
                  </a:lnTo>
                  <a:lnTo>
                    <a:pt x="246" y="7"/>
                  </a:lnTo>
                  <a:lnTo>
                    <a:pt x="246" y="7"/>
                  </a:lnTo>
                  <a:lnTo>
                    <a:pt x="246" y="5"/>
                  </a:lnTo>
                  <a:lnTo>
                    <a:pt x="246" y="5"/>
                  </a:lnTo>
                  <a:lnTo>
                    <a:pt x="244" y="5"/>
                  </a:lnTo>
                  <a:lnTo>
                    <a:pt x="244" y="5"/>
                  </a:lnTo>
                  <a:lnTo>
                    <a:pt x="244" y="5"/>
                  </a:lnTo>
                  <a:lnTo>
                    <a:pt x="242" y="5"/>
                  </a:lnTo>
                  <a:lnTo>
                    <a:pt x="242" y="7"/>
                  </a:lnTo>
                  <a:lnTo>
                    <a:pt x="242" y="7"/>
                  </a:lnTo>
                  <a:lnTo>
                    <a:pt x="240" y="9"/>
                  </a:lnTo>
                  <a:lnTo>
                    <a:pt x="238" y="9"/>
                  </a:lnTo>
                  <a:lnTo>
                    <a:pt x="237" y="7"/>
                  </a:lnTo>
                  <a:lnTo>
                    <a:pt x="235" y="7"/>
                  </a:lnTo>
                  <a:lnTo>
                    <a:pt x="233" y="7"/>
                  </a:lnTo>
                  <a:lnTo>
                    <a:pt x="229" y="9"/>
                  </a:lnTo>
                  <a:lnTo>
                    <a:pt x="228" y="9"/>
                  </a:lnTo>
                  <a:lnTo>
                    <a:pt x="224" y="12"/>
                  </a:lnTo>
                  <a:lnTo>
                    <a:pt x="224" y="12"/>
                  </a:lnTo>
                  <a:lnTo>
                    <a:pt x="224" y="16"/>
                  </a:lnTo>
                  <a:lnTo>
                    <a:pt x="222" y="18"/>
                  </a:lnTo>
                  <a:lnTo>
                    <a:pt x="222" y="18"/>
                  </a:lnTo>
                  <a:lnTo>
                    <a:pt x="222" y="19"/>
                  </a:lnTo>
                  <a:lnTo>
                    <a:pt x="222" y="19"/>
                  </a:lnTo>
                  <a:lnTo>
                    <a:pt x="222" y="19"/>
                  </a:lnTo>
                  <a:lnTo>
                    <a:pt x="222" y="19"/>
                  </a:lnTo>
                  <a:lnTo>
                    <a:pt x="222" y="19"/>
                  </a:lnTo>
                  <a:lnTo>
                    <a:pt x="220" y="21"/>
                  </a:lnTo>
                  <a:lnTo>
                    <a:pt x="220" y="23"/>
                  </a:lnTo>
                  <a:lnTo>
                    <a:pt x="219" y="23"/>
                  </a:lnTo>
                  <a:lnTo>
                    <a:pt x="219" y="23"/>
                  </a:lnTo>
                  <a:lnTo>
                    <a:pt x="217" y="23"/>
                  </a:lnTo>
                  <a:lnTo>
                    <a:pt x="215" y="23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8" y="21"/>
                  </a:lnTo>
                  <a:lnTo>
                    <a:pt x="208" y="21"/>
                  </a:lnTo>
                  <a:lnTo>
                    <a:pt x="206" y="21"/>
                  </a:lnTo>
                  <a:lnTo>
                    <a:pt x="206" y="21"/>
                  </a:lnTo>
                  <a:lnTo>
                    <a:pt x="206" y="21"/>
                  </a:lnTo>
                  <a:lnTo>
                    <a:pt x="206" y="19"/>
                  </a:lnTo>
                  <a:lnTo>
                    <a:pt x="208" y="19"/>
                  </a:lnTo>
                  <a:lnTo>
                    <a:pt x="208" y="19"/>
                  </a:lnTo>
                  <a:lnTo>
                    <a:pt x="208" y="18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197" y="18"/>
                  </a:lnTo>
                  <a:lnTo>
                    <a:pt x="195" y="18"/>
                  </a:lnTo>
                  <a:lnTo>
                    <a:pt x="193" y="16"/>
                  </a:lnTo>
                  <a:lnTo>
                    <a:pt x="193" y="18"/>
                  </a:lnTo>
                  <a:lnTo>
                    <a:pt x="191" y="19"/>
                  </a:lnTo>
                  <a:lnTo>
                    <a:pt x="191" y="19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5"/>
                  </a:lnTo>
                  <a:lnTo>
                    <a:pt x="190" y="25"/>
                  </a:lnTo>
                  <a:lnTo>
                    <a:pt x="190" y="25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8"/>
                  </a:lnTo>
                  <a:lnTo>
                    <a:pt x="188" y="28"/>
                  </a:lnTo>
                  <a:lnTo>
                    <a:pt x="188" y="30"/>
                  </a:lnTo>
                  <a:lnTo>
                    <a:pt x="190" y="30"/>
                  </a:lnTo>
                  <a:lnTo>
                    <a:pt x="190" y="32"/>
                  </a:lnTo>
                  <a:lnTo>
                    <a:pt x="191" y="32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3" y="36"/>
                  </a:lnTo>
                  <a:lnTo>
                    <a:pt x="193" y="37"/>
                  </a:lnTo>
                  <a:lnTo>
                    <a:pt x="193" y="39"/>
                  </a:lnTo>
                  <a:lnTo>
                    <a:pt x="191" y="39"/>
                  </a:lnTo>
                  <a:lnTo>
                    <a:pt x="191" y="39"/>
                  </a:lnTo>
                  <a:lnTo>
                    <a:pt x="188" y="39"/>
                  </a:lnTo>
                  <a:lnTo>
                    <a:pt x="186" y="39"/>
                  </a:lnTo>
                  <a:lnTo>
                    <a:pt x="186" y="39"/>
                  </a:lnTo>
                  <a:lnTo>
                    <a:pt x="184" y="37"/>
                  </a:lnTo>
                  <a:lnTo>
                    <a:pt x="184" y="37"/>
                  </a:lnTo>
                  <a:lnTo>
                    <a:pt x="184" y="37"/>
                  </a:lnTo>
                  <a:lnTo>
                    <a:pt x="184" y="37"/>
                  </a:lnTo>
                  <a:lnTo>
                    <a:pt x="182" y="37"/>
                  </a:lnTo>
                  <a:lnTo>
                    <a:pt x="181" y="36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1" y="32"/>
                  </a:lnTo>
                  <a:lnTo>
                    <a:pt x="179" y="32"/>
                  </a:lnTo>
                  <a:lnTo>
                    <a:pt x="175" y="34"/>
                  </a:lnTo>
                  <a:lnTo>
                    <a:pt x="175" y="34"/>
                  </a:lnTo>
                  <a:lnTo>
                    <a:pt x="173" y="36"/>
                  </a:lnTo>
                  <a:lnTo>
                    <a:pt x="173" y="37"/>
                  </a:lnTo>
                  <a:lnTo>
                    <a:pt x="173" y="37"/>
                  </a:lnTo>
                  <a:lnTo>
                    <a:pt x="172" y="39"/>
                  </a:lnTo>
                  <a:lnTo>
                    <a:pt x="172" y="39"/>
                  </a:lnTo>
                  <a:lnTo>
                    <a:pt x="172" y="41"/>
                  </a:lnTo>
                  <a:lnTo>
                    <a:pt x="172" y="41"/>
                  </a:lnTo>
                  <a:lnTo>
                    <a:pt x="172" y="43"/>
                  </a:lnTo>
                  <a:lnTo>
                    <a:pt x="172" y="43"/>
                  </a:lnTo>
                  <a:lnTo>
                    <a:pt x="172" y="43"/>
                  </a:lnTo>
                  <a:lnTo>
                    <a:pt x="172" y="45"/>
                  </a:lnTo>
                  <a:lnTo>
                    <a:pt x="172" y="45"/>
                  </a:lnTo>
                  <a:lnTo>
                    <a:pt x="172" y="47"/>
                  </a:lnTo>
                  <a:lnTo>
                    <a:pt x="172" y="47"/>
                  </a:lnTo>
                  <a:lnTo>
                    <a:pt x="173" y="48"/>
                  </a:lnTo>
                  <a:lnTo>
                    <a:pt x="175" y="48"/>
                  </a:lnTo>
                  <a:lnTo>
                    <a:pt x="177" y="48"/>
                  </a:lnTo>
                  <a:lnTo>
                    <a:pt x="177" y="48"/>
                  </a:lnTo>
                  <a:lnTo>
                    <a:pt x="177" y="50"/>
                  </a:lnTo>
                  <a:lnTo>
                    <a:pt x="177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7" y="57"/>
                  </a:lnTo>
                  <a:lnTo>
                    <a:pt x="177" y="59"/>
                  </a:lnTo>
                  <a:lnTo>
                    <a:pt x="177" y="61"/>
                  </a:lnTo>
                  <a:lnTo>
                    <a:pt x="175" y="61"/>
                  </a:lnTo>
                  <a:lnTo>
                    <a:pt x="173" y="63"/>
                  </a:lnTo>
                  <a:lnTo>
                    <a:pt x="172" y="63"/>
                  </a:lnTo>
                  <a:lnTo>
                    <a:pt x="172" y="61"/>
                  </a:lnTo>
                  <a:lnTo>
                    <a:pt x="172" y="59"/>
                  </a:lnTo>
                  <a:lnTo>
                    <a:pt x="170" y="57"/>
                  </a:lnTo>
                  <a:lnTo>
                    <a:pt x="168" y="57"/>
                  </a:lnTo>
                  <a:lnTo>
                    <a:pt x="168" y="56"/>
                  </a:lnTo>
                  <a:lnTo>
                    <a:pt x="168" y="54"/>
                  </a:lnTo>
                  <a:lnTo>
                    <a:pt x="168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4" y="52"/>
                  </a:lnTo>
                  <a:lnTo>
                    <a:pt x="163" y="52"/>
                  </a:lnTo>
                  <a:lnTo>
                    <a:pt x="159" y="54"/>
                  </a:lnTo>
                  <a:lnTo>
                    <a:pt x="159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7"/>
                  </a:lnTo>
                  <a:lnTo>
                    <a:pt x="154" y="57"/>
                  </a:lnTo>
                  <a:lnTo>
                    <a:pt x="148" y="57"/>
                  </a:lnTo>
                  <a:lnTo>
                    <a:pt x="146" y="57"/>
                  </a:lnTo>
                  <a:lnTo>
                    <a:pt x="146" y="56"/>
                  </a:lnTo>
                  <a:lnTo>
                    <a:pt x="144" y="56"/>
                  </a:lnTo>
                  <a:lnTo>
                    <a:pt x="144" y="52"/>
                  </a:lnTo>
                  <a:lnTo>
                    <a:pt x="143" y="52"/>
                  </a:lnTo>
                  <a:lnTo>
                    <a:pt x="143" y="52"/>
                  </a:lnTo>
                  <a:lnTo>
                    <a:pt x="143" y="52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7" y="43"/>
                  </a:lnTo>
                  <a:lnTo>
                    <a:pt x="137" y="43"/>
                  </a:lnTo>
                  <a:lnTo>
                    <a:pt x="137" y="41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2" y="45"/>
                  </a:lnTo>
                  <a:lnTo>
                    <a:pt x="132" y="47"/>
                  </a:lnTo>
                  <a:lnTo>
                    <a:pt x="132" y="48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4" y="56"/>
                  </a:lnTo>
                  <a:lnTo>
                    <a:pt x="132" y="59"/>
                  </a:lnTo>
                  <a:lnTo>
                    <a:pt x="132" y="61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28" y="63"/>
                  </a:lnTo>
                  <a:lnTo>
                    <a:pt x="128" y="65"/>
                  </a:lnTo>
                  <a:lnTo>
                    <a:pt x="128" y="65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25" y="68"/>
                  </a:lnTo>
                  <a:lnTo>
                    <a:pt x="123" y="70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1" y="74"/>
                  </a:lnTo>
                  <a:lnTo>
                    <a:pt x="119" y="75"/>
                  </a:lnTo>
                  <a:lnTo>
                    <a:pt x="119" y="75"/>
                  </a:lnTo>
                  <a:lnTo>
                    <a:pt x="121" y="79"/>
                  </a:lnTo>
                  <a:lnTo>
                    <a:pt x="119" y="81"/>
                  </a:lnTo>
                  <a:lnTo>
                    <a:pt x="119" y="81"/>
                  </a:lnTo>
                  <a:lnTo>
                    <a:pt x="119" y="81"/>
                  </a:lnTo>
                  <a:lnTo>
                    <a:pt x="119" y="81"/>
                  </a:lnTo>
                  <a:lnTo>
                    <a:pt x="119" y="81"/>
                  </a:lnTo>
                  <a:lnTo>
                    <a:pt x="119" y="81"/>
                  </a:lnTo>
                  <a:lnTo>
                    <a:pt x="119" y="83"/>
                  </a:lnTo>
                  <a:lnTo>
                    <a:pt x="121" y="83"/>
                  </a:lnTo>
                  <a:lnTo>
                    <a:pt x="121" y="84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3" y="86"/>
                  </a:lnTo>
                  <a:lnTo>
                    <a:pt x="123" y="86"/>
                  </a:lnTo>
                  <a:lnTo>
                    <a:pt x="121" y="90"/>
                  </a:lnTo>
                  <a:lnTo>
                    <a:pt x="119" y="92"/>
                  </a:lnTo>
                  <a:lnTo>
                    <a:pt x="119" y="90"/>
                  </a:lnTo>
                  <a:lnTo>
                    <a:pt x="117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6" y="84"/>
                  </a:lnTo>
                  <a:lnTo>
                    <a:pt x="114" y="83"/>
                  </a:lnTo>
                  <a:lnTo>
                    <a:pt x="114" y="83"/>
                  </a:lnTo>
                  <a:lnTo>
                    <a:pt x="114" y="81"/>
                  </a:lnTo>
                  <a:lnTo>
                    <a:pt x="112" y="81"/>
                  </a:lnTo>
                  <a:lnTo>
                    <a:pt x="110" y="79"/>
                  </a:lnTo>
                  <a:lnTo>
                    <a:pt x="108" y="79"/>
                  </a:lnTo>
                  <a:lnTo>
                    <a:pt x="108" y="79"/>
                  </a:lnTo>
                  <a:lnTo>
                    <a:pt x="108" y="79"/>
                  </a:lnTo>
                  <a:lnTo>
                    <a:pt x="108" y="79"/>
                  </a:lnTo>
                  <a:lnTo>
                    <a:pt x="110" y="77"/>
                  </a:lnTo>
                  <a:lnTo>
                    <a:pt x="110" y="75"/>
                  </a:lnTo>
                  <a:lnTo>
                    <a:pt x="112" y="74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08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0"/>
                  </a:lnTo>
                  <a:lnTo>
                    <a:pt x="107" y="70"/>
                  </a:lnTo>
                  <a:lnTo>
                    <a:pt x="107" y="70"/>
                  </a:lnTo>
                  <a:lnTo>
                    <a:pt x="107" y="70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3" y="72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99" y="70"/>
                  </a:lnTo>
                  <a:lnTo>
                    <a:pt x="98" y="65"/>
                  </a:lnTo>
                  <a:lnTo>
                    <a:pt x="96" y="63"/>
                  </a:lnTo>
                  <a:lnTo>
                    <a:pt x="94" y="63"/>
                  </a:lnTo>
                  <a:lnTo>
                    <a:pt x="92" y="63"/>
                  </a:lnTo>
                  <a:lnTo>
                    <a:pt x="92" y="61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90" y="56"/>
                  </a:lnTo>
                  <a:lnTo>
                    <a:pt x="92" y="52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2" y="47"/>
                  </a:lnTo>
                  <a:lnTo>
                    <a:pt x="90" y="47"/>
                  </a:lnTo>
                  <a:lnTo>
                    <a:pt x="90" y="45"/>
                  </a:lnTo>
                  <a:lnTo>
                    <a:pt x="88" y="47"/>
                  </a:lnTo>
                  <a:lnTo>
                    <a:pt x="87" y="47"/>
                  </a:lnTo>
                  <a:lnTo>
                    <a:pt x="85" y="47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1" y="52"/>
                  </a:lnTo>
                  <a:lnTo>
                    <a:pt x="79" y="56"/>
                  </a:lnTo>
                  <a:lnTo>
                    <a:pt x="78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6" y="65"/>
                  </a:lnTo>
                  <a:lnTo>
                    <a:pt x="76" y="66"/>
                  </a:lnTo>
                  <a:lnTo>
                    <a:pt x="76" y="6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0" y="75"/>
                  </a:lnTo>
                  <a:lnTo>
                    <a:pt x="70" y="75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5" y="79"/>
                  </a:lnTo>
                  <a:lnTo>
                    <a:pt x="63" y="81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4"/>
                  </a:lnTo>
                  <a:lnTo>
                    <a:pt x="61" y="84"/>
                  </a:lnTo>
                  <a:lnTo>
                    <a:pt x="61" y="84"/>
                  </a:lnTo>
                  <a:lnTo>
                    <a:pt x="61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47" y="79"/>
                  </a:lnTo>
                  <a:lnTo>
                    <a:pt x="45" y="79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3" y="81"/>
                  </a:lnTo>
                  <a:lnTo>
                    <a:pt x="42" y="83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3" y="86"/>
                  </a:lnTo>
                  <a:lnTo>
                    <a:pt x="29" y="86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2" y="83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6" y="88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1" y="90"/>
                  </a:lnTo>
                  <a:lnTo>
                    <a:pt x="9" y="90"/>
                  </a:lnTo>
                  <a:lnTo>
                    <a:pt x="9" y="92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5"/>
                  </a:lnTo>
                  <a:lnTo>
                    <a:pt x="9" y="99"/>
                  </a:lnTo>
                  <a:lnTo>
                    <a:pt x="11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4" y="101"/>
                  </a:lnTo>
                  <a:lnTo>
                    <a:pt x="14" y="102"/>
                  </a:lnTo>
                  <a:lnTo>
                    <a:pt x="16" y="102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10"/>
                  </a:lnTo>
                  <a:lnTo>
                    <a:pt x="18" y="112"/>
                  </a:lnTo>
                  <a:lnTo>
                    <a:pt x="18" y="113"/>
                  </a:lnTo>
                  <a:lnTo>
                    <a:pt x="22" y="115"/>
                  </a:lnTo>
                  <a:lnTo>
                    <a:pt x="23" y="115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2"/>
                  </a:lnTo>
                  <a:lnTo>
                    <a:pt x="27" y="124"/>
                  </a:lnTo>
                  <a:lnTo>
                    <a:pt x="25" y="126"/>
                  </a:lnTo>
                  <a:lnTo>
                    <a:pt x="23" y="126"/>
                  </a:lnTo>
                  <a:lnTo>
                    <a:pt x="25" y="128"/>
                  </a:lnTo>
                  <a:lnTo>
                    <a:pt x="25" y="130"/>
                  </a:lnTo>
                  <a:lnTo>
                    <a:pt x="25" y="131"/>
                  </a:lnTo>
                  <a:lnTo>
                    <a:pt x="23" y="131"/>
                  </a:lnTo>
                  <a:lnTo>
                    <a:pt x="23" y="133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0" y="133"/>
                  </a:lnTo>
                  <a:lnTo>
                    <a:pt x="18" y="135"/>
                  </a:lnTo>
                  <a:lnTo>
                    <a:pt x="16" y="135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3" y="137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4" y="139"/>
                  </a:lnTo>
                  <a:lnTo>
                    <a:pt x="13" y="139"/>
                  </a:lnTo>
                  <a:lnTo>
                    <a:pt x="13" y="140"/>
                  </a:lnTo>
                  <a:lnTo>
                    <a:pt x="11" y="139"/>
                  </a:lnTo>
                  <a:lnTo>
                    <a:pt x="9" y="139"/>
                  </a:lnTo>
                  <a:lnTo>
                    <a:pt x="7" y="139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2" y="140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2"/>
                  </a:lnTo>
                  <a:lnTo>
                    <a:pt x="0" y="144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2" y="148"/>
                  </a:lnTo>
                  <a:lnTo>
                    <a:pt x="4" y="148"/>
                  </a:lnTo>
                  <a:lnTo>
                    <a:pt x="5" y="148"/>
                  </a:lnTo>
                  <a:lnTo>
                    <a:pt x="5" y="148"/>
                  </a:lnTo>
                  <a:lnTo>
                    <a:pt x="5" y="151"/>
                  </a:lnTo>
                  <a:lnTo>
                    <a:pt x="5" y="155"/>
                  </a:lnTo>
                  <a:lnTo>
                    <a:pt x="7" y="157"/>
                  </a:lnTo>
                  <a:lnTo>
                    <a:pt x="9" y="157"/>
                  </a:lnTo>
                  <a:lnTo>
                    <a:pt x="13" y="158"/>
                  </a:lnTo>
                  <a:lnTo>
                    <a:pt x="13" y="160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8" y="160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0" y="166"/>
                  </a:lnTo>
                  <a:lnTo>
                    <a:pt x="20" y="168"/>
                  </a:lnTo>
                  <a:lnTo>
                    <a:pt x="20" y="168"/>
                  </a:lnTo>
                  <a:lnTo>
                    <a:pt x="22" y="171"/>
                  </a:lnTo>
                  <a:lnTo>
                    <a:pt x="22" y="171"/>
                  </a:lnTo>
                  <a:lnTo>
                    <a:pt x="22" y="171"/>
                  </a:lnTo>
                  <a:lnTo>
                    <a:pt x="20" y="171"/>
                  </a:lnTo>
                  <a:lnTo>
                    <a:pt x="18" y="171"/>
                  </a:lnTo>
                  <a:lnTo>
                    <a:pt x="18" y="171"/>
                  </a:lnTo>
                  <a:lnTo>
                    <a:pt x="16" y="173"/>
                  </a:lnTo>
                  <a:lnTo>
                    <a:pt x="16" y="175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4" y="178"/>
                  </a:lnTo>
                  <a:lnTo>
                    <a:pt x="13" y="182"/>
                  </a:lnTo>
                  <a:lnTo>
                    <a:pt x="11" y="182"/>
                  </a:lnTo>
                  <a:lnTo>
                    <a:pt x="11" y="184"/>
                  </a:lnTo>
                  <a:lnTo>
                    <a:pt x="13" y="186"/>
                  </a:lnTo>
                  <a:lnTo>
                    <a:pt x="14" y="187"/>
                  </a:lnTo>
                  <a:lnTo>
                    <a:pt x="16" y="189"/>
                  </a:lnTo>
                  <a:lnTo>
                    <a:pt x="14" y="189"/>
                  </a:lnTo>
                  <a:lnTo>
                    <a:pt x="14" y="191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5"/>
                  </a:lnTo>
                  <a:lnTo>
                    <a:pt x="13" y="195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2"/>
                  </a:lnTo>
                  <a:lnTo>
                    <a:pt x="18" y="202"/>
                  </a:lnTo>
                  <a:lnTo>
                    <a:pt x="18" y="202"/>
                  </a:lnTo>
                  <a:lnTo>
                    <a:pt x="20" y="204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2" y="202"/>
                  </a:lnTo>
                  <a:lnTo>
                    <a:pt x="22" y="202"/>
                  </a:lnTo>
                  <a:lnTo>
                    <a:pt x="25" y="204"/>
                  </a:lnTo>
                  <a:lnTo>
                    <a:pt x="27" y="205"/>
                  </a:lnTo>
                  <a:lnTo>
                    <a:pt x="33" y="209"/>
                  </a:lnTo>
                  <a:lnTo>
                    <a:pt x="33" y="209"/>
                  </a:lnTo>
                  <a:lnTo>
                    <a:pt x="34" y="209"/>
                  </a:lnTo>
                  <a:lnTo>
                    <a:pt x="34" y="209"/>
                  </a:lnTo>
                  <a:lnTo>
                    <a:pt x="36" y="209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8" y="211"/>
                  </a:lnTo>
                  <a:lnTo>
                    <a:pt x="47" y="209"/>
                  </a:lnTo>
                  <a:lnTo>
                    <a:pt x="49" y="207"/>
                  </a:lnTo>
                  <a:lnTo>
                    <a:pt x="51" y="207"/>
                  </a:lnTo>
                  <a:lnTo>
                    <a:pt x="52" y="207"/>
                  </a:lnTo>
                  <a:lnTo>
                    <a:pt x="52" y="209"/>
                  </a:lnTo>
                  <a:lnTo>
                    <a:pt x="52" y="211"/>
                  </a:lnTo>
                  <a:lnTo>
                    <a:pt x="54" y="211"/>
                  </a:lnTo>
                  <a:lnTo>
                    <a:pt x="54" y="213"/>
                  </a:lnTo>
                  <a:lnTo>
                    <a:pt x="54" y="213"/>
                  </a:lnTo>
                  <a:lnTo>
                    <a:pt x="54" y="214"/>
                  </a:lnTo>
                  <a:lnTo>
                    <a:pt x="54" y="214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8"/>
                  </a:lnTo>
                  <a:lnTo>
                    <a:pt x="52" y="218"/>
                  </a:lnTo>
                  <a:lnTo>
                    <a:pt x="51" y="220"/>
                  </a:lnTo>
                  <a:lnTo>
                    <a:pt x="51" y="222"/>
                  </a:lnTo>
                  <a:lnTo>
                    <a:pt x="47" y="224"/>
                  </a:lnTo>
                  <a:lnTo>
                    <a:pt x="47" y="225"/>
                  </a:lnTo>
                  <a:lnTo>
                    <a:pt x="45" y="227"/>
                  </a:lnTo>
                  <a:lnTo>
                    <a:pt x="43" y="229"/>
                  </a:lnTo>
                  <a:lnTo>
                    <a:pt x="43" y="231"/>
                  </a:lnTo>
                  <a:lnTo>
                    <a:pt x="45" y="234"/>
                  </a:lnTo>
                  <a:lnTo>
                    <a:pt x="45" y="234"/>
                  </a:lnTo>
                  <a:lnTo>
                    <a:pt x="45" y="234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9" y="234"/>
                  </a:lnTo>
                  <a:lnTo>
                    <a:pt x="54" y="234"/>
                  </a:lnTo>
                  <a:lnTo>
                    <a:pt x="56" y="233"/>
                  </a:lnTo>
                  <a:lnTo>
                    <a:pt x="60" y="231"/>
                  </a:lnTo>
                  <a:lnTo>
                    <a:pt x="69" y="229"/>
                  </a:lnTo>
                  <a:lnTo>
                    <a:pt x="72" y="227"/>
                  </a:lnTo>
                  <a:lnTo>
                    <a:pt x="72" y="227"/>
                  </a:lnTo>
                  <a:lnTo>
                    <a:pt x="74" y="227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6" y="224"/>
                  </a:lnTo>
                  <a:lnTo>
                    <a:pt x="78" y="222"/>
                  </a:lnTo>
                  <a:lnTo>
                    <a:pt x="78" y="222"/>
                  </a:lnTo>
                  <a:lnTo>
                    <a:pt x="78" y="222"/>
                  </a:lnTo>
                  <a:lnTo>
                    <a:pt x="78" y="220"/>
                  </a:lnTo>
                  <a:lnTo>
                    <a:pt x="78" y="218"/>
                  </a:lnTo>
                  <a:lnTo>
                    <a:pt x="81" y="216"/>
                  </a:lnTo>
                  <a:lnTo>
                    <a:pt x="81" y="214"/>
                  </a:lnTo>
                  <a:lnTo>
                    <a:pt x="81" y="214"/>
                  </a:lnTo>
                  <a:lnTo>
                    <a:pt x="81" y="214"/>
                  </a:lnTo>
                  <a:lnTo>
                    <a:pt x="81" y="213"/>
                  </a:lnTo>
                  <a:lnTo>
                    <a:pt x="81" y="213"/>
                  </a:lnTo>
                  <a:lnTo>
                    <a:pt x="83" y="211"/>
                  </a:lnTo>
                  <a:lnTo>
                    <a:pt x="83" y="209"/>
                  </a:lnTo>
                  <a:lnTo>
                    <a:pt x="85" y="209"/>
                  </a:lnTo>
                  <a:lnTo>
                    <a:pt x="85" y="207"/>
                  </a:lnTo>
                  <a:lnTo>
                    <a:pt x="88" y="207"/>
                  </a:lnTo>
                  <a:lnTo>
                    <a:pt x="90" y="207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2" y="204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4" y="198"/>
                  </a:lnTo>
                  <a:lnTo>
                    <a:pt x="98" y="196"/>
                  </a:lnTo>
                  <a:lnTo>
                    <a:pt x="98" y="195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103" y="191"/>
                  </a:lnTo>
                  <a:lnTo>
                    <a:pt x="103" y="191"/>
                  </a:lnTo>
                  <a:lnTo>
                    <a:pt x="103" y="191"/>
                  </a:lnTo>
                  <a:lnTo>
                    <a:pt x="103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7" y="189"/>
                  </a:lnTo>
                  <a:lnTo>
                    <a:pt x="107" y="189"/>
                  </a:lnTo>
                  <a:lnTo>
                    <a:pt x="108" y="189"/>
                  </a:lnTo>
                  <a:lnTo>
                    <a:pt x="112" y="189"/>
                  </a:lnTo>
                  <a:lnTo>
                    <a:pt x="112" y="191"/>
                  </a:lnTo>
                  <a:lnTo>
                    <a:pt x="112" y="191"/>
                  </a:lnTo>
                  <a:lnTo>
                    <a:pt x="114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7" y="191"/>
                  </a:lnTo>
                  <a:lnTo>
                    <a:pt x="119" y="193"/>
                  </a:lnTo>
                  <a:lnTo>
                    <a:pt x="125" y="193"/>
                  </a:lnTo>
                  <a:lnTo>
                    <a:pt x="126" y="195"/>
                  </a:lnTo>
                  <a:lnTo>
                    <a:pt x="126" y="196"/>
                  </a:lnTo>
                  <a:lnTo>
                    <a:pt x="126" y="196"/>
                  </a:lnTo>
                  <a:lnTo>
                    <a:pt x="128" y="196"/>
                  </a:lnTo>
                  <a:lnTo>
                    <a:pt x="130" y="198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5"/>
                  </a:lnTo>
                  <a:lnTo>
                    <a:pt x="132" y="195"/>
                  </a:lnTo>
                  <a:lnTo>
                    <a:pt x="134" y="196"/>
                  </a:lnTo>
                  <a:lnTo>
                    <a:pt x="139" y="198"/>
                  </a:lnTo>
                  <a:lnTo>
                    <a:pt x="139" y="200"/>
                  </a:lnTo>
                  <a:lnTo>
                    <a:pt x="141" y="202"/>
                  </a:lnTo>
                  <a:lnTo>
                    <a:pt x="141" y="202"/>
                  </a:lnTo>
                  <a:lnTo>
                    <a:pt x="141" y="202"/>
                  </a:lnTo>
                  <a:lnTo>
                    <a:pt x="143" y="204"/>
                  </a:lnTo>
                  <a:lnTo>
                    <a:pt x="143" y="202"/>
                  </a:lnTo>
                  <a:lnTo>
                    <a:pt x="144" y="202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6" y="204"/>
                  </a:lnTo>
                  <a:lnTo>
                    <a:pt x="148" y="205"/>
                  </a:lnTo>
                  <a:lnTo>
                    <a:pt x="148" y="205"/>
                  </a:lnTo>
                  <a:lnTo>
                    <a:pt x="148" y="207"/>
                  </a:lnTo>
                  <a:lnTo>
                    <a:pt x="150" y="207"/>
                  </a:lnTo>
                  <a:lnTo>
                    <a:pt x="152" y="209"/>
                  </a:lnTo>
                  <a:lnTo>
                    <a:pt x="152" y="209"/>
                  </a:lnTo>
                  <a:lnTo>
                    <a:pt x="152" y="209"/>
                  </a:lnTo>
                  <a:lnTo>
                    <a:pt x="154" y="209"/>
                  </a:lnTo>
                  <a:lnTo>
                    <a:pt x="154" y="209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9" y="214"/>
                  </a:lnTo>
                  <a:lnTo>
                    <a:pt x="161" y="214"/>
                  </a:lnTo>
                  <a:lnTo>
                    <a:pt x="161" y="216"/>
                  </a:lnTo>
                  <a:lnTo>
                    <a:pt x="161" y="216"/>
                  </a:lnTo>
                  <a:lnTo>
                    <a:pt x="163" y="216"/>
                  </a:lnTo>
                  <a:lnTo>
                    <a:pt x="163" y="216"/>
                  </a:lnTo>
                  <a:lnTo>
                    <a:pt x="161" y="216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1" y="214"/>
                  </a:lnTo>
                  <a:lnTo>
                    <a:pt x="161" y="213"/>
                  </a:lnTo>
                  <a:lnTo>
                    <a:pt x="161" y="213"/>
                  </a:lnTo>
                  <a:lnTo>
                    <a:pt x="161" y="213"/>
                  </a:lnTo>
                  <a:lnTo>
                    <a:pt x="161" y="213"/>
                  </a:lnTo>
                  <a:lnTo>
                    <a:pt x="161" y="213"/>
                  </a:lnTo>
                  <a:lnTo>
                    <a:pt x="161" y="213"/>
                  </a:lnTo>
                  <a:lnTo>
                    <a:pt x="163" y="211"/>
                  </a:lnTo>
                  <a:lnTo>
                    <a:pt x="164" y="213"/>
                  </a:lnTo>
                  <a:lnTo>
                    <a:pt x="164" y="213"/>
                  </a:lnTo>
                  <a:lnTo>
                    <a:pt x="164" y="214"/>
                  </a:lnTo>
                  <a:lnTo>
                    <a:pt x="166" y="214"/>
                  </a:lnTo>
                  <a:lnTo>
                    <a:pt x="168" y="216"/>
                  </a:lnTo>
                  <a:lnTo>
                    <a:pt x="168" y="216"/>
                  </a:lnTo>
                  <a:lnTo>
                    <a:pt x="168" y="216"/>
                  </a:lnTo>
                  <a:lnTo>
                    <a:pt x="170" y="216"/>
                  </a:lnTo>
                  <a:lnTo>
                    <a:pt x="170" y="216"/>
                  </a:lnTo>
                  <a:lnTo>
                    <a:pt x="170" y="214"/>
                  </a:lnTo>
                  <a:lnTo>
                    <a:pt x="170" y="214"/>
                  </a:lnTo>
                  <a:lnTo>
                    <a:pt x="170" y="216"/>
                  </a:lnTo>
                  <a:lnTo>
                    <a:pt x="172" y="216"/>
                  </a:lnTo>
                  <a:lnTo>
                    <a:pt x="173" y="218"/>
                  </a:lnTo>
                  <a:lnTo>
                    <a:pt x="175" y="218"/>
                  </a:lnTo>
                  <a:lnTo>
                    <a:pt x="175" y="218"/>
                  </a:lnTo>
                  <a:lnTo>
                    <a:pt x="177" y="220"/>
                  </a:lnTo>
                  <a:lnTo>
                    <a:pt x="179" y="222"/>
                  </a:lnTo>
                  <a:lnTo>
                    <a:pt x="181" y="225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4" y="249"/>
                  </a:lnTo>
                  <a:lnTo>
                    <a:pt x="186" y="254"/>
                  </a:lnTo>
                  <a:lnTo>
                    <a:pt x="186" y="256"/>
                  </a:lnTo>
                  <a:lnTo>
                    <a:pt x="188" y="256"/>
                  </a:lnTo>
                  <a:lnTo>
                    <a:pt x="188" y="258"/>
                  </a:lnTo>
                  <a:lnTo>
                    <a:pt x="191" y="261"/>
                  </a:lnTo>
                  <a:lnTo>
                    <a:pt x="195" y="270"/>
                  </a:lnTo>
                  <a:lnTo>
                    <a:pt x="197" y="270"/>
                  </a:lnTo>
                  <a:lnTo>
                    <a:pt x="197" y="272"/>
                  </a:lnTo>
                  <a:lnTo>
                    <a:pt x="197" y="276"/>
                  </a:lnTo>
                  <a:lnTo>
                    <a:pt x="197" y="278"/>
                  </a:lnTo>
                  <a:lnTo>
                    <a:pt x="197" y="278"/>
                  </a:lnTo>
                  <a:lnTo>
                    <a:pt x="197" y="280"/>
                  </a:lnTo>
                  <a:lnTo>
                    <a:pt x="197" y="280"/>
                  </a:lnTo>
                  <a:lnTo>
                    <a:pt x="197" y="281"/>
                  </a:lnTo>
                  <a:lnTo>
                    <a:pt x="197" y="283"/>
                  </a:lnTo>
                  <a:lnTo>
                    <a:pt x="195" y="287"/>
                  </a:lnTo>
                  <a:lnTo>
                    <a:pt x="195" y="289"/>
                  </a:lnTo>
                  <a:lnTo>
                    <a:pt x="193" y="289"/>
                  </a:lnTo>
                  <a:lnTo>
                    <a:pt x="195" y="292"/>
                  </a:lnTo>
                  <a:lnTo>
                    <a:pt x="195" y="294"/>
                  </a:lnTo>
                  <a:lnTo>
                    <a:pt x="197" y="292"/>
                  </a:lnTo>
                  <a:lnTo>
                    <a:pt x="197" y="292"/>
                  </a:lnTo>
                  <a:lnTo>
                    <a:pt x="197" y="292"/>
                  </a:lnTo>
                  <a:lnTo>
                    <a:pt x="199" y="290"/>
                  </a:lnTo>
                  <a:lnTo>
                    <a:pt x="202" y="290"/>
                  </a:lnTo>
                  <a:lnTo>
                    <a:pt x="204" y="292"/>
                  </a:lnTo>
                  <a:lnTo>
                    <a:pt x="208" y="294"/>
                  </a:lnTo>
                  <a:lnTo>
                    <a:pt x="208" y="294"/>
                  </a:lnTo>
                  <a:lnTo>
                    <a:pt x="208" y="294"/>
                  </a:lnTo>
                  <a:lnTo>
                    <a:pt x="209" y="296"/>
                  </a:lnTo>
                  <a:lnTo>
                    <a:pt x="209" y="296"/>
                  </a:lnTo>
                  <a:lnTo>
                    <a:pt x="208" y="296"/>
                  </a:lnTo>
                  <a:lnTo>
                    <a:pt x="208" y="296"/>
                  </a:lnTo>
                  <a:lnTo>
                    <a:pt x="208" y="298"/>
                  </a:lnTo>
                  <a:lnTo>
                    <a:pt x="208" y="299"/>
                  </a:lnTo>
                  <a:lnTo>
                    <a:pt x="208" y="301"/>
                  </a:lnTo>
                  <a:lnTo>
                    <a:pt x="206" y="301"/>
                  </a:lnTo>
                  <a:lnTo>
                    <a:pt x="215" y="305"/>
                  </a:lnTo>
                  <a:lnTo>
                    <a:pt x="217" y="305"/>
                  </a:lnTo>
                  <a:lnTo>
                    <a:pt x="219" y="307"/>
                  </a:lnTo>
                  <a:lnTo>
                    <a:pt x="219" y="307"/>
                  </a:lnTo>
                  <a:lnTo>
                    <a:pt x="220" y="308"/>
                  </a:lnTo>
                  <a:lnTo>
                    <a:pt x="220" y="308"/>
                  </a:lnTo>
                  <a:lnTo>
                    <a:pt x="220" y="310"/>
                  </a:lnTo>
                  <a:lnTo>
                    <a:pt x="220" y="310"/>
                  </a:lnTo>
                  <a:lnTo>
                    <a:pt x="222" y="312"/>
                  </a:lnTo>
                  <a:lnTo>
                    <a:pt x="224" y="314"/>
                  </a:lnTo>
                  <a:lnTo>
                    <a:pt x="224" y="314"/>
                  </a:lnTo>
                  <a:lnTo>
                    <a:pt x="224" y="316"/>
                  </a:lnTo>
                  <a:lnTo>
                    <a:pt x="226" y="316"/>
                  </a:lnTo>
                  <a:lnTo>
                    <a:pt x="226" y="317"/>
                  </a:lnTo>
                  <a:lnTo>
                    <a:pt x="226" y="317"/>
                  </a:lnTo>
                  <a:lnTo>
                    <a:pt x="228" y="317"/>
                  </a:lnTo>
                  <a:lnTo>
                    <a:pt x="228" y="317"/>
                  </a:lnTo>
                  <a:lnTo>
                    <a:pt x="228" y="317"/>
                  </a:lnTo>
                  <a:lnTo>
                    <a:pt x="228" y="319"/>
                  </a:lnTo>
                  <a:lnTo>
                    <a:pt x="229" y="321"/>
                  </a:lnTo>
                  <a:lnTo>
                    <a:pt x="229" y="321"/>
                  </a:lnTo>
                  <a:lnTo>
                    <a:pt x="229" y="323"/>
                  </a:lnTo>
                  <a:lnTo>
                    <a:pt x="229" y="325"/>
                  </a:lnTo>
                  <a:lnTo>
                    <a:pt x="228" y="326"/>
                  </a:lnTo>
                  <a:lnTo>
                    <a:pt x="228" y="326"/>
                  </a:lnTo>
                  <a:lnTo>
                    <a:pt x="226" y="326"/>
                  </a:lnTo>
                  <a:lnTo>
                    <a:pt x="226" y="326"/>
                  </a:lnTo>
                  <a:lnTo>
                    <a:pt x="224" y="326"/>
                  </a:lnTo>
                  <a:lnTo>
                    <a:pt x="224" y="328"/>
                  </a:lnTo>
                  <a:lnTo>
                    <a:pt x="224" y="328"/>
                  </a:lnTo>
                  <a:lnTo>
                    <a:pt x="226" y="330"/>
                  </a:lnTo>
                  <a:lnTo>
                    <a:pt x="228" y="330"/>
                  </a:lnTo>
                  <a:lnTo>
                    <a:pt x="228" y="330"/>
                  </a:lnTo>
                  <a:lnTo>
                    <a:pt x="228" y="332"/>
                  </a:lnTo>
                  <a:lnTo>
                    <a:pt x="228" y="330"/>
                  </a:lnTo>
                  <a:lnTo>
                    <a:pt x="228" y="330"/>
                  </a:lnTo>
                  <a:lnTo>
                    <a:pt x="229" y="330"/>
                  </a:lnTo>
                  <a:lnTo>
                    <a:pt x="229" y="332"/>
                  </a:lnTo>
                  <a:lnTo>
                    <a:pt x="229" y="330"/>
                  </a:lnTo>
                  <a:lnTo>
                    <a:pt x="229" y="328"/>
                  </a:lnTo>
                  <a:lnTo>
                    <a:pt x="229" y="328"/>
                  </a:lnTo>
                  <a:lnTo>
                    <a:pt x="231" y="328"/>
                  </a:lnTo>
                  <a:lnTo>
                    <a:pt x="231" y="326"/>
                  </a:lnTo>
                  <a:lnTo>
                    <a:pt x="233" y="326"/>
                  </a:lnTo>
                  <a:lnTo>
                    <a:pt x="233" y="328"/>
                  </a:lnTo>
                  <a:lnTo>
                    <a:pt x="237" y="328"/>
                  </a:lnTo>
                  <a:lnTo>
                    <a:pt x="238" y="328"/>
                  </a:lnTo>
                  <a:lnTo>
                    <a:pt x="238" y="328"/>
                  </a:lnTo>
                  <a:lnTo>
                    <a:pt x="238" y="328"/>
                  </a:lnTo>
                  <a:lnTo>
                    <a:pt x="238" y="328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40" y="330"/>
                  </a:lnTo>
                  <a:lnTo>
                    <a:pt x="240" y="330"/>
                  </a:lnTo>
                  <a:lnTo>
                    <a:pt x="244" y="332"/>
                  </a:lnTo>
                  <a:lnTo>
                    <a:pt x="247" y="332"/>
                  </a:lnTo>
                  <a:lnTo>
                    <a:pt x="253" y="337"/>
                  </a:lnTo>
                  <a:lnTo>
                    <a:pt x="255" y="339"/>
                  </a:lnTo>
                  <a:lnTo>
                    <a:pt x="256" y="345"/>
                  </a:lnTo>
                  <a:lnTo>
                    <a:pt x="256" y="346"/>
                  </a:lnTo>
                  <a:lnTo>
                    <a:pt x="256" y="346"/>
                  </a:lnTo>
                  <a:lnTo>
                    <a:pt x="258" y="346"/>
                  </a:lnTo>
                  <a:lnTo>
                    <a:pt x="258" y="348"/>
                  </a:lnTo>
                  <a:lnTo>
                    <a:pt x="258" y="350"/>
                  </a:lnTo>
                  <a:lnTo>
                    <a:pt x="260" y="350"/>
                  </a:lnTo>
                  <a:lnTo>
                    <a:pt x="260" y="352"/>
                  </a:lnTo>
                  <a:lnTo>
                    <a:pt x="262" y="352"/>
                  </a:lnTo>
                  <a:lnTo>
                    <a:pt x="262" y="354"/>
                  </a:lnTo>
                  <a:lnTo>
                    <a:pt x="262" y="354"/>
                  </a:lnTo>
                  <a:lnTo>
                    <a:pt x="265" y="354"/>
                  </a:lnTo>
                  <a:lnTo>
                    <a:pt x="267" y="354"/>
                  </a:lnTo>
                  <a:lnTo>
                    <a:pt x="267" y="354"/>
                  </a:lnTo>
                  <a:lnTo>
                    <a:pt x="269" y="355"/>
                  </a:lnTo>
                  <a:lnTo>
                    <a:pt x="269" y="355"/>
                  </a:lnTo>
                  <a:lnTo>
                    <a:pt x="269" y="355"/>
                  </a:lnTo>
                  <a:lnTo>
                    <a:pt x="271" y="355"/>
                  </a:lnTo>
                  <a:lnTo>
                    <a:pt x="271" y="357"/>
                  </a:lnTo>
                  <a:lnTo>
                    <a:pt x="271" y="357"/>
                  </a:lnTo>
                  <a:lnTo>
                    <a:pt x="273" y="357"/>
                  </a:lnTo>
                  <a:lnTo>
                    <a:pt x="273" y="359"/>
                  </a:lnTo>
                  <a:lnTo>
                    <a:pt x="278" y="363"/>
                  </a:lnTo>
                  <a:lnTo>
                    <a:pt x="278" y="364"/>
                  </a:lnTo>
                  <a:lnTo>
                    <a:pt x="280" y="366"/>
                  </a:lnTo>
                  <a:lnTo>
                    <a:pt x="280" y="368"/>
                  </a:lnTo>
                  <a:lnTo>
                    <a:pt x="280" y="368"/>
                  </a:lnTo>
                  <a:lnTo>
                    <a:pt x="280" y="370"/>
                  </a:lnTo>
                  <a:lnTo>
                    <a:pt x="280" y="372"/>
                  </a:lnTo>
                  <a:lnTo>
                    <a:pt x="282" y="372"/>
                  </a:lnTo>
                  <a:lnTo>
                    <a:pt x="282" y="373"/>
                  </a:lnTo>
                  <a:lnTo>
                    <a:pt x="282" y="373"/>
                  </a:lnTo>
                  <a:lnTo>
                    <a:pt x="284" y="373"/>
                  </a:lnTo>
                  <a:lnTo>
                    <a:pt x="284" y="373"/>
                  </a:lnTo>
                  <a:lnTo>
                    <a:pt x="285" y="375"/>
                  </a:lnTo>
                  <a:lnTo>
                    <a:pt x="287" y="375"/>
                  </a:lnTo>
                  <a:lnTo>
                    <a:pt x="287" y="375"/>
                  </a:lnTo>
                  <a:lnTo>
                    <a:pt x="293" y="381"/>
                  </a:lnTo>
                  <a:lnTo>
                    <a:pt x="298" y="386"/>
                  </a:lnTo>
                  <a:lnTo>
                    <a:pt x="302" y="392"/>
                  </a:lnTo>
                  <a:lnTo>
                    <a:pt x="302" y="393"/>
                  </a:lnTo>
                  <a:lnTo>
                    <a:pt x="302" y="392"/>
                  </a:lnTo>
                  <a:lnTo>
                    <a:pt x="303" y="392"/>
                  </a:lnTo>
                  <a:lnTo>
                    <a:pt x="303" y="392"/>
                  </a:lnTo>
                  <a:lnTo>
                    <a:pt x="307" y="395"/>
                  </a:lnTo>
                  <a:lnTo>
                    <a:pt x="309" y="395"/>
                  </a:lnTo>
                  <a:lnTo>
                    <a:pt x="312" y="395"/>
                  </a:lnTo>
                  <a:lnTo>
                    <a:pt x="312" y="395"/>
                  </a:lnTo>
                  <a:lnTo>
                    <a:pt x="314" y="395"/>
                  </a:lnTo>
                  <a:lnTo>
                    <a:pt x="316" y="397"/>
                  </a:lnTo>
                  <a:lnTo>
                    <a:pt x="320" y="401"/>
                  </a:lnTo>
                  <a:lnTo>
                    <a:pt x="320" y="401"/>
                  </a:lnTo>
                  <a:lnTo>
                    <a:pt x="321" y="404"/>
                  </a:lnTo>
                  <a:lnTo>
                    <a:pt x="321" y="404"/>
                  </a:lnTo>
                  <a:lnTo>
                    <a:pt x="321" y="406"/>
                  </a:lnTo>
                  <a:lnTo>
                    <a:pt x="321" y="406"/>
                  </a:lnTo>
                  <a:lnTo>
                    <a:pt x="321" y="408"/>
                  </a:lnTo>
                  <a:lnTo>
                    <a:pt x="323" y="408"/>
                  </a:lnTo>
                  <a:lnTo>
                    <a:pt x="325" y="408"/>
                  </a:lnTo>
                  <a:lnTo>
                    <a:pt x="325" y="406"/>
                  </a:lnTo>
                  <a:lnTo>
                    <a:pt x="327" y="406"/>
                  </a:lnTo>
                  <a:lnTo>
                    <a:pt x="329" y="404"/>
                  </a:lnTo>
                  <a:lnTo>
                    <a:pt x="330" y="404"/>
                  </a:lnTo>
                  <a:lnTo>
                    <a:pt x="334" y="402"/>
                  </a:lnTo>
                  <a:lnTo>
                    <a:pt x="336" y="402"/>
                  </a:lnTo>
                  <a:lnTo>
                    <a:pt x="345" y="406"/>
                  </a:lnTo>
                  <a:lnTo>
                    <a:pt x="345" y="408"/>
                  </a:lnTo>
                  <a:lnTo>
                    <a:pt x="345" y="408"/>
                  </a:lnTo>
                  <a:lnTo>
                    <a:pt x="345" y="408"/>
                  </a:lnTo>
                  <a:lnTo>
                    <a:pt x="347" y="408"/>
                  </a:lnTo>
                  <a:lnTo>
                    <a:pt x="347" y="408"/>
                  </a:lnTo>
                  <a:lnTo>
                    <a:pt x="347" y="408"/>
                  </a:lnTo>
                  <a:lnTo>
                    <a:pt x="347" y="410"/>
                  </a:lnTo>
                  <a:lnTo>
                    <a:pt x="349" y="408"/>
                  </a:lnTo>
                  <a:lnTo>
                    <a:pt x="349" y="406"/>
                  </a:lnTo>
                  <a:lnTo>
                    <a:pt x="350" y="406"/>
                  </a:lnTo>
                  <a:lnTo>
                    <a:pt x="352" y="406"/>
                  </a:lnTo>
                  <a:lnTo>
                    <a:pt x="354" y="406"/>
                  </a:lnTo>
                  <a:lnTo>
                    <a:pt x="354" y="406"/>
                  </a:lnTo>
                  <a:lnTo>
                    <a:pt x="356" y="406"/>
                  </a:lnTo>
                  <a:lnTo>
                    <a:pt x="356" y="406"/>
                  </a:lnTo>
                  <a:lnTo>
                    <a:pt x="359" y="410"/>
                  </a:lnTo>
                  <a:lnTo>
                    <a:pt x="363" y="413"/>
                  </a:lnTo>
                  <a:lnTo>
                    <a:pt x="365" y="415"/>
                  </a:lnTo>
                  <a:lnTo>
                    <a:pt x="365" y="419"/>
                  </a:lnTo>
                  <a:lnTo>
                    <a:pt x="367" y="419"/>
                  </a:lnTo>
                  <a:lnTo>
                    <a:pt x="367" y="420"/>
                  </a:lnTo>
                  <a:lnTo>
                    <a:pt x="367" y="420"/>
                  </a:lnTo>
                  <a:lnTo>
                    <a:pt x="367" y="422"/>
                  </a:lnTo>
                  <a:lnTo>
                    <a:pt x="368" y="422"/>
                  </a:lnTo>
                  <a:lnTo>
                    <a:pt x="372" y="428"/>
                  </a:lnTo>
                  <a:lnTo>
                    <a:pt x="372" y="431"/>
                  </a:lnTo>
                  <a:lnTo>
                    <a:pt x="372" y="433"/>
                  </a:lnTo>
                  <a:lnTo>
                    <a:pt x="372" y="437"/>
                  </a:lnTo>
                  <a:lnTo>
                    <a:pt x="372" y="437"/>
                  </a:lnTo>
                  <a:lnTo>
                    <a:pt x="374" y="437"/>
                  </a:lnTo>
                  <a:lnTo>
                    <a:pt x="374" y="437"/>
                  </a:lnTo>
                  <a:lnTo>
                    <a:pt x="374" y="435"/>
                  </a:lnTo>
                  <a:lnTo>
                    <a:pt x="374" y="435"/>
                  </a:lnTo>
                  <a:lnTo>
                    <a:pt x="374" y="435"/>
                  </a:lnTo>
                  <a:lnTo>
                    <a:pt x="374" y="433"/>
                  </a:lnTo>
                  <a:lnTo>
                    <a:pt x="376" y="433"/>
                  </a:lnTo>
                  <a:lnTo>
                    <a:pt x="376" y="433"/>
                  </a:lnTo>
                  <a:lnTo>
                    <a:pt x="377" y="435"/>
                  </a:lnTo>
                  <a:lnTo>
                    <a:pt x="379" y="435"/>
                  </a:lnTo>
                  <a:lnTo>
                    <a:pt x="379" y="435"/>
                  </a:lnTo>
                  <a:lnTo>
                    <a:pt x="381" y="435"/>
                  </a:lnTo>
                  <a:lnTo>
                    <a:pt x="381" y="435"/>
                  </a:lnTo>
                  <a:lnTo>
                    <a:pt x="381" y="433"/>
                  </a:lnTo>
                  <a:lnTo>
                    <a:pt x="383" y="433"/>
                  </a:lnTo>
                  <a:lnTo>
                    <a:pt x="385" y="433"/>
                  </a:lnTo>
                  <a:lnTo>
                    <a:pt x="385" y="433"/>
                  </a:lnTo>
                  <a:lnTo>
                    <a:pt x="386" y="433"/>
                  </a:lnTo>
                  <a:lnTo>
                    <a:pt x="388" y="435"/>
                  </a:lnTo>
                  <a:lnTo>
                    <a:pt x="388" y="437"/>
                  </a:lnTo>
                  <a:lnTo>
                    <a:pt x="390" y="437"/>
                  </a:lnTo>
                  <a:lnTo>
                    <a:pt x="390" y="438"/>
                  </a:lnTo>
                  <a:lnTo>
                    <a:pt x="390" y="438"/>
                  </a:lnTo>
                  <a:lnTo>
                    <a:pt x="392" y="438"/>
                  </a:lnTo>
                  <a:lnTo>
                    <a:pt x="392" y="438"/>
                  </a:lnTo>
                  <a:lnTo>
                    <a:pt x="394" y="438"/>
                  </a:lnTo>
                  <a:lnTo>
                    <a:pt x="394" y="440"/>
                  </a:lnTo>
                  <a:lnTo>
                    <a:pt x="394" y="442"/>
                  </a:lnTo>
                  <a:lnTo>
                    <a:pt x="394" y="442"/>
                  </a:lnTo>
                  <a:lnTo>
                    <a:pt x="392" y="444"/>
                  </a:lnTo>
                  <a:lnTo>
                    <a:pt x="390" y="446"/>
                  </a:lnTo>
                  <a:lnTo>
                    <a:pt x="390" y="446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88" y="446"/>
                  </a:lnTo>
                  <a:lnTo>
                    <a:pt x="386" y="448"/>
                  </a:lnTo>
                  <a:lnTo>
                    <a:pt x="386" y="448"/>
                  </a:lnTo>
                  <a:lnTo>
                    <a:pt x="386" y="449"/>
                  </a:lnTo>
                  <a:lnTo>
                    <a:pt x="386" y="451"/>
                  </a:lnTo>
                  <a:lnTo>
                    <a:pt x="388" y="449"/>
                  </a:lnTo>
                  <a:lnTo>
                    <a:pt x="390" y="449"/>
                  </a:lnTo>
                  <a:lnTo>
                    <a:pt x="392" y="448"/>
                  </a:lnTo>
                  <a:lnTo>
                    <a:pt x="394" y="448"/>
                  </a:lnTo>
                  <a:lnTo>
                    <a:pt x="394" y="446"/>
                  </a:lnTo>
                  <a:lnTo>
                    <a:pt x="395" y="448"/>
                  </a:lnTo>
                  <a:lnTo>
                    <a:pt x="397" y="448"/>
                  </a:lnTo>
                  <a:lnTo>
                    <a:pt x="399" y="448"/>
                  </a:lnTo>
                  <a:lnTo>
                    <a:pt x="401" y="446"/>
                  </a:lnTo>
                  <a:lnTo>
                    <a:pt x="401" y="446"/>
                  </a:lnTo>
                  <a:lnTo>
                    <a:pt x="405" y="446"/>
                  </a:lnTo>
                  <a:lnTo>
                    <a:pt x="405" y="446"/>
                  </a:lnTo>
                  <a:lnTo>
                    <a:pt x="406" y="444"/>
                  </a:lnTo>
                  <a:lnTo>
                    <a:pt x="408" y="444"/>
                  </a:lnTo>
                  <a:lnTo>
                    <a:pt x="410" y="444"/>
                  </a:lnTo>
                  <a:lnTo>
                    <a:pt x="410" y="446"/>
                  </a:lnTo>
                  <a:lnTo>
                    <a:pt x="412" y="446"/>
                  </a:lnTo>
                  <a:lnTo>
                    <a:pt x="414" y="448"/>
                  </a:lnTo>
                  <a:lnTo>
                    <a:pt x="415" y="451"/>
                  </a:lnTo>
                  <a:lnTo>
                    <a:pt x="419" y="460"/>
                  </a:lnTo>
                  <a:lnTo>
                    <a:pt x="421" y="462"/>
                  </a:lnTo>
                  <a:lnTo>
                    <a:pt x="421" y="464"/>
                  </a:lnTo>
                  <a:lnTo>
                    <a:pt x="421" y="464"/>
                  </a:lnTo>
                  <a:lnTo>
                    <a:pt x="419" y="466"/>
                  </a:lnTo>
                  <a:lnTo>
                    <a:pt x="419" y="466"/>
                  </a:lnTo>
                  <a:lnTo>
                    <a:pt x="417" y="466"/>
                  </a:lnTo>
                  <a:lnTo>
                    <a:pt x="417" y="466"/>
                  </a:lnTo>
                  <a:lnTo>
                    <a:pt x="417" y="466"/>
                  </a:lnTo>
                  <a:lnTo>
                    <a:pt x="417" y="467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5" y="471"/>
                  </a:lnTo>
                  <a:lnTo>
                    <a:pt x="415" y="473"/>
                  </a:lnTo>
                  <a:lnTo>
                    <a:pt x="417" y="473"/>
                  </a:lnTo>
                  <a:lnTo>
                    <a:pt x="417" y="473"/>
                  </a:lnTo>
                  <a:lnTo>
                    <a:pt x="417" y="473"/>
                  </a:lnTo>
                  <a:lnTo>
                    <a:pt x="419" y="473"/>
                  </a:lnTo>
                  <a:lnTo>
                    <a:pt x="419" y="473"/>
                  </a:lnTo>
                  <a:lnTo>
                    <a:pt x="421" y="475"/>
                  </a:lnTo>
                  <a:lnTo>
                    <a:pt x="421" y="475"/>
                  </a:lnTo>
                  <a:lnTo>
                    <a:pt x="423" y="476"/>
                  </a:lnTo>
                  <a:lnTo>
                    <a:pt x="423" y="476"/>
                  </a:lnTo>
                  <a:lnTo>
                    <a:pt x="423" y="476"/>
                  </a:lnTo>
                  <a:lnTo>
                    <a:pt x="424" y="476"/>
                  </a:lnTo>
                  <a:lnTo>
                    <a:pt x="426" y="476"/>
                  </a:lnTo>
                  <a:lnTo>
                    <a:pt x="426" y="476"/>
                  </a:lnTo>
                  <a:lnTo>
                    <a:pt x="430" y="480"/>
                  </a:lnTo>
                  <a:lnTo>
                    <a:pt x="430" y="480"/>
                  </a:lnTo>
                  <a:lnTo>
                    <a:pt x="432" y="482"/>
                  </a:lnTo>
                  <a:lnTo>
                    <a:pt x="433" y="484"/>
                  </a:lnTo>
                  <a:lnTo>
                    <a:pt x="433" y="485"/>
                  </a:lnTo>
                  <a:lnTo>
                    <a:pt x="433" y="485"/>
                  </a:lnTo>
                  <a:lnTo>
                    <a:pt x="433" y="485"/>
                  </a:lnTo>
                  <a:lnTo>
                    <a:pt x="433" y="485"/>
                  </a:lnTo>
                  <a:lnTo>
                    <a:pt x="435" y="485"/>
                  </a:lnTo>
                  <a:lnTo>
                    <a:pt x="435" y="485"/>
                  </a:lnTo>
                  <a:lnTo>
                    <a:pt x="435" y="485"/>
                  </a:lnTo>
                  <a:lnTo>
                    <a:pt x="435" y="485"/>
                  </a:lnTo>
                  <a:lnTo>
                    <a:pt x="437" y="487"/>
                  </a:lnTo>
                  <a:lnTo>
                    <a:pt x="439" y="487"/>
                  </a:lnTo>
                  <a:lnTo>
                    <a:pt x="441" y="489"/>
                  </a:lnTo>
                  <a:lnTo>
                    <a:pt x="442" y="487"/>
                  </a:lnTo>
                  <a:lnTo>
                    <a:pt x="442" y="485"/>
                  </a:lnTo>
                  <a:lnTo>
                    <a:pt x="444" y="485"/>
                  </a:lnTo>
                  <a:lnTo>
                    <a:pt x="446" y="484"/>
                  </a:lnTo>
                  <a:lnTo>
                    <a:pt x="446" y="484"/>
                  </a:lnTo>
                  <a:lnTo>
                    <a:pt x="451" y="484"/>
                  </a:lnTo>
                  <a:lnTo>
                    <a:pt x="451" y="484"/>
                  </a:lnTo>
                  <a:lnTo>
                    <a:pt x="451" y="484"/>
                  </a:lnTo>
                  <a:lnTo>
                    <a:pt x="451" y="484"/>
                  </a:lnTo>
                  <a:lnTo>
                    <a:pt x="453" y="485"/>
                  </a:lnTo>
                  <a:lnTo>
                    <a:pt x="453" y="487"/>
                  </a:lnTo>
                  <a:lnTo>
                    <a:pt x="455" y="489"/>
                  </a:lnTo>
                  <a:lnTo>
                    <a:pt x="457" y="491"/>
                  </a:lnTo>
                  <a:lnTo>
                    <a:pt x="457" y="491"/>
                  </a:lnTo>
                  <a:lnTo>
                    <a:pt x="457" y="493"/>
                  </a:lnTo>
                  <a:lnTo>
                    <a:pt x="459" y="494"/>
                  </a:lnTo>
                  <a:lnTo>
                    <a:pt x="459" y="496"/>
                  </a:lnTo>
                  <a:lnTo>
                    <a:pt x="459" y="500"/>
                  </a:lnTo>
                  <a:lnTo>
                    <a:pt x="459" y="500"/>
                  </a:lnTo>
                  <a:lnTo>
                    <a:pt x="459" y="500"/>
                  </a:lnTo>
                  <a:lnTo>
                    <a:pt x="459" y="500"/>
                  </a:lnTo>
                  <a:lnTo>
                    <a:pt x="460" y="502"/>
                  </a:lnTo>
                  <a:lnTo>
                    <a:pt x="460" y="502"/>
                  </a:lnTo>
                  <a:lnTo>
                    <a:pt x="460" y="507"/>
                  </a:lnTo>
                  <a:lnTo>
                    <a:pt x="460" y="509"/>
                  </a:lnTo>
                  <a:lnTo>
                    <a:pt x="462" y="511"/>
                  </a:lnTo>
                  <a:lnTo>
                    <a:pt x="462" y="513"/>
                  </a:lnTo>
                  <a:lnTo>
                    <a:pt x="462" y="514"/>
                  </a:lnTo>
                  <a:lnTo>
                    <a:pt x="464" y="516"/>
                  </a:lnTo>
                  <a:lnTo>
                    <a:pt x="464" y="516"/>
                  </a:lnTo>
                  <a:lnTo>
                    <a:pt x="466" y="518"/>
                  </a:lnTo>
                  <a:lnTo>
                    <a:pt x="468" y="520"/>
                  </a:lnTo>
                  <a:lnTo>
                    <a:pt x="468" y="522"/>
                  </a:lnTo>
                  <a:lnTo>
                    <a:pt x="470" y="525"/>
                  </a:lnTo>
                  <a:lnTo>
                    <a:pt x="471" y="531"/>
                  </a:lnTo>
                  <a:lnTo>
                    <a:pt x="473" y="532"/>
                  </a:lnTo>
                  <a:lnTo>
                    <a:pt x="475" y="547"/>
                  </a:lnTo>
                  <a:lnTo>
                    <a:pt x="477" y="554"/>
                  </a:lnTo>
                  <a:lnTo>
                    <a:pt x="479" y="556"/>
                  </a:lnTo>
                  <a:lnTo>
                    <a:pt x="479" y="556"/>
                  </a:lnTo>
                  <a:lnTo>
                    <a:pt x="480" y="556"/>
                  </a:lnTo>
                  <a:lnTo>
                    <a:pt x="480" y="558"/>
                  </a:lnTo>
                  <a:lnTo>
                    <a:pt x="480" y="558"/>
                  </a:lnTo>
                  <a:lnTo>
                    <a:pt x="480" y="559"/>
                  </a:lnTo>
                  <a:lnTo>
                    <a:pt x="482" y="561"/>
                  </a:lnTo>
                  <a:lnTo>
                    <a:pt x="480" y="565"/>
                  </a:lnTo>
                  <a:lnTo>
                    <a:pt x="480" y="567"/>
                  </a:lnTo>
                  <a:lnTo>
                    <a:pt x="479" y="569"/>
                  </a:lnTo>
                  <a:lnTo>
                    <a:pt x="479" y="570"/>
                  </a:lnTo>
                  <a:lnTo>
                    <a:pt x="477" y="570"/>
                  </a:lnTo>
                  <a:lnTo>
                    <a:pt x="477" y="570"/>
                  </a:lnTo>
                  <a:lnTo>
                    <a:pt x="473" y="570"/>
                  </a:lnTo>
                  <a:lnTo>
                    <a:pt x="470" y="570"/>
                  </a:lnTo>
                  <a:lnTo>
                    <a:pt x="468" y="570"/>
                  </a:lnTo>
                  <a:lnTo>
                    <a:pt x="466" y="574"/>
                  </a:lnTo>
                  <a:lnTo>
                    <a:pt x="464" y="574"/>
                  </a:lnTo>
                  <a:lnTo>
                    <a:pt x="462" y="574"/>
                  </a:lnTo>
                  <a:lnTo>
                    <a:pt x="462" y="576"/>
                  </a:lnTo>
                  <a:lnTo>
                    <a:pt x="462" y="576"/>
                  </a:lnTo>
                  <a:lnTo>
                    <a:pt x="462" y="576"/>
                  </a:lnTo>
                  <a:lnTo>
                    <a:pt x="462" y="576"/>
                  </a:lnTo>
                  <a:lnTo>
                    <a:pt x="462" y="578"/>
                  </a:lnTo>
                  <a:lnTo>
                    <a:pt x="462" y="578"/>
                  </a:lnTo>
                  <a:lnTo>
                    <a:pt x="464" y="578"/>
                  </a:lnTo>
                  <a:lnTo>
                    <a:pt x="464" y="578"/>
                  </a:lnTo>
                  <a:lnTo>
                    <a:pt x="466" y="579"/>
                  </a:lnTo>
                  <a:lnTo>
                    <a:pt x="466" y="581"/>
                  </a:lnTo>
                  <a:lnTo>
                    <a:pt x="466" y="583"/>
                  </a:lnTo>
                  <a:lnTo>
                    <a:pt x="466" y="587"/>
                  </a:lnTo>
                  <a:lnTo>
                    <a:pt x="462" y="594"/>
                  </a:lnTo>
                  <a:lnTo>
                    <a:pt x="460" y="597"/>
                  </a:lnTo>
                  <a:lnTo>
                    <a:pt x="460" y="597"/>
                  </a:lnTo>
                  <a:lnTo>
                    <a:pt x="460" y="597"/>
                  </a:lnTo>
                  <a:lnTo>
                    <a:pt x="460" y="597"/>
                  </a:lnTo>
                  <a:lnTo>
                    <a:pt x="459" y="599"/>
                  </a:lnTo>
                  <a:lnTo>
                    <a:pt x="455" y="601"/>
                  </a:lnTo>
                  <a:lnTo>
                    <a:pt x="453" y="601"/>
                  </a:lnTo>
                  <a:lnTo>
                    <a:pt x="451" y="603"/>
                  </a:lnTo>
                  <a:lnTo>
                    <a:pt x="451" y="605"/>
                  </a:lnTo>
                  <a:lnTo>
                    <a:pt x="453" y="606"/>
                  </a:lnTo>
                  <a:lnTo>
                    <a:pt x="453" y="606"/>
                  </a:lnTo>
                  <a:lnTo>
                    <a:pt x="451" y="608"/>
                  </a:lnTo>
                  <a:lnTo>
                    <a:pt x="451" y="610"/>
                  </a:lnTo>
                  <a:lnTo>
                    <a:pt x="451" y="610"/>
                  </a:lnTo>
                  <a:lnTo>
                    <a:pt x="451" y="612"/>
                  </a:lnTo>
                  <a:lnTo>
                    <a:pt x="453" y="614"/>
                  </a:lnTo>
                  <a:lnTo>
                    <a:pt x="451" y="614"/>
                  </a:lnTo>
                  <a:lnTo>
                    <a:pt x="451" y="615"/>
                  </a:lnTo>
                  <a:lnTo>
                    <a:pt x="453" y="617"/>
                  </a:lnTo>
                  <a:lnTo>
                    <a:pt x="453" y="619"/>
                  </a:lnTo>
                  <a:lnTo>
                    <a:pt x="455" y="619"/>
                  </a:lnTo>
                  <a:lnTo>
                    <a:pt x="455" y="621"/>
                  </a:lnTo>
                  <a:lnTo>
                    <a:pt x="457" y="621"/>
                  </a:lnTo>
                  <a:lnTo>
                    <a:pt x="459" y="621"/>
                  </a:lnTo>
                  <a:lnTo>
                    <a:pt x="468" y="621"/>
                  </a:lnTo>
                  <a:lnTo>
                    <a:pt x="470" y="621"/>
                  </a:lnTo>
                  <a:lnTo>
                    <a:pt x="471" y="621"/>
                  </a:lnTo>
                  <a:lnTo>
                    <a:pt x="473" y="621"/>
                  </a:lnTo>
                  <a:lnTo>
                    <a:pt x="475" y="621"/>
                  </a:lnTo>
                  <a:lnTo>
                    <a:pt x="475" y="619"/>
                  </a:lnTo>
                  <a:lnTo>
                    <a:pt x="475" y="619"/>
                  </a:lnTo>
                  <a:lnTo>
                    <a:pt x="475" y="617"/>
                  </a:lnTo>
                  <a:lnTo>
                    <a:pt x="477" y="615"/>
                  </a:lnTo>
                  <a:lnTo>
                    <a:pt x="479" y="610"/>
                  </a:lnTo>
                  <a:lnTo>
                    <a:pt x="479" y="606"/>
                  </a:lnTo>
                  <a:lnTo>
                    <a:pt x="486" y="599"/>
                  </a:lnTo>
                  <a:lnTo>
                    <a:pt x="488" y="597"/>
                  </a:lnTo>
                  <a:lnTo>
                    <a:pt x="491" y="596"/>
                  </a:lnTo>
                  <a:lnTo>
                    <a:pt x="493" y="594"/>
                  </a:lnTo>
                  <a:lnTo>
                    <a:pt x="495" y="592"/>
                  </a:lnTo>
                  <a:lnTo>
                    <a:pt x="495" y="592"/>
                  </a:lnTo>
                  <a:lnTo>
                    <a:pt x="497" y="592"/>
                  </a:lnTo>
                  <a:lnTo>
                    <a:pt x="498" y="590"/>
                  </a:lnTo>
                  <a:lnTo>
                    <a:pt x="498" y="588"/>
                  </a:lnTo>
                  <a:lnTo>
                    <a:pt x="498" y="585"/>
                  </a:lnTo>
                  <a:lnTo>
                    <a:pt x="498" y="583"/>
                  </a:lnTo>
                  <a:lnTo>
                    <a:pt x="498" y="578"/>
                  </a:lnTo>
                  <a:lnTo>
                    <a:pt x="498" y="574"/>
                  </a:lnTo>
                  <a:lnTo>
                    <a:pt x="498" y="572"/>
                  </a:lnTo>
                  <a:lnTo>
                    <a:pt x="498" y="572"/>
                  </a:lnTo>
                  <a:lnTo>
                    <a:pt x="497" y="572"/>
                  </a:lnTo>
                  <a:lnTo>
                    <a:pt x="497" y="570"/>
                  </a:lnTo>
                  <a:lnTo>
                    <a:pt x="498" y="569"/>
                  </a:lnTo>
                  <a:lnTo>
                    <a:pt x="498" y="569"/>
                  </a:lnTo>
                  <a:lnTo>
                    <a:pt x="498" y="567"/>
                  </a:lnTo>
                  <a:lnTo>
                    <a:pt x="500" y="565"/>
                  </a:lnTo>
                  <a:lnTo>
                    <a:pt x="500" y="565"/>
                  </a:lnTo>
                  <a:lnTo>
                    <a:pt x="504" y="563"/>
                  </a:lnTo>
                  <a:lnTo>
                    <a:pt x="504" y="563"/>
                  </a:lnTo>
                  <a:lnTo>
                    <a:pt x="504" y="561"/>
                  </a:lnTo>
                  <a:lnTo>
                    <a:pt x="507" y="559"/>
                  </a:lnTo>
                  <a:lnTo>
                    <a:pt x="513" y="558"/>
                  </a:lnTo>
                  <a:lnTo>
                    <a:pt x="516" y="556"/>
                  </a:lnTo>
                  <a:lnTo>
                    <a:pt x="518" y="556"/>
                  </a:lnTo>
                  <a:lnTo>
                    <a:pt x="520" y="556"/>
                  </a:lnTo>
                  <a:lnTo>
                    <a:pt x="520" y="558"/>
                  </a:lnTo>
                  <a:lnTo>
                    <a:pt x="522" y="559"/>
                  </a:lnTo>
                  <a:lnTo>
                    <a:pt x="522" y="558"/>
                  </a:lnTo>
                  <a:lnTo>
                    <a:pt x="524" y="558"/>
                  </a:lnTo>
                  <a:lnTo>
                    <a:pt x="526" y="558"/>
                  </a:lnTo>
                  <a:lnTo>
                    <a:pt x="526" y="559"/>
                  </a:lnTo>
                  <a:lnTo>
                    <a:pt x="526" y="558"/>
                  </a:lnTo>
                  <a:lnTo>
                    <a:pt x="527" y="558"/>
                  </a:lnTo>
                  <a:lnTo>
                    <a:pt x="527" y="558"/>
                  </a:lnTo>
                  <a:lnTo>
                    <a:pt x="527" y="556"/>
                  </a:lnTo>
                  <a:lnTo>
                    <a:pt x="529" y="556"/>
                  </a:lnTo>
                  <a:lnTo>
                    <a:pt x="529" y="554"/>
                  </a:lnTo>
                  <a:lnTo>
                    <a:pt x="529" y="552"/>
                  </a:lnTo>
                  <a:lnTo>
                    <a:pt x="529" y="552"/>
                  </a:lnTo>
                  <a:lnTo>
                    <a:pt x="529" y="550"/>
                  </a:lnTo>
                  <a:lnTo>
                    <a:pt x="531" y="550"/>
                  </a:lnTo>
                  <a:lnTo>
                    <a:pt x="529" y="550"/>
                  </a:lnTo>
                  <a:lnTo>
                    <a:pt x="527" y="550"/>
                  </a:lnTo>
                  <a:lnTo>
                    <a:pt x="527" y="550"/>
                  </a:lnTo>
                  <a:lnTo>
                    <a:pt x="527" y="549"/>
                  </a:lnTo>
                  <a:lnTo>
                    <a:pt x="527" y="547"/>
                  </a:lnTo>
                  <a:lnTo>
                    <a:pt x="526" y="545"/>
                  </a:lnTo>
                  <a:lnTo>
                    <a:pt x="527" y="541"/>
                  </a:lnTo>
                  <a:lnTo>
                    <a:pt x="527" y="540"/>
                  </a:lnTo>
                  <a:lnTo>
                    <a:pt x="527" y="538"/>
                  </a:lnTo>
                  <a:lnTo>
                    <a:pt x="527" y="536"/>
                  </a:lnTo>
                  <a:lnTo>
                    <a:pt x="526" y="536"/>
                  </a:lnTo>
                  <a:lnTo>
                    <a:pt x="526" y="536"/>
                  </a:lnTo>
                  <a:lnTo>
                    <a:pt x="526" y="534"/>
                  </a:lnTo>
                  <a:lnTo>
                    <a:pt x="526" y="531"/>
                  </a:lnTo>
                  <a:lnTo>
                    <a:pt x="529" y="527"/>
                  </a:lnTo>
                  <a:lnTo>
                    <a:pt x="527" y="527"/>
                  </a:lnTo>
                  <a:lnTo>
                    <a:pt x="526" y="525"/>
                  </a:lnTo>
                  <a:lnTo>
                    <a:pt x="524" y="523"/>
                  </a:lnTo>
                  <a:lnTo>
                    <a:pt x="522" y="523"/>
                  </a:lnTo>
                  <a:lnTo>
                    <a:pt x="522" y="522"/>
                  </a:lnTo>
                  <a:lnTo>
                    <a:pt x="520" y="522"/>
                  </a:lnTo>
                  <a:lnTo>
                    <a:pt x="520" y="522"/>
                  </a:lnTo>
                  <a:lnTo>
                    <a:pt x="518" y="522"/>
                  </a:lnTo>
                  <a:lnTo>
                    <a:pt x="518" y="520"/>
                  </a:lnTo>
                  <a:lnTo>
                    <a:pt x="515" y="518"/>
                  </a:lnTo>
                  <a:lnTo>
                    <a:pt x="513" y="516"/>
                  </a:lnTo>
                  <a:lnTo>
                    <a:pt x="513" y="516"/>
                  </a:lnTo>
                  <a:lnTo>
                    <a:pt x="511" y="516"/>
                  </a:lnTo>
                  <a:lnTo>
                    <a:pt x="511" y="514"/>
                  </a:lnTo>
                  <a:lnTo>
                    <a:pt x="511" y="514"/>
                  </a:lnTo>
                  <a:lnTo>
                    <a:pt x="509" y="513"/>
                  </a:lnTo>
                  <a:lnTo>
                    <a:pt x="507" y="513"/>
                  </a:lnTo>
                  <a:lnTo>
                    <a:pt x="502" y="513"/>
                  </a:lnTo>
                  <a:lnTo>
                    <a:pt x="500" y="511"/>
                  </a:lnTo>
                  <a:lnTo>
                    <a:pt x="498" y="511"/>
                  </a:lnTo>
                  <a:lnTo>
                    <a:pt x="497" y="509"/>
                  </a:lnTo>
                  <a:lnTo>
                    <a:pt x="497" y="507"/>
                  </a:lnTo>
                  <a:lnTo>
                    <a:pt x="497" y="505"/>
                  </a:lnTo>
                  <a:lnTo>
                    <a:pt x="495" y="503"/>
                  </a:lnTo>
                  <a:lnTo>
                    <a:pt x="495" y="502"/>
                  </a:lnTo>
                  <a:lnTo>
                    <a:pt x="495" y="500"/>
                  </a:lnTo>
                  <a:lnTo>
                    <a:pt x="495" y="498"/>
                  </a:lnTo>
                  <a:lnTo>
                    <a:pt x="497" y="496"/>
                  </a:lnTo>
                  <a:lnTo>
                    <a:pt x="500" y="493"/>
                  </a:lnTo>
                  <a:lnTo>
                    <a:pt x="500" y="491"/>
                  </a:lnTo>
                  <a:lnTo>
                    <a:pt x="502" y="491"/>
                  </a:lnTo>
                  <a:lnTo>
                    <a:pt x="502" y="491"/>
                  </a:lnTo>
                  <a:lnTo>
                    <a:pt x="500" y="489"/>
                  </a:lnTo>
                  <a:lnTo>
                    <a:pt x="500" y="485"/>
                  </a:lnTo>
                  <a:lnTo>
                    <a:pt x="500" y="485"/>
                  </a:lnTo>
                  <a:lnTo>
                    <a:pt x="500" y="482"/>
                  </a:lnTo>
                  <a:lnTo>
                    <a:pt x="502" y="480"/>
                  </a:lnTo>
                  <a:lnTo>
                    <a:pt x="502" y="480"/>
                  </a:lnTo>
                  <a:lnTo>
                    <a:pt x="504" y="478"/>
                  </a:lnTo>
                  <a:lnTo>
                    <a:pt x="506" y="475"/>
                  </a:lnTo>
                  <a:lnTo>
                    <a:pt x="507" y="475"/>
                  </a:lnTo>
                  <a:lnTo>
                    <a:pt x="507" y="475"/>
                  </a:lnTo>
                  <a:lnTo>
                    <a:pt x="507" y="471"/>
                  </a:lnTo>
                  <a:lnTo>
                    <a:pt x="509" y="467"/>
                  </a:lnTo>
                  <a:lnTo>
                    <a:pt x="513" y="462"/>
                  </a:lnTo>
                  <a:lnTo>
                    <a:pt x="516" y="458"/>
                  </a:lnTo>
                  <a:lnTo>
                    <a:pt x="518" y="457"/>
                  </a:lnTo>
                  <a:lnTo>
                    <a:pt x="522" y="455"/>
                  </a:lnTo>
                  <a:lnTo>
                    <a:pt x="527" y="455"/>
                  </a:lnTo>
                  <a:lnTo>
                    <a:pt x="527" y="455"/>
                  </a:lnTo>
                  <a:lnTo>
                    <a:pt x="527" y="455"/>
                  </a:lnTo>
                  <a:lnTo>
                    <a:pt x="529" y="455"/>
                  </a:lnTo>
                  <a:lnTo>
                    <a:pt x="529" y="455"/>
                  </a:lnTo>
                  <a:lnTo>
                    <a:pt x="529" y="457"/>
                  </a:lnTo>
                  <a:lnTo>
                    <a:pt x="529" y="457"/>
                  </a:lnTo>
                  <a:lnTo>
                    <a:pt x="529" y="457"/>
                  </a:lnTo>
                  <a:lnTo>
                    <a:pt x="531" y="457"/>
                  </a:lnTo>
                  <a:lnTo>
                    <a:pt x="531" y="455"/>
                  </a:lnTo>
                  <a:lnTo>
                    <a:pt x="533" y="455"/>
                  </a:lnTo>
                  <a:lnTo>
                    <a:pt x="535" y="455"/>
                  </a:lnTo>
                  <a:lnTo>
                    <a:pt x="533" y="457"/>
                  </a:lnTo>
                  <a:lnTo>
                    <a:pt x="533" y="457"/>
                  </a:lnTo>
                  <a:lnTo>
                    <a:pt x="536" y="455"/>
                  </a:lnTo>
                  <a:lnTo>
                    <a:pt x="536" y="455"/>
                  </a:lnTo>
                  <a:lnTo>
                    <a:pt x="536" y="457"/>
                  </a:lnTo>
                  <a:lnTo>
                    <a:pt x="535" y="457"/>
                  </a:lnTo>
                  <a:lnTo>
                    <a:pt x="533" y="457"/>
                  </a:lnTo>
                  <a:lnTo>
                    <a:pt x="531" y="457"/>
                  </a:lnTo>
                  <a:lnTo>
                    <a:pt x="533" y="458"/>
                  </a:lnTo>
                  <a:lnTo>
                    <a:pt x="533" y="458"/>
                  </a:lnTo>
                  <a:lnTo>
                    <a:pt x="531" y="460"/>
                  </a:lnTo>
                  <a:lnTo>
                    <a:pt x="531" y="460"/>
                  </a:lnTo>
                  <a:lnTo>
                    <a:pt x="531" y="462"/>
                  </a:lnTo>
                  <a:lnTo>
                    <a:pt x="533" y="462"/>
                  </a:lnTo>
                  <a:lnTo>
                    <a:pt x="535" y="464"/>
                  </a:lnTo>
                  <a:lnTo>
                    <a:pt x="538" y="466"/>
                  </a:lnTo>
                  <a:lnTo>
                    <a:pt x="538" y="466"/>
                  </a:lnTo>
                  <a:lnTo>
                    <a:pt x="538" y="466"/>
                  </a:lnTo>
                  <a:lnTo>
                    <a:pt x="540" y="466"/>
                  </a:lnTo>
                  <a:lnTo>
                    <a:pt x="540" y="466"/>
                  </a:lnTo>
                  <a:lnTo>
                    <a:pt x="540" y="466"/>
                  </a:lnTo>
                  <a:lnTo>
                    <a:pt x="542" y="466"/>
                  </a:lnTo>
                  <a:lnTo>
                    <a:pt x="542" y="466"/>
                  </a:lnTo>
                  <a:lnTo>
                    <a:pt x="545" y="467"/>
                  </a:lnTo>
                  <a:lnTo>
                    <a:pt x="545" y="467"/>
                  </a:lnTo>
                  <a:lnTo>
                    <a:pt x="563" y="469"/>
                  </a:lnTo>
                  <a:lnTo>
                    <a:pt x="563" y="469"/>
                  </a:lnTo>
                  <a:lnTo>
                    <a:pt x="565" y="471"/>
                  </a:lnTo>
                  <a:lnTo>
                    <a:pt x="565" y="471"/>
                  </a:lnTo>
                  <a:lnTo>
                    <a:pt x="565" y="471"/>
                  </a:lnTo>
                  <a:lnTo>
                    <a:pt x="565" y="473"/>
                  </a:lnTo>
                  <a:lnTo>
                    <a:pt x="567" y="473"/>
                  </a:lnTo>
                  <a:lnTo>
                    <a:pt x="567" y="475"/>
                  </a:lnTo>
                  <a:lnTo>
                    <a:pt x="567" y="476"/>
                  </a:lnTo>
                  <a:lnTo>
                    <a:pt x="567" y="476"/>
                  </a:lnTo>
                  <a:lnTo>
                    <a:pt x="567" y="478"/>
                  </a:lnTo>
                  <a:lnTo>
                    <a:pt x="569" y="478"/>
                  </a:lnTo>
                  <a:lnTo>
                    <a:pt x="571" y="480"/>
                  </a:lnTo>
                  <a:lnTo>
                    <a:pt x="571" y="482"/>
                  </a:lnTo>
                  <a:lnTo>
                    <a:pt x="571" y="484"/>
                  </a:lnTo>
                  <a:lnTo>
                    <a:pt x="569" y="484"/>
                  </a:lnTo>
                  <a:lnTo>
                    <a:pt x="569" y="485"/>
                  </a:lnTo>
                  <a:lnTo>
                    <a:pt x="571" y="485"/>
                  </a:lnTo>
                  <a:lnTo>
                    <a:pt x="571" y="485"/>
                  </a:lnTo>
                  <a:lnTo>
                    <a:pt x="571" y="487"/>
                  </a:lnTo>
                  <a:lnTo>
                    <a:pt x="571" y="487"/>
                  </a:lnTo>
                  <a:lnTo>
                    <a:pt x="571" y="487"/>
                  </a:lnTo>
                  <a:lnTo>
                    <a:pt x="571" y="487"/>
                  </a:lnTo>
                  <a:lnTo>
                    <a:pt x="571" y="489"/>
                  </a:lnTo>
                  <a:lnTo>
                    <a:pt x="571" y="489"/>
                  </a:lnTo>
                  <a:lnTo>
                    <a:pt x="574" y="494"/>
                  </a:lnTo>
                  <a:lnTo>
                    <a:pt x="574" y="494"/>
                  </a:lnTo>
                  <a:lnTo>
                    <a:pt x="574" y="494"/>
                  </a:lnTo>
                  <a:lnTo>
                    <a:pt x="576" y="496"/>
                  </a:lnTo>
                  <a:lnTo>
                    <a:pt x="578" y="496"/>
                  </a:lnTo>
                  <a:lnTo>
                    <a:pt x="580" y="498"/>
                  </a:lnTo>
                  <a:lnTo>
                    <a:pt x="581" y="498"/>
                  </a:lnTo>
                  <a:lnTo>
                    <a:pt x="581" y="498"/>
                  </a:lnTo>
                  <a:lnTo>
                    <a:pt x="583" y="498"/>
                  </a:lnTo>
                  <a:lnTo>
                    <a:pt x="585" y="498"/>
                  </a:lnTo>
                  <a:lnTo>
                    <a:pt x="587" y="500"/>
                  </a:lnTo>
                  <a:lnTo>
                    <a:pt x="587" y="502"/>
                  </a:lnTo>
                  <a:lnTo>
                    <a:pt x="587" y="502"/>
                  </a:lnTo>
                  <a:lnTo>
                    <a:pt x="589" y="502"/>
                  </a:lnTo>
                  <a:lnTo>
                    <a:pt x="589" y="502"/>
                  </a:lnTo>
                  <a:lnTo>
                    <a:pt x="589" y="500"/>
                  </a:lnTo>
                  <a:lnTo>
                    <a:pt x="591" y="500"/>
                  </a:lnTo>
                  <a:lnTo>
                    <a:pt x="591" y="500"/>
                  </a:lnTo>
                  <a:lnTo>
                    <a:pt x="591" y="496"/>
                  </a:lnTo>
                  <a:lnTo>
                    <a:pt x="591" y="494"/>
                  </a:lnTo>
                  <a:lnTo>
                    <a:pt x="591" y="493"/>
                  </a:lnTo>
                  <a:lnTo>
                    <a:pt x="591" y="493"/>
                  </a:lnTo>
                  <a:lnTo>
                    <a:pt x="591" y="491"/>
                  </a:lnTo>
                  <a:lnTo>
                    <a:pt x="591" y="491"/>
                  </a:lnTo>
                  <a:lnTo>
                    <a:pt x="591" y="489"/>
                  </a:lnTo>
                  <a:lnTo>
                    <a:pt x="592" y="487"/>
                  </a:lnTo>
                  <a:lnTo>
                    <a:pt x="594" y="485"/>
                  </a:lnTo>
                  <a:lnTo>
                    <a:pt x="594" y="484"/>
                  </a:lnTo>
                  <a:lnTo>
                    <a:pt x="594" y="482"/>
                  </a:lnTo>
                  <a:lnTo>
                    <a:pt x="596" y="482"/>
                  </a:lnTo>
                  <a:lnTo>
                    <a:pt x="596" y="482"/>
                  </a:lnTo>
                  <a:lnTo>
                    <a:pt x="596" y="480"/>
                  </a:lnTo>
                  <a:lnTo>
                    <a:pt x="596" y="480"/>
                  </a:lnTo>
                  <a:close/>
                  <a:moveTo>
                    <a:pt x="294" y="224"/>
                  </a:moveTo>
                  <a:lnTo>
                    <a:pt x="294" y="224"/>
                  </a:lnTo>
                  <a:lnTo>
                    <a:pt x="294" y="224"/>
                  </a:lnTo>
                  <a:lnTo>
                    <a:pt x="294" y="225"/>
                  </a:lnTo>
                  <a:lnTo>
                    <a:pt x="294" y="225"/>
                  </a:lnTo>
                  <a:lnTo>
                    <a:pt x="294" y="225"/>
                  </a:lnTo>
                  <a:lnTo>
                    <a:pt x="294" y="225"/>
                  </a:lnTo>
                  <a:lnTo>
                    <a:pt x="293" y="227"/>
                  </a:lnTo>
                  <a:lnTo>
                    <a:pt x="291" y="227"/>
                  </a:lnTo>
                  <a:lnTo>
                    <a:pt x="291" y="225"/>
                  </a:lnTo>
                  <a:lnTo>
                    <a:pt x="289" y="225"/>
                  </a:lnTo>
                  <a:lnTo>
                    <a:pt x="289" y="224"/>
                  </a:lnTo>
                  <a:lnTo>
                    <a:pt x="291" y="222"/>
                  </a:lnTo>
                  <a:lnTo>
                    <a:pt x="291" y="222"/>
                  </a:lnTo>
                  <a:lnTo>
                    <a:pt x="293" y="220"/>
                  </a:lnTo>
                  <a:lnTo>
                    <a:pt x="294" y="220"/>
                  </a:lnTo>
                  <a:lnTo>
                    <a:pt x="294" y="222"/>
                  </a:lnTo>
                  <a:lnTo>
                    <a:pt x="294" y="222"/>
                  </a:lnTo>
                  <a:lnTo>
                    <a:pt x="294" y="224"/>
                  </a:lnTo>
                  <a:close/>
                  <a:moveTo>
                    <a:pt x="287" y="119"/>
                  </a:moveTo>
                  <a:lnTo>
                    <a:pt x="289" y="119"/>
                  </a:lnTo>
                  <a:lnTo>
                    <a:pt x="289" y="117"/>
                  </a:lnTo>
                  <a:lnTo>
                    <a:pt x="287" y="117"/>
                  </a:lnTo>
                  <a:lnTo>
                    <a:pt x="287" y="117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7" y="119"/>
                  </a:lnTo>
                  <a:lnTo>
                    <a:pt x="287" y="119"/>
                  </a:lnTo>
                  <a:close/>
                  <a:moveTo>
                    <a:pt x="289" y="119"/>
                  </a:moveTo>
                  <a:lnTo>
                    <a:pt x="291" y="119"/>
                  </a:lnTo>
                  <a:lnTo>
                    <a:pt x="291" y="119"/>
                  </a:lnTo>
                  <a:lnTo>
                    <a:pt x="291" y="121"/>
                  </a:lnTo>
                  <a:lnTo>
                    <a:pt x="291" y="119"/>
                  </a:lnTo>
                  <a:lnTo>
                    <a:pt x="289" y="119"/>
                  </a:lnTo>
                  <a:lnTo>
                    <a:pt x="289" y="119"/>
                  </a:lnTo>
                  <a:lnTo>
                    <a:pt x="287" y="121"/>
                  </a:lnTo>
                  <a:lnTo>
                    <a:pt x="287" y="122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9" y="119"/>
                  </a:lnTo>
                  <a:close/>
                  <a:moveTo>
                    <a:pt x="414" y="581"/>
                  </a:moveTo>
                  <a:lnTo>
                    <a:pt x="414" y="581"/>
                  </a:lnTo>
                  <a:lnTo>
                    <a:pt x="414" y="581"/>
                  </a:lnTo>
                  <a:lnTo>
                    <a:pt x="414" y="581"/>
                  </a:lnTo>
                  <a:lnTo>
                    <a:pt x="414" y="579"/>
                  </a:lnTo>
                  <a:lnTo>
                    <a:pt x="414" y="579"/>
                  </a:lnTo>
                  <a:lnTo>
                    <a:pt x="414" y="579"/>
                  </a:lnTo>
                  <a:lnTo>
                    <a:pt x="412" y="579"/>
                  </a:lnTo>
                  <a:lnTo>
                    <a:pt x="410" y="579"/>
                  </a:lnTo>
                  <a:lnTo>
                    <a:pt x="412" y="581"/>
                  </a:lnTo>
                  <a:lnTo>
                    <a:pt x="414" y="581"/>
                  </a:lnTo>
                  <a:close/>
                  <a:moveTo>
                    <a:pt x="341" y="435"/>
                  </a:moveTo>
                  <a:lnTo>
                    <a:pt x="341" y="437"/>
                  </a:lnTo>
                  <a:lnTo>
                    <a:pt x="341" y="437"/>
                  </a:lnTo>
                  <a:lnTo>
                    <a:pt x="341" y="437"/>
                  </a:lnTo>
                  <a:lnTo>
                    <a:pt x="341" y="435"/>
                  </a:lnTo>
                  <a:lnTo>
                    <a:pt x="341" y="435"/>
                  </a:lnTo>
                  <a:close/>
                  <a:moveTo>
                    <a:pt x="329" y="572"/>
                  </a:moveTo>
                  <a:lnTo>
                    <a:pt x="330" y="572"/>
                  </a:lnTo>
                  <a:lnTo>
                    <a:pt x="330" y="570"/>
                  </a:lnTo>
                  <a:lnTo>
                    <a:pt x="329" y="570"/>
                  </a:lnTo>
                  <a:lnTo>
                    <a:pt x="329" y="570"/>
                  </a:lnTo>
                  <a:lnTo>
                    <a:pt x="329" y="570"/>
                  </a:lnTo>
                  <a:lnTo>
                    <a:pt x="327" y="572"/>
                  </a:lnTo>
                  <a:lnTo>
                    <a:pt x="327" y="572"/>
                  </a:lnTo>
                  <a:lnTo>
                    <a:pt x="329" y="572"/>
                  </a:lnTo>
                  <a:lnTo>
                    <a:pt x="329" y="572"/>
                  </a:lnTo>
                  <a:close/>
                  <a:moveTo>
                    <a:pt x="399" y="581"/>
                  </a:moveTo>
                  <a:lnTo>
                    <a:pt x="399" y="581"/>
                  </a:lnTo>
                  <a:lnTo>
                    <a:pt x="399" y="581"/>
                  </a:lnTo>
                  <a:lnTo>
                    <a:pt x="399" y="581"/>
                  </a:lnTo>
                  <a:lnTo>
                    <a:pt x="399" y="579"/>
                  </a:lnTo>
                  <a:lnTo>
                    <a:pt x="399" y="579"/>
                  </a:lnTo>
                  <a:lnTo>
                    <a:pt x="397" y="579"/>
                  </a:lnTo>
                  <a:lnTo>
                    <a:pt x="397" y="579"/>
                  </a:lnTo>
                  <a:lnTo>
                    <a:pt x="397" y="579"/>
                  </a:lnTo>
                  <a:lnTo>
                    <a:pt x="397" y="581"/>
                  </a:lnTo>
                  <a:lnTo>
                    <a:pt x="399" y="581"/>
                  </a:lnTo>
                  <a:close/>
                  <a:moveTo>
                    <a:pt x="448" y="601"/>
                  </a:moveTo>
                  <a:lnTo>
                    <a:pt x="450" y="601"/>
                  </a:lnTo>
                  <a:lnTo>
                    <a:pt x="451" y="599"/>
                  </a:lnTo>
                  <a:lnTo>
                    <a:pt x="451" y="599"/>
                  </a:lnTo>
                  <a:lnTo>
                    <a:pt x="451" y="599"/>
                  </a:lnTo>
                  <a:lnTo>
                    <a:pt x="453" y="599"/>
                  </a:lnTo>
                  <a:lnTo>
                    <a:pt x="453" y="599"/>
                  </a:lnTo>
                  <a:lnTo>
                    <a:pt x="451" y="599"/>
                  </a:lnTo>
                  <a:lnTo>
                    <a:pt x="448" y="597"/>
                  </a:lnTo>
                  <a:lnTo>
                    <a:pt x="446" y="597"/>
                  </a:lnTo>
                  <a:lnTo>
                    <a:pt x="446" y="597"/>
                  </a:lnTo>
                  <a:lnTo>
                    <a:pt x="444" y="599"/>
                  </a:lnTo>
                  <a:lnTo>
                    <a:pt x="442" y="601"/>
                  </a:lnTo>
                  <a:lnTo>
                    <a:pt x="441" y="601"/>
                  </a:lnTo>
                  <a:lnTo>
                    <a:pt x="441" y="601"/>
                  </a:lnTo>
                  <a:lnTo>
                    <a:pt x="437" y="603"/>
                  </a:lnTo>
                  <a:lnTo>
                    <a:pt x="435" y="603"/>
                  </a:lnTo>
                  <a:lnTo>
                    <a:pt x="433" y="603"/>
                  </a:lnTo>
                  <a:lnTo>
                    <a:pt x="433" y="603"/>
                  </a:lnTo>
                  <a:lnTo>
                    <a:pt x="432" y="603"/>
                  </a:lnTo>
                  <a:lnTo>
                    <a:pt x="432" y="601"/>
                  </a:lnTo>
                  <a:lnTo>
                    <a:pt x="432" y="601"/>
                  </a:lnTo>
                  <a:lnTo>
                    <a:pt x="432" y="599"/>
                  </a:lnTo>
                  <a:lnTo>
                    <a:pt x="432" y="599"/>
                  </a:lnTo>
                  <a:lnTo>
                    <a:pt x="432" y="599"/>
                  </a:lnTo>
                  <a:lnTo>
                    <a:pt x="432" y="601"/>
                  </a:lnTo>
                  <a:lnTo>
                    <a:pt x="432" y="601"/>
                  </a:lnTo>
                  <a:lnTo>
                    <a:pt x="432" y="601"/>
                  </a:lnTo>
                  <a:lnTo>
                    <a:pt x="432" y="601"/>
                  </a:lnTo>
                  <a:lnTo>
                    <a:pt x="430" y="605"/>
                  </a:lnTo>
                  <a:lnTo>
                    <a:pt x="430" y="606"/>
                  </a:lnTo>
                  <a:lnTo>
                    <a:pt x="426" y="606"/>
                  </a:lnTo>
                  <a:lnTo>
                    <a:pt x="426" y="608"/>
                  </a:lnTo>
                  <a:lnTo>
                    <a:pt x="424" y="608"/>
                  </a:lnTo>
                  <a:lnTo>
                    <a:pt x="424" y="608"/>
                  </a:lnTo>
                  <a:lnTo>
                    <a:pt x="423" y="608"/>
                  </a:lnTo>
                  <a:lnTo>
                    <a:pt x="423" y="606"/>
                  </a:lnTo>
                  <a:lnTo>
                    <a:pt x="423" y="606"/>
                  </a:lnTo>
                  <a:lnTo>
                    <a:pt x="423" y="606"/>
                  </a:lnTo>
                  <a:lnTo>
                    <a:pt x="421" y="606"/>
                  </a:lnTo>
                  <a:lnTo>
                    <a:pt x="419" y="606"/>
                  </a:lnTo>
                  <a:lnTo>
                    <a:pt x="419" y="606"/>
                  </a:lnTo>
                  <a:lnTo>
                    <a:pt x="419" y="606"/>
                  </a:lnTo>
                  <a:lnTo>
                    <a:pt x="417" y="605"/>
                  </a:lnTo>
                  <a:lnTo>
                    <a:pt x="417" y="605"/>
                  </a:lnTo>
                  <a:lnTo>
                    <a:pt x="415" y="605"/>
                  </a:lnTo>
                  <a:lnTo>
                    <a:pt x="415" y="605"/>
                  </a:lnTo>
                  <a:lnTo>
                    <a:pt x="415" y="605"/>
                  </a:lnTo>
                  <a:lnTo>
                    <a:pt x="414" y="605"/>
                  </a:lnTo>
                  <a:lnTo>
                    <a:pt x="410" y="606"/>
                  </a:lnTo>
                  <a:lnTo>
                    <a:pt x="410" y="606"/>
                  </a:lnTo>
                  <a:lnTo>
                    <a:pt x="408" y="606"/>
                  </a:lnTo>
                  <a:lnTo>
                    <a:pt x="406" y="606"/>
                  </a:lnTo>
                  <a:lnTo>
                    <a:pt x="405" y="608"/>
                  </a:lnTo>
                  <a:lnTo>
                    <a:pt x="403" y="610"/>
                  </a:lnTo>
                  <a:lnTo>
                    <a:pt x="403" y="612"/>
                  </a:lnTo>
                  <a:lnTo>
                    <a:pt x="395" y="614"/>
                  </a:lnTo>
                  <a:lnTo>
                    <a:pt x="394" y="614"/>
                  </a:lnTo>
                  <a:lnTo>
                    <a:pt x="392" y="614"/>
                  </a:lnTo>
                  <a:lnTo>
                    <a:pt x="390" y="614"/>
                  </a:lnTo>
                  <a:lnTo>
                    <a:pt x="386" y="615"/>
                  </a:lnTo>
                  <a:lnTo>
                    <a:pt x="385" y="615"/>
                  </a:lnTo>
                  <a:lnTo>
                    <a:pt x="377" y="614"/>
                  </a:lnTo>
                  <a:lnTo>
                    <a:pt x="376" y="615"/>
                  </a:lnTo>
                  <a:lnTo>
                    <a:pt x="376" y="615"/>
                  </a:lnTo>
                  <a:lnTo>
                    <a:pt x="374" y="615"/>
                  </a:lnTo>
                  <a:lnTo>
                    <a:pt x="374" y="614"/>
                  </a:lnTo>
                  <a:lnTo>
                    <a:pt x="372" y="614"/>
                  </a:lnTo>
                  <a:lnTo>
                    <a:pt x="370" y="614"/>
                  </a:lnTo>
                  <a:lnTo>
                    <a:pt x="367" y="614"/>
                  </a:lnTo>
                  <a:lnTo>
                    <a:pt x="367" y="615"/>
                  </a:lnTo>
                  <a:lnTo>
                    <a:pt x="367" y="615"/>
                  </a:lnTo>
                  <a:lnTo>
                    <a:pt x="365" y="615"/>
                  </a:lnTo>
                  <a:lnTo>
                    <a:pt x="363" y="617"/>
                  </a:lnTo>
                  <a:lnTo>
                    <a:pt x="361" y="617"/>
                  </a:lnTo>
                  <a:lnTo>
                    <a:pt x="359" y="617"/>
                  </a:lnTo>
                  <a:lnTo>
                    <a:pt x="356" y="617"/>
                  </a:lnTo>
                  <a:lnTo>
                    <a:pt x="356" y="617"/>
                  </a:lnTo>
                  <a:lnTo>
                    <a:pt x="356" y="617"/>
                  </a:lnTo>
                  <a:lnTo>
                    <a:pt x="356" y="617"/>
                  </a:lnTo>
                  <a:lnTo>
                    <a:pt x="356" y="617"/>
                  </a:lnTo>
                  <a:lnTo>
                    <a:pt x="356" y="617"/>
                  </a:lnTo>
                  <a:lnTo>
                    <a:pt x="352" y="615"/>
                  </a:lnTo>
                  <a:lnTo>
                    <a:pt x="350" y="615"/>
                  </a:lnTo>
                  <a:lnTo>
                    <a:pt x="350" y="614"/>
                  </a:lnTo>
                  <a:lnTo>
                    <a:pt x="349" y="614"/>
                  </a:lnTo>
                  <a:lnTo>
                    <a:pt x="347" y="612"/>
                  </a:lnTo>
                  <a:lnTo>
                    <a:pt x="347" y="612"/>
                  </a:lnTo>
                  <a:lnTo>
                    <a:pt x="347" y="612"/>
                  </a:lnTo>
                  <a:lnTo>
                    <a:pt x="347" y="610"/>
                  </a:lnTo>
                  <a:lnTo>
                    <a:pt x="345" y="610"/>
                  </a:lnTo>
                  <a:lnTo>
                    <a:pt x="340" y="610"/>
                  </a:lnTo>
                  <a:lnTo>
                    <a:pt x="340" y="608"/>
                  </a:lnTo>
                  <a:lnTo>
                    <a:pt x="340" y="608"/>
                  </a:lnTo>
                  <a:lnTo>
                    <a:pt x="340" y="605"/>
                  </a:lnTo>
                  <a:lnTo>
                    <a:pt x="338" y="605"/>
                  </a:lnTo>
                  <a:lnTo>
                    <a:pt x="336" y="603"/>
                  </a:lnTo>
                  <a:lnTo>
                    <a:pt x="336" y="603"/>
                  </a:lnTo>
                  <a:lnTo>
                    <a:pt x="336" y="603"/>
                  </a:lnTo>
                  <a:lnTo>
                    <a:pt x="336" y="603"/>
                  </a:lnTo>
                  <a:lnTo>
                    <a:pt x="336" y="603"/>
                  </a:lnTo>
                  <a:lnTo>
                    <a:pt x="336" y="603"/>
                  </a:lnTo>
                  <a:lnTo>
                    <a:pt x="334" y="603"/>
                  </a:lnTo>
                  <a:lnTo>
                    <a:pt x="334" y="603"/>
                  </a:lnTo>
                  <a:lnTo>
                    <a:pt x="334" y="603"/>
                  </a:lnTo>
                  <a:lnTo>
                    <a:pt x="332" y="603"/>
                  </a:lnTo>
                  <a:lnTo>
                    <a:pt x="332" y="603"/>
                  </a:lnTo>
                  <a:lnTo>
                    <a:pt x="332" y="605"/>
                  </a:lnTo>
                  <a:lnTo>
                    <a:pt x="330" y="605"/>
                  </a:lnTo>
                  <a:lnTo>
                    <a:pt x="329" y="605"/>
                  </a:lnTo>
                  <a:lnTo>
                    <a:pt x="329" y="605"/>
                  </a:lnTo>
                  <a:lnTo>
                    <a:pt x="327" y="605"/>
                  </a:lnTo>
                  <a:lnTo>
                    <a:pt x="325" y="605"/>
                  </a:lnTo>
                  <a:lnTo>
                    <a:pt x="325" y="605"/>
                  </a:lnTo>
                  <a:lnTo>
                    <a:pt x="325" y="605"/>
                  </a:lnTo>
                  <a:lnTo>
                    <a:pt x="325" y="605"/>
                  </a:lnTo>
                  <a:lnTo>
                    <a:pt x="325" y="606"/>
                  </a:lnTo>
                  <a:lnTo>
                    <a:pt x="323" y="606"/>
                  </a:lnTo>
                  <a:lnTo>
                    <a:pt x="323" y="608"/>
                  </a:lnTo>
                  <a:lnTo>
                    <a:pt x="323" y="608"/>
                  </a:lnTo>
                  <a:lnTo>
                    <a:pt x="323" y="608"/>
                  </a:lnTo>
                  <a:lnTo>
                    <a:pt x="323" y="610"/>
                  </a:lnTo>
                  <a:lnTo>
                    <a:pt x="323" y="610"/>
                  </a:lnTo>
                  <a:lnTo>
                    <a:pt x="323" y="610"/>
                  </a:lnTo>
                  <a:lnTo>
                    <a:pt x="323" y="612"/>
                  </a:lnTo>
                  <a:lnTo>
                    <a:pt x="321" y="612"/>
                  </a:lnTo>
                  <a:lnTo>
                    <a:pt x="318" y="614"/>
                  </a:lnTo>
                  <a:lnTo>
                    <a:pt x="314" y="614"/>
                  </a:lnTo>
                  <a:lnTo>
                    <a:pt x="314" y="614"/>
                  </a:lnTo>
                  <a:lnTo>
                    <a:pt x="314" y="614"/>
                  </a:lnTo>
                  <a:lnTo>
                    <a:pt x="312" y="612"/>
                  </a:lnTo>
                  <a:lnTo>
                    <a:pt x="311" y="612"/>
                  </a:lnTo>
                  <a:lnTo>
                    <a:pt x="311" y="612"/>
                  </a:lnTo>
                  <a:lnTo>
                    <a:pt x="309" y="608"/>
                  </a:lnTo>
                  <a:lnTo>
                    <a:pt x="309" y="606"/>
                  </a:lnTo>
                  <a:lnTo>
                    <a:pt x="309" y="605"/>
                  </a:lnTo>
                  <a:lnTo>
                    <a:pt x="307" y="605"/>
                  </a:lnTo>
                  <a:lnTo>
                    <a:pt x="307" y="605"/>
                  </a:lnTo>
                  <a:lnTo>
                    <a:pt x="307" y="605"/>
                  </a:lnTo>
                  <a:lnTo>
                    <a:pt x="305" y="605"/>
                  </a:lnTo>
                  <a:lnTo>
                    <a:pt x="307" y="606"/>
                  </a:lnTo>
                  <a:lnTo>
                    <a:pt x="307" y="608"/>
                  </a:lnTo>
                  <a:lnTo>
                    <a:pt x="305" y="610"/>
                  </a:lnTo>
                  <a:lnTo>
                    <a:pt x="305" y="610"/>
                  </a:lnTo>
                  <a:lnTo>
                    <a:pt x="303" y="608"/>
                  </a:lnTo>
                  <a:lnTo>
                    <a:pt x="303" y="608"/>
                  </a:lnTo>
                  <a:lnTo>
                    <a:pt x="303" y="610"/>
                  </a:lnTo>
                  <a:lnTo>
                    <a:pt x="303" y="610"/>
                  </a:lnTo>
                  <a:lnTo>
                    <a:pt x="302" y="612"/>
                  </a:lnTo>
                  <a:lnTo>
                    <a:pt x="300" y="612"/>
                  </a:lnTo>
                  <a:lnTo>
                    <a:pt x="298" y="612"/>
                  </a:lnTo>
                  <a:lnTo>
                    <a:pt x="298" y="614"/>
                  </a:lnTo>
                  <a:lnTo>
                    <a:pt x="296" y="614"/>
                  </a:lnTo>
                  <a:lnTo>
                    <a:pt x="294" y="615"/>
                  </a:lnTo>
                  <a:lnTo>
                    <a:pt x="294" y="615"/>
                  </a:lnTo>
                  <a:lnTo>
                    <a:pt x="294" y="617"/>
                  </a:lnTo>
                  <a:lnTo>
                    <a:pt x="294" y="617"/>
                  </a:lnTo>
                  <a:lnTo>
                    <a:pt x="294" y="619"/>
                  </a:lnTo>
                  <a:lnTo>
                    <a:pt x="293" y="621"/>
                  </a:lnTo>
                  <a:lnTo>
                    <a:pt x="293" y="621"/>
                  </a:lnTo>
                  <a:lnTo>
                    <a:pt x="293" y="621"/>
                  </a:lnTo>
                  <a:lnTo>
                    <a:pt x="293" y="623"/>
                  </a:lnTo>
                  <a:lnTo>
                    <a:pt x="293" y="623"/>
                  </a:lnTo>
                  <a:lnTo>
                    <a:pt x="294" y="623"/>
                  </a:lnTo>
                  <a:lnTo>
                    <a:pt x="294" y="625"/>
                  </a:lnTo>
                  <a:lnTo>
                    <a:pt x="294" y="625"/>
                  </a:lnTo>
                  <a:lnTo>
                    <a:pt x="294" y="626"/>
                  </a:lnTo>
                  <a:lnTo>
                    <a:pt x="294" y="626"/>
                  </a:lnTo>
                  <a:lnTo>
                    <a:pt x="293" y="628"/>
                  </a:lnTo>
                  <a:lnTo>
                    <a:pt x="293" y="628"/>
                  </a:lnTo>
                  <a:lnTo>
                    <a:pt x="293" y="628"/>
                  </a:lnTo>
                  <a:lnTo>
                    <a:pt x="293" y="628"/>
                  </a:lnTo>
                  <a:lnTo>
                    <a:pt x="293" y="628"/>
                  </a:lnTo>
                  <a:lnTo>
                    <a:pt x="291" y="628"/>
                  </a:lnTo>
                  <a:lnTo>
                    <a:pt x="291" y="630"/>
                  </a:lnTo>
                  <a:lnTo>
                    <a:pt x="293" y="630"/>
                  </a:lnTo>
                  <a:lnTo>
                    <a:pt x="293" y="630"/>
                  </a:lnTo>
                  <a:lnTo>
                    <a:pt x="293" y="632"/>
                  </a:lnTo>
                  <a:lnTo>
                    <a:pt x="293" y="632"/>
                  </a:lnTo>
                  <a:lnTo>
                    <a:pt x="293" y="634"/>
                  </a:lnTo>
                  <a:lnTo>
                    <a:pt x="293" y="634"/>
                  </a:lnTo>
                  <a:lnTo>
                    <a:pt x="294" y="635"/>
                  </a:lnTo>
                  <a:lnTo>
                    <a:pt x="294" y="637"/>
                  </a:lnTo>
                  <a:lnTo>
                    <a:pt x="296" y="637"/>
                  </a:lnTo>
                  <a:lnTo>
                    <a:pt x="296" y="637"/>
                  </a:lnTo>
                  <a:lnTo>
                    <a:pt x="298" y="637"/>
                  </a:lnTo>
                  <a:lnTo>
                    <a:pt x="300" y="639"/>
                  </a:lnTo>
                  <a:lnTo>
                    <a:pt x="300" y="639"/>
                  </a:lnTo>
                  <a:lnTo>
                    <a:pt x="302" y="643"/>
                  </a:lnTo>
                  <a:lnTo>
                    <a:pt x="303" y="644"/>
                  </a:lnTo>
                  <a:lnTo>
                    <a:pt x="305" y="644"/>
                  </a:lnTo>
                  <a:lnTo>
                    <a:pt x="309" y="643"/>
                  </a:lnTo>
                  <a:lnTo>
                    <a:pt x="312" y="643"/>
                  </a:lnTo>
                  <a:lnTo>
                    <a:pt x="318" y="644"/>
                  </a:lnTo>
                  <a:lnTo>
                    <a:pt x="320" y="644"/>
                  </a:lnTo>
                  <a:lnTo>
                    <a:pt x="320" y="646"/>
                  </a:lnTo>
                  <a:lnTo>
                    <a:pt x="320" y="646"/>
                  </a:lnTo>
                  <a:lnTo>
                    <a:pt x="321" y="648"/>
                  </a:lnTo>
                  <a:lnTo>
                    <a:pt x="321" y="648"/>
                  </a:lnTo>
                  <a:lnTo>
                    <a:pt x="321" y="648"/>
                  </a:lnTo>
                  <a:lnTo>
                    <a:pt x="321" y="648"/>
                  </a:lnTo>
                  <a:lnTo>
                    <a:pt x="323" y="648"/>
                  </a:lnTo>
                  <a:lnTo>
                    <a:pt x="329" y="648"/>
                  </a:lnTo>
                  <a:lnTo>
                    <a:pt x="329" y="648"/>
                  </a:lnTo>
                  <a:lnTo>
                    <a:pt x="329" y="650"/>
                  </a:lnTo>
                  <a:lnTo>
                    <a:pt x="330" y="650"/>
                  </a:lnTo>
                  <a:lnTo>
                    <a:pt x="330" y="650"/>
                  </a:lnTo>
                  <a:lnTo>
                    <a:pt x="330" y="650"/>
                  </a:lnTo>
                  <a:lnTo>
                    <a:pt x="330" y="652"/>
                  </a:lnTo>
                  <a:lnTo>
                    <a:pt x="332" y="652"/>
                  </a:lnTo>
                  <a:lnTo>
                    <a:pt x="332" y="652"/>
                  </a:lnTo>
                  <a:lnTo>
                    <a:pt x="334" y="655"/>
                  </a:lnTo>
                  <a:lnTo>
                    <a:pt x="334" y="655"/>
                  </a:lnTo>
                  <a:lnTo>
                    <a:pt x="336" y="655"/>
                  </a:lnTo>
                  <a:lnTo>
                    <a:pt x="336" y="655"/>
                  </a:lnTo>
                  <a:lnTo>
                    <a:pt x="336" y="657"/>
                  </a:lnTo>
                  <a:lnTo>
                    <a:pt x="340" y="657"/>
                  </a:lnTo>
                  <a:lnTo>
                    <a:pt x="341" y="659"/>
                  </a:lnTo>
                  <a:lnTo>
                    <a:pt x="343" y="661"/>
                  </a:lnTo>
                  <a:lnTo>
                    <a:pt x="345" y="661"/>
                  </a:lnTo>
                  <a:lnTo>
                    <a:pt x="347" y="661"/>
                  </a:lnTo>
                  <a:lnTo>
                    <a:pt x="349" y="662"/>
                  </a:lnTo>
                  <a:lnTo>
                    <a:pt x="350" y="662"/>
                  </a:lnTo>
                  <a:lnTo>
                    <a:pt x="354" y="668"/>
                  </a:lnTo>
                  <a:lnTo>
                    <a:pt x="356" y="668"/>
                  </a:lnTo>
                  <a:lnTo>
                    <a:pt x="358" y="670"/>
                  </a:lnTo>
                  <a:lnTo>
                    <a:pt x="359" y="670"/>
                  </a:lnTo>
                  <a:lnTo>
                    <a:pt x="361" y="670"/>
                  </a:lnTo>
                  <a:lnTo>
                    <a:pt x="365" y="673"/>
                  </a:lnTo>
                  <a:lnTo>
                    <a:pt x="367" y="673"/>
                  </a:lnTo>
                  <a:lnTo>
                    <a:pt x="368" y="673"/>
                  </a:lnTo>
                  <a:lnTo>
                    <a:pt x="368" y="671"/>
                  </a:lnTo>
                  <a:lnTo>
                    <a:pt x="368" y="671"/>
                  </a:lnTo>
                  <a:lnTo>
                    <a:pt x="374" y="671"/>
                  </a:lnTo>
                  <a:lnTo>
                    <a:pt x="376" y="671"/>
                  </a:lnTo>
                  <a:lnTo>
                    <a:pt x="381" y="673"/>
                  </a:lnTo>
                  <a:lnTo>
                    <a:pt x="385" y="677"/>
                  </a:lnTo>
                  <a:lnTo>
                    <a:pt x="388" y="681"/>
                  </a:lnTo>
                  <a:lnTo>
                    <a:pt x="390" y="682"/>
                  </a:lnTo>
                  <a:lnTo>
                    <a:pt x="394" y="691"/>
                  </a:lnTo>
                  <a:lnTo>
                    <a:pt x="394" y="691"/>
                  </a:lnTo>
                  <a:lnTo>
                    <a:pt x="399" y="693"/>
                  </a:lnTo>
                  <a:lnTo>
                    <a:pt x="399" y="693"/>
                  </a:lnTo>
                  <a:lnTo>
                    <a:pt x="401" y="693"/>
                  </a:lnTo>
                  <a:lnTo>
                    <a:pt x="403" y="695"/>
                  </a:lnTo>
                  <a:lnTo>
                    <a:pt x="405" y="695"/>
                  </a:lnTo>
                  <a:lnTo>
                    <a:pt x="405" y="697"/>
                  </a:lnTo>
                  <a:lnTo>
                    <a:pt x="408" y="697"/>
                  </a:lnTo>
                  <a:lnTo>
                    <a:pt x="408" y="697"/>
                  </a:lnTo>
                  <a:lnTo>
                    <a:pt x="408" y="697"/>
                  </a:lnTo>
                  <a:lnTo>
                    <a:pt x="408" y="697"/>
                  </a:lnTo>
                  <a:lnTo>
                    <a:pt x="410" y="699"/>
                  </a:lnTo>
                  <a:lnTo>
                    <a:pt x="412" y="697"/>
                  </a:lnTo>
                  <a:lnTo>
                    <a:pt x="414" y="697"/>
                  </a:lnTo>
                  <a:lnTo>
                    <a:pt x="415" y="697"/>
                  </a:lnTo>
                  <a:lnTo>
                    <a:pt x="417" y="699"/>
                  </a:lnTo>
                  <a:lnTo>
                    <a:pt x="419" y="699"/>
                  </a:lnTo>
                  <a:lnTo>
                    <a:pt x="419" y="699"/>
                  </a:lnTo>
                  <a:lnTo>
                    <a:pt x="421" y="699"/>
                  </a:lnTo>
                  <a:lnTo>
                    <a:pt x="421" y="697"/>
                  </a:lnTo>
                  <a:lnTo>
                    <a:pt x="421" y="699"/>
                  </a:lnTo>
                  <a:lnTo>
                    <a:pt x="423" y="699"/>
                  </a:lnTo>
                  <a:lnTo>
                    <a:pt x="423" y="699"/>
                  </a:lnTo>
                  <a:lnTo>
                    <a:pt x="423" y="700"/>
                  </a:lnTo>
                  <a:lnTo>
                    <a:pt x="424" y="700"/>
                  </a:lnTo>
                  <a:lnTo>
                    <a:pt x="424" y="700"/>
                  </a:lnTo>
                  <a:lnTo>
                    <a:pt x="426" y="700"/>
                  </a:lnTo>
                  <a:lnTo>
                    <a:pt x="426" y="699"/>
                  </a:lnTo>
                  <a:lnTo>
                    <a:pt x="426" y="699"/>
                  </a:lnTo>
                  <a:lnTo>
                    <a:pt x="426" y="695"/>
                  </a:lnTo>
                  <a:lnTo>
                    <a:pt x="424" y="693"/>
                  </a:lnTo>
                  <a:lnTo>
                    <a:pt x="424" y="691"/>
                  </a:lnTo>
                  <a:lnTo>
                    <a:pt x="426" y="691"/>
                  </a:lnTo>
                  <a:lnTo>
                    <a:pt x="426" y="690"/>
                  </a:lnTo>
                  <a:lnTo>
                    <a:pt x="428" y="684"/>
                  </a:lnTo>
                  <a:lnTo>
                    <a:pt x="430" y="682"/>
                  </a:lnTo>
                  <a:lnTo>
                    <a:pt x="430" y="682"/>
                  </a:lnTo>
                  <a:lnTo>
                    <a:pt x="432" y="682"/>
                  </a:lnTo>
                  <a:lnTo>
                    <a:pt x="432" y="681"/>
                  </a:lnTo>
                  <a:lnTo>
                    <a:pt x="432" y="681"/>
                  </a:lnTo>
                  <a:lnTo>
                    <a:pt x="433" y="681"/>
                  </a:lnTo>
                  <a:lnTo>
                    <a:pt x="433" y="681"/>
                  </a:lnTo>
                  <a:lnTo>
                    <a:pt x="433" y="681"/>
                  </a:lnTo>
                  <a:lnTo>
                    <a:pt x="433" y="681"/>
                  </a:lnTo>
                  <a:lnTo>
                    <a:pt x="433" y="679"/>
                  </a:lnTo>
                  <a:lnTo>
                    <a:pt x="433" y="679"/>
                  </a:lnTo>
                  <a:lnTo>
                    <a:pt x="435" y="679"/>
                  </a:lnTo>
                  <a:lnTo>
                    <a:pt x="435" y="679"/>
                  </a:lnTo>
                  <a:lnTo>
                    <a:pt x="435" y="679"/>
                  </a:lnTo>
                  <a:lnTo>
                    <a:pt x="437" y="679"/>
                  </a:lnTo>
                  <a:lnTo>
                    <a:pt x="437" y="679"/>
                  </a:lnTo>
                  <a:lnTo>
                    <a:pt x="437" y="677"/>
                  </a:lnTo>
                  <a:lnTo>
                    <a:pt x="437" y="677"/>
                  </a:lnTo>
                  <a:lnTo>
                    <a:pt x="435" y="677"/>
                  </a:lnTo>
                  <a:lnTo>
                    <a:pt x="435" y="677"/>
                  </a:lnTo>
                  <a:lnTo>
                    <a:pt x="435" y="677"/>
                  </a:lnTo>
                  <a:lnTo>
                    <a:pt x="433" y="675"/>
                  </a:lnTo>
                  <a:lnTo>
                    <a:pt x="435" y="675"/>
                  </a:lnTo>
                  <a:lnTo>
                    <a:pt x="435" y="675"/>
                  </a:lnTo>
                  <a:lnTo>
                    <a:pt x="435" y="673"/>
                  </a:lnTo>
                  <a:lnTo>
                    <a:pt x="435" y="673"/>
                  </a:lnTo>
                  <a:lnTo>
                    <a:pt x="435" y="671"/>
                  </a:lnTo>
                  <a:lnTo>
                    <a:pt x="433" y="671"/>
                  </a:lnTo>
                  <a:lnTo>
                    <a:pt x="433" y="671"/>
                  </a:lnTo>
                  <a:lnTo>
                    <a:pt x="432" y="671"/>
                  </a:lnTo>
                  <a:lnTo>
                    <a:pt x="432" y="670"/>
                  </a:lnTo>
                  <a:lnTo>
                    <a:pt x="433" y="670"/>
                  </a:lnTo>
                  <a:lnTo>
                    <a:pt x="433" y="670"/>
                  </a:lnTo>
                  <a:lnTo>
                    <a:pt x="432" y="670"/>
                  </a:lnTo>
                  <a:lnTo>
                    <a:pt x="432" y="670"/>
                  </a:lnTo>
                  <a:lnTo>
                    <a:pt x="430" y="668"/>
                  </a:lnTo>
                  <a:lnTo>
                    <a:pt x="430" y="666"/>
                  </a:lnTo>
                  <a:lnTo>
                    <a:pt x="430" y="664"/>
                  </a:lnTo>
                  <a:lnTo>
                    <a:pt x="430" y="664"/>
                  </a:lnTo>
                  <a:lnTo>
                    <a:pt x="430" y="664"/>
                  </a:lnTo>
                  <a:lnTo>
                    <a:pt x="432" y="664"/>
                  </a:lnTo>
                  <a:lnTo>
                    <a:pt x="432" y="664"/>
                  </a:lnTo>
                  <a:lnTo>
                    <a:pt x="432" y="666"/>
                  </a:lnTo>
                  <a:lnTo>
                    <a:pt x="432" y="664"/>
                  </a:lnTo>
                  <a:lnTo>
                    <a:pt x="432" y="664"/>
                  </a:lnTo>
                  <a:lnTo>
                    <a:pt x="432" y="664"/>
                  </a:lnTo>
                  <a:lnTo>
                    <a:pt x="433" y="664"/>
                  </a:lnTo>
                  <a:lnTo>
                    <a:pt x="433" y="662"/>
                  </a:lnTo>
                  <a:lnTo>
                    <a:pt x="432" y="662"/>
                  </a:lnTo>
                  <a:lnTo>
                    <a:pt x="432" y="661"/>
                  </a:lnTo>
                  <a:lnTo>
                    <a:pt x="430" y="661"/>
                  </a:lnTo>
                  <a:lnTo>
                    <a:pt x="426" y="659"/>
                  </a:lnTo>
                  <a:lnTo>
                    <a:pt x="426" y="659"/>
                  </a:lnTo>
                  <a:lnTo>
                    <a:pt x="424" y="657"/>
                  </a:lnTo>
                  <a:lnTo>
                    <a:pt x="424" y="657"/>
                  </a:lnTo>
                  <a:lnTo>
                    <a:pt x="424" y="650"/>
                  </a:lnTo>
                  <a:lnTo>
                    <a:pt x="424" y="650"/>
                  </a:lnTo>
                  <a:lnTo>
                    <a:pt x="424" y="648"/>
                  </a:lnTo>
                  <a:lnTo>
                    <a:pt x="426" y="646"/>
                  </a:lnTo>
                  <a:lnTo>
                    <a:pt x="428" y="644"/>
                  </a:lnTo>
                  <a:lnTo>
                    <a:pt x="430" y="641"/>
                  </a:lnTo>
                  <a:lnTo>
                    <a:pt x="430" y="641"/>
                  </a:lnTo>
                  <a:lnTo>
                    <a:pt x="430" y="637"/>
                  </a:lnTo>
                  <a:lnTo>
                    <a:pt x="430" y="637"/>
                  </a:lnTo>
                  <a:lnTo>
                    <a:pt x="430" y="635"/>
                  </a:lnTo>
                  <a:lnTo>
                    <a:pt x="432" y="635"/>
                  </a:lnTo>
                  <a:lnTo>
                    <a:pt x="432" y="635"/>
                  </a:lnTo>
                  <a:lnTo>
                    <a:pt x="432" y="634"/>
                  </a:lnTo>
                  <a:lnTo>
                    <a:pt x="430" y="634"/>
                  </a:lnTo>
                  <a:lnTo>
                    <a:pt x="430" y="632"/>
                  </a:lnTo>
                  <a:lnTo>
                    <a:pt x="432" y="632"/>
                  </a:lnTo>
                  <a:lnTo>
                    <a:pt x="432" y="630"/>
                  </a:lnTo>
                  <a:lnTo>
                    <a:pt x="433" y="628"/>
                  </a:lnTo>
                  <a:lnTo>
                    <a:pt x="435" y="626"/>
                  </a:lnTo>
                  <a:lnTo>
                    <a:pt x="435" y="625"/>
                  </a:lnTo>
                  <a:lnTo>
                    <a:pt x="441" y="617"/>
                  </a:lnTo>
                  <a:lnTo>
                    <a:pt x="446" y="610"/>
                  </a:lnTo>
                  <a:lnTo>
                    <a:pt x="446" y="608"/>
                  </a:lnTo>
                  <a:lnTo>
                    <a:pt x="450" y="603"/>
                  </a:lnTo>
                  <a:lnTo>
                    <a:pt x="448" y="603"/>
                  </a:lnTo>
                  <a:lnTo>
                    <a:pt x="448" y="603"/>
                  </a:lnTo>
                  <a:lnTo>
                    <a:pt x="448" y="601"/>
                  </a:lnTo>
                  <a:close/>
                  <a:moveTo>
                    <a:pt x="314" y="749"/>
                  </a:moveTo>
                  <a:lnTo>
                    <a:pt x="312" y="749"/>
                  </a:lnTo>
                  <a:lnTo>
                    <a:pt x="312" y="749"/>
                  </a:lnTo>
                  <a:lnTo>
                    <a:pt x="312" y="749"/>
                  </a:lnTo>
                  <a:lnTo>
                    <a:pt x="312" y="749"/>
                  </a:lnTo>
                  <a:lnTo>
                    <a:pt x="312" y="749"/>
                  </a:lnTo>
                  <a:lnTo>
                    <a:pt x="312" y="751"/>
                  </a:lnTo>
                  <a:lnTo>
                    <a:pt x="314" y="751"/>
                  </a:lnTo>
                  <a:lnTo>
                    <a:pt x="314" y="749"/>
                  </a:lnTo>
                  <a:lnTo>
                    <a:pt x="314" y="749"/>
                  </a:lnTo>
                  <a:lnTo>
                    <a:pt x="314" y="749"/>
                  </a:lnTo>
                  <a:close/>
                  <a:moveTo>
                    <a:pt x="388" y="581"/>
                  </a:moveTo>
                  <a:lnTo>
                    <a:pt x="386" y="581"/>
                  </a:lnTo>
                  <a:lnTo>
                    <a:pt x="388" y="583"/>
                  </a:lnTo>
                  <a:lnTo>
                    <a:pt x="388" y="581"/>
                  </a:lnTo>
                  <a:lnTo>
                    <a:pt x="388" y="581"/>
                  </a:lnTo>
                  <a:close/>
                  <a:moveTo>
                    <a:pt x="363" y="440"/>
                  </a:moveTo>
                  <a:lnTo>
                    <a:pt x="363" y="440"/>
                  </a:lnTo>
                  <a:lnTo>
                    <a:pt x="363" y="442"/>
                  </a:lnTo>
                  <a:lnTo>
                    <a:pt x="365" y="442"/>
                  </a:lnTo>
                  <a:lnTo>
                    <a:pt x="365" y="442"/>
                  </a:lnTo>
                  <a:lnTo>
                    <a:pt x="365" y="442"/>
                  </a:lnTo>
                  <a:lnTo>
                    <a:pt x="367" y="442"/>
                  </a:lnTo>
                  <a:lnTo>
                    <a:pt x="367" y="442"/>
                  </a:lnTo>
                  <a:lnTo>
                    <a:pt x="367" y="442"/>
                  </a:lnTo>
                  <a:lnTo>
                    <a:pt x="368" y="442"/>
                  </a:lnTo>
                  <a:lnTo>
                    <a:pt x="368" y="440"/>
                  </a:lnTo>
                  <a:lnTo>
                    <a:pt x="368" y="440"/>
                  </a:lnTo>
                  <a:lnTo>
                    <a:pt x="368" y="440"/>
                  </a:lnTo>
                  <a:lnTo>
                    <a:pt x="368" y="440"/>
                  </a:lnTo>
                  <a:lnTo>
                    <a:pt x="367" y="438"/>
                  </a:lnTo>
                  <a:lnTo>
                    <a:pt x="365" y="438"/>
                  </a:lnTo>
                  <a:lnTo>
                    <a:pt x="363" y="438"/>
                  </a:lnTo>
                  <a:lnTo>
                    <a:pt x="363" y="438"/>
                  </a:lnTo>
                  <a:lnTo>
                    <a:pt x="363" y="438"/>
                  </a:lnTo>
                  <a:lnTo>
                    <a:pt x="363" y="438"/>
                  </a:lnTo>
                  <a:lnTo>
                    <a:pt x="363" y="44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6ABACA9F-B249-B06B-111E-D8CE10DDB9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675" y="3300413"/>
              <a:ext cx="358775" cy="523875"/>
            </a:xfrm>
            <a:custGeom>
              <a:avLst/>
              <a:gdLst>
                <a:gd name="T0" fmla="*/ 43 w 226"/>
                <a:gd name="T1" fmla="*/ 197 h 330"/>
                <a:gd name="T2" fmla="*/ 25 w 226"/>
                <a:gd name="T3" fmla="*/ 130 h 330"/>
                <a:gd name="T4" fmla="*/ 101 w 226"/>
                <a:gd name="T5" fmla="*/ 34 h 330"/>
                <a:gd name="T6" fmla="*/ 220 w 226"/>
                <a:gd name="T7" fmla="*/ 186 h 330"/>
                <a:gd name="T8" fmla="*/ 217 w 226"/>
                <a:gd name="T9" fmla="*/ 164 h 330"/>
                <a:gd name="T10" fmla="*/ 206 w 226"/>
                <a:gd name="T11" fmla="*/ 121 h 330"/>
                <a:gd name="T12" fmla="*/ 204 w 226"/>
                <a:gd name="T13" fmla="*/ 115 h 330"/>
                <a:gd name="T14" fmla="*/ 182 w 226"/>
                <a:gd name="T15" fmla="*/ 99 h 330"/>
                <a:gd name="T16" fmla="*/ 166 w 226"/>
                <a:gd name="T17" fmla="*/ 99 h 330"/>
                <a:gd name="T18" fmla="*/ 154 w 226"/>
                <a:gd name="T19" fmla="*/ 106 h 330"/>
                <a:gd name="T20" fmla="*/ 123 w 226"/>
                <a:gd name="T21" fmla="*/ 76 h 330"/>
                <a:gd name="T22" fmla="*/ 145 w 226"/>
                <a:gd name="T23" fmla="*/ 56 h 330"/>
                <a:gd name="T24" fmla="*/ 166 w 226"/>
                <a:gd name="T25" fmla="*/ 20 h 330"/>
                <a:gd name="T26" fmla="*/ 157 w 226"/>
                <a:gd name="T27" fmla="*/ 7 h 330"/>
                <a:gd name="T28" fmla="*/ 143 w 226"/>
                <a:gd name="T29" fmla="*/ 38 h 330"/>
                <a:gd name="T30" fmla="*/ 137 w 226"/>
                <a:gd name="T31" fmla="*/ 12 h 330"/>
                <a:gd name="T32" fmla="*/ 134 w 226"/>
                <a:gd name="T33" fmla="*/ 18 h 330"/>
                <a:gd name="T34" fmla="*/ 128 w 226"/>
                <a:gd name="T35" fmla="*/ 16 h 330"/>
                <a:gd name="T36" fmla="*/ 105 w 226"/>
                <a:gd name="T37" fmla="*/ 32 h 330"/>
                <a:gd name="T38" fmla="*/ 108 w 226"/>
                <a:gd name="T39" fmla="*/ 49 h 330"/>
                <a:gd name="T40" fmla="*/ 85 w 226"/>
                <a:gd name="T41" fmla="*/ 61 h 330"/>
                <a:gd name="T42" fmla="*/ 105 w 226"/>
                <a:gd name="T43" fmla="*/ 68 h 330"/>
                <a:gd name="T44" fmla="*/ 114 w 226"/>
                <a:gd name="T45" fmla="*/ 77 h 330"/>
                <a:gd name="T46" fmla="*/ 99 w 226"/>
                <a:gd name="T47" fmla="*/ 94 h 330"/>
                <a:gd name="T48" fmla="*/ 79 w 226"/>
                <a:gd name="T49" fmla="*/ 96 h 330"/>
                <a:gd name="T50" fmla="*/ 58 w 226"/>
                <a:gd name="T51" fmla="*/ 92 h 330"/>
                <a:gd name="T52" fmla="*/ 31 w 226"/>
                <a:gd name="T53" fmla="*/ 101 h 330"/>
                <a:gd name="T54" fmla="*/ 20 w 226"/>
                <a:gd name="T55" fmla="*/ 101 h 330"/>
                <a:gd name="T56" fmla="*/ 27 w 226"/>
                <a:gd name="T57" fmla="*/ 105 h 330"/>
                <a:gd name="T58" fmla="*/ 31 w 226"/>
                <a:gd name="T59" fmla="*/ 119 h 330"/>
                <a:gd name="T60" fmla="*/ 29 w 226"/>
                <a:gd name="T61" fmla="*/ 132 h 330"/>
                <a:gd name="T62" fmla="*/ 29 w 226"/>
                <a:gd name="T63" fmla="*/ 144 h 330"/>
                <a:gd name="T64" fmla="*/ 18 w 226"/>
                <a:gd name="T65" fmla="*/ 161 h 330"/>
                <a:gd name="T66" fmla="*/ 29 w 226"/>
                <a:gd name="T67" fmla="*/ 171 h 330"/>
                <a:gd name="T68" fmla="*/ 34 w 226"/>
                <a:gd name="T69" fmla="*/ 177 h 330"/>
                <a:gd name="T70" fmla="*/ 43 w 226"/>
                <a:gd name="T71" fmla="*/ 182 h 330"/>
                <a:gd name="T72" fmla="*/ 78 w 226"/>
                <a:gd name="T73" fmla="*/ 189 h 330"/>
                <a:gd name="T74" fmla="*/ 56 w 226"/>
                <a:gd name="T75" fmla="*/ 204 h 330"/>
                <a:gd name="T76" fmla="*/ 43 w 226"/>
                <a:gd name="T77" fmla="*/ 227 h 330"/>
                <a:gd name="T78" fmla="*/ 58 w 226"/>
                <a:gd name="T79" fmla="*/ 236 h 330"/>
                <a:gd name="T80" fmla="*/ 74 w 226"/>
                <a:gd name="T81" fmla="*/ 235 h 330"/>
                <a:gd name="T82" fmla="*/ 42 w 226"/>
                <a:gd name="T83" fmla="*/ 245 h 330"/>
                <a:gd name="T84" fmla="*/ 38 w 226"/>
                <a:gd name="T85" fmla="*/ 265 h 330"/>
                <a:gd name="T86" fmla="*/ 5 w 226"/>
                <a:gd name="T87" fmla="*/ 269 h 330"/>
                <a:gd name="T88" fmla="*/ 14 w 226"/>
                <a:gd name="T89" fmla="*/ 274 h 330"/>
                <a:gd name="T90" fmla="*/ 11 w 226"/>
                <a:gd name="T91" fmla="*/ 289 h 330"/>
                <a:gd name="T92" fmla="*/ 13 w 226"/>
                <a:gd name="T93" fmla="*/ 298 h 330"/>
                <a:gd name="T94" fmla="*/ 38 w 226"/>
                <a:gd name="T95" fmla="*/ 300 h 330"/>
                <a:gd name="T96" fmla="*/ 22 w 226"/>
                <a:gd name="T97" fmla="*/ 316 h 330"/>
                <a:gd name="T98" fmla="*/ 47 w 226"/>
                <a:gd name="T99" fmla="*/ 305 h 330"/>
                <a:gd name="T100" fmla="*/ 38 w 226"/>
                <a:gd name="T101" fmla="*/ 323 h 330"/>
                <a:gd name="T102" fmla="*/ 54 w 226"/>
                <a:gd name="T103" fmla="*/ 321 h 330"/>
                <a:gd name="T104" fmla="*/ 61 w 226"/>
                <a:gd name="T105" fmla="*/ 327 h 330"/>
                <a:gd name="T106" fmla="*/ 83 w 226"/>
                <a:gd name="T107" fmla="*/ 320 h 330"/>
                <a:gd name="T108" fmla="*/ 99 w 226"/>
                <a:gd name="T109" fmla="*/ 311 h 330"/>
                <a:gd name="T110" fmla="*/ 110 w 226"/>
                <a:gd name="T111" fmla="*/ 300 h 330"/>
                <a:gd name="T112" fmla="*/ 112 w 226"/>
                <a:gd name="T113" fmla="*/ 301 h 330"/>
                <a:gd name="T114" fmla="*/ 146 w 226"/>
                <a:gd name="T115" fmla="*/ 285 h 330"/>
                <a:gd name="T116" fmla="*/ 170 w 226"/>
                <a:gd name="T117" fmla="*/ 273 h 330"/>
                <a:gd name="T118" fmla="*/ 179 w 226"/>
                <a:gd name="T119" fmla="*/ 274 h 330"/>
                <a:gd name="T120" fmla="*/ 200 w 226"/>
                <a:gd name="T121" fmla="*/ 269 h 330"/>
                <a:gd name="T122" fmla="*/ 200 w 226"/>
                <a:gd name="T123" fmla="*/ 256 h 330"/>
                <a:gd name="T124" fmla="*/ 224 w 226"/>
                <a:gd name="T125" fmla="*/ 208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6" h="330">
                  <a:moveTo>
                    <a:pt x="34" y="316"/>
                  </a:moveTo>
                  <a:lnTo>
                    <a:pt x="34" y="316"/>
                  </a:lnTo>
                  <a:lnTo>
                    <a:pt x="34" y="314"/>
                  </a:lnTo>
                  <a:lnTo>
                    <a:pt x="34" y="314"/>
                  </a:lnTo>
                  <a:lnTo>
                    <a:pt x="34" y="314"/>
                  </a:lnTo>
                  <a:lnTo>
                    <a:pt x="33" y="314"/>
                  </a:lnTo>
                  <a:lnTo>
                    <a:pt x="31" y="314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8"/>
                  </a:lnTo>
                  <a:lnTo>
                    <a:pt x="31" y="318"/>
                  </a:lnTo>
                  <a:lnTo>
                    <a:pt x="34" y="316"/>
                  </a:lnTo>
                  <a:lnTo>
                    <a:pt x="34" y="316"/>
                  </a:lnTo>
                  <a:close/>
                  <a:moveTo>
                    <a:pt x="9" y="294"/>
                  </a:moveTo>
                  <a:lnTo>
                    <a:pt x="9" y="292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7" y="291"/>
                  </a:lnTo>
                  <a:lnTo>
                    <a:pt x="7" y="291"/>
                  </a:lnTo>
                  <a:lnTo>
                    <a:pt x="7" y="292"/>
                  </a:lnTo>
                  <a:lnTo>
                    <a:pt x="4" y="294"/>
                  </a:lnTo>
                  <a:lnTo>
                    <a:pt x="4" y="294"/>
                  </a:lnTo>
                  <a:lnTo>
                    <a:pt x="4" y="296"/>
                  </a:lnTo>
                  <a:lnTo>
                    <a:pt x="4" y="296"/>
                  </a:lnTo>
                  <a:lnTo>
                    <a:pt x="5" y="294"/>
                  </a:lnTo>
                  <a:lnTo>
                    <a:pt x="7" y="294"/>
                  </a:lnTo>
                  <a:lnTo>
                    <a:pt x="9" y="294"/>
                  </a:lnTo>
                  <a:close/>
                  <a:moveTo>
                    <a:pt x="38" y="193"/>
                  </a:moveTo>
                  <a:lnTo>
                    <a:pt x="36" y="191"/>
                  </a:lnTo>
                  <a:lnTo>
                    <a:pt x="34" y="191"/>
                  </a:lnTo>
                  <a:lnTo>
                    <a:pt x="34" y="193"/>
                  </a:lnTo>
                  <a:lnTo>
                    <a:pt x="36" y="193"/>
                  </a:lnTo>
                  <a:lnTo>
                    <a:pt x="42" y="197"/>
                  </a:lnTo>
                  <a:lnTo>
                    <a:pt x="43" y="197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2" y="195"/>
                  </a:lnTo>
                  <a:lnTo>
                    <a:pt x="42" y="195"/>
                  </a:lnTo>
                  <a:lnTo>
                    <a:pt x="42" y="195"/>
                  </a:lnTo>
                  <a:lnTo>
                    <a:pt x="42" y="193"/>
                  </a:lnTo>
                  <a:lnTo>
                    <a:pt x="42" y="193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38" y="193"/>
                  </a:lnTo>
                  <a:lnTo>
                    <a:pt x="38" y="193"/>
                  </a:lnTo>
                  <a:close/>
                  <a:moveTo>
                    <a:pt x="40" y="184"/>
                  </a:moveTo>
                  <a:lnTo>
                    <a:pt x="40" y="184"/>
                  </a:lnTo>
                  <a:lnTo>
                    <a:pt x="42" y="184"/>
                  </a:lnTo>
                  <a:lnTo>
                    <a:pt x="43" y="182"/>
                  </a:lnTo>
                  <a:lnTo>
                    <a:pt x="42" y="180"/>
                  </a:lnTo>
                  <a:lnTo>
                    <a:pt x="42" y="180"/>
                  </a:lnTo>
                  <a:lnTo>
                    <a:pt x="40" y="180"/>
                  </a:lnTo>
                  <a:lnTo>
                    <a:pt x="40" y="180"/>
                  </a:lnTo>
                  <a:lnTo>
                    <a:pt x="40" y="180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40" y="182"/>
                  </a:lnTo>
                  <a:lnTo>
                    <a:pt x="40" y="184"/>
                  </a:lnTo>
                  <a:close/>
                  <a:moveTo>
                    <a:pt x="14" y="123"/>
                  </a:moveTo>
                  <a:lnTo>
                    <a:pt x="16" y="123"/>
                  </a:lnTo>
                  <a:lnTo>
                    <a:pt x="20" y="123"/>
                  </a:lnTo>
                  <a:lnTo>
                    <a:pt x="22" y="123"/>
                  </a:lnTo>
                  <a:lnTo>
                    <a:pt x="22" y="123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22" y="128"/>
                  </a:lnTo>
                  <a:lnTo>
                    <a:pt x="24" y="126"/>
                  </a:lnTo>
                  <a:lnTo>
                    <a:pt x="24" y="128"/>
                  </a:lnTo>
                  <a:lnTo>
                    <a:pt x="25" y="128"/>
                  </a:lnTo>
                  <a:lnTo>
                    <a:pt x="25" y="130"/>
                  </a:lnTo>
                  <a:lnTo>
                    <a:pt x="27" y="130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6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3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4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5" y="117"/>
                  </a:lnTo>
                  <a:lnTo>
                    <a:pt x="22" y="117"/>
                  </a:lnTo>
                  <a:lnTo>
                    <a:pt x="20" y="119"/>
                  </a:lnTo>
                  <a:lnTo>
                    <a:pt x="20" y="119"/>
                  </a:lnTo>
                  <a:lnTo>
                    <a:pt x="18" y="119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13" y="121"/>
                  </a:lnTo>
                  <a:lnTo>
                    <a:pt x="11" y="121"/>
                  </a:lnTo>
                  <a:lnTo>
                    <a:pt x="11" y="123"/>
                  </a:lnTo>
                  <a:lnTo>
                    <a:pt x="13" y="123"/>
                  </a:lnTo>
                  <a:lnTo>
                    <a:pt x="14" y="123"/>
                  </a:lnTo>
                  <a:close/>
                  <a:moveTo>
                    <a:pt x="99" y="36"/>
                  </a:moveTo>
                  <a:lnTo>
                    <a:pt x="101" y="36"/>
                  </a:lnTo>
                  <a:lnTo>
                    <a:pt x="101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6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99" y="36"/>
                  </a:lnTo>
                  <a:close/>
                  <a:moveTo>
                    <a:pt x="226" y="208"/>
                  </a:moveTo>
                  <a:lnTo>
                    <a:pt x="224" y="204"/>
                  </a:lnTo>
                  <a:lnTo>
                    <a:pt x="222" y="202"/>
                  </a:lnTo>
                  <a:lnTo>
                    <a:pt x="222" y="202"/>
                  </a:lnTo>
                  <a:lnTo>
                    <a:pt x="222" y="200"/>
                  </a:lnTo>
                  <a:lnTo>
                    <a:pt x="224" y="199"/>
                  </a:lnTo>
                  <a:lnTo>
                    <a:pt x="224" y="197"/>
                  </a:lnTo>
                  <a:lnTo>
                    <a:pt x="224" y="195"/>
                  </a:lnTo>
                  <a:lnTo>
                    <a:pt x="224" y="195"/>
                  </a:lnTo>
                  <a:lnTo>
                    <a:pt x="224" y="195"/>
                  </a:lnTo>
                  <a:lnTo>
                    <a:pt x="224" y="195"/>
                  </a:lnTo>
                  <a:lnTo>
                    <a:pt x="224" y="195"/>
                  </a:lnTo>
                  <a:lnTo>
                    <a:pt x="222" y="191"/>
                  </a:lnTo>
                  <a:lnTo>
                    <a:pt x="220" y="189"/>
                  </a:lnTo>
                  <a:lnTo>
                    <a:pt x="222" y="188"/>
                  </a:lnTo>
                  <a:lnTo>
                    <a:pt x="220" y="188"/>
                  </a:lnTo>
                  <a:lnTo>
                    <a:pt x="220" y="188"/>
                  </a:lnTo>
                  <a:lnTo>
                    <a:pt x="220" y="188"/>
                  </a:lnTo>
                  <a:lnTo>
                    <a:pt x="220" y="186"/>
                  </a:lnTo>
                  <a:lnTo>
                    <a:pt x="220" y="184"/>
                  </a:lnTo>
                  <a:lnTo>
                    <a:pt x="220" y="184"/>
                  </a:lnTo>
                  <a:lnTo>
                    <a:pt x="220" y="182"/>
                  </a:lnTo>
                  <a:lnTo>
                    <a:pt x="220" y="180"/>
                  </a:lnTo>
                  <a:lnTo>
                    <a:pt x="220" y="180"/>
                  </a:lnTo>
                  <a:lnTo>
                    <a:pt x="220" y="180"/>
                  </a:lnTo>
                  <a:lnTo>
                    <a:pt x="220" y="180"/>
                  </a:lnTo>
                  <a:lnTo>
                    <a:pt x="219" y="180"/>
                  </a:lnTo>
                  <a:lnTo>
                    <a:pt x="219" y="179"/>
                  </a:lnTo>
                  <a:lnTo>
                    <a:pt x="217" y="179"/>
                  </a:lnTo>
                  <a:lnTo>
                    <a:pt x="217" y="179"/>
                  </a:lnTo>
                  <a:lnTo>
                    <a:pt x="215" y="177"/>
                  </a:lnTo>
                  <a:lnTo>
                    <a:pt x="215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7" y="171"/>
                  </a:lnTo>
                  <a:lnTo>
                    <a:pt x="217" y="171"/>
                  </a:lnTo>
                  <a:lnTo>
                    <a:pt x="219" y="171"/>
                  </a:lnTo>
                  <a:lnTo>
                    <a:pt x="219" y="171"/>
                  </a:lnTo>
                  <a:lnTo>
                    <a:pt x="219" y="171"/>
                  </a:lnTo>
                  <a:lnTo>
                    <a:pt x="220" y="171"/>
                  </a:lnTo>
                  <a:lnTo>
                    <a:pt x="220" y="171"/>
                  </a:lnTo>
                  <a:lnTo>
                    <a:pt x="220" y="173"/>
                  </a:lnTo>
                  <a:lnTo>
                    <a:pt x="222" y="173"/>
                  </a:lnTo>
                  <a:lnTo>
                    <a:pt x="222" y="173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0" y="171"/>
                  </a:lnTo>
                  <a:lnTo>
                    <a:pt x="219" y="170"/>
                  </a:lnTo>
                  <a:lnTo>
                    <a:pt x="219" y="170"/>
                  </a:lnTo>
                  <a:lnTo>
                    <a:pt x="219" y="170"/>
                  </a:lnTo>
                  <a:lnTo>
                    <a:pt x="219" y="170"/>
                  </a:lnTo>
                  <a:lnTo>
                    <a:pt x="219" y="170"/>
                  </a:lnTo>
                  <a:lnTo>
                    <a:pt x="219" y="168"/>
                  </a:lnTo>
                  <a:lnTo>
                    <a:pt x="219" y="166"/>
                  </a:lnTo>
                  <a:lnTo>
                    <a:pt x="215" y="166"/>
                  </a:lnTo>
                  <a:lnTo>
                    <a:pt x="217" y="164"/>
                  </a:lnTo>
                  <a:lnTo>
                    <a:pt x="217" y="164"/>
                  </a:lnTo>
                  <a:lnTo>
                    <a:pt x="219" y="164"/>
                  </a:lnTo>
                  <a:lnTo>
                    <a:pt x="219" y="166"/>
                  </a:lnTo>
                  <a:lnTo>
                    <a:pt x="219" y="164"/>
                  </a:lnTo>
                  <a:lnTo>
                    <a:pt x="219" y="162"/>
                  </a:lnTo>
                  <a:lnTo>
                    <a:pt x="220" y="162"/>
                  </a:lnTo>
                  <a:lnTo>
                    <a:pt x="220" y="162"/>
                  </a:lnTo>
                  <a:lnTo>
                    <a:pt x="220" y="161"/>
                  </a:lnTo>
                  <a:lnTo>
                    <a:pt x="220" y="161"/>
                  </a:lnTo>
                  <a:lnTo>
                    <a:pt x="220" y="159"/>
                  </a:lnTo>
                  <a:lnTo>
                    <a:pt x="220" y="157"/>
                  </a:lnTo>
                  <a:lnTo>
                    <a:pt x="220" y="157"/>
                  </a:lnTo>
                  <a:lnTo>
                    <a:pt x="220" y="155"/>
                  </a:lnTo>
                  <a:lnTo>
                    <a:pt x="219" y="155"/>
                  </a:lnTo>
                  <a:lnTo>
                    <a:pt x="219" y="153"/>
                  </a:lnTo>
                  <a:lnTo>
                    <a:pt x="217" y="153"/>
                  </a:lnTo>
                  <a:lnTo>
                    <a:pt x="215" y="152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3" y="150"/>
                  </a:lnTo>
                  <a:lnTo>
                    <a:pt x="213" y="148"/>
                  </a:lnTo>
                  <a:lnTo>
                    <a:pt x="213" y="148"/>
                  </a:lnTo>
                  <a:lnTo>
                    <a:pt x="213" y="146"/>
                  </a:lnTo>
                  <a:lnTo>
                    <a:pt x="213" y="143"/>
                  </a:lnTo>
                  <a:lnTo>
                    <a:pt x="213" y="141"/>
                  </a:lnTo>
                  <a:lnTo>
                    <a:pt x="213" y="139"/>
                  </a:lnTo>
                  <a:lnTo>
                    <a:pt x="213" y="137"/>
                  </a:lnTo>
                  <a:lnTo>
                    <a:pt x="213" y="135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3" y="132"/>
                  </a:lnTo>
                  <a:lnTo>
                    <a:pt x="213" y="132"/>
                  </a:lnTo>
                  <a:lnTo>
                    <a:pt x="210" y="130"/>
                  </a:lnTo>
                  <a:lnTo>
                    <a:pt x="208" y="130"/>
                  </a:lnTo>
                  <a:lnTo>
                    <a:pt x="206" y="128"/>
                  </a:lnTo>
                  <a:lnTo>
                    <a:pt x="206" y="126"/>
                  </a:lnTo>
                  <a:lnTo>
                    <a:pt x="206" y="124"/>
                  </a:lnTo>
                  <a:lnTo>
                    <a:pt x="206" y="123"/>
                  </a:lnTo>
                  <a:lnTo>
                    <a:pt x="206" y="121"/>
                  </a:lnTo>
                  <a:lnTo>
                    <a:pt x="208" y="121"/>
                  </a:lnTo>
                  <a:lnTo>
                    <a:pt x="208" y="119"/>
                  </a:lnTo>
                  <a:lnTo>
                    <a:pt x="208" y="119"/>
                  </a:lnTo>
                  <a:lnTo>
                    <a:pt x="208" y="119"/>
                  </a:lnTo>
                  <a:lnTo>
                    <a:pt x="210" y="119"/>
                  </a:lnTo>
                  <a:lnTo>
                    <a:pt x="213" y="121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5" y="121"/>
                  </a:lnTo>
                  <a:lnTo>
                    <a:pt x="217" y="123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0" y="119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7" y="117"/>
                  </a:lnTo>
                  <a:lnTo>
                    <a:pt x="217" y="117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0"/>
                  </a:lnTo>
                  <a:lnTo>
                    <a:pt x="210" y="112"/>
                  </a:lnTo>
                  <a:lnTo>
                    <a:pt x="210" y="112"/>
                  </a:lnTo>
                  <a:lnTo>
                    <a:pt x="210" y="112"/>
                  </a:lnTo>
                  <a:lnTo>
                    <a:pt x="208" y="112"/>
                  </a:lnTo>
                  <a:lnTo>
                    <a:pt x="208" y="110"/>
                  </a:lnTo>
                  <a:lnTo>
                    <a:pt x="208" y="110"/>
                  </a:lnTo>
                  <a:lnTo>
                    <a:pt x="206" y="112"/>
                  </a:lnTo>
                  <a:lnTo>
                    <a:pt x="206" y="112"/>
                  </a:lnTo>
                  <a:lnTo>
                    <a:pt x="206" y="112"/>
                  </a:lnTo>
                  <a:lnTo>
                    <a:pt x="206" y="114"/>
                  </a:lnTo>
                  <a:lnTo>
                    <a:pt x="206" y="114"/>
                  </a:lnTo>
                  <a:lnTo>
                    <a:pt x="206" y="114"/>
                  </a:lnTo>
                  <a:lnTo>
                    <a:pt x="204" y="115"/>
                  </a:lnTo>
                  <a:lnTo>
                    <a:pt x="204" y="115"/>
                  </a:lnTo>
                  <a:lnTo>
                    <a:pt x="204" y="115"/>
                  </a:lnTo>
                  <a:lnTo>
                    <a:pt x="202" y="115"/>
                  </a:lnTo>
                  <a:lnTo>
                    <a:pt x="202" y="114"/>
                  </a:lnTo>
                  <a:lnTo>
                    <a:pt x="202" y="114"/>
                  </a:lnTo>
                  <a:lnTo>
                    <a:pt x="202" y="114"/>
                  </a:lnTo>
                  <a:lnTo>
                    <a:pt x="200" y="114"/>
                  </a:lnTo>
                  <a:lnTo>
                    <a:pt x="197" y="115"/>
                  </a:lnTo>
                  <a:lnTo>
                    <a:pt x="197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7"/>
                  </a:lnTo>
                  <a:lnTo>
                    <a:pt x="193" y="117"/>
                  </a:lnTo>
                  <a:lnTo>
                    <a:pt x="193" y="115"/>
                  </a:lnTo>
                  <a:lnTo>
                    <a:pt x="191" y="115"/>
                  </a:lnTo>
                  <a:lnTo>
                    <a:pt x="191" y="114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0"/>
                  </a:lnTo>
                  <a:lnTo>
                    <a:pt x="193" y="108"/>
                  </a:lnTo>
                  <a:lnTo>
                    <a:pt x="193" y="106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1" y="105"/>
                  </a:lnTo>
                  <a:lnTo>
                    <a:pt x="191" y="103"/>
                  </a:lnTo>
                  <a:lnTo>
                    <a:pt x="190" y="103"/>
                  </a:lnTo>
                  <a:lnTo>
                    <a:pt x="190" y="103"/>
                  </a:lnTo>
                  <a:lnTo>
                    <a:pt x="190" y="103"/>
                  </a:lnTo>
                  <a:lnTo>
                    <a:pt x="188" y="105"/>
                  </a:lnTo>
                  <a:lnTo>
                    <a:pt x="188" y="105"/>
                  </a:lnTo>
                  <a:lnTo>
                    <a:pt x="188" y="105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4" y="101"/>
                  </a:lnTo>
                  <a:lnTo>
                    <a:pt x="184" y="99"/>
                  </a:lnTo>
                  <a:lnTo>
                    <a:pt x="184" y="99"/>
                  </a:lnTo>
                  <a:lnTo>
                    <a:pt x="182" y="99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1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4"/>
                  </a:lnTo>
                  <a:lnTo>
                    <a:pt x="181" y="92"/>
                  </a:lnTo>
                  <a:lnTo>
                    <a:pt x="181" y="90"/>
                  </a:lnTo>
                  <a:lnTo>
                    <a:pt x="181" y="90"/>
                  </a:lnTo>
                  <a:lnTo>
                    <a:pt x="181" y="90"/>
                  </a:lnTo>
                  <a:lnTo>
                    <a:pt x="179" y="90"/>
                  </a:lnTo>
                  <a:lnTo>
                    <a:pt x="179" y="88"/>
                  </a:lnTo>
                  <a:lnTo>
                    <a:pt x="179" y="88"/>
                  </a:lnTo>
                  <a:lnTo>
                    <a:pt x="175" y="85"/>
                  </a:lnTo>
                  <a:lnTo>
                    <a:pt x="173" y="85"/>
                  </a:lnTo>
                  <a:lnTo>
                    <a:pt x="172" y="85"/>
                  </a:lnTo>
                  <a:lnTo>
                    <a:pt x="172" y="87"/>
                  </a:lnTo>
                  <a:lnTo>
                    <a:pt x="168" y="90"/>
                  </a:lnTo>
                  <a:lnTo>
                    <a:pt x="166" y="92"/>
                  </a:lnTo>
                  <a:lnTo>
                    <a:pt x="166" y="92"/>
                  </a:lnTo>
                  <a:lnTo>
                    <a:pt x="166" y="90"/>
                  </a:lnTo>
                  <a:lnTo>
                    <a:pt x="166" y="92"/>
                  </a:lnTo>
                  <a:lnTo>
                    <a:pt x="166" y="92"/>
                  </a:lnTo>
                  <a:lnTo>
                    <a:pt x="164" y="92"/>
                  </a:lnTo>
                  <a:lnTo>
                    <a:pt x="166" y="92"/>
                  </a:lnTo>
                  <a:lnTo>
                    <a:pt x="166" y="92"/>
                  </a:lnTo>
                  <a:lnTo>
                    <a:pt x="166" y="92"/>
                  </a:lnTo>
                  <a:lnTo>
                    <a:pt x="166" y="92"/>
                  </a:lnTo>
                  <a:lnTo>
                    <a:pt x="166" y="94"/>
                  </a:lnTo>
                  <a:lnTo>
                    <a:pt x="164" y="94"/>
                  </a:lnTo>
                  <a:lnTo>
                    <a:pt x="164" y="94"/>
                  </a:lnTo>
                  <a:lnTo>
                    <a:pt x="164" y="94"/>
                  </a:lnTo>
                  <a:lnTo>
                    <a:pt x="164" y="94"/>
                  </a:lnTo>
                  <a:lnTo>
                    <a:pt x="164" y="96"/>
                  </a:lnTo>
                  <a:lnTo>
                    <a:pt x="166" y="96"/>
                  </a:lnTo>
                  <a:lnTo>
                    <a:pt x="166" y="97"/>
                  </a:lnTo>
                  <a:lnTo>
                    <a:pt x="168" y="99"/>
                  </a:lnTo>
                  <a:lnTo>
                    <a:pt x="166" y="99"/>
                  </a:lnTo>
                  <a:lnTo>
                    <a:pt x="168" y="101"/>
                  </a:lnTo>
                  <a:lnTo>
                    <a:pt x="166" y="101"/>
                  </a:lnTo>
                  <a:lnTo>
                    <a:pt x="163" y="103"/>
                  </a:lnTo>
                  <a:lnTo>
                    <a:pt x="163" y="103"/>
                  </a:lnTo>
                  <a:lnTo>
                    <a:pt x="163" y="103"/>
                  </a:lnTo>
                  <a:lnTo>
                    <a:pt x="163" y="103"/>
                  </a:lnTo>
                  <a:lnTo>
                    <a:pt x="163" y="105"/>
                  </a:lnTo>
                  <a:lnTo>
                    <a:pt x="163" y="105"/>
                  </a:lnTo>
                  <a:lnTo>
                    <a:pt x="163" y="105"/>
                  </a:lnTo>
                  <a:lnTo>
                    <a:pt x="163" y="106"/>
                  </a:lnTo>
                  <a:lnTo>
                    <a:pt x="163" y="106"/>
                  </a:lnTo>
                  <a:lnTo>
                    <a:pt x="163" y="106"/>
                  </a:lnTo>
                  <a:lnTo>
                    <a:pt x="163" y="108"/>
                  </a:lnTo>
                  <a:lnTo>
                    <a:pt x="161" y="108"/>
                  </a:lnTo>
                  <a:lnTo>
                    <a:pt x="161" y="108"/>
                  </a:lnTo>
                  <a:lnTo>
                    <a:pt x="161" y="110"/>
                  </a:lnTo>
                  <a:lnTo>
                    <a:pt x="161" y="108"/>
                  </a:lnTo>
                  <a:lnTo>
                    <a:pt x="161" y="108"/>
                  </a:lnTo>
                  <a:lnTo>
                    <a:pt x="161" y="108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59" y="106"/>
                  </a:lnTo>
                  <a:lnTo>
                    <a:pt x="159" y="106"/>
                  </a:lnTo>
                  <a:lnTo>
                    <a:pt x="159" y="108"/>
                  </a:lnTo>
                  <a:lnTo>
                    <a:pt x="159" y="110"/>
                  </a:lnTo>
                  <a:lnTo>
                    <a:pt x="159" y="110"/>
                  </a:lnTo>
                  <a:lnTo>
                    <a:pt x="159" y="110"/>
                  </a:lnTo>
                  <a:lnTo>
                    <a:pt x="155" y="110"/>
                  </a:lnTo>
                  <a:lnTo>
                    <a:pt x="155" y="110"/>
                  </a:lnTo>
                  <a:lnTo>
                    <a:pt x="155" y="110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4" y="108"/>
                  </a:lnTo>
                  <a:lnTo>
                    <a:pt x="154" y="108"/>
                  </a:lnTo>
                  <a:lnTo>
                    <a:pt x="154" y="108"/>
                  </a:lnTo>
                  <a:lnTo>
                    <a:pt x="154" y="108"/>
                  </a:lnTo>
                  <a:lnTo>
                    <a:pt x="154" y="106"/>
                  </a:lnTo>
                  <a:lnTo>
                    <a:pt x="152" y="108"/>
                  </a:lnTo>
                  <a:lnTo>
                    <a:pt x="150" y="110"/>
                  </a:lnTo>
                  <a:lnTo>
                    <a:pt x="145" y="108"/>
                  </a:lnTo>
                  <a:lnTo>
                    <a:pt x="145" y="108"/>
                  </a:lnTo>
                  <a:lnTo>
                    <a:pt x="145" y="106"/>
                  </a:lnTo>
                  <a:lnTo>
                    <a:pt x="145" y="106"/>
                  </a:lnTo>
                  <a:lnTo>
                    <a:pt x="143" y="105"/>
                  </a:lnTo>
                  <a:lnTo>
                    <a:pt x="139" y="103"/>
                  </a:lnTo>
                  <a:lnTo>
                    <a:pt x="139" y="103"/>
                  </a:lnTo>
                  <a:lnTo>
                    <a:pt x="135" y="103"/>
                  </a:lnTo>
                  <a:lnTo>
                    <a:pt x="134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97"/>
                  </a:lnTo>
                  <a:lnTo>
                    <a:pt x="130" y="96"/>
                  </a:lnTo>
                  <a:lnTo>
                    <a:pt x="130" y="96"/>
                  </a:lnTo>
                  <a:lnTo>
                    <a:pt x="128" y="94"/>
                  </a:lnTo>
                  <a:lnTo>
                    <a:pt x="128" y="94"/>
                  </a:lnTo>
                  <a:lnTo>
                    <a:pt x="128" y="94"/>
                  </a:lnTo>
                  <a:lnTo>
                    <a:pt x="126" y="94"/>
                  </a:lnTo>
                  <a:lnTo>
                    <a:pt x="126" y="92"/>
                  </a:lnTo>
                  <a:lnTo>
                    <a:pt x="125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1" y="87"/>
                  </a:lnTo>
                  <a:lnTo>
                    <a:pt x="119" y="85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1"/>
                  </a:lnTo>
                  <a:lnTo>
                    <a:pt x="117" y="81"/>
                  </a:lnTo>
                  <a:lnTo>
                    <a:pt x="116" y="81"/>
                  </a:lnTo>
                  <a:lnTo>
                    <a:pt x="116" y="79"/>
                  </a:lnTo>
                  <a:lnTo>
                    <a:pt x="117" y="79"/>
                  </a:lnTo>
                  <a:lnTo>
                    <a:pt x="119" y="79"/>
                  </a:lnTo>
                  <a:lnTo>
                    <a:pt x="121" y="77"/>
                  </a:lnTo>
                  <a:lnTo>
                    <a:pt x="121" y="77"/>
                  </a:lnTo>
                  <a:lnTo>
                    <a:pt x="123" y="77"/>
                  </a:lnTo>
                  <a:lnTo>
                    <a:pt x="123" y="76"/>
                  </a:lnTo>
                  <a:lnTo>
                    <a:pt x="123" y="74"/>
                  </a:lnTo>
                  <a:lnTo>
                    <a:pt x="125" y="74"/>
                  </a:lnTo>
                  <a:lnTo>
                    <a:pt x="128" y="74"/>
                  </a:lnTo>
                  <a:lnTo>
                    <a:pt x="130" y="74"/>
                  </a:lnTo>
                  <a:lnTo>
                    <a:pt x="132" y="74"/>
                  </a:lnTo>
                  <a:lnTo>
                    <a:pt x="137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7"/>
                  </a:lnTo>
                  <a:lnTo>
                    <a:pt x="139" y="67"/>
                  </a:lnTo>
                  <a:lnTo>
                    <a:pt x="137" y="67"/>
                  </a:lnTo>
                  <a:lnTo>
                    <a:pt x="137" y="67"/>
                  </a:lnTo>
                  <a:lnTo>
                    <a:pt x="137" y="67"/>
                  </a:lnTo>
                  <a:lnTo>
                    <a:pt x="135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2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28" y="63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28" y="59"/>
                  </a:lnTo>
                  <a:lnTo>
                    <a:pt x="130" y="59"/>
                  </a:lnTo>
                  <a:lnTo>
                    <a:pt x="132" y="58"/>
                  </a:lnTo>
                  <a:lnTo>
                    <a:pt x="134" y="58"/>
                  </a:lnTo>
                  <a:lnTo>
                    <a:pt x="135" y="58"/>
                  </a:lnTo>
                  <a:lnTo>
                    <a:pt x="135" y="59"/>
                  </a:lnTo>
                  <a:lnTo>
                    <a:pt x="137" y="59"/>
                  </a:lnTo>
                  <a:lnTo>
                    <a:pt x="139" y="58"/>
                  </a:lnTo>
                  <a:lnTo>
                    <a:pt x="141" y="56"/>
                  </a:lnTo>
                  <a:lnTo>
                    <a:pt x="143" y="56"/>
                  </a:lnTo>
                  <a:lnTo>
                    <a:pt x="145" y="56"/>
                  </a:lnTo>
                  <a:lnTo>
                    <a:pt x="146" y="56"/>
                  </a:lnTo>
                  <a:lnTo>
                    <a:pt x="146" y="56"/>
                  </a:lnTo>
                  <a:lnTo>
                    <a:pt x="146" y="56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52" y="47"/>
                  </a:lnTo>
                  <a:lnTo>
                    <a:pt x="152" y="45"/>
                  </a:lnTo>
                  <a:lnTo>
                    <a:pt x="154" y="43"/>
                  </a:lnTo>
                  <a:lnTo>
                    <a:pt x="154" y="43"/>
                  </a:lnTo>
                  <a:lnTo>
                    <a:pt x="152" y="41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4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4" y="36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1"/>
                  </a:lnTo>
                  <a:lnTo>
                    <a:pt x="157" y="31"/>
                  </a:lnTo>
                  <a:lnTo>
                    <a:pt x="157" y="31"/>
                  </a:lnTo>
                  <a:lnTo>
                    <a:pt x="161" y="31"/>
                  </a:lnTo>
                  <a:lnTo>
                    <a:pt x="161" y="29"/>
                  </a:lnTo>
                  <a:lnTo>
                    <a:pt x="161" y="29"/>
                  </a:lnTo>
                  <a:lnTo>
                    <a:pt x="161" y="29"/>
                  </a:lnTo>
                  <a:lnTo>
                    <a:pt x="163" y="27"/>
                  </a:lnTo>
                  <a:lnTo>
                    <a:pt x="163" y="27"/>
                  </a:lnTo>
                  <a:lnTo>
                    <a:pt x="163" y="25"/>
                  </a:lnTo>
                  <a:lnTo>
                    <a:pt x="164" y="25"/>
                  </a:lnTo>
                  <a:lnTo>
                    <a:pt x="166" y="21"/>
                  </a:lnTo>
                  <a:lnTo>
                    <a:pt x="166" y="20"/>
                  </a:lnTo>
                  <a:lnTo>
                    <a:pt x="168" y="20"/>
                  </a:lnTo>
                  <a:lnTo>
                    <a:pt x="170" y="20"/>
                  </a:lnTo>
                  <a:lnTo>
                    <a:pt x="172" y="18"/>
                  </a:lnTo>
                  <a:lnTo>
                    <a:pt x="173" y="16"/>
                  </a:lnTo>
                  <a:lnTo>
                    <a:pt x="175" y="16"/>
                  </a:lnTo>
                  <a:lnTo>
                    <a:pt x="177" y="16"/>
                  </a:lnTo>
                  <a:lnTo>
                    <a:pt x="177" y="14"/>
                  </a:lnTo>
                  <a:lnTo>
                    <a:pt x="179" y="12"/>
                  </a:lnTo>
                  <a:lnTo>
                    <a:pt x="177" y="11"/>
                  </a:lnTo>
                  <a:lnTo>
                    <a:pt x="177" y="12"/>
                  </a:lnTo>
                  <a:lnTo>
                    <a:pt x="175" y="11"/>
                  </a:lnTo>
                  <a:lnTo>
                    <a:pt x="173" y="11"/>
                  </a:lnTo>
                  <a:lnTo>
                    <a:pt x="172" y="11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4" y="3"/>
                  </a:lnTo>
                  <a:lnTo>
                    <a:pt x="164" y="3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59" y="2"/>
                  </a:lnTo>
                  <a:lnTo>
                    <a:pt x="157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7" y="2"/>
                  </a:lnTo>
                  <a:lnTo>
                    <a:pt x="157" y="5"/>
                  </a:lnTo>
                  <a:lnTo>
                    <a:pt x="159" y="7"/>
                  </a:lnTo>
                  <a:lnTo>
                    <a:pt x="163" y="9"/>
                  </a:lnTo>
                  <a:lnTo>
                    <a:pt x="161" y="9"/>
                  </a:lnTo>
                  <a:lnTo>
                    <a:pt x="161" y="9"/>
                  </a:lnTo>
                  <a:lnTo>
                    <a:pt x="159" y="9"/>
                  </a:lnTo>
                  <a:lnTo>
                    <a:pt x="157" y="9"/>
                  </a:lnTo>
                  <a:lnTo>
                    <a:pt x="159" y="9"/>
                  </a:lnTo>
                  <a:lnTo>
                    <a:pt x="159" y="9"/>
                  </a:lnTo>
                  <a:lnTo>
                    <a:pt x="159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5" y="9"/>
                  </a:lnTo>
                  <a:lnTo>
                    <a:pt x="154" y="9"/>
                  </a:lnTo>
                  <a:lnTo>
                    <a:pt x="152" y="9"/>
                  </a:lnTo>
                  <a:lnTo>
                    <a:pt x="152" y="7"/>
                  </a:lnTo>
                  <a:lnTo>
                    <a:pt x="152" y="7"/>
                  </a:lnTo>
                  <a:lnTo>
                    <a:pt x="152" y="7"/>
                  </a:lnTo>
                  <a:lnTo>
                    <a:pt x="152" y="9"/>
                  </a:lnTo>
                  <a:lnTo>
                    <a:pt x="152" y="9"/>
                  </a:lnTo>
                  <a:lnTo>
                    <a:pt x="152" y="9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48" y="9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0" y="18"/>
                  </a:lnTo>
                  <a:lnTo>
                    <a:pt x="152" y="21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2" y="29"/>
                  </a:lnTo>
                  <a:lnTo>
                    <a:pt x="152" y="31"/>
                  </a:lnTo>
                  <a:lnTo>
                    <a:pt x="150" y="31"/>
                  </a:lnTo>
                  <a:lnTo>
                    <a:pt x="150" y="31"/>
                  </a:lnTo>
                  <a:lnTo>
                    <a:pt x="148" y="31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3" y="36"/>
                  </a:lnTo>
                  <a:lnTo>
                    <a:pt x="143" y="38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36"/>
                  </a:lnTo>
                  <a:lnTo>
                    <a:pt x="143" y="34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1"/>
                  </a:lnTo>
                  <a:lnTo>
                    <a:pt x="146" y="29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6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8" y="23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5" y="18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5" y="14"/>
                  </a:lnTo>
                  <a:lnTo>
                    <a:pt x="145" y="12"/>
                  </a:lnTo>
                  <a:lnTo>
                    <a:pt x="145" y="12"/>
                  </a:lnTo>
                  <a:lnTo>
                    <a:pt x="145" y="12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9"/>
                  </a:lnTo>
                  <a:lnTo>
                    <a:pt x="141" y="11"/>
                  </a:lnTo>
                  <a:lnTo>
                    <a:pt x="139" y="11"/>
                  </a:lnTo>
                  <a:lnTo>
                    <a:pt x="139" y="12"/>
                  </a:lnTo>
                  <a:lnTo>
                    <a:pt x="137" y="11"/>
                  </a:lnTo>
                  <a:lnTo>
                    <a:pt x="137" y="12"/>
                  </a:lnTo>
                  <a:lnTo>
                    <a:pt x="135" y="14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7" y="16"/>
                  </a:lnTo>
                  <a:lnTo>
                    <a:pt x="137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39" y="16"/>
                  </a:lnTo>
                  <a:lnTo>
                    <a:pt x="139" y="14"/>
                  </a:lnTo>
                  <a:lnTo>
                    <a:pt x="139" y="14"/>
                  </a:lnTo>
                  <a:lnTo>
                    <a:pt x="139" y="14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20"/>
                  </a:lnTo>
                  <a:lnTo>
                    <a:pt x="141" y="21"/>
                  </a:lnTo>
                  <a:lnTo>
                    <a:pt x="141" y="21"/>
                  </a:lnTo>
                  <a:lnTo>
                    <a:pt x="141" y="21"/>
                  </a:lnTo>
                  <a:lnTo>
                    <a:pt x="141" y="25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41" y="23"/>
                  </a:lnTo>
                  <a:lnTo>
                    <a:pt x="141" y="21"/>
                  </a:lnTo>
                  <a:lnTo>
                    <a:pt x="139" y="21"/>
                  </a:lnTo>
                  <a:lnTo>
                    <a:pt x="139" y="20"/>
                  </a:lnTo>
                  <a:lnTo>
                    <a:pt x="139" y="20"/>
                  </a:lnTo>
                  <a:lnTo>
                    <a:pt x="139" y="20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4" y="18"/>
                  </a:lnTo>
                  <a:lnTo>
                    <a:pt x="134" y="16"/>
                  </a:lnTo>
                  <a:lnTo>
                    <a:pt x="134" y="16"/>
                  </a:lnTo>
                  <a:lnTo>
                    <a:pt x="134" y="16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1"/>
                  </a:lnTo>
                  <a:lnTo>
                    <a:pt x="134" y="12"/>
                  </a:lnTo>
                  <a:lnTo>
                    <a:pt x="132" y="14"/>
                  </a:lnTo>
                  <a:lnTo>
                    <a:pt x="132" y="14"/>
                  </a:lnTo>
                  <a:lnTo>
                    <a:pt x="132" y="16"/>
                  </a:lnTo>
                  <a:lnTo>
                    <a:pt x="134" y="18"/>
                  </a:lnTo>
                  <a:lnTo>
                    <a:pt x="134" y="20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0" y="21"/>
                  </a:lnTo>
                  <a:lnTo>
                    <a:pt x="130" y="21"/>
                  </a:lnTo>
                  <a:lnTo>
                    <a:pt x="130" y="21"/>
                  </a:lnTo>
                  <a:lnTo>
                    <a:pt x="132" y="20"/>
                  </a:lnTo>
                  <a:lnTo>
                    <a:pt x="132" y="20"/>
                  </a:lnTo>
                  <a:lnTo>
                    <a:pt x="132" y="20"/>
                  </a:lnTo>
                  <a:lnTo>
                    <a:pt x="132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6" y="16"/>
                  </a:lnTo>
                  <a:lnTo>
                    <a:pt x="128" y="16"/>
                  </a:lnTo>
                  <a:lnTo>
                    <a:pt x="126" y="14"/>
                  </a:lnTo>
                  <a:lnTo>
                    <a:pt x="125" y="14"/>
                  </a:lnTo>
                  <a:lnTo>
                    <a:pt x="125" y="16"/>
                  </a:lnTo>
                  <a:lnTo>
                    <a:pt x="125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19" y="20"/>
                  </a:lnTo>
                  <a:lnTo>
                    <a:pt x="117" y="21"/>
                  </a:lnTo>
                  <a:lnTo>
                    <a:pt x="117" y="23"/>
                  </a:lnTo>
                  <a:lnTo>
                    <a:pt x="117" y="23"/>
                  </a:lnTo>
                  <a:lnTo>
                    <a:pt x="117" y="21"/>
                  </a:lnTo>
                  <a:lnTo>
                    <a:pt x="117" y="21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6" y="21"/>
                  </a:lnTo>
                  <a:lnTo>
                    <a:pt x="114" y="21"/>
                  </a:lnTo>
                  <a:lnTo>
                    <a:pt x="112" y="20"/>
                  </a:lnTo>
                  <a:lnTo>
                    <a:pt x="110" y="20"/>
                  </a:lnTo>
                  <a:lnTo>
                    <a:pt x="110" y="21"/>
                  </a:lnTo>
                  <a:lnTo>
                    <a:pt x="110" y="23"/>
                  </a:lnTo>
                  <a:lnTo>
                    <a:pt x="108" y="23"/>
                  </a:lnTo>
                  <a:lnTo>
                    <a:pt x="108" y="25"/>
                  </a:lnTo>
                  <a:lnTo>
                    <a:pt x="108" y="27"/>
                  </a:lnTo>
                  <a:lnTo>
                    <a:pt x="110" y="29"/>
                  </a:lnTo>
                  <a:lnTo>
                    <a:pt x="108" y="29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7" y="29"/>
                  </a:lnTo>
                  <a:lnTo>
                    <a:pt x="107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4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5" y="36"/>
                  </a:lnTo>
                  <a:lnTo>
                    <a:pt x="105" y="38"/>
                  </a:lnTo>
                  <a:lnTo>
                    <a:pt x="107" y="38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3" y="40"/>
                  </a:lnTo>
                  <a:lnTo>
                    <a:pt x="103" y="40"/>
                  </a:lnTo>
                  <a:lnTo>
                    <a:pt x="103" y="38"/>
                  </a:lnTo>
                  <a:lnTo>
                    <a:pt x="101" y="40"/>
                  </a:lnTo>
                  <a:lnTo>
                    <a:pt x="103" y="41"/>
                  </a:lnTo>
                  <a:lnTo>
                    <a:pt x="103" y="43"/>
                  </a:lnTo>
                  <a:lnTo>
                    <a:pt x="105" y="43"/>
                  </a:lnTo>
                  <a:lnTo>
                    <a:pt x="107" y="43"/>
                  </a:lnTo>
                  <a:lnTo>
                    <a:pt x="107" y="43"/>
                  </a:lnTo>
                  <a:lnTo>
                    <a:pt x="107" y="43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8" y="41"/>
                  </a:lnTo>
                  <a:lnTo>
                    <a:pt x="108" y="43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7"/>
                  </a:lnTo>
                  <a:lnTo>
                    <a:pt x="107" y="47"/>
                  </a:lnTo>
                  <a:lnTo>
                    <a:pt x="108" y="47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5" y="47"/>
                  </a:lnTo>
                  <a:lnTo>
                    <a:pt x="103" y="49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99" y="47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9" y="50"/>
                  </a:lnTo>
                  <a:lnTo>
                    <a:pt x="101" y="52"/>
                  </a:lnTo>
                  <a:lnTo>
                    <a:pt x="105" y="54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1" y="54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9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98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89" y="58"/>
                  </a:lnTo>
                  <a:lnTo>
                    <a:pt x="87" y="58"/>
                  </a:lnTo>
                  <a:lnTo>
                    <a:pt x="87" y="59"/>
                  </a:lnTo>
                  <a:lnTo>
                    <a:pt x="87" y="59"/>
                  </a:lnTo>
                  <a:lnTo>
                    <a:pt x="87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7" y="63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8" y="68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9" y="67"/>
                  </a:lnTo>
                  <a:lnTo>
                    <a:pt x="99" y="67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101" y="65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3" y="67"/>
                  </a:lnTo>
                  <a:lnTo>
                    <a:pt x="103" y="65"/>
                  </a:lnTo>
                  <a:lnTo>
                    <a:pt x="105" y="65"/>
                  </a:lnTo>
                  <a:lnTo>
                    <a:pt x="103" y="67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5" y="68"/>
                  </a:lnTo>
                  <a:lnTo>
                    <a:pt x="105" y="68"/>
                  </a:lnTo>
                  <a:lnTo>
                    <a:pt x="105" y="68"/>
                  </a:lnTo>
                  <a:lnTo>
                    <a:pt x="103" y="70"/>
                  </a:lnTo>
                  <a:lnTo>
                    <a:pt x="101" y="70"/>
                  </a:lnTo>
                  <a:lnTo>
                    <a:pt x="101" y="72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5" y="70"/>
                  </a:lnTo>
                  <a:lnTo>
                    <a:pt x="107" y="68"/>
                  </a:lnTo>
                  <a:lnTo>
                    <a:pt x="108" y="67"/>
                  </a:lnTo>
                  <a:lnTo>
                    <a:pt x="108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8"/>
                  </a:lnTo>
                  <a:lnTo>
                    <a:pt x="112" y="67"/>
                  </a:lnTo>
                  <a:lnTo>
                    <a:pt x="114" y="67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6" y="67"/>
                  </a:lnTo>
                  <a:lnTo>
                    <a:pt x="116" y="68"/>
                  </a:lnTo>
                  <a:lnTo>
                    <a:pt x="114" y="70"/>
                  </a:lnTo>
                  <a:lnTo>
                    <a:pt x="114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4" y="76"/>
                  </a:lnTo>
                  <a:lnTo>
                    <a:pt x="114" y="77"/>
                  </a:lnTo>
                  <a:lnTo>
                    <a:pt x="112" y="77"/>
                  </a:lnTo>
                  <a:lnTo>
                    <a:pt x="110" y="79"/>
                  </a:lnTo>
                  <a:lnTo>
                    <a:pt x="110" y="79"/>
                  </a:lnTo>
                  <a:lnTo>
                    <a:pt x="107" y="79"/>
                  </a:lnTo>
                  <a:lnTo>
                    <a:pt x="105" y="79"/>
                  </a:lnTo>
                  <a:lnTo>
                    <a:pt x="105" y="81"/>
                  </a:lnTo>
                  <a:lnTo>
                    <a:pt x="103" y="81"/>
                  </a:lnTo>
                  <a:lnTo>
                    <a:pt x="103" y="81"/>
                  </a:lnTo>
                  <a:lnTo>
                    <a:pt x="103" y="81"/>
                  </a:lnTo>
                  <a:lnTo>
                    <a:pt x="103" y="81"/>
                  </a:lnTo>
                  <a:lnTo>
                    <a:pt x="103" y="81"/>
                  </a:lnTo>
                  <a:lnTo>
                    <a:pt x="101" y="79"/>
                  </a:lnTo>
                  <a:lnTo>
                    <a:pt x="101" y="79"/>
                  </a:lnTo>
                  <a:lnTo>
                    <a:pt x="101" y="81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99" y="83"/>
                  </a:lnTo>
                  <a:lnTo>
                    <a:pt x="94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9" y="92"/>
                  </a:lnTo>
                  <a:lnTo>
                    <a:pt x="99" y="92"/>
                  </a:lnTo>
                  <a:lnTo>
                    <a:pt x="98" y="94"/>
                  </a:lnTo>
                  <a:lnTo>
                    <a:pt x="98" y="92"/>
                  </a:lnTo>
                  <a:lnTo>
                    <a:pt x="96" y="92"/>
                  </a:lnTo>
                  <a:lnTo>
                    <a:pt x="96" y="94"/>
                  </a:lnTo>
                  <a:lnTo>
                    <a:pt x="96" y="94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101" y="96"/>
                  </a:lnTo>
                  <a:lnTo>
                    <a:pt x="101" y="96"/>
                  </a:lnTo>
                  <a:lnTo>
                    <a:pt x="98" y="96"/>
                  </a:lnTo>
                  <a:lnTo>
                    <a:pt x="98" y="96"/>
                  </a:lnTo>
                  <a:lnTo>
                    <a:pt x="98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6" y="97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3"/>
                  </a:lnTo>
                  <a:lnTo>
                    <a:pt x="98" y="103"/>
                  </a:lnTo>
                  <a:lnTo>
                    <a:pt x="98" y="103"/>
                  </a:lnTo>
                  <a:lnTo>
                    <a:pt x="96" y="103"/>
                  </a:lnTo>
                  <a:lnTo>
                    <a:pt x="96" y="101"/>
                  </a:lnTo>
                  <a:lnTo>
                    <a:pt x="94" y="101"/>
                  </a:lnTo>
                  <a:lnTo>
                    <a:pt x="94" y="99"/>
                  </a:lnTo>
                  <a:lnTo>
                    <a:pt x="92" y="99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0" y="97"/>
                  </a:lnTo>
                  <a:lnTo>
                    <a:pt x="89" y="97"/>
                  </a:lnTo>
                  <a:lnTo>
                    <a:pt x="87" y="96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79" y="96"/>
                  </a:lnTo>
                  <a:lnTo>
                    <a:pt x="79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4" y="96"/>
                  </a:lnTo>
                  <a:lnTo>
                    <a:pt x="72" y="96"/>
                  </a:lnTo>
                  <a:lnTo>
                    <a:pt x="72" y="97"/>
                  </a:lnTo>
                  <a:lnTo>
                    <a:pt x="70" y="99"/>
                  </a:lnTo>
                  <a:lnTo>
                    <a:pt x="70" y="101"/>
                  </a:lnTo>
                  <a:lnTo>
                    <a:pt x="69" y="101"/>
                  </a:lnTo>
                  <a:lnTo>
                    <a:pt x="69" y="103"/>
                  </a:lnTo>
                  <a:lnTo>
                    <a:pt x="69" y="103"/>
                  </a:lnTo>
                  <a:lnTo>
                    <a:pt x="69" y="105"/>
                  </a:lnTo>
                  <a:lnTo>
                    <a:pt x="69" y="106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67" y="105"/>
                  </a:lnTo>
                  <a:lnTo>
                    <a:pt x="67" y="103"/>
                  </a:lnTo>
                  <a:lnTo>
                    <a:pt x="65" y="101"/>
                  </a:lnTo>
                  <a:lnTo>
                    <a:pt x="63" y="101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3" y="99"/>
                  </a:lnTo>
                  <a:lnTo>
                    <a:pt x="63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6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2" y="94"/>
                  </a:lnTo>
                  <a:lnTo>
                    <a:pt x="51" y="94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49" y="92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0" y="92"/>
                  </a:lnTo>
                  <a:lnTo>
                    <a:pt x="38" y="92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4" y="97"/>
                  </a:lnTo>
                  <a:lnTo>
                    <a:pt x="33" y="96"/>
                  </a:lnTo>
                  <a:lnTo>
                    <a:pt x="33" y="97"/>
                  </a:lnTo>
                  <a:lnTo>
                    <a:pt x="31" y="97"/>
                  </a:lnTo>
                  <a:lnTo>
                    <a:pt x="31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29" y="103"/>
                  </a:lnTo>
                  <a:lnTo>
                    <a:pt x="29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5" y="101"/>
                  </a:lnTo>
                  <a:lnTo>
                    <a:pt x="25" y="99"/>
                  </a:lnTo>
                  <a:lnTo>
                    <a:pt x="27" y="101"/>
                  </a:lnTo>
                  <a:lnTo>
                    <a:pt x="29" y="101"/>
                  </a:lnTo>
                  <a:lnTo>
                    <a:pt x="29" y="99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6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5" y="96"/>
                  </a:lnTo>
                  <a:lnTo>
                    <a:pt x="25" y="96"/>
                  </a:lnTo>
                  <a:lnTo>
                    <a:pt x="25" y="96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2" y="96"/>
                  </a:lnTo>
                  <a:lnTo>
                    <a:pt x="22" y="97"/>
                  </a:lnTo>
                  <a:lnTo>
                    <a:pt x="20" y="97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22" y="101"/>
                  </a:lnTo>
                  <a:lnTo>
                    <a:pt x="22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5"/>
                  </a:lnTo>
                  <a:lnTo>
                    <a:pt x="20" y="106"/>
                  </a:lnTo>
                  <a:lnTo>
                    <a:pt x="18" y="108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08"/>
                  </a:lnTo>
                  <a:lnTo>
                    <a:pt x="22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2" y="106"/>
                  </a:lnTo>
                  <a:lnTo>
                    <a:pt x="22" y="105"/>
                  </a:lnTo>
                  <a:lnTo>
                    <a:pt x="24" y="106"/>
                  </a:lnTo>
                  <a:lnTo>
                    <a:pt x="24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4" y="105"/>
                  </a:lnTo>
                  <a:lnTo>
                    <a:pt x="24" y="105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1"/>
                  </a:lnTo>
                  <a:lnTo>
                    <a:pt x="25" y="101"/>
                  </a:lnTo>
                  <a:lnTo>
                    <a:pt x="27" y="105"/>
                  </a:lnTo>
                  <a:lnTo>
                    <a:pt x="27" y="105"/>
                  </a:lnTo>
                  <a:lnTo>
                    <a:pt x="27" y="105"/>
                  </a:lnTo>
                  <a:lnTo>
                    <a:pt x="27" y="105"/>
                  </a:lnTo>
                  <a:lnTo>
                    <a:pt x="25" y="105"/>
                  </a:lnTo>
                  <a:lnTo>
                    <a:pt x="27" y="106"/>
                  </a:lnTo>
                  <a:lnTo>
                    <a:pt x="29" y="108"/>
                  </a:lnTo>
                  <a:lnTo>
                    <a:pt x="27" y="106"/>
                  </a:lnTo>
                  <a:lnTo>
                    <a:pt x="27" y="106"/>
                  </a:lnTo>
                  <a:lnTo>
                    <a:pt x="27" y="106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9" y="114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1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1" y="112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3" y="114"/>
                  </a:lnTo>
                  <a:lnTo>
                    <a:pt x="31" y="114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29" y="117"/>
                  </a:lnTo>
                  <a:lnTo>
                    <a:pt x="31" y="117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3" y="121"/>
                  </a:lnTo>
                  <a:lnTo>
                    <a:pt x="33" y="121"/>
                  </a:lnTo>
                  <a:lnTo>
                    <a:pt x="33" y="121"/>
                  </a:lnTo>
                  <a:lnTo>
                    <a:pt x="33" y="123"/>
                  </a:lnTo>
                  <a:lnTo>
                    <a:pt x="33" y="123"/>
                  </a:lnTo>
                  <a:lnTo>
                    <a:pt x="34" y="124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4" y="128"/>
                  </a:lnTo>
                  <a:lnTo>
                    <a:pt x="34" y="126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3" y="124"/>
                  </a:lnTo>
                  <a:lnTo>
                    <a:pt x="33" y="123"/>
                  </a:lnTo>
                  <a:lnTo>
                    <a:pt x="31" y="123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30"/>
                  </a:lnTo>
                  <a:lnTo>
                    <a:pt x="27" y="130"/>
                  </a:lnTo>
                  <a:lnTo>
                    <a:pt x="29" y="132"/>
                  </a:lnTo>
                  <a:lnTo>
                    <a:pt x="33" y="132"/>
                  </a:lnTo>
                  <a:lnTo>
                    <a:pt x="36" y="128"/>
                  </a:lnTo>
                  <a:lnTo>
                    <a:pt x="43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7" y="128"/>
                  </a:lnTo>
                  <a:lnTo>
                    <a:pt x="47" y="128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5" y="130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5" y="137"/>
                  </a:lnTo>
                  <a:lnTo>
                    <a:pt x="47" y="137"/>
                  </a:lnTo>
                  <a:lnTo>
                    <a:pt x="47" y="137"/>
                  </a:lnTo>
                  <a:lnTo>
                    <a:pt x="38" y="139"/>
                  </a:lnTo>
                  <a:lnTo>
                    <a:pt x="36" y="139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1" y="139"/>
                  </a:lnTo>
                  <a:lnTo>
                    <a:pt x="29" y="141"/>
                  </a:lnTo>
                  <a:lnTo>
                    <a:pt x="29" y="141"/>
                  </a:lnTo>
                  <a:lnTo>
                    <a:pt x="29" y="143"/>
                  </a:lnTo>
                  <a:lnTo>
                    <a:pt x="29" y="144"/>
                  </a:lnTo>
                  <a:lnTo>
                    <a:pt x="29" y="146"/>
                  </a:lnTo>
                  <a:lnTo>
                    <a:pt x="29" y="150"/>
                  </a:lnTo>
                  <a:lnTo>
                    <a:pt x="33" y="152"/>
                  </a:lnTo>
                  <a:lnTo>
                    <a:pt x="36" y="153"/>
                  </a:lnTo>
                  <a:lnTo>
                    <a:pt x="40" y="153"/>
                  </a:lnTo>
                  <a:lnTo>
                    <a:pt x="40" y="153"/>
                  </a:lnTo>
                  <a:lnTo>
                    <a:pt x="40" y="153"/>
                  </a:lnTo>
                  <a:lnTo>
                    <a:pt x="36" y="153"/>
                  </a:lnTo>
                  <a:lnTo>
                    <a:pt x="34" y="153"/>
                  </a:lnTo>
                  <a:lnTo>
                    <a:pt x="33" y="152"/>
                  </a:lnTo>
                  <a:lnTo>
                    <a:pt x="33" y="152"/>
                  </a:lnTo>
                  <a:lnTo>
                    <a:pt x="31" y="152"/>
                  </a:lnTo>
                  <a:lnTo>
                    <a:pt x="29" y="153"/>
                  </a:lnTo>
                  <a:lnTo>
                    <a:pt x="29" y="153"/>
                  </a:lnTo>
                  <a:lnTo>
                    <a:pt x="24" y="153"/>
                  </a:lnTo>
                  <a:lnTo>
                    <a:pt x="22" y="153"/>
                  </a:lnTo>
                  <a:lnTo>
                    <a:pt x="24" y="155"/>
                  </a:lnTo>
                  <a:lnTo>
                    <a:pt x="27" y="157"/>
                  </a:lnTo>
                  <a:lnTo>
                    <a:pt x="25" y="157"/>
                  </a:lnTo>
                  <a:lnTo>
                    <a:pt x="25" y="159"/>
                  </a:lnTo>
                  <a:lnTo>
                    <a:pt x="25" y="15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2" y="157"/>
                  </a:lnTo>
                  <a:lnTo>
                    <a:pt x="20" y="157"/>
                  </a:lnTo>
                  <a:lnTo>
                    <a:pt x="20" y="157"/>
                  </a:lnTo>
                  <a:lnTo>
                    <a:pt x="20" y="157"/>
                  </a:lnTo>
                  <a:lnTo>
                    <a:pt x="20" y="157"/>
                  </a:lnTo>
                  <a:lnTo>
                    <a:pt x="18" y="157"/>
                  </a:lnTo>
                  <a:lnTo>
                    <a:pt x="16" y="157"/>
                  </a:lnTo>
                  <a:lnTo>
                    <a:pt x="16" y="157"/>
                  </a:lnTo>
                  <a:lnTo>
                    <a:pt x="14" y="159"/>
                  </a:lnTo>
                  <a:lnTo>
                    <a:pt x="14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8" y="159"/>
                  </a:lnTo>
                  <a:lnTo>
                    <a:pt x="18" y="161"/>
                  </a:lnTo>
                  <a:lnTo>
                    <a:pt x="18" y="161"/>
                  </a:lnTo>
                  <a:lnTo>
                    <a:pt x="18" y="161"/>
                  </a:lnTo>
                  <a:lnTo>
                    <a:pt x="20" y="162"/>
                  </a:lnTo>
                  <a:lnTo>
                    <a:pt x="22" y="162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2" y="164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2" y="164"/>
                  </a:lnTo>
                  <a:lnTo>
                    <a:pt x="22" y="166"/>
                  </a:lnTo>
                  <a:lnTo>
                    <a:pt x="22" y="166"/>
                  </a:lnTo>
                  <a:lnTo>
                    <a:pt x="22" y="166"/>
                  </a:lnTo>
                  <a:lnTo>
                    <a:pt x="22" y="166"/>
                  </a:lnTo>
                  <a:lnTo>
                    <a:pt x="20" y="166"/>
                  </a:lnTo>
                  <a:lnTo>
                    <a:pt x="18" y="166"/>
                  </a:lnTo>
                  <a:lnTo>
                    <a:pt x="18" y="166"/>
                  </a:lnTo>
                  <a:lnTo>
                    <a:pt x="16" y="168"/>
                  </a:lnTo>
                  <a:lnTo>
                    <a:pt x="16" y="168"/>
                  </a:lnTo>
                  <a:lnTo>
                    <a:pt x="16" y="170"/>
                  </a:lnTo>
                  <a:lnTo>
                    <a:pt x="16" y="170"/>
                  </a:lnTo>
                  <a:lnTo>
                    <a:pt x="18" y="170"/>
                  </a:lnTo>
                  <a:lnTo>
                    <a:pt x="18" y="170"/>
                  </a:lnTo>
                  <a:lnTo>
                    <a:pt x="18" y="170"/>
                  </a:lnTo>
                  <a:lnTo>
                    <a:pt x="20" y="170"/>
                  </a:lnTo>
                  <a:lnTo>
                    <a:pt x="22" y="170"/>
                  </a:lnTo>
                  <a:lnTo>
                    <a:pt x="22" y="170"/>
                  </a:lnTo>
                  <a:lnTo>
                    <a:pt x="24" y="170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5" y="171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29" y="170"/>
                  </a:lnTo>
                  <a:lnTo>
                    <a:pt x="29" y="170"/>
                  </a:lnTo>
                  <a:lnTo>
                    <a:pt x="29" y="168"/>
                  </a:lnTo>
                  <a:lnTo>
                    <a:pt x="29" y="168"/>
                  </a:lnTo>
                  <a:lnTo>
                    <a:pt x="31" y="168"/>
                  </a:lnTo>
                  <a:lnTo>
                    <a:pt x="31" y="170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1" y="170"/>
                  </a:lnTo>
                  <a:lnTo>
                    <a:pt x="31" y="170"/>
                  </a:lnTo>
                  <a:lnTo>
                    <a:pt x="31" y="171"/>
                  </a:lnTo>
                  <a:lnTo>
                    <a:pt x="33" y="171"/>
                  </a:lnTo>
                  <a:lnTo>
                    <a:pt x="33" y="170"/>
                  </a:lnTo>
                  <a:lnTo>
                    <a:pt x="33" y="170"/>
                  </a:lnTo>
                  <a:lnTo>
                    <a:pt x="34" y="170"/>
                  </a:lnTo>
                  <a:lnTo>
                    <a:pt x="34" y="170"/>
                  </a:lnTo>
                  <a:lnTo>
                    <a:pt x="34" y="170"/>
                  </a:lnTo>
                  <a:lnTo>
                    <a:pt x="34" y="170"/>
                  </a:lnTo>
                  <a:lnTo>
                    <a:pt x="34" y="170"/>
                  </a:lnTo>
                  <a:lnTo>
                    <a:pt x="34" y="170"/>
                  </a:lnTo>
                  <a:lnTo>
                    <a:pt x="36" y="170"/>
                  </a:lnTo>
                  <a:lnTo>
                    <a:pt x="36" y="171"/>
                  </a:lnTo>
                  <a:lnTo>
                    <a:pt x="34" y="171"/>
                  </a:lnTo>
                  <a:lnTo>
                    <a:pt x="33" y="173"/>
                  </a:lnTo>
                  <a:lnTo>
                    <a:pt x="33" y="173"/>
                  </a:lnTo>
                  <a:lnTo>
                    <a:pt x="31" y="173"/>
                  </a:lnTo>
                  <a:lnTo>
                    <a:pt x="31" y="173"/>
                  </a:lnTo>
                  <a:lnTo>
                    <a:pt x="31" y="173"/>
                  </a:lnTo>
                  <a:lnTo>
                    <a:pt x="31" y="175"/>
                  </a:lnTo>
                  <a:lnTo>
                    <a:pt x="31" y="175"/>
                  </a:lnTo>
                  <a:lnTo>
                    <a:pt x="31" y="177"/>
                  </a:lnTo>
                  <a:lnTo>
                    <a:pt x="29" y="177"/>
                  </a:lnTo>
                  <a:lnTo>
                    <a:pt x="31" y="177"/>
                  </a:lnTo>
                  <a:lnTo>
                    <a:pt x="33" y="177"/>
                  </a:lnTo>
                  <a:lnTo>
                    <a:pt x="34" y="177"/>
                  </a:lnTo>
                  <a:lnTo>
                    <a:pt x="34" y="179"/>
                  </a:lnTo>
                  <a:lnTo>
                    <a:pt x="36" y="179"/>
                  </a:lnTo>
                  <a:lnTo>
                    <a:pt x="38" y="177"/>
                  </a:lnTo>
                  <a:lnTo>
                    <a:pt x="38" y="177"/>
                  </a:lnTo>
                  <a:lnTo>
                    <a:pt x="40" y="175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2" y="171"/>
                  </a:lnTo>
                  <a:lnTo>
                    <a:pt x="42" y="171"/>
                  </a:lnTo>
                  <a:lnTo>
                    <a:pt x="42" y="171"/>
                  </a:lnTo>
                  <a:lnTo>
                    <a:pt x="42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2" y="173"/>
                  </a:lnTo>
                  <a:lnTo>
                    <a:pt x="42" y="175"/>
                  </a:lnTo>
                  <a:lnTo>
                    <a:pt x="43" y="177"/>
                  </a:lnTo>
                  <a:lnTo>
                    <a:pt x="43" y="175"/>
                  </a:lnTo>
                  <a:lnTo>
                    <a:pt x="45" y="175"/>
                  </a:lnTo>
                  <a:lnTo>
                    <a:pt x="45" y="173"/>
                  </a:lnTo>
                  <a:lnTo>
                    <a:pt x="43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7" y="171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7" y="175"/>
                  </a:lnTo>
                  <a:lnTo>
                    <a:pt x="47" y="175"/>
                  </a:lnTo>
                  <a:lnTo>
                    <a:pt x="47" y="175"/>
                  </a:lnTo>
                  <a:lnTo>
                    <a:pt x="47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3" y="177"/>
                  </a:lnTo>
                  <a:lnTo>
                    <a:pt x="45" y="180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4"/>
                  </a:lnTo>
                  <a:lnTo>
                    <a:pt x="45" y="184"/>
                  </a:lnTo>
                  <a:lnTo>
                    <a:pt x="45" y="182"/>
                  </a:lnTo>
                  <a:lnTo>
                    <a:pt x="45" y="180"/>
                  </a:lnTo>
                  <a:lnTo>
                    <a:pt x="47" y="180"/>
                  </a:lnTo>
                  <a:lnTo>
                    <a:pt x="47" y="179"/>
                  </a:lnTo>
                  <a:lnTo>
                    <a:pt x="47" y="180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51" y="184"/>
                  </a:lnTo>
                  <a:lnTo>
                    <a:pt x="52" y="184"/>
                  </a:lnTo>
                  <a:lnTo>
                    <a:pt x="52" y="184"/>
                  </a:lnTo>
                  <a:lnTo>
                    <a:pt x="54" y="182"/>
                  </a:lnTo>
                  <a:lnTo>
                    <a:pt x="70" y="182"/>
                  </a:lnTo>
                  <a:lnTo>
                    <a:pt x="72" y="180"/>
                  </a:lnTo>
                  <a:lnTo>
                    <a:pt x="74" y="180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6" y="182"/>
                  </a:lnTo>
                  <a:lnTo>
                    <a:pt x="76" y="182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4" y="184"/>
                  </a:lnTo>
                  <a:lnTo>
                    <a:pt x="72" y="186"/>
                  </a:lnTo>
                  <a:lnTo>
                    <a:pt x="74" y="186"/>
                  </a:lnTo>
                  <a:lnTo>
                    <a:pt x="78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8" y="186"/>
                  </a:lnTo>
                  <a:lnTo>
                    <a:pt x="78" y="188"/>
                  </a:lnTo>
                  <a:lnTo>
                    <a:pt x="78" y="189"/>
                  </a:lnTo>
                  <a:lnTo>
                    <a:pt x="78" y="189"/>
                  </a:lnTo>
                  <a:lnTo>
                    <a:pt x="78" y="189"/>
                  </a:lnTo>
                  <a:lnTo>
                    <a:pt x="78" y="191"/>
                  </a:lnTo>
                  <a:lnTo>
                    <a:pt x="78" y="191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2" y="189"/>
                  </a:lnTo>
                  <a:lnTo>
                    <a:pt x="70" y="189"/>
                  </a:lnTo>
                  <a:lnTo>
                    <a:pt x="69" y="191"/>
                  </a:lnTo>
                  <a:lnTo>
                    <a:pt x="69" y="191"/>
                  </a:lnTo>
                  <a:lnTo>
                    <a:pt x="70" y="191"/>
                  </a:lnTo>
                  <a:lnTo>
                    <a:pt x="70" y="193"/>
                  </a:lnTo>
                  <a:lnTo>
                    <a:pt x="70" y="193"/>
                  </a:lnTo>
                  <a:lnTo>
                    <a:pt x="70" y="193"/>
                  </a:lnTo>
                  <a:lnTo>
                    <a:pt x="69" y="193"/>
                  </a:lnTo>
                  <a:lnTo>
                    <a:pt x="69" y="195"/>
                  </a:lnTo>
                  <a:lnTo>
                    <a:pt x="67" y="195"/>
                  </a:lnTo>
                  <a:lnTo>
                    <a:pt x="65" y="195"/>
                  </a:lnTo>
                  <a:lnTo>
                    <a:pt x="63" y="191"/>
                  </a:lnTo>
                  <a:lnTo>
                    <a:pt x="61" y="191"/>
                  </a:lnTo>
                  <a:lnTo>
                    <a:pt x="61" y="191"/>
                  </a:lnTo>
                  <a:lnTo>
                    <a:pt x="60" y="193"/>
                  </a:lnTo>
                  <a:lnTo>
                    <a:pt x="60" y="195"/>
                  </a:lnTo>
                  <a:lnTo>
                    <a:pt x="60" y="197"/>
                  </a:lnTo>
                  <a:lnTo>
                    <a:pt x="58" y="197"/>
                  </a:lnTo>
                  <a:lnTo>
                    <a:pt x="54" y="202"/>
                  </a:lnTo>
                  <a:lnTo>
                    <a:pt x="56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2" y="206"/>
                  </a:lnTo>
                  <a:lnTo>
                    <a:pt x="52" y="208"/>
                  </a:lnTo>
                  <a:lnTo>
                    <a:pt x="51" y="209"/>
                  </a:lnTo>
                  <a:lnTo>
                    <a:pt x="52" y="209"/>
                  </a:lnTo>
                  <a:lnTo>
                    <a:pt x="56" y="209"/>
                  </a:lnTo>
                  <a:lnTo>
                    <a:pt x="58" y="209"/>
                  </a:lnTo>
                  <a:lnTo>
                    <a:pt x="56" y="211"/>
                  </a:lnTo>
                  <a:lnTo>
                    <a:pt x="54" y="215"/>
                  </a:lnTo>
                  <a:lnTo>
                    <a:pt x="54" y="215"/>
                  </a:lnTo>
                  <a:lnTo>
                    <a:pt x="54" y="215"/>
                  </a:lnTo>
                  <a:lnTo>
                    <a:pt x="52" y="217"/>
                  </a:lnTo>
                  <a:lnTo>
                    <a:pt x="52" y="217"/>
                  </a:lnTo>
                  <a:lnTo>
                    <a:pt x="52" y="217"/>
                  </a:lnTo>
                  <a:lnTo>
                    <a:pt x="52" y="218"/>
                  </a:lnTo>
                  <a:lnTo>
                    <a:pt x="52" y="218"/>
                  </a:lnTo>
                  <a:lnTo>
                    <a:pt x="51" y="218"/>
                  </a:lnTo>
                  <a:lnTo>
                    <a:pt x="51" y="220"/>
                  </a:lnTo>
                  <a:lnTo>
                    <a:pt x="51" y="220"/>
                  </a:lnTo>
                  <a:lnTo>
                    <a:pt x="51" y="220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1" y="224"/>
                  </a:lnTo>
                  <a:lnTo>
                    <a:pt x="51" y="224"/>
                  </a:lnTo>
                  <a:lnTo>
                    <a:pt x="49" y="224"/>
                  </a:lnTo>
                  <a:lnTo>
                    <a:pt x="49" y="224"/>
                  </a:lnTo>
                  <a:lnTo>
                    <a:pt x="49" y="226"/>
                  </a:lnTo>
                  <a:lnTo>
                    <a:pt x="47" y="226"/>
                  </a:lnTo>
                  <a:lnTo>
                    <a:pt x="45" y="226"/>
                  </a:lnTo>
                  <a:lnTo>
                    <a:pt x="45" y="226"/>
                  </a:lnTo>
                  <a:lnTo>
                    <a:pt x="45" y="226"/>
                  </a:lnTo>
                  <a:lnTo>
                    <a:pt x="43" y="226"/>
                  </a:lnTo>
                  <a:lnTo>
                    <a:pt x="43" y="226"/>
                  </a:lnTo>
                  <a:lnTo>
                    <a:pt x="43" y="227"/>
                  </a:lnTo>
                  <a:lnTo>
                    <a:pt x="43" y="227"/>
                  </a:lnTo>
                  <a:lnTo>
                    <a:pt x="34" y="236"/>
                  </a:lnTo>
                  <a:lnTo>
                    <a:pt x="31" y="238"/>
                  </a:lnTo>
                  <a:lnTo>
                    <a:pt x="29" y="240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36" y="238"/>
                  </a:lnTo>
                  <a:lnTo>
                    <a:pt x="38" y="238"/>
                  </a:lnTo>
                  <a:lnTo>
                    <a:pt x="38" y="238"/>
                  </a:lnTo>
                  <a:lnTo>
                    <a:pt x="40" y="238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3" y="235"/>
                  </a:lnTo>
                  <a:lnTo>
                    <a:pt x="47" y="233"/>
                  </a:lnTo>
                  <a:lnTo>
                    <a:pt x="47" y="233"/>
                  </a:lnTo>
                  <a:lnTo>
                    <a:pt x="47" y="233"/>
                  </a:lnTo>
                  <a:lnTo>
                    <a:pt x="47" y="233"/>
                  </a:lnTo>
                  <a:lnTo>
                    <a:pt x="45" y="233"/>
                  </a:lnTo>
                  <a:lnTo>
                    <a:pt x="45" y="231"/>
                  </a:lnTo>
                  <a:lnTo>
                    <a:pt x="47" y="231"/>
                  </a:lnTo>
                  <a:lnTo>
                    <a:pt x="49" y="231"/>
                  </a:lnTo>
                  <a:lnTo>
                    <a:pt x="47" y="233"/>
                  </a:lnTo>
                  <a:lnTo>
                    <a:pt x="49" y="235"/>
                  </a:lnTo>
                  <a:lnTo>
                    <a:pt x="51" y="235"/>
                  </a:lnTo>
                  <a:lnTo>
                    <a:pt x="51" y="235"/>
                  </a:lnTo>
                  <a:lnTo>
                    <a:pt x="51" y="235"/>
                  </a:lnTo>
                  <a:lnTo>
                    <a:pt x="52" y="236"/>
                  </a:lnTo>
                  <a:lnTo>
                    <a:pt x="52" y="236"/>
                  </a:lnTo>
                  <a:lnTo>
                    <a:pt x="56" y="236"/>
                  </a:lnTo>
                  <a:lnTo>
                    <a:pt x="60" y="235"/>
                  </a:lnTo>
                  <a:lnTo>
                    <a:pt x="61" y="233"/>
                  </a:lnTo>
                  <a:lnTo>
                    <a:pt x="61" y="235"/>
                  </a:lnTo>
                  <a:lnTo>
                    <a:pt x="60" y="235"/>
                  </a:lnTo>
                  <a:lnTo>
                    <a:pt x="60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60" y="238"/>
                  </a:lnTo>
                  <a:lnTo>
                    <a:pt x="60" y="238"/>
                  </a:lnTo>
                  <a:lnTo>
                    <a:pt x="60" y="238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7" y="235"/>
                  </a:lnTo>
                  <a:lnTo>
                    <a:pt x="67" y="235"/>
                  </a:lnTo>
                  <a:lnTo>
                    <a:pt x="72" y="229"/>
                  </a:lnTo>
                  <a:lnTo>
                    <a:pt x="74" y="226"/>
                  </a:lnTo>
                  <a:lnTo>
                    <a:pt x="74" y="224"/>
                  </a:lnTo>
                  <a:lnTo>
                    <a:pt x="74" y="224"/>
                  </a:lnTo>
                  <a:lnTo>
                    <a:pt x="76" y="222"/>
                  </a:lnTo>
                  <a:lnTo>
                    <a:pt x="78" y="222"/>
                  </a:lnTo>
                  <a:lnTo>
                    <a:pt x="78" y="222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8" y="226"/>
                  </a:lnTo>
                  <a:lnTo>
                    <a:pt x="78" y="226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6" y="229"/>
                  </a:lnTo>
                  <a:lnTo>
                    <a:pt x="78" y="229"/>
                  </a:lnTo>
                  <a:lnTo>
                    <a:pt x="78" y="229"/>
                  </a:lnTo>
                  <a:lnTo>
                    <a:pt x="78" y="229"/>
                  </a:lnTo>
                  <a:lnTo>
                    <a:pt x="81" y="229"/>
                  </a:lnTo>
                  <a:lnTo>
                    <a:pt x="83" y="229"/>
                  </a:lnTo>
                  <a:lnTo>
                    <a:pt x="87" y="231"/>
                  </a:lnTo>
                  <a:lnTo>
                    <a:pt x="87" y="231"/>
                  </a:lnTo>
                  <a:lnTo>
                    <a:pt x="85" y="231"/>
                  </a:lnTo>
                  <a:lnTo>
                    <a:pt x="78" y="233"/>
                  </a:lnTo>
                  <a:lnTo>
                    <a:pt x="76" y="233"/>
                  </a:lnTo>
                  <a:lnTo>
                    <a:pt x="76" y="233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4" y="235"/>
                  </a:lnTo>
                  <a:lnTo>
                    <a:pt x="74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0" y="235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3" y="238"/>
                  </a:lnTo>
                  <a:lnTo>
                    <a:pt x="63" y="238"/>
                  </a:lnTo>
                  <a:lnTo>
                    <a:pt x="61" y="238"/>
                  </a:lnTo>
                  <a:lnTo>
                    <a:pt x="58" y="238"/>
                  </a:lnTo>
                  <a:lnTo>
                    <a:pt x="58" y="238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40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45" y="240"/>
                  </a:lnTo>
                  <a:lnTo>
                    <a:pt x="43" y="238"/>
                  </a:lnTo>
                  <a:lnTo>
                    <a:pt x="43" y="238"/>
                  </a:lnTo>
                  <a:lnTo>
                    <a:pt x="43" y="240"/>
                  </a:lnTo>
                  <a:lnTo>
                    <a:pt x="43" y="240"/>
                  </a:lnTo>
                  <a:lnTo>
                    <a:pt x="42" y="240"/>
                  </a:lnTo>
                  <a:lnTo>
                    <a:pt x="42" y="240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2" y="244"/>
                  </a:lnTo>
                  <a:lnTo>
                    <a:pt x="42" y="245"/>
                  </a:lnTo>
                  <a:lnTo>
                    <a:pt x="42" y="245"/>
                  </a:lnTo>
                  <a:lnTo>
                    <a:pt x="40" y="245"/>
                  </a:lnTo>
                  <a:lnTo>
                    <a:pt x="42" y="245"/>
                  </a:lnTo>
                  <a:lnTo>
                    <a:pt x="42" y="245"/>
                  </a:lnTo>
                  <a:lnTo>
                    <a:pt x="43" y="245"/>
                  </a:lnTo>
                  <a:lnTo>
                    <a:pt x="43" y="247"/>
                  </a:lnTo>
                  <a:lnTo>
                    <a:pt x="42" y="247"/>
                  </a:lnTo>
                  <a:lnTo>
                    <a:pt x="42" y="247"/>
                  </a:lnTo>
                  <a:lnTo>
                    <a:pt x="40" y="245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9"/>
                  </a:lnTo>
                  <a:lnTo>
                    <a:pt x="33" y="251"/>
                  </a:lnTo>
                  <a:lnTo>
                    <a:pt x="29" y="251"/>
                  </a:lnTo>
                  <a:lnTo>
                    <a:pt x="29" y="251"/>
                  </a:lnTo>
                  <a:lnTo>
                    <a:pt x="27" y="253"/>
                  </a:lnTo>
                  <a:lnTo>
                    <a:pt x="29" y="253"/>
                  </a:lnTo>
                  <a:lnTo>
                    <a:pt x="29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60"/>
                  </a:lnTo>
                  <a:lnTo>
                    <a:pt x="34" y="260"/>
                  </a:lnTo>
                  <a:lnTo>
                    <a:pt x="33" y="262"/>
                  </a:lnTo>
                  <a:lnTo>
                    <a:pt x="33" y="262"/>
                  </a:lnTo>
                  <a:lnTo>
                    <a:pt x="33" y="262"/>
                  </a:lnTo>
                  <a:lnTo>
                    <a:pt x="33" y="262"/>
                  </a:lnTo>
                  <a:lnTo>
                    <a:pt x="33" y="262"/>
                  </a:lnTo>
                  <a:lnTo>
                    <a:pt x="33" y="262"/>
                  </a:lnTo>
                  <a:lnTo>
                    <a:pt x="33" y="262"/>
                  </a:lnTo>
                  <a:lnTo>
                    <a:pt x="33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4"/>
                  </a:lnTo>
                  <a:lnTo>
                    <a:pt x="31" y="264"/>
                  </a:lnTo>
                  <a:lnTo>
                    <a:pt x="33" y="264"/>
                  </a:lnTo>
                  <a:lnTo>
                    <a:pt x="33" y="264"/>
                  </a:lnTo>
                  <a:lnTo>
                    <a:pt x="33" y="264"/>
                  </a:lnTo>
                  <a:lnTo>
                    <a:pt x="34" y="265"/>
                  </a:lnTo>
                  <a:lnTo>
                    <a:pt x="36" y="265"/>
                  </a:lnTo>
                  <a:lnTo>
                    <a:pt x="38" y="265"/>
                  </a:lnTo>
                  <a:lnTo>
                    <a:pt x="38" y="265"/>
                  </a:lnTo>
                  <a:lnTo>
                    <a:pt x="34" y="265"/>
                  </a:lnTo>
                  <a:lnTo>
                    <a:pt x="34" y="265"/>
                  </a:lnTo>
                  <a:lnTo>
                    <a:pt x="34" y="265"/>
                  </a:lnTo>
                  <a:lnTo>
                    <a:pt x="34" y="265"/>
                  </a:lnTo>
                  <a:lnTo>
                    <a:pt x="34" y="265"/>
                  </a:lnTo>
                  <a:lnTo>
                    <a:pt x="33" y="265"/>
                  </a:lnTo>
                  <a:lnTo>
                    <a:pt x="33" y="267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7" y="267"/>
                  </a:lnTo>
                  <a:lnTo>
                    <a:pt x="25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2"/>
                  </a:lnTo>
                  <a:lnTo>
                    <a:pt x="24" y="262"/>
                  </a:lnTo>
                  <a:lnTo>
                    <a:pt x="24" y="260"/>
                  </a:lnTo>
                  <a:lnTo>
                    <a:pt x="22" y="260"/>
                  </a:lnTo>
                  <a:lnTo>
                    <a:pt x="24" y="262"/>
                  </a:lnTo>
                  <a:lnTo>
                    <a:pt x="22" y="264"/>
                  </a:lnTo>
                  <a:lnTo>
                    <a:pt x="22" y="265"/>
                  </a:lnTo>
                  <a:lnTo>
                    <a:pt x="20" y="265"/>
                  </a:lnTo>
                  <a:lnTo>
                    <a:pt x="16" y="267"/>
                  </a:lnTo>
                  <a:lnTo>
                    <a:pt x="16" y="265"/>
                  </a:lnTo>
                  <a:lnTo>
                    <a:pt x="16" y="264"/>
                  </a:lnTo>
                  <a:lnTo>
                    <a:pt x="16" y="262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9" y="265"/>
                  </a:lnTo>
                  <a:lnTo>
                    <a:pt x="9" y="267"/>
                  </a:lnTo>
                  <a:lnTo>
                    <a:pt x="7" y="267"/>
                  </a:lnTo>
                  <a:lnTo>
                    <a:pt x="7" y="267"/>
                  </a:lnTo>
                  <a:lnTo>
                    <a:pt x="7" y="267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7" y="269"/>
                  </a:lnTo>
                  <a:lnTo>
                    <a:pt x="5" y="269"/>
                  </a:lnTo>
                  <a:lnTo>
                    <a:pt x="5" y="271"/>
                  </a:lnTo>
                  <a:lnTo>
                    <a:pt x="5" y="271"/>
                  </a:lnTo>
                  <a:lnTo>
                    <a:pt x="5" y="271"/>
                  </a:lnTo>
                  <a:lnTo>
                    <a:pt x="5" y="273"/>
                  </a:lnTo>
                  <a:lnTo>
                    <a:pt x="5" y="271"/>
                  </a:lnTo>
                  <a:lnTo>
                    <a:pt x="4" y="271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2" y="271"/>
                  </a:lnTo>
                  <a:lnTo>
                    <a:pt x="2" y="271"/>
                  </a:lnTo>
                  <a:lnTo>
                    <a:pt x="2" y="273"/>
                  </a:lnTo>
                  <a:lnTo>
                    <a:pt x="2" y="273"/>
                  </a:lnTo>
                  <a:lnTo>
                    <a:pt x="2" y="273"/>
                  </a:lnTo>
                  <a:lnTo>
                    <a:pt x="0" y="273"/>
                  </a:lnTo>
                  <a:lnTo>
                    <a:pt x="2" y="274"/>
                  </a:lnTo>
                  <a:lnTo>
                    <a:pt x="2" y="276"/>
                  </a:lnTo>
                  <a:lnTo>
                    <a:pt x="2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5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5" y="276"/>
                  </a:lnTo>
                  <a:lnTo>
                    <a:pt x="7" y="276"/>
                  </a:lnTo>
                  <a:lnTo>
                    <a:pt x="9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9" y="276"/>
                  </a:lnTo>
                  <a:lnTo>
                    <a:pt x="9" y="276"/>
                  </a:lnTo>
                  <a:lnTo>
                    <a:pt x="9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4" y="274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24" y="274"/>
                  </a:lnTo>
                  <a:lnTo>
                    <a:pt x="25" y="274"/>
                  </a:lnTo>
                  <a:lnTo>
                    <a:pt x="25" y="274"/>
                  </a:lnTo>
                  <a:lnTo>
                    <a:pt x="27" y="274"/>
                  </a:lnTo>
                  <a:lnTo>
                    <a:pt x="27" y="276"/>
                  </a:lnTo>
                  <a:lnTo>
                    <a:pt x="27" y="276"/>
                  </a:lnTo>
                  <a:lnTo>
                    <a:pt x="27" y="276"/>
                  </a:lnTo>
                  <a:lnTo>
                    <a:pt x="27" y="276"/>
                  </a:lnTo>
                  <a:lnTo>
                    <a:pt x="27" y="274"/>
                  </a:lnTo>
                  <a:lnTo>
                    <a:pt x="36" y="273"/>
                  </a:lnTo>
                  <a:lnTo>
                    <a:pt x="34" y="274"/>
                  </a:lnTo>
                  <a:lnTo>
                    <a:pt x="36" y="274"/>
                  </a:lnTo>
                  <a:lnTo>
                    <a:pt x="36" y="276"/>
                  </a:lnTo>
                  <a:lnTo>
                    <a:pt x="36" y="276"/>
                  </a:lnTo>
                  <a:lnTo>
                    <a:pt x="33" y="276"/>
                  </a:lnTo>
                  <a:lnTo>
                    <a:pt x="31" y="276"/>
                  </a:lnTo>
                  <a:lnTo>
                    <a:pt x="29" y="274"/>
                  </a:lnTo>
                  <a:lnTo>
                    <a:pt x="29" y="280"/>
                  </a:lnTo>
                  <a:lnTo>
                    <a:pt x="29" y="282"/>
                  </a:lnTo>
                  <a:lnTo>
                    <a:pt x="27" y="282"/>
                  </a:lnTo>
                  <a:lnTo>
                    <a:pt x="27" y="280"/>
                  </a:lnTo>
                  <a:lnTo>
                    <a:pt x="27" y="280"/>
                  </a:lnTo>
                  <a:lnTo>
                    <a:pt x="27" y="278"/>
                  </a:lnTo>
                  <a:lnTo>
                    <a:pt x="27" y="278"/>
                  </a:lnTo>
                  <a:lnTo>
                    <a:pt x="25" y="282"/>
                  </a:lnTo>
                  <a:lnTo>
                    <a:pt x="24" y="282"/>
                  </a:lnTo>
                  <a:lnTo>
                    <a:pt x="18" y="283"/>
                  </a:lnTo>
                  <a:lnTo>
                    <a:pt x="14" y="285"/>
                  </a:lnTo>
                  <a:lnTo>
                    <a:pt x="14" y="285"/>
                  </a:lnTo>
                  <a:lnTo>
                    <a:pt x="13" y="287"/>
                  </a:lnTo>
                  <a:lnTo>
                    <a:pt x="11" y="287"/>
                  </a:lnTo>
                  <a:lnTo>
                    <a:pt x="13" y="287"/>
                  </a:lnTo>
                  <a:lnTo>
                    <a:pt x="11" y="289"/>
                  </a:lnTo>
                  <a:lnTo>
                    <a:pt x="11" y="289"/>
                  </a:lnTo>
                  <a:lnTo>
                    <a:pt x="9" y="289"/>
                  </a:lnTo>
                  <a:lnTo>
                    <a:pt x="9" y="289"/>
                  </a:lnTo>
                  <a:lnTo>
                    <a:pt x="11" y="289"/>
                  </a:lnTo>
                  <a:lnTo>
                    <a:pt x="11" y="291"/>
                  </a:lnTo>
                  <a:lnTo>
                    <a:pt x="11" y="291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1" y="294"/>
                  </a:lnTo>
                  <a:lnTo>
                    <a:pt x="11" y="294"/>
                  </a:lnTo>
                  <a:lnTo>
                    <a:pt x="7" y="294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6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300"/>
                  </a:lnTo>
                  <a:lnTo>
                    <a:pt x="7" y="301"/>
                  </a:lnTo>
                  <a:lnTo>
                    <a:pt x="7" y="303"/>
                  </a:lnTo>
                  <a:lnTo>
                    <a:pt x="9" y="303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3" y="298"/>
                  </a:lnTo>
                  <a:lnTo>
                    <a:pt x="13" y="298"/>
                  </a:lnTo>
                  <a:lnTo>
                    <a:pt x="14" y="300"/>
                  </a:lnTo>
                  <a:lnTo>
                    <a:pt x="16" y="301"/>
                  </a:lnTo>
                  <a:lnTo>
                    <a:pt x="16" y="303"/>
                  </a:lnTo>
                  <a:lnTo>
                    <a:pt x="13" y="303"/>
                  </a:lnTo>
                  <a:lnTo>
                    <a:pt x="18" y="305"/>
                  </a:lnTo>
                  <a:lnTo>
                    <a:pt x="18" y="307"/>
                  </a:lnTo>
                  <a:lnTo>
                    <a:pt x="20" y="307"/>
                  </a:lnTo>
                  <a:lnTo>
                    <a:pt x="20" y="305"/>
                  </a:lnTo>
                  <a:lnTo>
                    <a:pt x="22" y="305"/>
                  </a:lnTo>
                  <a:lnTo>
                    <a:pt x="24" y="303"/>
                  </a:lnTo>
                  <a:lnTo>
                    <a:pt x="24" y="303"/>
                  </a:lnTo>
                  <a:lnTo>
                    <a:pt x="25" y="303"/>
                  </a:lnTo>
                  <a:lnTo>
                    <a:pt x="27" y="301"/>
                  </a:lnTo>
                  <a:lnTo>
                    <a:pt x="27" y="301"/>
                  </a:lnTo>
                  <a:lnTo>
                    <a:pt x="29" y="301"/>
                  </a:lnTo>
                  <a:lnTo>
                    <a:pt x="29" y="301"/>
                  </a:lnTo>
                  <a:lnTo>
                    <a:pt x="31" y="301"/>
                  </a:lnTo>
                  <a:lnTo>
                    <a:pt x="31" y="300"/>
                  </a:lnTo>
                  <a:lnTo>
                    <a:pt x="31" y="300"/>
                  </a:lnTo>
                  <a:lnTo>
                    <a:pt x="31" y="300"/>
                  </a:lnTo>
                  <a:lnTo>
                    <a:pt x="31" y="300"/>
                  </a:lnTo>
                  <a:lnTo>
                    <a:pt x="31" y="301"/>
                  </a:lnTo>
                  <a:lnTo>
                    <a:pt x="31" y="301"/>
                  </a:lnTo>
                  <a:lnTo>
                    <a:pt x="31" y="301"/>
                  </a:lnTo>
                  <a:lnTo>
                    <a:pt x="33" y="301"/>
                  </a:lnTo>
                  <a:lnTo>
                    <a:pt x="33" y="300"/>
                  </a:lnTo>
                  <a:lnTo>
                    <a:pt x="34" y="300"/>
                  </a:lnTo>
                  <a:lnTo>
                    <a:pt x="34" y="300"/>
                  </a:lnTo>
                  <a:lnTo>
                    <a:pt x="36" y="300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42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3" y="296"/>
                  </a:lnTo>
                  <a:lnTo>
                    <a:pt x="42" y="298"/>
                  </a:lnTo>
                  <a:lnTo>
                    <a:pt x="40" y="300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6" y="301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6" y="303"/>
                  </a:lnTo>
                  <a:lnTo>
                    <a:pt x="36" y="305"/>
                  </a:lnTo>
                  <a:lnTo>
                    <a:pt x="34" y="305"/>
                  </a:lnTo>
                  <a:lnTo>
                    <a:pt x="33" y="305"/>
                  </a:lnTo>
                  <a:lnTo>
                    <a:pt x="33" y="303"/>
                  </a:lnTo>
                  <a:lnTo>
                    <a:pt x="33" y="305"/>
                  </a:lnTo>
                  <a:lnTo>
                    <a:pt x="31" y="307"/>
                  </a:lnTo>
                  <a:lnTo>
                    <a:pt x="31" y="307"/>
                  </a:lnTo>
                  <a:lnTo>
                    <a:pt x="29" y="307"/>
                  </a:lnTo>
                  <a:lnTo>
                    <a:pt x="31" y="307"/>
                  </a:lnTo>
                  <a:lnTo>
                    <a:pt x="31" y="305"/>
                  </a:lnTo>
                  <a:lnTo>
                    <a:pt x="31" y="305"/>
                  </a:lnTo>
                  <a:lnTo>
                    <a:pt x="29" y="305"/>
                  </a:lnTo>
                  <a:lnTo>
                    <a:pt x="27" y="307"/>
                  </a:lnTo>
                  <a:lnTo>
                    <a:pt x="25" y="307"/>
                  </a:lnTo>
                  <a:lnTo>
                    <a:pt x="25" y="309"/>
                  </a:lnTo>
                  <a:lnTo>
                    <a:pt x="27" y="309"/>
                  </a:lnTo>
                  <a:lnTo>
                    <a:pt x="27" y="309"/>
                  </a:lnTo>
                  <a:lnTo>
                    <a:pt x="25" y="312"/>
                  </a:lnTo>
                  <a:lnTo>
                    <a:pt x="24" y="312"/>
                  </a:lnTo>
                  <a:lnTo>
                    <a:pt x="22" y="312"/>
                  </a:lnTo>
                  <a:lnTo>
                    <a:pt x="20" y="312"/>
                  </a:lnTo>
                  <a:lnTo>
                    <a:pt x="20" y="314"/>
                  </a:lnTo>
                  <a:lnTo>
                    <a:pt x="20" y="314"/>
                  </a:lnTo>
                  <a:lnTo>
                    <a:pt x="22" y="314"/>
                  </a:lnTo>
                  <a:lnTo>
                    <a:pt x="22" y="314"/>
                  </a:lnTo>
                  <a:lnTo>
                    <a:pt x="22" y="316"/>
                  </a:lnTo>
                  <a:lnTo>
                    <a:pt x="22" y="316"/>
                  </a:lnTo>
                  <a:lnTo>
                    <a:pt x="22" y="316"/>
                  </a:lnTo>
                  <a:lnTo>
                    <a:pt x="22" y="316"/>
                  </a:lnTo>
                  <a:lnTo>
                    <a:pt x="22" y="316"/>
                  </a:lnTo>
                  <a:lnTo>
                    <a:pt x="22" y="316"/>
                  </a:lnTo>
                  <a:lnTo>
                    <a:pt x="18" y="318"/>
                  </a:lnTo>
                  <a:lnTo>
                    <a:pt x="18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6" y="320"/>
                  </a:lnTo>
                  <a:lnTo>
                    <a:pt x="16" y="320"/>
                  </a:lnTo>
                  <a:lnTo>
                    <a:pt x="18" y="318"/>
                  </a:lnTo>
                  <a:lnTo>
                    <a:pt x="18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5" y="318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4"/>
                  </a:lnTo>
                  <a:lnTo>
                    <a:pt x="31" y="314"/>
                  </a:lnTo>
                  <a:lnTo>
                    <a:pt x="38" y="312"/>
                  </a:lnTo>
                  <a:lnTo>
                    <a:pt x="40" y="312"/>
                  </a:lnTo>
                  <a:lnTo>
                    <a:pt x="42" y="312"/>
                  </a:lnTo>
                  <a:lnTo>
                    <a:pt x="43" y="311"/>
                  </a:lnTo>
                  <a:lnTo>
                    <a:pt x="45" y="311"/>
                  </a:lnTo>
                  <a:lnTo>
                    <a:pt x="45" y="309"/>
                  </a:lnTo>
                  <a:lnTo>
                    <a:pt x="47" y="309"/>
                  </a:lnTo>
                  <a:lnTo>
                    <a:pt x="47" y="309"/>
                  </a:lnTo>
                  <a:lnTo>
                    <a:pt x="47" y="307"/>
                  </a:lnTo>
                  <a:lnTo>
                    <a:pt x="47" y="307"/>
                  </a:lnTo>
                  <a:lnTo>
                    <a:pt x="47" y="307"/>
                  </a:lnTo>
                  <a:lnTo>
                    <a:pt x="47" y="305"/>
                  </a:lnTo>
                  <a:lnTo>
                    <a:pt x="47" y="305"/>
                  </a:lnTo>
                  <a:lnTo>
                    <a:pt x="47" y="305"/>
                  </a:lnTo>
                  <a:lnTo>
                    <a:pt x="49" y="305"/>
                  </a:lnTo>
                  <a:lnTo>
                    <a:pt x="49" y="307"/>
                  </a:lnTo>
                  <a:lnTo>
                    <a:pt x="49" y="307"/>
                  </a:lnTo>
                  <a:lnTo>
                    <a:pt x="49" y="307"/>
                  </a:lnTo>
                  <a:lnTo>
                    <a:pt x="49" y="309"/>
                  </a:lnTo>
                  <a:lnTo>
                    <a:pt x="49" y="309"/>
                  </a:lnTo>
                  <a:lnTo>
                    <a:pt x="49" y="309"/>
                  </a:lnTo>
                  <a:lnTo>
                    <a:pt x="51" y="309"/>
                  </a:lnTo>
                  <a:lnTo>
                    <a:pt x="51" y="309"/>
                  </a:lnTo>
                  <a:lnTo>
                    <a:pt x="52" y="309"/>
                  </a:lnTo>
                  <a:lnTo>
                    <a:pt x="52" y="309"/>
                  </a:lnTo>
                  <a:lnTo>
                    <a:pt x="52" y="309"/>
                  </a:lnTo>
                  <a:lnTo>
                    <a:pt x="52" y="309"/>
                  </a:lnTo>
                  <a:lnTo>
                    <a:pt x="52" y="311"/>
                  </a:lnTo>
                  <a:lnTo>
                    <a:pt x="52" y="311"/>
                  </a:lnTo>
                  <a:lnTo>
                    <a:pt x="52" y="311"/>
                  </a:lnTo>
                  <a:lnTo>
                    <a:pt x="51" y="312"/>
                  </a:lnTo>
                  <a:lnTo>
                    <a:pt x="49" y="312"/>
                  </a:lnTo>
                  <a:lnTo>
                    <a:pt x="47" y="314"/>
                  </a:lnTo>
                  <a:lnTo>
                    <a:pt x="45" y="314"/>
                  </a:lnTo>
                  <a:lnTo>
                    <a:pt x="45" y="314"/>
                  </a:lnTo>
                  <a:lnTo>
                    <a:pt x="38" y="318"/>
                  </a:lnTo>
                  <a:lnTo>
                    <a:pt x="36" y="320"/>
                  </a:lnTo>
                  <a:lnTo>
                    <a:pt x="36" y="320"/>
                  </a:lnTo>
                  <a:lnTo>
                    <a:pt x="36" y="320"/>
                  </a:lnTo>
                  <a:lnTo>
                    <a:pt x="34" y="321"/>
                  </a:lnTo>
                  <a:lnTo>
                    <a:pt x="34" y="321"/>
                  </a:lnTo>
                  <a:lnTo>
                    <a:pt x="33" y="321"/>
                  </a:lnTo>
                  <a:lnTo>
                    <a:pt x="36" y="321"/>
                  </a:lnTo>
                  <a:lnTo>
                    <a:pt x="45" y="318"/>
                  </a:lnTo>
                  <a:lnTo>
                    <a:pt x="47" y="318"/>
                  </a:lnTo>
                  <a:lnTo>
                    <a:pt x="47" y="318"/>
                  </a:lnTo>
                  <a:lnTo>
                    <a:pt x="45" y="320"/>
                  </a:lnTo>
                  <a:lnTo>
                    <a:pt x="43" y="320"/>
                  </a:lnTo>
                  <a:lnTo>
                    <a:pt x="42" y="321"/>
                  </a:lnTo>
                  <a:lnTo>
                    <a:pt x="40" y="323"/>
                  </a:lnTo>
                  <a:lnTo>
                    <a:pt x="40" y="323"/>
                  </a:lnTo>
                  <a:lnTo>
                    <a:pt x="38" y="323"/>
                  </a:lnTo>
                  <a:lnTo>
                    <a:pt x="36" y="325"/>
                  </a:lnTo>
                  <a:lnTo>
                    <a:pt x="34" y="327"/>
                  </a:lnTo>
                  <a:lnTo>
                    <a:pt x="34" y="327"/>
                  </a:lnTo>
                  <a:lnTo>
                    <a:pt x="33" y="327"/>
                  </a:lnTo>
                  <a:lnTo>
                    <a:pt x="34" y="329"/>
                  </a:lnTo>
                  <a:lnTo>
                    <a:pt x="34" y="329"/>
                  </a:lnTo>
                  <a:lnTo>
                    <a:pt x="34" y="329"/>
                  </a:lnTo>
                  <a:lnTo>
                    <a:pt x="34" y="329"/>
                  </a:lnTo>
                  <a:lnTo>
                    <a:pt x="34" y="329"/>
                  </a:lnTo>
                  <a:lnTo>
                    <a:pt x="34" y="329"/>
                  </a:lnTo>
                  <a:lnTo>
                    <a:pt x="34" y="330"/>
                  </a:lnTo>
                  <a:lnTo>
                    <a:pt x="34" y="330"/>
                  </a:lnTo>
                  <a:lnTo>
                    <a:pt x="34" y="330"/>
                  </a:lnTo>
                  <a:lnTo>
                    <a:pt x="36" y="329"/>
                  </a:lnTo>
                  <a:lnTo>
                    <a:pt x="36" y="329"/>
                  </a:lnTo>
                  <a:lnTo>
                    <a:pt x="36" y="330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2" y="325"/>
                  </a:lnTo>
                  <a:lnTo>
                    <a:pt x="42" y="325"/>
                  </a:lnTo>
                  <a:lnTo>
                    <a:pt x="43" y="325"/>
                  </a:lnTo>
                  <a:lnTo>
                    <a:pt x="43" y="325"/>
                  </a:lnTo>
                  <a:lnTo>
                    <a:pt x="43" y="327"/>
                  </a:lnTo>
                  <a:lnTo>
                    <a:pt x="43" y="327"/>
                  </a:lnTo>
                  <a:lnTo>
                    <a:pt x="45" y="327"/>
                  </a:lnTo>
                  <a:lnTo>
                    <a:pt x="45" y="325"/>
                  </a:lnTo>
                  <a:lnTo>
                    <a:pt x="47" y="325"/>
                  </a:lnTo>
                  <a:lnTo>
                    <a:pt x="47" y="325"/>
                  </a:lnTo>
                  <a:lnTo>
                    <a:pt x="47" y="325"/>
                  </a:lnTo>
                  <a:lnTo>
                    <a:pt x="47" y="325"/>
                  </a:lnTo>
                  <a:lnTo>
                    <a:pt x="47" y="325"/>
                  </a:lnTo>
                  <a:lnTo>
                    <a:pt x="51" y="323"/>
                  </a:lnTo>
                  <a:lnTo>
                    <a:pt x="52" y="323"/>
                  </a:lnTo>
                  <a:lnTo>
                    <a:pt x="52" y="321"/>
                  </a:lnTo>
                  <a:lnTo>
                    <a:pt x="52" y="321"/>
                  </a:lnTo>
                  <a:lnTo>
                    <a:pt x="54" y="321"/>
                  </a:lnTo>
                  <a:lnTo>
                    <a:pt x="54" y="321"/>
                  </a:lnTo>
                  <a:lnTo>
                    <a:pt x="54" y="323"/>
                  </a:lnTo>
                  <a:lnTo>
                    <a:pt x="54" y="323"/>
                  </a:lnTo>
                  <a:lnTo>
                    <a:pt x="54" y="325"/>
                  </a:lnTo>
                  <a:lnTo>
                    <a:pt x="54" y="325"/>
                  </a:lnTo>
                  <a:lnTo>
                    <a:pt x="54" y="327"/>
                  </a:lnTo>
                  <a:lnTo>
                    <a:pt x="56" y="325"/>
                  </a:lnTo>
                  <a:lnTo>
                    <a:pt x="56" y="325"/>
                  </a:lnTo>
                  <a:lnTo>
                    <a:pt x="56" y="325"/>
                  </a:lnTo>
                  <a:lnTo>
                    <a:pt x="58" y="323"/>
                  </a:lnTo>
                  <a:lnTo>
                    <a:pt x="58" y="323"/>
                  </a:lnTo>
                  <a:lnTo>
                    <a:pt x="58" y="323"/>
                  </a:lnTo>
                  <a:lnTo>
                    <a:pt x="58" y="323"/>
                  </a:lnTo>
                  <a:lnTo>
                    <a:pt x="58" y="323"/>
                  </a:lnTo>
                  <a:lnTo>
                    <a:pt x="60" y="323"/>
                  </a:lnTo>
                  <a:lnTo>
                    <a:pt x="58" y="323"/>
                  </a:lnTo>
                  <a:lnTo>
                    <a:pt x="58" y="325"/>
                  </a:lnTo>
                  <a:lnTo>
                    <a:pt x="56" y="325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8" y="327"/>
                  </a:lnTo>
                  <a:lnTo>
                    <a:pt x="58" y="327"/>
                  </a:lnTo>
                  <a:lnTo>
                    <a:pt x="56" y="327"/>
                  </a:lnTo>
                  <a:lnTo>
                    <a:pt x="56" y="329"/>
                  </a:lnTo>
                  <a:lnTo>
                    <a:pt x="56" y="329"/>
                  </a:lnTo>
                  <a:lnTo>
                    <a:pt x="58" y="329"/>
                  </a:lnTo>
                  <a:lnTo>
                    <a:pt x="58" y="329"/>
                  </a:lnTo>
                  <a:lnTo>
                    <a:pt x="58" y="327"/>
                  </a:lnTo>
                  <a:lnTo>
                    <a:pt x="60" y="327"/>
                  </a:lnTo>
                  <a:lnTo>
                    <a:pt x="60" y="327"/>
                  </a:lnTo>
                  <a:lnTo>
                    <a:pt x="60" y="327"/>
                  </a:lnTo>
                  <a:lnTo>
                    <a:pt x="60" y="327"/>
                  </a:lnTo>
                  <a:lnTo>
                    <a:pt x="61" y="325"/>
                  </a:lnTo>
                  <a:lnTo>
                    <a:pt x="61" y="327"/>
                  </a:lnTo>
                  <a:lnTo>
                    <a:pt x="61" y="327"/>
                  </a:lnTo>
                  <a:lnTo>
                    <a:pt x="61" y="327"/>
                  </a:lnTo>
                  <a:lnTo>
                    <a:pt x="61" y="327"/>
                  </a:lnTo>
                  <a:lnTo>
                    <a:pt x="61" y="327"/>
                  </a:lnTo>
                  <a:lnTo>
                    <a:pt x="63" y="327"/>
                  </a:lnTo>
                  <a:lnTo>
                    <a:pt x="63" y="327"/>
                  </a:lnTo>
                  <a:lnTo>
                    <a:pt x="63" y="327"/>
                  </a:lnTo>
                  <a:lnTo>
                    <a:pt x="63" y="327"/>
                  </a:lnTo>
                  <a:lnTo>
                    <a:pt x="65" y="327"/>
                  </a:lnTo>
                  <a:lnTo>
                    <a:pt x="65" y="325"/>
                  </a:lnTo>
                  <a:lnTo>
                    <a:pt x="65" y="325"/>
                  </a:lnTo>
                  <a:lnTo>
                    <a:pt x="65" y="325"/>
                  </a:lnTo>
                  <a:lnTo>
                    <a:pt x="65" y="325"/>
                  </a:lnTo>
                  <a:lnTo>
                    <a:pt x="65" y="323"/>
                  </a:lnTo>
                  <a:lnTo>
                    <a:pt x="67" y="325"/>
                  </a:lnTo>
                  <a:lnTo>
                    <a:pt x="67" y="325"/>
                  </a:lnTo>
                  <a:lnTo>
                    <a:pt x="69" y="323"/>
                  </a:lnTo>
                  <a:lnTo>
                    <a:pt x="69" y="323"/>
                  </a:lnTo>
                  <a:lnTo>
                    <a:pt x="69" y="321"/>
                  </a:lnTo>
                  <a:lnTo>
                    <a:pt x="69" y="321"/>
                  </a:lnTo>
                  <a:lnTo>
                    <a:pt x="69" y="321"/>
                  </a:lnTo>
                  <a:lnTo>
                    <a:pt x="69" y="321"/>
                  </a:lnTo>
                  <a:lnTo>
                    <a:pt x="69" y="321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74" y="321"/>
                  </a:lnTo>
                  <a:lnTo>
                    <a:pt x="74" y="321"/>
                  </a:lnTo>
                  <a:lnTo>
                    <a:pt x="76" y="321"/>
                  </a:lnTo>
                  <a:lnTo>
                    <a:pt x="76" y="321"/>
                  </a:lnTo>
                  <a:lnTo>
                    <a:pt x="78" y="321"/>
                  </a:lnTo>
                  <a:lnTo>
                    <a:pt x="78" y="321"/>
                  </a:lnTo>
                  <a:lnTo>
                    <a:pt x="78" y="323"/>
                  </a:lnTo>
                  <a:lnTo>
                    <a:pt x="78" y="323"/>
                  </a:lnTo>
                  <a:lnTo>
                    <a:pt x="78" y="323"/>
                  </a:lnTo>
                  <a:lnTo>
                    <a:pt x="78" y="323"/>
                  </a:lnTo>
                  <a:lnTo>
                    <a:pt x="79" y="323"/>
                  </a:lnTo>
                  <a:lnTo>
                    <a:pt x="81" y="321"/>
                  </a:lnTo>
                  <a:lnTo>
                    <a:pt x="81" y="321"/>
                  </a:lnTo>
                  <a:lnTo>
                    <a:pt x="81" y="320"/>
                  </a:lnTo>
                  <a:lnTo>
                    <a:pt x="81" y="318"/>
                  </a:lnTo>
                  <a:lnTo>
                    <a:pt x="83" y="320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5" y="320"/>
                  </a:lnTo>
                  <a:lnTo>
                    <a:pt x="85" y="320"/>
                  </a:lnTo>
                  <a:lnTo>
                    <a:pt x="87" y="320"/>
                  </a:lnTo>
                  <a:lnTo>
                    <a:pt x="87" y="320"/>
                  </a:lnTo>
                  <a:lnTo>
                    <a:pt x="87" y="320"/>
                  </a:lnTo>
                  <a:lnTo>
                    <a:pt x="89" y="320"/>
                  </a:lnTo>
                  <a:lnTo>
                    <a:pt x="89" y="320"/>
                  </a:lnTo>
                  <a:lnTo>
                    <a:pt x="90" y="320"/>
                  </a:lnTo>
                  <a:lnTo>
                    <a:pt x="90" y="320"/>
                  </a:lnTo>
                  <a:lnTo>
                    <a:pt x="90" y="318"/>
                  </a:lnTo>
                  <a:lnTo>
                    <a:pt x="90" y="318"/>
                  </a:lnTo>
                  <a:lnTo>
                    <a:pt x="90" y="318"/>
                  </a:lnTo>
                  <a:lnTo>
                    <a:pt x="90" y="316"/>
                  </a:lnTo>
                  <a:lnTo>
                    <a:pt x="90" y="316"/>
                  </a:lnTo>
                  <a:lnTo>
                    <a:pt x="90" y="316"/>
                  </a:lnTo>
                  <a:lnTo>
                    <a:pt x="90" y="316"/>
                  </a:lnTo>
                  <a:lnTo>
                    <a:pt x="89" y="316"/>
                  </a:lnTo>
                  <a:lnTo>
                    <a:pt x="89" y="316"/>
                  </a:lnTo>
                  <a:lnTo>
                    <a:pt x="87" y="314"/>
                  </a:lnTo>
                  <a:lnTo>
                    <a:pt x="92" y="316"/>
                  </a:lnTo>
                  <a:lnTo>
                    <a:pt x="96" y="314"/>
                  </a:lnTo>
                  <a:lnTo>
                    <a:pt x="96" y="314"/>
                  </a:lnTo>
                  <a:lnTo>
                    <a:pt x="98" y="316"/>
                  </a:lnTo>
                  <a:lnTo>
                    <a:pt x="98" y="316"/>
                  </a:lnTo>
                  <a:lnTo>
                    <a:pt x="98" y="318"/>
                  </a:lnTo>
                  <a:lnTo>
                    <a:pt x="98" y="316"/>
                  </a:lnTo>
                  <a:lnTo>
                    <a:pt x="98" y="316"/>
                  </a:lnTo>
                  <a:lnTo>
                    <a:pt x="98" y="314"/>
                  </a:lnTo>
                  <a:lnTo>
                    <a:pt x="98" y="314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99" y="311"/>
                  </a:lnTo>
                  <a:lnTo>
                    <a:pt x="99" y="311"/>
                  </a:lnTo>
                  <a:lnTo>
                    <a:pt x="99" y="311"/>
                  </a:lnTo>
                  <a:lnTo>
                    <a:pt x="99" y="311"/>
                  </a:lnTo>
                  <a:lnTo>
                    <a:pt x="99" y="311"/>
                  </a:lnTo>
                  <a:lnTo>
                    <a:pt x="99" y="311"/>
                  </a:lnTo>
                  <a:lnTo>
                    <a:pt x="98" y="311"/>
                  </a:lnTo>
                  <a:lnTo>
                    <a:pt x="98" y="311"/>
                  </a:lnTo>
                  <a:lnTo>
                    <a:pt x="98" y="309"/>
                  </a:lnTo>
                  <a:lnTo>
                    <a:pt x="99" y="309"/>
                  </a:lnTo>
                  <a:lnTo>
                    <a:pt x="101" y="311"/>
                  </a:lnTo>
                  <a:lnTo>
                    <a:pt x="101" y="312"/>
                  </a:lnTo>
                  <a:lnTo>
                    <a:pt x="101" y="311"/>
                  </a:lnTo>
                  <a:lnTo>
                    <a:pt x="101" y="311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3" y="309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5" y="309"/>
                  </a:lnTo>
                  <a:lnTo>
                    <a:pt x="107" y="309"/>
                  </a:lnTo>
                  <a:lnTo>
                    <a:pt x="108" y="309"/>
                  </a:lnTo>
                  <a:lnTo>
                    <a:pt x="108" y="307"/>
                  </a:lnTo>
                  <a:lnTo>
                    <a:pt x="110" y="305"/>
                  </a:lnTo>
                  <a:lnTo>
                    <a:pt x="110" y="305"/>
                  </a:lnTo>
                  <a:lnTo>
                    <a:pt x="110" y="305"/>
                  </a:lnTo>
                  <a:lnTo>
                    <a:pt x="110" y="303"/>
                  </a:lnTo>
                  <a:lnTo>
                    <a:pt x="110" y="303"/>
                  </a:lnTo>
                  <a:lnTo>
                    <a:pt x="110" y="303"/>
                  </a:lnTo>
                  <a:lnTo>
                    <a:pt x="110" y="301"/>
                  </a:lnTo>
                  <a:lnTo>
                    <a:pt x="108" y="301"/>
                  </a:lnTo>
                  <a:lnTo>
                    <a:pt x="108" y="301"/>
                  </a:lnTo>
                  <a:lnTo>
                    <a:pt x="110" y="301"/>
                  </a:lnTo>
                  <a:lnTo>
                    <a:pt x="110" y="301"/>
                  </a:lnTo>
                  <a:lnTo>
                    <a:pt x="110" y="301"/>
                  </a:lnTo>
                  <a:lnTo>
                    <a:pt x="110" y="301"/>
                  </a:lnTo>
                  <a:lnTo>
                    <a:pt x="110" y="300"/>
                  </a:lnTo>
                  <a:lnTo>
                    <a:pt x="110" y="300"/>
                  </a:lnTo>
                  <a:lnTo>
                    <a:pt x="110" y="300"/>
                  </a:lnTo>
                  <a:lnTo>
                    <a:pt x="110" y="300"/>
                  </a:lnTo>
                  <a:lnTo>
                    <a:pt x="108" y="300"/>
                  </a:lnTo>
                  <a:lnTo>
                    <a:pt x="108" y="298"/>
                  </a:lnTo>
                  <a:lnTo>
                    <a:pt x="107" y="296"/>
                  </a:lnTo>
                  <a:lnTo>
                    <a:pt x="105" y="296"/>
                  </a:lnTo>
                  <a:lnTo>
                    <a:pt x="103" y="296"/>
                  </a:lnTo>
                  <a:lnTo>
                    <a:pt x="105" y="294"/>
                  </a:lnTo>
                  <a:lnTo>
                    <a:pt x="105" y="294"/>
                  </a:lnTo>
                  <a:lnTo>
                    <a:pt x="108" y="294"/>
                  </a:lnTo>
                  <a:lnTo>
                    <a:pt x="108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2" y="294"/>
                  </a:lnTo>
                  <a:lnTo>
                    <a:pt x="114" y="294"/>
                  </a:lnTo>
                  <a:lnTo>
                    <a:pt x="114" y="296"/>
                  </a:lnTo>
                  <a:lnTo>
                    <a:pt x="116" y="294"/>
                  </a:lnTo>
                  <a:lnTo>
                    <a:pt x="116" y="294"/>
                  </a:lnTo>
                  <a:lnTo>
                    <a:pt x="116" y="294"/>
                  </a:lnTo>
                  <a:lnTo>
                    <a:pt x="116" y="296"/>
                  </a:lnTo>
                  <a:lnTo>
                    <a:pt x="116" y="296"/>
                  </a:lnTo>
                  <a:lnTo>
                    <a:pt x="116" y="296"/>
                  </a:lnTo>
                  <a:lnTo>
                    <a:pt x="116" y="296"/>
                  </a:lnTo>
                  <a:lnTo>
                    <a:pt x="116" y="296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4" y="300"/>
                  </a:lnTo>
                  <a:lnTo>
                    <a:pt x="114" y="300"/>
                  </a:lnTo>
                  <a:lnTo>
                    <a:pt x="114" y="300"/>
                  </a:lnTo>
                  <a:lnTo>
                    <a:pt x="114" y="300"/>
                  </a:lnTo>
                  <a:lnTo>
                    <a:pt x="114" y="300"/>
                  </a:lnTo>
                  <a:lnTo>
                    <a:pt x="112" y="300"/>
                  </a:lnTo>
                  <a:lnTo>
                    <a:pt x="112" y="301"/>
                  </a:lnTo>
                  <a:lnTo>
                    <a:pt x="112" y="301"/>
                  </a:lnTo>
                  <a:lnTo>
                    <a:pt x="112" y="301"/>
                  </a:lnTo>
                  <a:lnTo>
                    <a:pt x="114" y="301"/>
                  </a:lnTo>
                  <a:lnTo>
                    <a:pt x="114" y="301"/>
                  </a:lnTo>
                  <a:lnTo>
                    <a:pt x="116" y="301"/>
                  </a:lnTo>
                  <a:lnTo>
                    <a:pt x="117" y="301"/>
                  </a:lnTo>
                  <a:lnTo>
                    <a:pt x="119" y="301"/>
                  </a:lnTo>
                  <a:lnTo>
                    <a:pt x="125" y="300"/>
                  </a:lnTo>
                  <a:lnTo>
                    <a:pt x="125" y="300"/>
                  </a:lnTo>
                  <a:lnTo>
                    <a:pt x="123" y="298"/>
                  </a:lnTo>
                  <a:lnTo>
                    <a:pt x="125" y="298"/>
                  </a:lnTo>
                  <a:lnTo>
                    <a:pt x="126" y="296"/>
                  </a:lnTo>
                  <a:lnTo>
                    <a:pt x="130" y="296"/>
                  </a:lnTo>
                  <a:lnTo>
                    <a:pt x="130" y="296"/>
                  </a:lnTo>
                  <a:lnTo>
                    <a:pt x="130" y="294"/>
                  </a:lnTo>
                  <a:lnTo>
                    <a:pt x="130" y="294"/>
                  </a:lnTo>
                  <a:lnTo>
                    <a:pt x="128" y="292"/>
                  </a:lnTo>
                  <a:lnTo>
                    <a:pt x="130" y="292"/>
                  </a:lnTo>
                  <a:lnTo>
                    <a:pt x="130" y="292"/>
                  </a:lnTo>
                  <a:lnTo>
                    <a:pt x="132" y="291"/>
                  </a:lnTo>
                  <a:lnTo>
                    <a:pt x="132" y="291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7"/>
                  </a:lnTo>
                  <a:lnTo>
                    <a:pt x="132" y="287"/>
                  </a:lnTo>
                  <a:lnTo>
                    <a:pt x="134" y="287"/>
                  </a:lnTo>
                  <a:lnTo>
                    <a:pt x="134" y="289"/>
                  </a:lnTo>
                  <a:lnTo>
                    <a:pt x="134" y="289"/>
                  </a:lnTo>
                  <a:lnTo>
                    <a:pt x="134" y="289"/>
                  </a:lnTo>
                  <a:lnTo>
                    <a:pt x="139" y="291"/>
                  </a:lnTo>
                  <a:lnTo>
                    <a:pt x="139" y="291"/>
                  </a:lnTo>
                  <a:lnTo>
                    <a:pt x="139" y="289"/>
                  </a:lnTo>
                  <a:lnTo>
                    <a:pt x="139" y="287"/>
                  </a:lnTo>
                  <a:lnTo>
                    <a:pt x="141" y="287"/>
                  </a:lnTo>
                  <a:lnTo>
                    <a:pt x="143" y="287"/>
                  </a:lnTo>
                  <a:lnTo>
                    <a:pt x="145" y="287"/>
                  </a:lnTo>
                  <a:lnTo>
                    <a:pt x="145" y="287"/>
                  </a:lnTo>
                  <a:lnTo>
                    <a:pt x="145" y="287"/>
                  </a:lnTo>
                  <a:lnTo>
                    <a:pt x="146" y="287"/>
                  </a:lnTo>
                  <a:lnTo>
                    <a:pt x="146" y="285"/>
                  </a:lnTo>
                  <a:lnTo>
                    <a:pt x="146" y="283"/>
                  </a:lnTo>
                  <a:lnTo>
                    <a:pt x="148" y="282"/>
                  </a:lnTo>
                  <a:lnTo>
                    <a:pt x="148" y="282"/>
                  </a:lnTo>
                  <a:lnTo>
                    <a:pt x="148" y="282"/>
                  </a:lnTo>
                  <a:lnTo>
                    <a:pt x="146" y="282"/>
                  </a:lnTo>
                  <a:lnTo>
                    <a:pt x="146" y="280"/>
                  </a:lnTo>
                  <a:lnTo>
                    <a:pt x="145" y="280"/>
                  </a:lnTo>
                  <a:lnTo>
                    <a:pt x="145" y="280"/>
                  </a:lnTo>
                  <a:lnTo>
                    <a:pt x="143" y="282"/>
                  </a:lnTo>
                  <a:lnTo>
                    <a:pt x="143" y="280"/>
                  </a:lnTo>
                  <a:lnTo>
                    <a:pt x="145" y="278"/>
                  </a:lnTo>
                  <a:lnTo>
                    <a:pt x="145" y="278"/>
                  </a:lnTo>
                  <a:lnTo>
                    <a:pt x="146" y="278"/>
                  </a:lnTo>
                  <a:lnTo>
                    <a:pt x="146" y="278"/>
                  </a:lnTo>
                  <a:lnTo>
                    <a:pt x="146" y="278"/>
                  </a:lnTo>
                  <a:lnTo>
                    <a:pt x="146" y="278"/>
                  </a:lnTo>
                  <a:lnTo>
                    <a:pt x="146" y="280"/>
                  </a:lnTo>
                  <a:lnTo>
                    <a:pt x="146" y="280"/>
                  </a:lnTo>
                  <a:lnTo>
                    <a:pt x="148" y="278"/>
                  </a:lnTo>
                  <a:lnTo>
                    <a:pt x="148" y="278"/>
                  </a:lnTo>
                  <a:lnTo>
                    <a:pt x="148" y="278"/>
                  </a:lnTo>
                  <a:lnTo>
                    <a:pt x="150" y="278"/>
                  </a:lnTo>
                  <a:lnTo>
                    <a:pt x="154" y="276"/>
                  </a:lnTo>
                  <a:lnTo>
                    <a:pt x="163" y="274"/>
                  </a:lnTo>
                  <a:lnTo>
                    <a:pt x="164" y="274"/>
                  </a:lnTo>
                  <a:lnTo>
                    <a:pt x="166" y="274"/>
                  </a:lnTo>
                  <a:lnTo>
                    <a:pt x="166" y="274"/>
                  </a:lnTo>
                  <a:lnTo>
                    <a:pt x="166" y="274"/>
                  </a:lnTo>
                  <a:lnTo>
                    <a:pt x="168" y="274"/>
                  </a:lnTo>
                  <a:lnTo>
                    <a:pt x="168" y="273"/>
                  </a:lnTo>
                  <a:lnTo>
                    <a:pt x="168" y="273"/>
                  </a:lnTo>
                  <a:lnTo>
                    <a:pt x="168" y="273"/>
                  </a:lnTo>
                  <a:lnTo>
                    <a:pt x="170" y="273"/>
                  </a:lnTo>
                  <a:lnTo>
                    <a:pt x="170" y="273"/>
                  </a:lnTo>
                  <a:lnTo>
                    <a:pt x="170" y="273"/>
                  </a:lnTo>
                  <a:lnTo>
                    <a:pt x="170" y="273"/>
                  </a:lnTo>
                  <a:lnTo>
                    <a:pt x="170" y="273"/>
                  </a:lnTo>
                  <a:lnTo>
                    <a:pt x="170" y="273"/>
                  </a:lnTo>
                  <a:lnTo>
                    <a:pt x="170" y="273"/>
                  </a:lnTo>
                  <a:lnTo>
                    <a:pt x="170" y="273"/>
                  </a:lnTo>
                  <a:lnTo>
                    <a:pt x="170" y="273"/>
                  </a:lnTo>
                  <a:lnTo>
                    <a:pt x="172" y="273"/>
                  </a:lnTo>
                  <a:lnTo>
                    <a:pt x="170" y="274"/>
                  </a:lnTo>
                  <a:lnTo>
                    <a:pt x="170" y="274"/>
                  </a:lnTo>
                  <a:lnTo>
                    <a:pt x="172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5" y="274"/>
                  </a:lnTo>
                  <a:lnTo>
                    <a:pt x="177" y="273"/>
                  </a:lnTo>
                  <a:lnTo>
                    <a:pt x="177" y="271"/>
                  </a:lnTo>
                  <a:lnTo>
                    <a:pt x="177" y="271"/>
                  </a:lnTo>
                  <a:lnTo>
                    <a:pt x="175" y="271"/>
                  </a:lnTo>
                  <a:lnTo>
                    <a:pt x="175" y="271"/>
                  </a:lnTo>
                  <a:lnTo>
                    <a:pt x="177" y="267"/>
                  </a:lnTo>
                  <a:lnTo>
                    <a:pt x="177" y="267"/>
                  </a:lnTo>
                  <a:lnTo>
                    <a:pt x="175" y="265"/>
                  </a:lnTo>
                  <a:lnTo>
                    <a:pt x="175" y="265"/>
                  </a:lnTo>
                  <a:lnTo>
                    <a:pt x="175" y="265"/>
                  </a:lnTo>
                  <a:lnTo>
                    <a:pt x="175" y="264"/>
                  </a:lnTo>
                  <a:lnTo>
                    <a:pt x="175" y="264"/>
                  </a:lnTo>
                  <a:lnTo>
                    <a:pt x="175" y="262"/>
                  </a:lnTo>
                  <a:lnTo>
                    <a:pt x="175" y="264"/>
                  </a:lnTo>
                  <a:lnTo>
                    <a:pt x="177" y="265"/>
                  </a:lnTo>
                  <a:lnTo>
                    <a:pt x="177" y="265"/>
                  </a:lnTo>
                  <a:lnTo>
                    <a:pt x="177" y="267"/>
                  </a:lnTo>
                  <a:lnTo>
                    <a:pt x="179" y="267"/>
                  </a:lnTo>
                  <a:lnTo>
                    <a:pt x="179" y="267"/>
                  </a:lnTo>
                  <a:lnTo>
                    <a:pt x="179" y="269"/>
                  </a:lnTo>
                  <a:lnTo>
                    <a:pt x="181" y="273"/>
                  </a:lnTo>
                  <a:lnTo>
                    <a:pt x="181" y="273"/>
                  </a:lnTo>
                  <a:lnTo>
                    <a:pt x="179" y="273"/>
                  </a:lnTo>
                  <a:lnTo>
                    <a:pt x="179" y="274"/>
                  </a:lnTo>
                  <a:lnTo>
                    <a:pt x="179" y="274"/>
                  </a:lnTo>
                  <a:lnTo>
                    <a:pt x="177" y="274"/>
                  </a:lnTo>
                  <a:lnTo>
                    <a:pt x="179" y="276"/>
                  </a:lnTo>
                  <a:lnTo>
                    <a:pt x="179" y="274"/>
                  </a:lnTo>
                  <a:lnTo>
                    <a:pt x="179" y="274"/>
                  </a:lnTo>
                  <a:lnTo>
                    <a:pt x="181" y="273"/>
                  </a:lnTo>
                  <a:lnTo>
                    <a:pt x="184" y="271"/>
                  </a:lnTo>
                  <a:lnTo>
                    <a:pt x="184" y="271"/>
                  </a:lnTo>
                  <a:lnTo>
                    <a:pt x="184" y="271"/>
                  </a:lnTo>
                  <a:lnTo>
                    <a:pt x="184" y="271"/>
                  </a:lnTo>
                  <a:lnTo>
                    <a:pt x="184" y="271"/>
                  </a:lnTo>
                  <a:lnTo>
                    <a:pt x="184" y="271"/>
                  </a:lnTo>
                  <a:lnTo>
                    <a:pt x="184" y="271"/>
                  </a:lnTo>
                  <a:lnTo>
                    <a:pt x="184" y="271"/>
                  </a:lnTo>
                  <a:lnTo>
                    <a:pt x="184" y="269"/>
                  </a:lnTo>
                  <a:lnTo>
                    <a:pt x="184" y="269"/>
                  </a:lnTo>
                  <a:lnTo>
                    <a:pt x="184" y="267"/>
                  </a:lnTo>
                  <a:lnTo>
                    <a:pt x="184" y="267"/>
                  </a:lnTo>
                  <a:lnTo>
                    <a:pt x="184" y="269"/>
                  </a:lnTo>
                  <a:lnTo>
                    <a:pt x="182" y="269"/>
                  </a:lnTo>
                  <a:lnTo>
                    <a:pt x="182" y="267"/>
                  </a:lnTo>
                  <a:lnTo>
                    <a:pt x="182" y="267"/>
                  </a:lnTo>
                  <a:lnTo>
                    <a:pt x="182" y="267"/>
                  </a:lnTo>
                  <a:lnTo>
                    <a:pt x="182" y="267"/>
                  </a:lnTo>
                  <a:lnTo>
                    <a:pt x="184" y="265"/>
                  </a:lnTo>
                  <a:lnTo>
                    <a:pt x="184" y="267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6" y="267"/>
                  </a:lnTo>
                  <a:lnTo>
                    <a:pt x="186" y="267"/>
                  </a:lnTo>
                  <a:lnTo>
                    <a:pt x="184" y="267"/>
                  </a:lnTo>
                  <a:lnTo>
                    <a:pt x="184" y="269"/>
                  </a:lnTo>
                  <a:lnTo>
                    <a:pt x="186" y="269"/>
                  </a:lnTo>
                  <a:lnTo>
                    <a:pt x="190" y="269"/>
                  </a:lnTo>
                  <a:lnTo>
                    <a:pt x="193" y="269"/>
                  </a:lnTo>
                  <a:lnTo>
                    <a:pt x="193" y="269"/>
                  </a:lnTo>
                  <a:lnTo>
                    <a:pt x="195" y="271"/>
                  </a:lnTo>
                  <a:lnTo>
                    <a:pt x="197" y="271"/>
                  </a:lnTo>
                  <a:lnTo>
                    <a:pt x="199" y="271"/>
                  </a:lnTo>
                  <a:lnTo>
                    <a:pt x="200" y="269"/>
                  </a:lnTo>
                  <a:lnTo>
                    <a:pt x="200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71"/>
                  </a:lnTo>
                  <a:lnTo>
                    <a:pt x="204" y="271"/>
                  </a:lnTo>
                  <a:lnTo>
                    <a:pt x="204" y="271"/>
                  </a:lnTo>
                  <a:lnTo>
                    <a:pt x="204" y="269"/>
                  </a:lnTo>
                  <a:lnTo>
                    <a:pt x="204" y="269"/>
                  </a:lnTo>
                  <a:lnTo>
                    <a:pt x="204" y="269"/>
                  </a:lnTo>
                  <a:lnTo>
                    <a:pt x="206" y="269"/>
                  </a:lnTo>
                  <a:lnTo>
                    <a:pt x="206" y="269"/>
                  </a:lnTo>
                  <a:lnTo>
                    <a:pt x="206" y="269"/>
                  </a:lnTo>
                  <a:lnTo>
                    <a:pt x="206" y="271"/>
                  </a:lnTo>
                  <a:lnTo>
                    <a:pt x="206" y="271"/>
                  </a:lnTo>
                  <a:lnTo>
                    <a:pt x="206" y="271"/>
                  </a:lnTo>
                  <a:lnTo>
                    <a:pt x="206" y="271"/>
                  </a:lnTo>
                  <a:lnTo>
                    <a:pt x="206" y="271"/>
                  </a:lnTo>
                  <a:lnTo>
                    <a:pt x="206" y="271"/>
                  </a:lnTo>
                  <a:lnTo>
                    <a:pt x="208" y="271"/>
                  </a:lnTo>
                  <a:lnTo>
                    <a:pt x="208" y="269"/>
                  </a:lnTo>
                  <a:lnTo>
                    <a:pt x="210" y="265"/>
                  </a:lnTo>
                  <a:lnTo>
                    <a:pt x="206" y="264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0"/>
                  </a:lnTo>
                  <a:lnTo>
                    <a:pt x="202" y="260"/>
                  </a:lnTo>
                  <a:lnTo>
                    <a:pt x="202" y="260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0" y="256"/>
                  </a:lnTo>
                  <a:lnTo>
                    <a:pt x="200" y="256"/>
                  </a:lnTo>
                  <a:lnTo>
                    <a:pt x="200" y="256"/>
                  </a:lnTo>
                  <a:lnTo>
                    <a:pt x="200" y="256"/>
                  </a:lnTo>
                  <a:lnTo>
                    <a:pt x="200" y="256"/>
                  </a:lnTo>
                  <a:lnTo>
                    <a:pt x="200" y="255"/>
                  </a:lnTo>
                  <a:lnTo>
                    <a:pt x="202" y="255"/>
                  </a:lnTo>
                  <a:lnTo>
                    <a:pt x="202" y="256"/>
                  </a:lnTo>
                  <a:lnTo>
                    <a:pt x="202" y="256"/>
                  </a:lnTo>
                  <a:lnTo>
                    <a:pt x="206" y="256"/>
                  </a:lnTo>
                  <a:lnTo>
                    <a:pt x="206" y="256"/>
                  </a:lnTo>
                  <a:lnTo>
                    <a:pt x="206" y="256"/>
                  </a:lnTo>
                  <a:lnTo>
                    <a:pt x="206" y="258"/>
                  </a:lnTo>
                  <a:lnTo>
                    <a:pt x="206" y="256"/>
                  </a:lnTo>
                  <a:lnTo>
                    <a:pt x="206" y="255"/>
                  </a:lnTo>
                  <a:lnTo>
                    <a:pt x="206" y="255"/>
                  </a:lnTo>
                  <a:lnTo>
                    <a:pt x="208" y="253"/>
                  </a:lnTo>
                  <a:lnTo>
                    <a:pt x="208" y="251"/>
                  </a:lnTo>
                  <a:lnTo>
                    <a:pt x="210" y="249"/>
                  </a:lnTo>
                  <a:lnTo>
                    <a:pt x="210" y="249"/>
                  </a:lnTo>
                  <a:lnTo>
                    <a:pt x="211" y="247"/>
                  </a:lnTo>
                  <a:lnTo>
                    <a:pt x="213" y="242"/>
                  </a:lnTo>
                  <a:lnTo>
                    <a:pt x="215" y="242"/>
                  </a:lnTo>
                  <a:lnTo>
                    <a:pt x="215" y="238"/>
                  </a:lnTo>
                  <a:lnTo>
                    <a:pt x="215" y="236"/>
                  </a:lnTo>
                  <a:lnTo>
                    <a:pt x="213" y="235"/>
                  </a:lnTo>
                  <a:lnTo>
                    <a:pt x="213" y="233"/>
                  </a:lnTo>
                  <a:lnTo>
                    <a:pt x="215" y="231"/>
                  </a:lnTo>
                  <a:lnTo>
                    <a:pt x="217" y="227"/>
                  </a:lnTo>
                  <a:lnTo>
                    <a:pt x="217" y="226"/>
                  </a:lnTo>
                  <a:lnTo>
                    <a:pt x="217" y="226"/>
                  </a:lnTo>
                  <a:lnTo>
                    <a:pt x="217" y="224"/>
                  </a:lnTo>
                  <a:lnTo>
                    <a:pt x="219" y="218"/>
                  </a:lnTo>
                  <a:lnTo>
                    <a:pt x="219" y="218"/>
                  </a:lnTo>
                  <a:lnTo>
                    <a:pt x="220" y="217"/>
                  </a:lnTo>
                  <a:lnTo>
                    <a:pt x="222" y="215"/>
                  </a:lnTo>
                  <a:lnTo>
                    <a:pt x="222" y="215"/>
                  </a:lnTo>
                  <a:lnTo>
                    <a:pt x="224" y="211"/>
                  </a:lnTo>
                  <a:lnTo>
                    <a:pt x="224" y="209"/>
                  </a:lnTo>
                  <a:lnTo>
                    <a:pt x="224" y="209"/>
                  </a:lnTo>
                  <a:lnTo>
                    <a:pt x="224" y="208"/>
                  </a:lnTo>
                  <a:lnTo>
                    <a:pt x="224" y="208"/>
                  </a:lnTo>
                  <a:lnTo>
                    <a:pt x="226" y="208"/>
                  </a:lnTo>
                  <a:lnTo>
                    <a:pt x="226" y="208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7" name="Freeform 146">
              <a:extLst>
                <a:ext uri="{FF2B5EF4-FFF2-40B4-BE49-F238E27FC236}">
                  <a16:creationId xmlns:a16="http://schemas.microsoft.com/office/drawing/2014/main" id="{E86D4BE2-2E7B-1251-2DB6-90FF682B81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1450976"/>
              <a:ext cx="876300" cy="593725"/>
            </a:xfrm>
            <a:custGeom>
              <a:avLst/>
              <a:gdLst>
                <a:gd name="T0" fmla="*/ 550 w 552"/>
                <a:gd name="T1" fmla="*/ 179 h 374"/>
                <a:gd name="T2" fmla="*/ 543 w 552"/>
                <a:gd name="T3" fmla="*/ 153 h 374"/>
                <a:gd name="T4" fmla="*/ 536 w 552"/>
                <a:gd name="T5" fmla="*/ 123 h 374"/>
                <a:gd name="T6" fmla="*/ 493 w 552"/>
                <a:gd name="T7" fmla="*/ 99 h 374"/>
                <a:gd name="T8" fmla="*/ 467 w 552"/>
                <a:gd name="T9" fmla="*/ 56 h 374"/>
                <a:gd name="T10" fmla="*/ 458 w 552"/>
                <a:gd name="T11" fmla="*/ 50 h 374"/>
                <a:gd name="T12" fmla="*/ 429 w 552"/>
                <a:gd name="T13" fmla="*/ 12 h 374"/>
                <a:gd name="T14" fmla="*/ 402 w 552"/>
                <a:gd name="T15" fmla="*/ 9 h 374"/>
                <a:gd name="T16" fmla="*/ 406 w 552"/>
                <a:gd name="T17" fmla="*/ 52 h 374"/>
                <a:gd name="T18" fmla="*/ 377 w 552"/>
                <a:gd name="T19" fmla="*/ 47 h 374"/>
                <a:gd name="T20" fmla="*/ 348 w 552"/>
                <a:gd name="T21" fmla="*/ 81 h 374"/>
                <a:gd name="T22" fmla="*/ 317 w 552"/>
                <a:gd name="T23" fmla="*/ 79 h 374"/>
                <a:gd name="T24" fmla="*/ 316 w 552"/>
                <a:gd name="T25" fmla="*/ 86 h 374"/>
                <a:gd name="T26" fmla="*/ 283 w 552"/>
                <a:gd name="T27" fmla="*/ 47 h 374"/>
                <a:gd name="T28" fmla="*/ 251 w 552"/>
                <a:gd name="T29" fmla="*/ 74 h 374"/>
                <a:gd name="T30" fmla="*/ 231 w 552"/>
                <a:gd name="T31" fmla="*/ 77 h 374"/>
                <a:gd name="T32" fmla="*/ 209 w 552"/>
                <a:gd name="T33" fmla="*/ 92 h 374"/>
                <a:gd name="T34" fmla="*/ 200 w 552"/>
                <a:gd name="T35" fmla="*/ 130 h 374"/>
                <a:gd name="T36" fmla="*/ 177 w 552"/>
                <a:gd name="T37" fmla="*/ 133 h 374"/>
                <a:gd name="T38" fmla="*/ 166 w 552"/>
                <a:gd name="T39" fmla="*/ 144 h 374"/>
                <a:gd name="T40" fmla="*/ 140 w 552"/>
                <a:gd name="T41" fmla="*/ 97 h 374"/>
                <a:gd name="T42" fmla="*/ 148 w 552"/>
                <a:gd name="T43" fmla="*/ 65 h 374"/>
                <a:gd name="T44" fmla="*/ 130 w 552"/>
                <a:gd name="T45" fmla="*/ 43 h 374"/>
                <a:gd name="T46" fmla="*/ 102 w 552"/>
                <a:gd name="T47" fmla="*/ 12 h 374"/>
                <a:gd name="T48" fmla="*/ 68 w 552"/>
                <a:gd name="T49" fmla="*/ 29 h 374"/>
                <a:gd name="T50" fmla="*/ 99 w 552"/>
                <a:gd name="T51" fmla="*/ 39 h 374"/>
                <a:gd name="T52" fmla="*/ 104 w 552"/>
                <a:gd name="T53" fmla="*/ 79 h 374"/>
                <a:gd name="T54" fmla="*/ 84 w 552"/>
                <a:gd name="T55" fmla="*/ 76 h 374"/>
                <a:gd name="T56" fmla="*/ 68 w 552"/>
                <a:gd name="T57" fmla="*/ 50 h 374"/>
                <a:gd name="T58" fmla="*/ 41 w 552"/>
                <a:gd name="T59" fmla="*/ 74 h 374"/>
                <a:gd name="T60" fmla="*/ 54 w 552"/>
                <a:gd name="T61" fmla="*/ 103 h 374"/>
                <a:gd name="T62" fmla="*/ 32 w 552"/>
                <a:gd name="T63" fmla="*/ 112 h 374"/>
                <a:gd name="T64" fmla="*/ 27 w 552"/>
                <a:gd name="T65" fmla="*/ 133 h 374"/>
                <a:gd name="T66" fmla="*/ 74 w 552"/>
                <a:gd name="T67" fmla="*/ 124 h 374"/>
                <a:gd name="T68" fmla="*/ 90 w 552"/>
                <a:gd name="T69" fmla="*/ 121 h 374"/>
                <a:gd name="T70" fmla="*/ 121 w 552"/>
                <a:gd name="T71" fmla="*/ 119 h 374"/>
                <a:gd name="T72" fmla="*/ 137 w 552"/>
                <a:gd name="T73" fmla="*/ 137 h 374"/>
                <a:gd name="T74" fmla="*/ 128 w 552"/>
                <a:gd name="T75" fmla="*/ 175 h 374"/>
                <a:gd name="T76" fmla="*/ 90 w 552"/>
                <a:gd name="T77" fmla="*/ 188 h 374"/>
                <a:gd name="T78" fmla="*/ 66 w 552"/>
                <a:gd name="T79" fmla="*/ 188 h 374"/>
                <a:gd name="T80" fmla="*/ 28 w 552"/>
                <a:gd name="T81" fmla="*/ 218 h 374"/>
                <a:gd name="T82" fmla="*/ 97 w 552"/>
                <a:gd name="T83" fmla="*/ 215 h 374"/>
                <a:gd name="T84" fmla="*/ 108 w 552"/>
                <a:gd name="T85" fmla="*/ 233 h 374"/>
                <a:gd name="T86" fmla="*/ 122 w 552"/>
                <a:gd name="T87" fmla="*/ 249 h 374"/>
                <a:gd name="T88" fmla="*/ 151 w 552"/>
                <a:gd name="T89" fmla="*/ 240 h 374"/>
                <a:gd name="T90" fmla="*/ 128 w 552"/>
                <a:gd name="T91" fmla="*/ 272 h 374"/>
                <a:gd name="T92" fmla="*/ 131 w 552"/>
                <a:gd name="T93" fmla="*/ 280 h 374"/>
                <a:gd name="T94" fmla="*/ 128 w 552"/>
                <a:gd name="T95" fmla="*/ 292 h 374"/>
                <a:gd name="T96" fmla="*/ 90 w 552"/>
                <a:gd name="T97" fmla="*/ 303 h 374"/>
                <a:gd name="T98" fmla="*/ 140 w 552"/>
                <a:gd name="T99" fmla="*/ 323 h 374"/>
                <a:gd name="T100" fmla="*/ 193 w 552"/>
                <a:gd name="T101" fmla="*/ 321 h 374"/>
                <a:gd name="T102" fmla="*/ 205 w 552"/>
                <a:gd name="T103" fmla="*/ 332 h 374"/>
                <a:gd name="T104" fmla="*/ 223 w 552"/>
                <a:gd name="T105" fmla="*/ 357 h 374"/>
                <a:gd name="T106" fmla="*/ 316 w 552"/>
                <a:gd name="T107" fmla="*/ 359 h 374"/>
                <a:gd name="T108" fmla="*/ 332 w 552"/>
                <a:gd name="T109" fmla="*/ 338 h 374"/>
                <a:gd name="T110" fmla="*/ 375 w 552"/>
                <a:gd name="T111" fmla="*/ 325 h 374"/>
                <a:gd name="T112" fmla="*/ 386 w 552"/>
                <a:gd name="T113" fmla="*/ 325 h 374"/>
                <a:gd name="T114" fmla="*/ 424 w 552"/>
                <a:gd name="T115" fmla="*/ 296 h 374"/>
                <a:gd name="T116" fmla="*/ 460 w 552"/>
                <a:gd name="T117" fmla="*/ 271 h 374"/>
                <a:gd name="T118" fmla="*/ 482 w 552"/>
                <a:gd name="T119" fmla="*/ 265 h 374"/>
                <a:gd name="T120" fmla="*/ 503 w 552"/>
                <a:gd name="T121" fmla="*/ 242 h 374"/>
                <a:gd name="T122" fmla="*/ 527 w 552"/>
                <a:gd name="T123" fmla="*/ 220 h 374"/>
                <a:gd name="T124" fmla="*/ 529 w 552"/>
                <a:gd name="T125" fmla="*/ 18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2" h="374">
                  <a:moveTo>
                    <a:pt x="213" y="368"/>
                  </a:moveTo>
                  <a:lnTo>
                    <a:pt x="213" y="368"/>
                  </a:lnTo>
                  <a:lnTo>
                    <a:pt x="213" y="368"/>
                  </a:lnTo>
                  <a:lnTo>
                    <a:pt x="213" y="368"/>
                  </a:lnTo>
                  <a:lnTo>
                    <a:pt x="211" y="368"/>
                  </a:lnTo>
                  <a:lnTo>
                    <a:pt x="211" y="370"/>
                  </a:lnTo>
                  <a:lnTo>
                    <a:pt x="211" y="372"/>
                  </a:lnTo>
                  <a:lnTo>
                    <a:pt x="211" y="372"/>
                  </a:lnTo>
                  <a:lnTo>
                    <a:pt x="213" y="374"/>
                  </a:lnTo>
                  <a:lnTo>
                    <a:pt x="213" y="374"/>
                  </a:lnTo>
                  <a:lnTo>
                    <a:pt x="213" y="374"/>
                  </a:lnTo>
                  <a:lnTo>
                    <a:pt x="213" y="372"/>
                  </a:lnTo>
                  <a:lnTo>
                    <a:pt x="214" y="370"/>
                  </a:lnTo>
                  <a:lnTo>
                    <a:pt x="213" y="370"/>
                  </a:lnTo>
                  <a:lnTo>
                    <a:pt x="213" y="368"/>
                  </a:lnTo>
                  <a:close/>
                  <a:moveTo>
                    <a:pt x="339" y="338"/>
                  </a:moveTo>
                  <a:lnTo>
                    <a:pt x="337" y="338"/>
                  </a:lnTo>
                  <a:lnTo>
                    <a:pt x="337" y="338"/>
                  </a:lnTo>
                  <a:lnTo>
                    <a:pt x="337" y="339"/>
                  </a:lnTo>
                  <a:lnTo>
                    <a:pt x="335" y="341"/>
                  </a:lnTo>
                  <a:lnTo>
                    <a:pt x="335" y="341"/>
                  </a:lnTo>
                  <a:lnTo>
                    <a:pt x="337" y="341"/>
                  </a:lnTo>
                  <a:lnTo>
                    <a:pt x="337" y="341"/>
                  </a:lnTo>
                  <a:lnTo>
                    <a:pt x="339" y="341"/>
                  </a:lnTo>
                  <a:lnTo>
                    <a:pt x="339" y="341"/>
                  </a:lnTo>
                  <a:lnTo>
                    <a:pt x="337" y="341"/>
                  </a:lnTo>
                  <a:lnTo>
                    <a:pt x="337" y="343"/>
                  </a:lnTo>
                  <a:lnTo>
                    <a:pt x="337" y="343"/>
                  </a:lnTo>
                  <a:lnTo>
                    <a:pt x="339" y="341"/>
                  </a:lnTo>
                  <a:lnTo>
                    <a:pt x="339" y="339"/>
                  </a:lnTo>
                  <a:lnTo>
                    <a:pt x="339" y="339"/>
                  </a:lnTo>
                  <a:lnTo>
                    <a:pt x="339" y="338"/>
                  </a:lnTo>
                  <a:close/>
                  <a:moveTo>
                    <a:pt x="307" y="70"/>
                  </a:moveTo>
                  <a:lnTo>
                    <a:pt x="307" y="70"/>
                  </a:lnTo>
                  <a:lnTo>
                    <a:pt x="307" y="72"/>
                  </a:lnTo>
                  <a:lnTo>
                    <a:pt x="307" y="72"/>
                  </a:lnTo>
                  <a:lnTo>
                    <a:pt x="308" y="72"/>
                  </a:lnTo>
                  <a:lnTo>
                    <a:pt x="308" y="72"/>
                  </a:lnTo>
                  <a:lnTo>
                    <a:pt x="308" y="70"/>
                  </a:lnTo>
                  <a:lnTo>
                    <a:pt x="308" y="68"/>
                  </a:lnTo>
                  <a:lnTo>
                    <a:pt x="307" y="68"/>
                  </a:lnTo>
                  <a:lnTo>
                    <a:pt x="307" y="67"/>
                  </a:lnTo>
                  <a:lnTo>
                    <a:pt x="307" y="67"/>
                  </a:lnTo>
                  <a:lnTo>
                    <a:pt x="305" y="67"/>
                  </a:lnTo>
                  <a:lnTo>
                    <a:pt x="307" y="68"/>
                  </a:lnTo>
                  <a:lnTo>
                    <a:pt x="307" y="70"/>
                  </a:lnTo>
                  <a:close/>
                  <a:moveTo>
                    <a:pt x="550" y="179"/>
                  </a:moveTo>
                  <a:lnTo>
                    <a:pt x="550" y="179"/>
                  </a:lnTo>
                  <a:lnTo>
                    <a:pt x="550" y="179"/>
                  </a:lnTo>
                  <a:lnTo>
                    <a:pt x="550" y="177"/>
                  </a:lnTo>
                  <a:lnTo>
                    <a:pt x="550" y="173"/>
                  </a:lnTo>
                  <a:lnTo>
                    <a:pt x="550" y="171"/>
                  </a:lnTo>
                  <a:lnTo>
                    <a:pt x="550" y="170"/>
                  </a:lnTo>
                  <a:lnTo>
                    <a:pt x="549" y="171"/>
                  </a:lnTo>
                  <a:lnTo>
                    <a:pt x="547" y="175"/>
                  </a:lnTo>
                  <a:lnTo>
                    <a:pt x="547" y="175"/>
                  </a:lnTo>
                  <a:lnTo>
                    <a:pt x="547" y="175"/>
                  </a:lnTo>
                  <a:lnTo>
                    <a:pt x="545" y="177"/>
                  </a:lnTo>
                  <a:lnTo>
                    <a:pt x="545" y="179"/>
                  </a:lnTo>
                  <a:lnTo>
                    <a:pt x="545" y="177"/>
                  </a:lnTo>
                  <a:lnTo>
                    <a:pt x="545" y="177"/>
                  </a:lnTo>
                  <a:lnTo>
                    <a:pt x="545" y="177"/>
                  </a:lnTo>
                  <a:lnTo>
                    <a:pt x="543" y="177"/>
                  </a:lnTo>
                  <a:lnTo>
                    <a:pt x="543" y="177"/>
                  </a:lnTo>
                  <a:lnTo>
                    <a:pt x="543" y="175"/>
                  </a:lnTo>
                  <a:lnTo>
                    <a:pt x="543" y="175"/>
                  </a:lnTo>
                  <a:lnTo>
                    <a:pt x="543" y="175"/>
                  </a:lnTo>
                  <a:lnTo>
                    <a:pt x="543" y="175"/>
                  </a:lnTo>
                  <a:lnTo>
                    <a:pt x="543" y="173"/>
                  </a:lnTo>
                  <a:lnTo>
                    <a:pt x="543" y="173"/>
                  </a:lnTo>
                  <a:lnTo>
                    <a:pt x="540" y="173"/>
                  </a:lnTo>
                  <a:lnTo>
                    <a:pt x="540" y="173"/>
                  </a:lnTo>
                  <a:lnTo>
                    <a:pt x="541" y="171"/>
                  </a:lnTo>
                  <a:lnTo>
                    <a:pt x="543" y="171"/>
                  </a:lnTo>
                  <a:lnTo>
                    <a:pt x="545" y="171"/>
                  </a:lnTo>
                  <a:lnTo>
                    <a:pt x="545" y="171"/>
                  </a:lnTo>
                  <a:lnTo>
                    <a:pt x="545" y="170"/>
                  </a:lnTo>
                  <a:lnTo>
                    <a:pt x="545" y="170"/>
                  </a:lnTo>
                  <a:lnTo>
                    <a:pt x="545" y="170"/>
                  </a:lnTo>
                  <a:lnTo>
                    <a:pt x="545" y="168"/>
                  </a:lnTo>
                  <a:lnTo>
                    <a:pt x="545" y="166"/>
                  </a:lnTo>
                  <a:lnTo>
                    <a:pt x="545" y="166"/>
                  </a:lnTo>
                  <a:lnTo>
                    <a:pt x="543" y="166"/>
                  </a:lnTo>
                  <a:lnTo>
                    <a:pt x="540" y="168"/>
                  </a:lnTo>
                  <a:lnTo>
                    <a:pt x="532" y="166"/>
                  </a:lnTo>
                  <a:lnTo>
                    <a:pt x="527" y="168"/>
                  </a:lnTo>
                  <a:lnTo>
                    <a:pt x="525" y="166"/>
                  </a:lnTo>
                  <a:lnTo>
                    <a:pt x="529" y="166"/>
                  </a:lnTo>
                  <a:lnTo>
                    <a:pt x="530" y="166"/>
                  </a:lnTo>
                  <a:lnTo>
                    <a:pt x="538" y="166"/>
                  </a:lnTo>
                  <a:lnTo>
                    <a:pt x="543" y="164"/>
                  </a:lnTo>
                  <a:lnTo>
                    <a:pt x="545" y="162"/>
                  </a:lnTo>
                  <a:lnTo>
                    <a:pt x="547" y="161"/>
                  </a:lnTo>
                  <a:lnTo>
                    <a:pt x="549" y="159"/>
                  </a:lnTo>
                  <a:lnTo>
                    <a:pt x="549" y="159"/>
                  </a:lnTo>
                  <a:lnTo>
                    <a:pt x="547" y="157"/>
                  </a:lnTo>
                  <a:lnTo>
                    <a:pt x="547" y="155"/>
                  </a:lnTo>
                  <a:lnTo>
                    <a:pt x="543" y="153"/>
                  </a:lnTo>
                  <a:lnTo>
                    <a:pt x="541" y="153"/>
                  </a:lnTo>
                  <a:lnTo>
                    <a:pt x="538" y="155"/>
                  </a:lnTo>
                  <a:lnTo>
                    <a:pt x="534" y="155"/>
                  </a:lnTo>
                  <a:lnTo>
                    <a:pt x="527" y="157"/>
                  </a:lnTo>
                  <a:lnTo>
                    <a:pt x="527" y="157"/>
                  </a:lnTo>
                  <a:lnTo>
                    <a:pt x="527" y="155"/>
                  </a:lnTo>
                  <a:lnTo>
                    <a:pt x="532" y="155"/>
                  </a:lnTo>
                  <a:lnTo>
                    <a:pt x="534" y="153"/>
                  </a:lnTo>
                  <a:lnTo>
                    <a:pt x="534" y="153"/>
                  </a:lnTo>
                  <a:lnTo>
                    <a:pt x="538" y="153"/>
                  </a:lnTo>
                  <a:lnTo>
                    <a:pt x="540" y="153"/>
                  </a:lnTo>
                  <a:lnTo>
                    <a:pt x="540" y="151"/>
                  </a:lnTo>
                  <a:lnTo>
                    <a:pt x="540" y="150"/>
                  </a:lnTo>
                  <a:lnTo>
                    <a:pt x="536" y="148"/>
                  </a:lnTo>
                  <a:lnTo>
                    <a:pt x="534" y="146"/>
                  </a:lnTo>
                  <a:lnTo>
                    <a:pt x="536" y="146"/>
                  </a:lnTo>
                  <a:lnTo>
                    <a:pt x="541" y="146"/>
                  </a:lnTo>
                  <a:lnTo>
                    <a:pt x="543" y="144"/>
                  </a:lnTo>
                  <a:lnTo>
                    <a:pt x="543" y="144"/>
                  </a:lnTo>
                  <a:lnTo>
                    <a:pt x="543" y="142"/>
                  </a:lnTo>
                  <a:lnTo>
                    <a:pt x="543" y="142"/>
                  </a:lnTo>
                  <a:lnTo>
                    <a:pt x="543" y="141"/>
                  </a:lnTo>
                  <a:lnTo>
                    <a:pt x="545" y="139"/>
                  </a:lnTo>
                  <a:lnTo>
                    <a:pt x="545" y="139"/>
                  </a:lnTo>
                  <a:lnTo>
                    <a:pt x="545" y="139"/>
                  </a:lnTo>
                  <a:lnTo>
                    <a:pt x="545" y="135"/>
                  </a:lnTo>
                  <a:lnTo>
                    <a:pt x="543" y="135"/>
                  </a:lnTo>
                  <a:lnTo>
                    <a:pt x="545" y="133"/>
                  </a:lnTo>
                  <a:lnTo>
                    <a:pt x="545" y="133"/>
                  </a:lnTo>
                  <a:lnTo>
                    <a:pt x="547" y="132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3" y="126"/>
                  </a:lnTo>
                  <a:lnTo>
                    <a:pt x="543" y="126"/>
                  </a:lnTo>
                  <a:lnTo>
                    <a:pt x="543" y="126"/>
                  </a:lnTo>
                  <a:lnTo>
                    <a:pt x="543" y="126"/>
                  </a:lnTo>
                  <a:lnTo>
                    <a:pt x="543" y="126"/>
                  </a:lnTo>
                  <a:lnTo>
                    <a:pt x="543" y="124"/>
                  </a:lnTo>
                  <a:lnTo>
                    <a:pt x="543" y="124"/>
                  </a:lnTo>
                  <a:lnTo>
                    <a:pt x="543" y="124"/>
                  </a:lnTo>
                  <a:lnTo>
                    <a:pt x="541" y="123"/>
                  </a:lnTo>
                  <a:lnTo>
                    <a:pt x="540" y="124"/>
                  </a:lnTo>
                  <a:lnTo>
                    <a:pt x="538" y="128"/>
                  </a:lnTo>
                  <a:lnTo>
                    <a:pt x="536" y="126"/>
                  </a:lnTo>
                  <a:lnTo>
                    <a:pt x="536" y="126"/>
                  </a:lnTo>
                  <a:lnTo>
                    <a:pt x="536" y="124"/>
                  </a:lnTo>
                  <a:lnTo>
                    <a:pt x="536" y="124"/>
                  </a:lnTo>
                  <a:lnTo>
                    <a:pt x="536" y="123"/>
                  </a:lnTo>
                  <a:lnTo>
                    <a:pt x="536" y="123"/>
                  </a:lnTo>
                  <a:lnTo>
                    <a:pt x="536" y="121"/>
                  </a:lnTo>
                  <a:lnTo>
                    <a:pt x="534" y="121"/>
                  </a:lnTo>
                  <a:lnTo>
                    <a:pt x="532" y="121"/>
                  </a:lnTo>
                  <a:lnTo>
                    <a:pt x="532" y="121"/>
                  </a:lnTo>
                  <a:lnTo>
                    <a:pt x="534" y="121"/>
                  </a:lnTo>
                  <a:lnTo>
                    <a:pt x="534" y="119"/>
                  </a:lnTo>
                  <a:lnTo>
                    <a:pt x="534" y="117"/>
                  </a:lnTo>
                  <a:lnTo>
                    <a:pt x="534" y="117"/>
                  </a:lnTo>
                  <a:lnTo>
                    <a:pt x="532" y="115"/>
                  </a:lnTo>
                  <a:lnTo>
                    <a:pt x="532" y="115"/>
                  </a:lnTo>
                  <a:lnTo>
                    <a:pt x="527" y="117"/>
                  </a:lnTo>
                  <a:lnTo>
                    <a:pt x="525" y="117"/>
                  </a:lnTo>
                  <a:lnTo>
                    <a:pt x="514" y="110"/>
                  </a:lnTo>
                  <a:lnTo>
                    <a:pt x="514" y="112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2" y="112"/>
                  </a:lnTo>
                  <a:lnTo>
                    <a:pt x="512" y="112"/>
                  </a:lnTo>
                  <a:lnTo>
                    <a:pt x="511" y="112"/>
                  </a:lnTo>
                  <a:lnTo>
                    <a:pt x="505" y="121"/>
                  </a:lnTo>
                  <a:lnTo>
                    <a:pt x="503" y="123"/>
                  </a:lnTo>
                  <a:lnTo>
                    <a:pt x="503" y="124"/>
                  </a:lnTo>
                  <a:lnTo>
                    <a:pt x="502" y="126"/>
                  </a:lnTo>
                  <a:lnTo>
                    <a:pt x="500" y="126"/>
                  </a:lnTo>
                  <a:lnTo>
                    <a:pt x="500" y="126"/>
                  </a:lnTo>
                  <a:lnTo>
                    <a:pt x="500" y="130"/>
                  </a:lnTo>
                  <a:lnTo>
                    <a:pt x="498" y="130"/>
                  </a:lnTo>
                  <a:lnTo>
                    <a:pt x="498" y="128"/>
                  </a:lnTo>
                  <a:lnTo>
                    <a:pt x="500" y="126"/>
                  </a:lnTo>
                  <a:lnTo>
                    <a:pt x="500" y="124"/>
                  </a:lnTo>
                  <a:lnTo>
                    <a:pt x="503" y="121"/>
                  </a:lnTo>
                  <a:lnTo>
                    <a:pt x="505" y="117"/>
                  </a:lnTo>
                  <a:lnTo>
                    <a:pt x="507" y="115"/>
                  </a:lnTo>
                  <a:lnTo>
                    <a:pt x="509" y="112"/>
                  </a:lnTo>
                  <a:lnTo>
                    <a:pt x="511" y="110"/>
                  </a:lnTo>
                  <a:lnTo>
                    <a:pt x="512" y="110"/>
                  </a:lnTo>
                  <a:lnTo>
                    <a:pt x="512" y="108"/>
                  </a:lnTo>
                  <a:lnTo>
                    <a:pt x="509" y="106"/>
                  </a:lnTo>
                  <a:lnTo>
                    <a:pt x="507" y="105"/>
                  </a:lnTo>
                  <a:lnTo>
                    <a:pt x="507" y="105"/>
                  </a:lnTo>
                  <a:lnTo>
                    <a:pt x="507" y="105"/>
                  </a:lnTo>
                  <a:lnTo>
                    <a:pt x="507" y="103"/>
                  </a:lnTo>
                  <a:lnTo>
                    <a:pt x="507" y="103"/>
                  </a:lnTo>
                  <a:lnTo>
                    <a:pt x="507" y="101"/>
                  </a:lnTo>
                  <a:lnTo>
                    <a:pt x="511" y="95"/>
                  </a:lnTo>
                  <a:lnTo>
                    <a:pt x="509" y="94"/>
                  </a:lnTo>
                  <a:lnTo>
                    <a:pt x="507" y="95"/>
                  </a:lnTo>
                  <a:lnTo>
                    <a:pt x="503" y="97"/>
                  </a:lnTo>
                  <a:lnTo>
                    <a:pt x="493" y="99"/>
                  </a:lnTo>
                  <a:lnTo>
                    <a:pt x="487" y="103"/>
                  </a:lnTo>
                  <a:lnTo>
                    <a:pt x="485" y="103"/>
                  </a:lnTo>
                  <a:lnTo>
                    <a:pt x="484" y="101"/>
                  </a:lnTo>
                  <a:lnTo>
                    <a:pt x="485" y="99"/>
                  </a:lnTo>
                  <a:lnTo>
                    <a:pt x="487" y="97"/>
                  </a:lnTo>
                  <a:lnTo>
                    <a:pt x="487" y="94"/>
                  </a:lnTo>
                  <a:lnTo>
                    <a:pt x="485" y="97"/>
                  </a:lnTo>
                  <a:lnTo>
                    <a:pt x="484" y="99"/>
                  </a:lnTo>
                  <a:lnTo>
                    <a:pt x="482" y="99"/>
                  </a:lnTo>
                  <a:lnTo>
                    <a:pt x="485" y="95"/>
                  </a:lnTo>
                  <a:lnTo>
                    <a:pt x="485" y="94"/>
                  </a:lnTo>
                  <a:lnTo>
                    <a:pt x="485" y="92"/>
                  </a:lnTo>
                  <a:lnTo>
                    <a:pt x="487" y="90"/>
                  </a:lnTo>
                  <a:lnTo>
                    <a:pt x="491" y="88"/>
                  </a:lnTo>
                  <a:lnTo>
                    <a:pt x="493" y="83"/>
                  </a:lnTo>
                  <a:lnTo>
                    <a:pt x="494" y="83"/>
                  </a:lnTo>
                  <a:lnTo>
                    <a:pt x="494" y="83"/>
                  </a:lnTo>
                  <a:lnTo>
                    <a:pt x="496" y="79"/>
                  </a:lnTo>
                  <a:lnTo>
                    <a:pt x="496" y="79"/>
                  </a:lnTo>
                  <a:lnTo>
                    <a:pt x="496" y="77"/>
                  </a:lnTo>
                  <a:lnTo>
                    <a:pt x="496" y="77"/>
                  </a:lnTo>
                  <a:lnTo>
                    <a:pt x="496" y="76"/>
                  </a:lnTo>
                  <a:lnTo>
                    <a:pt x="496" y="76"/>
                  </a:lnTo>
                  <a:lnTo>
                    <a:pt x="496" y="76"/>
                  </a:lnTo>
                  <a:lnTo>
                    <a:pt x="496" y="74"/>
                  </a:lnTo>
                  <a:lnTo>
                    <a:pt x="496" y="70"/>
                  </a:lnTo>
                  <a:lnTo>
                    <a:pt x="496" y="70"/>
                  </a:lnTo>
                  <a:lnTo>
                    <a:pt x="496" y="68"/>
                  </a:lnTo>
                  <a:lnTo>
                    <a:pt x="494" y="68"/>
                  </a:lnTo>
                  <a:lnTo>
                    <a:pt x="494" y="68"/>
                  </a:lnTo>
                  <a:lnTo>
                    <a:pt x="494" y="67"/>
                  </a:lnTo>
                  <a:lnTo>
                    <a:pt x="493" y="65"/>
                  </a:lnTo>
                  <a:lnTo>
                    <a:pt x="493" y="63"/>
                  </a:lnTo>
                  <a:lnTo>
                    <a:pt x="493" y="61"/>
                  </a:lnTo>
                  <a:lnTo>
                    <a:pt x="491" y="61"/>
                  </a:lnTo>
                  <a:lnTo>
                    <a:pt x="487" y="61"/>
                  </a:lnTo>
                  <a:lnTo>
                    <a:pt x="484" y="65"/>
                  </a:lnTo>
                  <a:lnTo>
                    <a:pt x="482" y="65"/>
                  </a:lnTo>
                  <a:lnTo>
                    <a:pt x="478" y="63"/>
                  </a:lnTo>
                  <a:lnTo>
                    <a:pt x="473" y="63"/>
                  </a:lnTo>
                  <a:lnTo>
                    <a:pt x="471" y="63"/>
                  </a:lnTo>
                  <a:lnTo>
                    <a:pt x="473" y="61"/>
                  </a:lnTo>
                  <a:lnTo>
                    <a:pt x="473" y="61"/>
                  </a:lnTo>
                  <a:lnTo>
                    <a:pt x="474" y="61"/>
                  </a:lnTo>
                  <a:lnTo>
                    <a:pt x="473" y="58"/>
                  </a:lnTo>
                  <a:lnTo>
                    <a:pt x="473" y="58"/>
                  </a:lnTo>
                  <a:lnTo>
                    <a:pt x="469" y="58"/>
                  </a:lnTo>
                  <a:lnTo>
                    <a:pt x="469" y="58"/>
                  </a:lnTo>
                  <a:lnTo>
                    <a:pt x="467" y="56"/>
                  </a:lnTo>
                  <a:lnTo>
                    <a:pt x="469" y="52"/>
                  </a:lnTo>
                  <a:lnTo>
                    <a:pt x="469" y="52"/>
                  </a:lnTo>
                  <a:lnTo>
                    <a:pt x="473" y="52"/>
                  </a:lnTo>
                  <a:lnTo>
                    <a:pt x="474" y="50"/>
                  </a:lnTo>
                  <a:lnTo>
                    <a:pt x="478" y="47"/>
                  </a:lnTo>
                  <a:lnTo>
                    <a:pt x="478" y="45"/>
                  </a:lnTo>
                  <a:lnTo>
                    <a:pt x="480" y="43"/>
                  </a:lnTo>
                  <a:lnTo>
                    <a:pt x="480" y="41"/>
                  </a:lnTo>
                  <a:lnTo>
                    <a:pt x="480" y="41"/>
                  </a:lnTo>
                  <a:lnTo>
                    <a:pt x="480" y="41"/>
                  </a:lnTo>
                  <a:lnTo>
                    <a:pt x="478" y="38"/>
                  </a:lnTo>
                  <a:lnTo>
                    <a:pt x="478" y="38"/>
                  </a:lnTo>
                  <a:lnTo>
                    <a:pt x="478" y="38"/>
                  </a:lnTo>
                  <a:lnTo>
                    <a:pt x="476" y="36"/>
                  </a:lnTo>
                  <a:lnTo>
                    <a:pt x="476" y="36"/>
                  </a:lnTo>
                  <a:lnTo>
                    <a:pt x="476" y="34"/>
                  </a:lnTo>
                  <a:lnTo>
                    <a:pt x="478" y="32"/>
                  </a:lnTo>
                  <a:lnTo>
                    <a:pt x="484" y="32"/>
                  </a:lnTo>
                  <a:lnTo>
                    <a:pt x="487" y="29"/>
                  </a:lnTo>
                  <a:lnTo>
                    <a:pt x="496" y="25"/>
                  </a:lnTo>
                  <a:lnTo>
                    <a:pt x="498" y="21"/>
                  </a:lnTo>
                  <a:lnTo>
                    <a:pt x="489" y="23"/>
                  </a:lnTo>
                  <a:lnTo>
                    <a:pt x="487" y="23"/>
                  </a:lnTo>
                  <a:lnTo>
                    <a:pt x="485" y="21"/>
                  </a:lnTo>
                  <a:lnTo>
                    <a:pt x="485" y="21"/>
                  </a:lnTo>
                  <a:lnTo>
                    <a:pt x="480" y="21"/>
                  </a:lnTo>
                  <a:lnTo>
                    <a:pt x="478" y="23"/>
                  </a:lnTo>
                  <a:lnTo>
                    <a:pt x="476" y="25"/>
                  </a:lnTo>
                  <a:lnTo>
                    <a:pt x="476" y="27"/>
                  </a:lnTo>
                  <a:lnTo>
                    <a:pt x="476" y="29"/>
                  </a:lnTo>
                  <a:lnTo>
                    <a:pt x="474" y="30"/>
                  </a:lnTo>
                  <a:lnTo>
                    <a:pt x="471" y="32"/>
                  </a:lnTo>
                  <a:lnTo>
                    <a:pt x="471" y="32"/>
                  </a:lnTo>
                  <a:lnTo>
                    <a:pt x="471" y="34"/>
                  </a:lnTo>
                  <a:lnTo>
                    <a:pt x="471" y="36"/>
                  </a:lnTo>
                  <a:lnTo>
                    <a:pt x="467" y="36"/>
                  </a:lnTo>
                  <a:lnTo>
                    <a:pt x="462" y="36"/>
                  </a:lnTo>
                  <a:lnTo>
                    <a:pt x="460" y="38"/>
                  </a:lnTo>
                  <a:lnTo>
                    <a:pt x="460" y="38"/>
                  </a:lnTo>
                  <a:lnTo>
                    <a:pt x="460" y="39"/>
                  </a:lnTo>
                  <a:lnTo>
                    <a:pt x="460" y="43"/>
                  </a:lnTo>
                  <a:lnTo>
                    <a:pt x="460" y="45"/>
                  </a:lnTo>
                  <a:lnTo>
                    <a:pt x="460" y="47"/>
                  </a:lnTo>
                  <a:lnTo>
                    <a:pt x="458" y="49"/>
                  </a:lnTo>
                  <a:lnTo>
                    <a:pt x="458" y="49"/>
                  </a:lnTo>
                  <a:lnTo>
                    <a:pt x="458" y="49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6" y="50"/>
                  </a:lnTo>
                  <a:lnTo>
                    <a:pt x="455" y="49"/>
                  </a:lnTo>
                  <a:lnTo>
                    <a:pt x="455" y="47"/>
                  </a:lnTo>
                  <a:lnTo>
                    <a:pt x="453" y="45"/>
                  </a:lnTo>
                  <a:lnTo>
                    <a:pt x="451" y="45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49" y="41"/>
                  </a:lnTo>
                  <a:lnTo>
                    <a:pt x="449" y="41"/>
                  </a:lnTo>
                  <a:lnTo>
                    <a:pt x="449" y="41"/>
                  </a:lnTo>
                  <a:lnTo>
                    <a:pt x="449" y="41"/>
                  </a:lnTo>
                  <a:lnTo>
                    <a:pt x="449" y="41"/>
                  </a:lnTo>
                  <a:lnTo>
                    <a:pt x="447" y="41"/>
                  </a:lnTo>
                  <a:lnTo>
                    <a:pt x="447" y="41"/>
                  </a:lnTo>
                  <a:lnTo>
                    <a:pt x="446" y="41"/>
                  </a:lnTo>
                  <a:lnTo>
                    <a:pt x="442" y="41"/>
                  </a:lnTo>
                  <a:lnTo>
                    <a:pt x="442" y="41"/>
                  </a:lnTo>
                  <a:lnTo>
                    <a:pt x="442" y="39"/>
                  </a:lnTo>
                  <a:lnTo>
                    <a:pt x="442" y="38"/>
                  </a:lnTo>
                  <a:lnTo>
                    <a:pt x="442" y="36"/>
                  </a:lnTo>
                  <a:lnTo>
                    <a:pt x="440" y="36"/>
                  </a:lnTo>
                  <a:lnTo>
                    <a:pt x="440" y="36"/>
                  </a:lnTo>
                  <a:lnTo>
                    <a:pt x="438" y="34"/>
                  </a:lnTo>
                  <a:lnTo>
                    <a:pt x="438" y="36"/>
                  </a:lnTo>
                  <a:lnTo>
                    <a:pt x="438" y="34"/>
                  </a:lnTo>
                  <a:lnTo>
                    <a:pt x="438" y="32"/>
                  </a:lnTo>
                  <a:lnTo>
                    <a:pt x="440" y="30"/>
                  </a:lnTo>
                  <a:lnTo>
                    <a:pt x="442" y="27"/>
                  </a:lnTo>
                  <a:lnTo>
                    <a:pt x="442" y="23"/>
                  </a:lnTo>
                  <a:lnTo>
                    <a:pt x="442" y="23"/>
                  </a:lnTo>
                  <a:lnTo>
                    <a:pt x="442" y="21"/>
                  </a:lnTo>
                  <a:lnTo>
                    <a:pt x="442" y="20"/>
                  </a:lnTo>
                  <a:lnTo>
                    <a:pt x="440" y="20"/>
                  </a:lnTo>
                  <a:lnTo>
                    <a:pt x="440" y="20"/>
                  </a:lnTo>
                  <a:lnTo>
                    <a:pt x="435" y="20"/>
                  </a:lnTo>
                  <a:lnTo>
                    <a:pt x="435" y="18"/>
                  </a:lnTo>
                  <a:lnTo>
                    <a:pt x="435" y="18"/>
                  </a:lnTo>
                  <a:lnTo>
                    <a:pt x="435" y="16"/>
                  </a:lnTo>
                  <a:lnTo>
                    <a:pt x="435" y="18"/>
                  </a:lnTo>
                  <a:lnTo>
                    <a:pt x="431" y="16"/>
                  </a:lnTo>
                  <a:lnTo>
                    <a:pt x="429" y="18"/>
                  </a:lnTo>
                  <a:lnTo>
                    <a:pt x="429" y="16"/>
                  </a:lnTo>
                  <a:lnTo>
                    <a:pt x="429" y="16"/>
                  </a:lnTo>
                  <a:lnTo>
                    <a:pt x="429" y="16"/>
                  </a:lnTo>
                  <a:lnTo>
                    <a:pt x="429" y="14"/>
                  </a:lnTo>
                  <a:lnTo>
                    <a:pt x="429" y="14"/>
                  </a:lnTo>
                  <a:lnTo>
                    <a:pt x="429" y="12"/>
                  </a:lnTo>
                  <a:lnTo>
                    <a:pt x="429" y="12"/>
                  </a:lnTo>
                  <a:lnTo>
                    <a:pt x="429" y="12"/>
                  </a:lnTo>
                  <a:lnTo>
                    <a:pt x="429" y="12"/>
                  </a:lnTo>
                  <a:lnTo>
                    <a:pt x="429" y="11"/>
                  </a:lnTo>
                  <a:lnTo>
                    <a:pt x="431" y="9"/>
                  </a:lnTo>
                  <a:lnTo>
                    <a:pt x="431" y="9"/>
                  </a:lnTo>
                  <a:lnTo>
                    <a:pt x="431" y="9"/>
                  </a:lnTo>
                  <a:lnTo>
                    <a:pt x="429" y="7"/>
                  </a:lnTo>
                  <a:lnTo>
                    <a:pt x="426" y="3"/>
                  </a:lnTo>
                  <a:lnTo>
                    <a:pt x="422" y="3"/>
                  </a:lnTo>
                  <a:lnTo>
                    <a:pt x="422" y="3"/>
                  </a:lnTo>
                  <a:lnTo>
                    <a:pt x="420" y="3"/>
                  </a:lnTo>
                  <a:lnTo>
                    <a:pt x="419" y="3"/>
                  </a:lnTo>
                  <a:lnTo>
                    <a:pt x="417" y="3"/>
                  </a:lnTo>
                  <a:lnTo>
                    <a:pt x="417" y="3"/>
                  </a:lnTo>
                  <a:lnTo>
                    <a:pt x="417" y="7"/>
                  </a:lnTo>
                  <a:lnTo>
                    <a:pt x="415" y="7"/>
                  </a:lnTo>
                  <a:lnTo>
                    <a:pt x="415" y="7"/>
                  </a:lnTo>
                  <a:lnTo>
                    <a:pt x="415" y="5"/>
                  </a:lnTo>
                  <a:lnTo>
                    <a:pt x="415" y="5"/>
                  </a:lnTo>
                  <a:lnTo>
                    <a:pt x="415" y="5"/>
                  </a:lnTo>
                  <a:lnTo>
                    <a:pt x="413" y="7"/>
                  </a:lnTo>
                  <a:lnTo>
                    <a:pt x="413" y="9"/>
                  </a:lnTo>
                  <a:lnTo>
                    <a:pt x="413" y="9"/>
                  </a:lnTo>
                  <a:lnTo>
                    <a:pt x="413" y="9"/>
                  </a:lnTo>
                  <a:lnTo>
                    <a:pt x="411" y="9"/>
                  </a:lnTo>
                  <a:lnTo>
                    <a:pt x="411" y="9"/>
                  </a:lnTo>
                  <a:lnTo>
                    <a:pt x="409" y="9"/>
                  </a:lnTo>
                  <a:lnTo>
                    <a:pt x="409" y="9"/>
                  </a:lnTo>
                  <a:lnTo>
                    <a:pt x="411" y="9"/>
                  </a:lnTo>
                  <a:lnTo>
                    <a:pt x="409" y="7"/>
                  </a:lnTo>
                  <a:lnTo>
                    <a:pt x="409" y="7"/>
                  </a:lnTo>
                  <a:lnTo>
                    <a:pt x="409" y="5"/>
                  </a:lnTo>
                  <a:lnTo>
                    <a:pt x="408" y="5"/>
                  </a:lnTo>
                  <a:lnTo>
                    <a:pt x="408" y="5"/>
                  </a:lnTo>
                  <a:lnTo>
                    <a:pt x="406" y="7"/>
                  </a:lnTo>
                  <a:lnTo>
                    <a:pt x="406" y="7"/>
                  </a:lnTo>
                  <a:lnTo>
                    <a:pt x="406" y="7"/>
                  </a:lnTo>
                  <a:lnTo>
                    <a:pt x="406" y="9"/>
                  </a:lnTo>
                  <a:lnTo>
                    <a:pt x="406" y="9"/>
                  </a:lnTo>
                  <a:lnTo>
                    <a:pt x="406" y="9"/>
                  </a:lnTo>
                  <a:lnTo>
                    <a:pt x="406" y="9"/>
                  </a:lnTo>
                  <a:lnTo>
                    <a:pt x="404" y="9"/>
                  </a:lnTo>
                  <a:lnTo>
                    <a:pt x="404" y="7"/>
                  </a:lnTo>
                  <a:lnTo>
                    <a:pt x="404" y="5"/>
                  </a:lnTo>
                  <a:lnTo>
                    <a:pt x="404" y="5"/>
                  </a:lnTo>
                  <a:lnTo>
                    <a:pt x="404" y="5"/>
                  </a:lnTo>
                  <a:lnTo>
                    <a:pt x="402" y="5"/>
                  </a:lnTo>
                  <a:lnTo>
                    <a:pt x="402" y="5"/>
                  </a:lnTo>
                  <a:lnTo>
                    <a:pt x="402" y="7"/>
                  </a:lnTo>
                  <a:lnTo>
                    <a:pt x="402" y="9"/>
                  </a:lnTo>
                  <a:lnTo>
                    <a:pt x="400" y="9"/>
                  </a:lnTo>
                  <a:lnTo>
                    <a:pt x="400" y="9"/>
                  </a:lnTo>
                  <a:lnTo>
                    <a:pt x="400" y="9"/>
                  </a:lnTo>
                  <a:lnTo>
                    <a:pt x="400" y="7"/>
                  </a:lnTo>
                  <a:lnTo>
                    <a:pt x="400" y="7"/>
                  </a:lnTo>
                  <a:lnTo>
                    <a:pt x="399" y="7"/>
                  </a:lnTo>
                  <a:lnTo>
                    <a:pt x="399" y="9"/>
                  </a:lnTo>
                  <a:lnTo>
                    <a:pt x="399" y="9"/>
                  </a:lnTo>
                  <a:lnTo>
                    <a:pt x="399" y="11"/>
                  </a:lnTo>
                  <a:lnTo>
                    <a:pt x="400" y="16"/>
                  </a:lnTo>
                  <a:lnTo>
                    <a:pt x="400" y="16"/>
                  </a:lnTo>
                  <a:lnTo>
                    <a:pt x="400" y="18"/>
                  </a:lnTo>
                  <a:lnTo>
                    <a:pt x="400" y="18"/>
                  </a:lnTo>
                  <a:lnTo>
                    <a:pt x="400" y="20"/>
                  </a:lnTo>
                  <a:lnTo>
                    <a:pt x="400" y="20"/>
                  </a:lnTo>
                  <a:lnTo>
                    <a:pt x="400" y="20"/>
                  </a:lnTo>
                  <a:lnTo>
                    <a:pt x="400" y="20"/>
                  </a:lnTo>
                  <a:lnTo>
                    <a:pt x="400" y="21"/>
                  </a:lnTo>
                  <a:lnTo>
                    <a:pt x="400" y="21"/>
                  </a:lnTo>
                  <a:lnTo>
                    <a:pt x="400" y="21"/>
                  </a:lnTo>
                  <a:lnTo>
                    <a:pt x="400" y="21"/>
                  </a:lnTo>
                  <a:lnTo>
                    <a:pt x="400" y="23"/>
                  </a:lnTo>
                  <a:lnTo>
                    <a:pt x="400" y="25"/>
                  </a:lnTo>
                  <a:lnTo>
                    <a:pt x="402" y="27"/>
                  </a:lnTo>
                  <a:lnTo>
                    <a:pt x="402" y="27"/>
                  </a:lnTo>
                  <a:lnTo>
                    <a:pt x="402" y="29"/>
                  </a:lnTo>
                  <a:lnTo>
                    <a:pt x="402" y="29"/>
                  </a:lnTo>
                  <a:lnTo>
                    <a:pt x="402" y="29"/>
                  </a:lnTo>
                  <a:lnTo>
                    <a:pt x="404" y="29"/>
                  </a:lnTo>
                  <a:lnTo>
                    <a:pt x="404" y="30"/>
                  </a:lnTo>
                  <a:lnTo>
                    <a:pt x="404" y="30"/>
                  </a:lnTo>
                  <a:lnTo>
                    <a:pt x="404" y="32"/>
                  </a:lnTo>
                  <a:lnTo>
                    <a:pt x="406" y="32"/>
                  </a:lnTo>
                  <a:lnTo>
                    <a:pt x="406" y="34"/>
                  </a:lnTo>
                  <a:lnTo>
                    <a:pt x="406" y="36"/>
                  </a:lnTo>
                  <a:lnTo>
                    <a:pt x="406" y="38"/>
                  </a:lnTo>
                  <a:lnTo>
                    <a:pt x="406" y="38"/>
                  </a:lnTo>
                  <a:lnTo>
                    <a:pt x="404" y="39"/>
                  </a:lnTo>
                  <a:lnTo>
                    <a:pt x="404" y="39"/>
                  </a:lnTo>
                  <a:lnTo>
                    <a:pt x="404" y="39"/>
                  </a:lnTo>
                  <a:lnTo>
                    <a:pt x="404" y="41"/>
                  </a:lnTo>
                  <a:lnTo>
                    <a:pt x="404" y="41"/>
                  </a:lnTo>
                  <a:lnTo>
                    <a:pt x="402" y="43"/>
                  </a:lnTo>
                  <a:lnTo>
                    <a:pt x="402" y="45"/>
                  </a:lnTo>
                  <a:lnTo>
                    <a:pt x="402" y="47"/>
                  </a:lnTo>
                  <a:lnTo>
                    <a:pt x="402" y="47"/>
                  </a:lnTo>
                  <a:lnTo>
                    <a:pt x="404" y="49"/>
                  </a:lnTo>
                  <a:lnTo>
                    <a:pt x="406" y="50"/>
                  </a:lnTo>
                  <a:lnTo>
                    <a:pt x="406" y="52"/>
                  </a:lnTo>
                  <a:lnTo>
                    <a:pt x="404" y="52"/>
                  </a:lnTo>
                  <a:lnTo>
                    <a:pt x="402" y="49"/>
                  </a:lnTo>
                  <a:lnTo>
                    <a:pt x="400" y="47"/>
                  </a:lnTo>
                  <a:lnTo>
                    <a:pt x="400" y="47"/>
                  </a:lnTo>
                  <a:lnTo>
                    <a:pt x="395" y="49"/>
                  </a:lnTo>
                  <a:lnTo>
                    <a:pt x="397" y="47"/>
                  </a:lnTo>
                  <a:lnTo>
                    <a:pt x="400" y="45"/>
                  </a:lnTo>
                  <a:lnTo>
                    <a:pt x="400" y="45"/>
                  </a:lnTo>
                  <a:lnTo>
                    <a:pt x="399" y="47"/>
                  </a:lnTo>
                  <a:lnTo>
                    <a:pt x="395" y="47"/>
                  </a:lnTo>
                  <a:lnTo>
                    <a:pt x="391" y="49"/>
                  </a:lnTo>
                  <a:lnTo>
                    <a:pt x="393" y="50"/>
                  </a:lnTo>
                  <a:lnTo>
                    <a:pt x="393" y="50"/>
                  </a:lnTo>
                  <a:lnTo>
                    <a:pt x="393" y="52"/>
                  </a:lnTo>
                  <a:lnTo>
                    <a:pt x="393" y="54"/>
                  </a:lnTo>
                  <a:lnTo>
                    <a:pt x="395" y="54"/>
                  </a:lnTo>
                  <a:lnTo>
                    <a:pt x="395" y="56"/>
                  </a:lnTo>
                  <a:lnTo>
                    <a:pt x="397" y="56"/>
                  </a:lnTo>
                  <a:lnTo>
                    <a:pt x="397" y="58"/>
                  </a:lnTo>
                  <a:lnTo>
                    <a:pt x="395" y="58"/>
                  </a:lnTo>
                  <a:lnTo>
                    <a:pt x="393" y="56"/>
                  </a:lnTo>
                  <a:lnTo>
                    <a:pt x="393" y="52"/>
                  </a:lnTo>
                  <a:lnTo>
                    <a:pt x="391" y="52"/>
                  </a:lnTo>
                  <a:lnTo>
                    <a:pt x="391" y="52"/>
                  </a:lnTo>
                  <a:lnTo>
                    <a:pt x="390" y="52"/>
                  </a:lnTo>
                  <a:lnTo>
                    <a:pt x="390" y="56"/>
                  </a:lnTo>
                  <a:lnTo>
                    <a:pt x="390" y="56"/>
                  </a:lnTo>
                  <a:lnTo>
                    <a:pt x="388" y="54"/>
                  </a:lnTo>
                  <a:lnTo>
                    <a:pt x="388" y="54"/>
                  </a:lnTo>
                  <a:lnTo>
                    <a:pt x="388" y="52"/>
                  </a:lnTo>
                  <a:lnTo>
                    <a:pt x="390" y="52"/>
                  </a:lnTo>
                  <a:lnTo>
                    <a:pt x="390" y="52"/>
                  </a:lnTo>
                  <a:lnTo>
                    <a:pt x="390" y="52"/>
                  </a:lnTo>
                  <a:lnTo>
                    <a:pt x="388" y="50"/>
                  </a:lnTo>
                  <a:lnTo>
                    <a:pt x="382" y="52"/>
                  </a:lnTo>
                  <a:lnTo>
                    <a:pt x="381" y="54"/>
                  </a:lnTo>
                  <a:lnTo>
                    <a:pt x="381" y="54"/>
                  </a:lnTo>
                  <a:lnTo>
                    <a:pt x="381" y="56"/>
                  </a:lnTo>
                  <a:lnTo>
                    <a:pt x="381" y="56"/>
                  </a:lnTo>
                  <a:lnTo>
                    <a:pt x="381" y="56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9" y="54"/>
                  </a:lnTo>
                  <a:lnTo>
                    <a:pt x="381" y="54"/>
                  </a:lnTo>
                  <a:lnTo>
                    <a:pt x="381" y="54"/>
                  </a:lnTo>
                  <a:lnTo>
                    <a:pt x="379" y="54"/>
                  </a:lnTo>
                  <a:lnTo>
                    <a:pt x="379" y="52"/>
                  </a:lnTo>
                  <a:lnTo>
                    <a:pt x="381" y="52"/>
                  </a:lnTo>
                  <a:lnTo>
                    <a:pt x="377" y="47"/>
                  </a:lnTo>
                  <a:lnTo>
                    <a:pt x="377" y="45"/>
                  </a:lnTo>
                  <a:lnTo>
                    <a:pt x="377" y="45"/>
                  </a:lnTo>
                  <a:lnTo>
                    <a:pt x="375" y="43"/>
                  </a:lnTo>
                  <a:lnTo>
                    <a:pt x="370" y="43"/>
                  </a:lnTo>
                  <a:lnTo>
                    <a:pt x="370" y="41"/>
                  </a:lnTo>
                  <a:lnTo>
                    <a:pt x="368" y="45"/>
                  </a:lnTo>
                  <a:lnTo>
                    <a:pt x="366" y="45"/>
                  </a:lnTo>
                  <a:lnTo>
                    <a:pt x="364" y="47"/>
                  </a:lnTo>
                  <a:lnTo>
                    <a:pt x="363" y="49"/>
                  </a:lnTo>
                  <a:lnTo>
                    <a:pt x="363" y="50"/>
                  </a:lnTo>
                  <a:lnTo>
                    <a:pt x="363" y="50"/>
                  </a:lnTo>
                  <a:lnTo>
                    <a:pt x="364" y="50"/>
                  </a:lnTo>
                  <a:lnTo>
                    <a:pt x="364" y="52"/>
                  </a:lnTo>
                  <a:lnTo>
                    <a:pt x="363" y="54"/>
                  </a:lnTo>
                  <a:lnTo>
                    <a:pt x="363" y="54"/>
                  </a:lnTo>
                  <a:lnTo>
                    <a:pt x="361" y="54"/>
                  </a:lnTo>
                  <a:lnTo>
                    <a:pt x="361" y="56"/>
                  </a:lnTo>
                  <a:lnTo>
                    <a:pt x="359" y="58"/>
                  </a:lnTo>
                  <a:lnTo>
                    <a:pt x="359" y="59"/>
                  </a:lnTo>
                  <a:lnTo>
                    <a:pt x="359" y="61"/>
                  </a:lnTo>
                  <a:lnTo>
                    <a:pt x="359" y="63"/>
                  </a:lnTo>
                  <a:lnTo>
                    <a:pt x="359" y="63"/>
                  </a:lnTo>
                  <a:lnTo>
                    <a:pt x="357" y="65"/>
                  </a:lnTo>
                  <a:lnTo>
                    <a:pt x="357" y="65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7" y="68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4"/>
                  </a:lnTo>
                  <a:lnTo>
                    <a:pt x="355" y="74"/>
                  </a:lnTo>
                  <a:lnTo>
                    <a:pt x="355" y="74"/>
                  </a:lnTo>
                  <a:lnTo>
                    <a:pt x="355" y="72"/>
                  </a:lnTo>
                  <a:lnTo>
                    <a:pt x="354" y="70"/>
                  </a:lnTo>
                  <a:lnTo>
                    <a:pt x="354" y="70"/>
                  </a:lnTo>
                  <a:lnTo>
                    <a:pt x="346" y="70"/>
                  </a:lnTo>
                  <a:lnTo>
                    <a:pt x="346" y="72"/>
                  </a:lnTo>
                  <a:lnTo>
                    <a:pt x="352" y="70"/>
                  </a:lnTo>
                  <a:lnTo>
                    <a:pt x="350" y="72"/>
                  </a:lnTo>
                  <a:lnTo>
                    <a:pt x="350" y="72"/>
                  </a:lnTo>
                  <a:lnTo>
                    <a:pt x="348" y="72"/>
                  </a:lnTo>
                  <a:lnTo>
                    <a:pt x="348" y="72"/>
                  </a:lnTo>
                  <a:lnTo>
                    <a:pt x="348" y="74"/>
                  </a:lnTo>
                  <a:lnTo>
                    <a:pt x="348" y="76"/>
                  </a:lnTo>
                  <a:lnTo>
                    <a:pt x="350" y="77"/>
                  </a:lnTo>
                  <a:lnTo>
                    <a:pt x="348" y="81"/>
                  </a:lnTo>
                  <a:lnTo>
                    <a:pt x="348" y="79"/>
                  </a:lnTo>
                  <a:lnTo>
                    <a:pt x="346" y="74"/>
                  </a:lnTo>
                  <a:lnTo>
                    <a:pt x="344" y="70"/>
                  </a:lnTo>
                  <a:lnTo>
                    <a:pt x="344" y="70"/>
                  </a:lnTo>
                  <a:lnTo>
                    <a:pt x="343" y="68"/>
                  </a:lnTo>
                  <a:lnTo>
                    <a:pt x="343" y="67"/>
                  </a:lnTo>
                  <a:lnTo>
                    <a:pt x="341" y="63"/>
                  </a:lnTo>
                  <a:lnTo>
                    <a:pt x="341" y="61"/>
                  </a:lnTo>
                  <a:lnTo>
                    <a:pt x="339" y="59"/>
                  </a:lnTo>
                  <a:lnTo>
                    <a:pt x="337" y="58"/>
                  </a:lnTo>
                  <a:lnTo>
                    <a:pt x="337" y="58"/>
                  </a:lnTo>
                  <a:lnTo>
                    <a:pt x="335" y="56"/>
                  </a:lnTo>
                  <a:lnTo>
                    <a:pt x="335" y="56"/>
                  </a:lnTo>
                  <a:lnTo>
                    <a:pt x="332" y="56"/>
                  </a:lnTo>
                  <a:lnTo>
                    <a:pt x="332" y="56"/>
                  </a:lnTo>
                  <a:lnTo>
                    <a:pt x="332" y="54"/>
                  </a:lnTo>
                  <a:lnTo>
                    <a:pt x="332" y="52"/>
                  </a:lnTo>
                  <a:lnTo>
                    <a:pt x="330" y="50"/>
                  </a:lnTo>
                  <a:lnTo>
                    <a:pt x="328" y="50"/>
                  </a:lnTo>
                  <a:lnTo>
                    <a:pt x="323" y="50"/>
                  </a:lnTo>
                  <a:lnTo>
                    <a:pt x="321" y="50"/>
                  </a:lnTo>
                  <a:lnTo>
                    <a:pt x="323" y="50"/>
                  </a:lnTo>
                  <a:lnTo>
                    <a:pt x="323" y="50"/>
                  </a:lnTo>
                  <a:lnTo>
                    <a:pt x="323" y="49"/>
                  </a:lnTo>
                  <a:lnTo>
                    <a:pt x="323" y="49"/>
                  </a:lnTo>
                  <a:lnTo>
                    <a:pt x="321" y="49"/>
                  </a:lnTo>
                  <a:lnTo>
                    <a:pt x="319" y="49"/>
                  </a:lnTo>
                  <a:lnTo>
                    <a:pt x="319" y="49"/>
                  </a:lnTo>
                  <a:lnTo>
                    <a:pt x="317" y="49"/>
                  </a:lnTo>
                  <a:lnTo>
                    <a:pt x="317" y="47"/>
                  </a:lnTo>
                  <a:lnTo>
                    <a:pt x="312" y="47"/>
                  </a:lnTo>
                  <a:lnTo>
                    <a:pt x="312" y="47"/>
                  </a:lnTo>
                  <a:lnTo>
                    <a:pt x="310" y="50"/>
                  </a:lnTo>
                  <a:lnTo>
                    <a:pt x="310" y="56"/>
                  </a:lnTo>
                  <a:lnTo>
                    <a:pt x="310" y="63"/>
                  </a:lnTo>
                  <a:lnTo>
                    <a:pt x="312" y="67"/>
                  </a:lnTo>
                  <a:lnTo>
                    <a:pt x="312" y="67"/>
                  </a:lnTo>
                  <a:lnTo>
                    <a:pt x="312" y="67"/>
                  </a:lnTo>
                  <a:lnTo>
                    <a:pt x="312" y="68"/>
                  </a:lnTo>
                  <a:lnTo>
                    <a:pt x="312" y="68"/>
                  </a:lnTo>
                  <a:lnTo>
                    <a:pt x="314" y="72"/>
                  </a:lnTo>
                  <a:lnTo>
                    <a:pt x="314" y="72"/>
                  </a:lnTo>
                  <a:lnTo>
                    <a:pt x="316" y="74"/>
                  </a:lnTo>
                  <a:lnTo>
                    <a:pt x="316" y="76"/>
                  </a:lnTo>
                  <a:lnTo>
                    <a:pt x="316" y="77"/>
                  </a:lnTo>
                  <a:lnTo>
                    <a:pt x="316" y="77"/>
                  </a:lnTo>
                  <a:lnTo>
                    <a:pt x="317" y="79"/>
                  </a:lnTo>
                  <a:lnTo>
                    <a:pt x="317" y="81"/>
                  </a:lnTo>
                  <a:lnTo>
                    <a:pt x="317" y="79"/>
                  </a:lnTo>
                  <a:lnTo>
                    <a:pt x="317" y="79"/>
                  </a:lnTo>
                  <a:lnTo>
                    <a:pt x="319" y="79"/>
                  </a:lnTo>
                  <a:lnTo>
                    <a:pt x="319" y="79"/>
                  </a:lnTo>
                  <a:lnTo>
                    <a:pt x="319" y="79"/>
                  </a:lnTo>
                  <a:lnTo>
                    <a:pt x="319" y="79"/>
                  </a:lnTo>
                  <a:lnTo>
                    <a:pt x="319" y="79"/>
                  </a:lnTo>
                  <a:lnTo>
                    <a:pt x="319" y="79"/>
                  </a:lnTo>
                  <a:lnTo>
                    <a:pt x="321" y="81"/>
                  </a:lnTo>
                  <a:lnTo>
                    <a:pt x="321" y="83"/>
                  </a:lnTo>
                  <a:lnTo>
                    <a:pt x="321" y="81"/>
                  </a:lnTo>
                  <a:lnTo>
                    <a:pt x="321" y="81"/>
                  </a:lnTo>
                  <a:lnTo>
                    <a:pt x="321" y="83"/>
                  </a:lnTo>
                  <a:lnTo>
                    <a:pt x="321" y="85"/>
                  </a:lnTo>
                  <a:lnTo>
                    <a:pt x="321" y="85"/>
                  </a:lnTo>
                  <a:lnTo>
                    <a:pt x="323" y="90"/>
                  </a:lnTo>
                  <a:lnTo>
                    <a:pt x="323" y="92"/>
                  </a:lnTo>
                  <a:lnTo>
                    <a:pt x="323" y="94"/>
                  </a:lnTo>
                  <a:lnTo>
                    <a:pt x="323" y="95"/>
                  </a:lnTo>
                  <a:lnTo>
                    <a:pt x="321" y="95"/>
                  </a:lnTo>
                  <a:lnTo>
                    <a:pt x="321" y="95"/>
                  </a:lnTo>
                  <a:lnTo>
                    <a:pt x="321" y="97"/>
                  </a:lnTo>
                  <a:lnTo>
                    <a:pt x="321" y="99"/>
                  </a:lnTo>
                  <a:lnTo>
                    <a:pt x="321" y="99"/>
                  </a:lnTo>
                  <a:lnTo>
                    <a:pt x="321" y="101"/>
                  </a:lnTo>
                  <a:lnTo>
                    <a:pt x="321" y="101"/>
                  </a:lnTo>
                  <a:lnTo>
                    <a:pt x="321" y="101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5"/>
                  </a:lnTo>
                  <a:lnTo>
                    <a:pt x="323" y="105"/>
                  </a:lnTo>
                  <a:lnTo>
                    <a:pt x="323" y="105"/>
                  </a:lnTo>
                  <a:lnTo>
                    <a:pt x="323" y="106"/>
                  </a:lnTo>
                  <a:lnTo>
                    <a:pt x="325" y="108"/>
                  </a:lnTo>
                  <a:lnTo>
                    <a:pt x="325" y="112"/>
                  </a:lnTo>
                  <a:lnTo>
                    <a:pt x="323" y="114"/>
                  </a:lnTo>
                  <a:lnTo>
                    <a:pt x="323" y="112"/>
                  </a:lnTo>
                  <a:lnTo>
                    <a:pt x="321" y="110"/>
                  </a:lnTo>
                  <a:lnTo>
                    <a:pt x="321" y="108"/>
                  </a:lnTo>
                  <a:lnTo>
                    <a:pt x="321" y="106"/>
                  </a:lnTo>
                  <a:lnTo>
                    <a:pt x="319" y="105"/>
                  </a:lnTo>
                  <a:lnTo>
                    <a:pt x="317" y="103"/>
                  </a:lnTo>
                  <a:lnTo>
                    <a:pt x="317" y="103"/>
                  </a:lnTo>
                  <a:lnTo>
                    <a:pt x="317" y="101"/>
                  </a:lnTo>
                  <a:lnTo>
                    <a:pt x="317" y="95"/>
                  </a:lnTo>
                  <a:lnTo>
                    <a:pt x="317" y="95"/>
                  </a:lnTo>
                  <a:lnTo>
                    <a:pt x="316" y="94"/>
                  </a:lnTo>
                  <a:lnTo>
                    <a:pt x="316" y="92"/>
                  </a:lnTo>
                  <a:lnTo>
                    <a:pt x="316" y="88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6" y="85"/>
                  </a:lnTo>
                  <a:lnTo>
                    <a:pt x="314" y="85"/>
                  </a:lnTo>
                  <a:lnTo>
                    <a:pt x="314" y="85"/>
                  </a:lnTo>
                  <a:lnTo>
                    <a:pt x="314" y="85"/>
                  </a:lnTo>
                  <a:lnTo>
                    <a:pt x="314" y="85"/>
                  </a:lnTo>
                  <a:lnTo>
                    <a:pt x="314" y="85"/>
                  </a:lnTo>
                  <a:lnTo>
                    <a:pt x="312" y="83"/>
                  </a:lnTo>
                  <a:lnTo>
                    <a:pt x="312" y="81"/>
                  </a:lnTo>
                  <a:lnTo>
                    <a:pt x="312" y="79"/>
                  </a:lnTo>
                  <a:lnTo>
                    <a:pt x="310" y="79"/>
                  </a:lnTo>
                  <a:lnTo>
                    <a:pt x="310" y="77"/>
                  </a:lnTo>
                  <a:lnTo>
                    <a:pt x="310" y="76"/>
                  </a:lnTo>
                  <a:lnTo>
                    <a:pt x="308" y="76"/>
                  </a:lnTo>
                  <a:lnTo>
                    <a:pt x="305" y="76"/>
                  </a:lnTo>
                  <a:lnTo>
                    <a:pt x="303" y="74"/>
                  </a:lnTo>
                  <a:lnTo>
                    <a:pt x="299" y="72"/>
                  </a:lnTo>
                  <a:lnTo>
                    <a:pt x="299" y="72"/>
                  </a:lnTo>
                  <a:lnTo>
                    <a:pt x="299" y="70"/>
                  </a:lnTo>
                  <a:lnTo>
                    <a:pt x="301" y="67"/>
                  </a:lnTo>
                  <a:lnTo>
                    <a:pt x="299" y="63"/>
                  </a:lnTo>
                  <a:lnTo>
                    <a:pt x="299" y="61"/>
                  </a:lnTo>
                  <a:lnTo>
                    <a:pt x="299" y="59"/>
                  </a:lnTo>
                  <a:lnTo>
                    <a:pt x="298" y="58"/>
                  </a:lnTo>
                  <a:lnTo>
                    <a:pt x="298" y="58"/>
                  </a:lnTo>
                  <a:lnTo>
                    <a:pt x="298" y="58"/>
                  </a:lnTo>
                  <a:lnTo>
                    <a:pt x="296" y="56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4" y="56"/>
                  </a:lnTo>
                  <a:lnTo>
                    <a:pt x="296" y="54"/>
                  </a:lnTo>
                  <a:lnTo>
                    <a:pt x="296" y="52"/>
                  </a:lnTo>
                  <a:lnTo>
                    <a:pt x="294" y="52"/>
                  </a:lnTo>
                  <a:lnTo>
                    <a:pt x="292" y="50"/>
                  </a:lnTo>
                  <a:lnTo>
                    <a:pt x="292" y="49"/>
                  </a:lnTo>
                  <a:lnTo>
                    <a:pt x="290" y="49"/>
                  </a:lnTo>
                  <a:lnTo>
                    <a:pt x="287" y="52"/>
                  </a:lnTo>
                  <a:lnTo>
                    <a:pt x="287" y="52"/>
                  </a:lnTo>
                  <a:lnTo>
                    <a:pt x="287" y="50"/>
                  </a:lnTo>
                  <a:lnTo>
                    <a:pt x="287" y="47"/>
                  </a:lnTo>
                  <a:lnTo>
                    <a:pt x="287" y="45"/>
                  </a:lnTo>
                  <a:lnTo>
                    <a:pt x="285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7"/>
                  </a:lnTo>
                  <a:lnTo>
                    <a:pt x="281" y="49"/>
                  </a:lnTo>
                  <a:lnTo>
                    <a:pt x="281" y="50"/>
                  </a:lnTo>
                  <a:lnTo>
                    <a:pt x="279" y="50"/>
                  </a:lnTo>
                  <a:lnTo>
                    <a:pt x="281" y="47"/>
                  </a:lnTo>
                  <a:lnTo>
                    <a:pt x="279" y="47"/>
                  </a:lnTo>
                  <a:lnTo>
                    <a:pt x="274" y="47"/>
                  </a:lnTo>
                  <a:lnTo>
                    <a:pt x="272" y="49"/>
                  </a:lnTo>
                  <a:lnTo>
                    <a:pt x="272" y="50"/>
                  </a:lnTo>
                  <a:lnTo>
                    <a:pt x="272" y="50"/>
                  </a:lnTo>
                  <a:lnTo>
                    <a:pt x="272" y="54"/>
                  </a:lnTo>
                  <a:lnTo>
                    <a:pt x="270" y="56"/>
                  </a:lnTo>
                  <a:lnTo>
                    <a:pt x="270" y="56"/>
                  </a:lnTo>
                  <a:lnTo>
                    <a:pt x="270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2" y="59"/>
                  </a:lnTo>
                  <a:lnTo>
                    <a:pt x="272" y="59"/>
                  </a:lnTo>
                  <a:lnTo>
                    <a:pt x="274" y="61"/>
                  </a:lnTo>
                  <a:lnTo>
                    <a:pt x="272" y="61"/>
                  </a:lnTo>
                  <a:lnTo>
                    <a:pt x="270" y="59"/>
                  </a:lnTo>
                  <a:lnTo>
                    <a:pt x="270" y="58"/>
                  </a:lnTo>
                  <a:lnTo>
                    <a:pt x="270" y="58"/>
                  </a:lnTo>
                  <a:lnTo>
                    <a:pt x="270" y="56"/>
                  </a:lnTo>
                  <a:lnTo>
                    <a:pt x="269" y="56"/>
                  </a:lnTo>
                  <a:lnTo>
                    <a:pt x="269" y="56"/>
                  </a:lnTo>
                  <a:lnTo>
                    <a:pt x="269" y="58"/>
                  </a:lnTo>
                  <a:lnTo>
                    <a:pt x="269" y="58"/>
                  </a:lnTo>
                  <a:lnTo>
                    <a:pt x="269" y="59"/>
                  </a:lnTo>
                  <a:lnTo>
                    <a:pt x="267" y="59"/>
                  </a:lnTo>
                  <a:lnTo>
                    <a:pt x="265" y="58"/>
                  </a:lnTo>
                  <a:lnTo>
                    <a:pt x="258" y="59"/>
                  </a:lnTo>
                  <a:lnTo>
                    <a:pt x="256" y="59"/>
                  </a:lnTo>
                  <a:lnTo>
                    <a:pt x="254" y="61"/>
                  </a:lnTo>
                  <a:lnTo>
                    <a:pt x="254" y="63"/>
                  </a:lnTo>
                  <a:lnTo>
                    <a:pt x="254" y="63"/>
                  </a:lnTo>
                  <a:lnTo>
                    <a:pt x="254" y="63"/>
                  </a:lnTo>
                  <a:lnTo>
                    <a:pt x="254" y="65"/>
                  </a:lnTo>
                  <a:lnTo>
                    <a:pt x="254" y="67"/>
                  </a:lnTo>
                  <a:lnTo>
                    <a:pt x="254" y="68"/>
                  </a:lnTo>
                  <a:lnTo>
                    <a:pt x="256" y="68"/>
                  </a:lnTo>
                  <a:lnTo>
                    <a:pt x="254" y="70"/>
                  </a:lnTo>
                  <a:lnTo>
                    <a:pt x="254" y="70"/>
                  </a:lnTo>
                  <a:lnTo>
                    <a:pt x="252" y="72"/>
                  </a:lnTo>
                  <a:lnTo>
                    <a:pt x="252" y="72"/>
                  </a:lnTo>
                  <a:lnTo>
                    <a:pt x="251" y="72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6"/>
                  </a:lnTo>
                  <a:lnTo>
                    <a:pt x="254" y="79"/>
                  </a:lnTo>
                  <a:lnTo>
                    <a:pt x="254" y="79"/>
                  </a:lnTo>
                  <a:lnTo>
                    <a:pt x="256" y="83"/>
                  </a:lnTo>
                  <a:lnTo>
                    <a:pt x="256" y="86"/>
                  </a:lnTo>
                  <a:lnTo>
                    <a:pt x="256" y="90"/>
                  </a:lnTo>
                  <a:lnTo>
                    <a:pt x="256" y="92"/>
                  </a:lnTo>
                  <a:lnTo>
                    <a:pt x="256" y="95"/>
                  </a:lnTo>
                  <a:lnTo>
                    <a:pt x="256" y="99"/>
                  </a:lnTo>
                  <a:lnTo>
                    <a:pt x="254" y="101"/>
                  </a:lnTo>
                  <a:lnTo>
                    <a:pt x="254" y="103"/>
                  </a:lnTo>
                  <a:lnTo>
                    <a:pt x="254" y="103"/>
                  </a:lnTo>
                  <a:lnTo>
                    <a:pt x="252" y="103"/>
                  </a:lnTo>
                  <a:lnTo>
                    <a:pt x="252" y="101"/>
                  </a:lnTo>
                  <a:lnTo>
                    <a:pt x="252" y="101"/>
                  </a:lnTo>
                  <a:lnTo>
                    <a:pt x="254" y="101"/>
                  </a:lnTo>
                  <a:lnTo>
                    <a:pt x="254" y="101"/>
                  </a:lnTo>
                  <a:lnTo>
                    <a:pt x="252" y="101"/>
                  </a:lnTo>
                  <a:lnTo>
                    <a:pt x="252" y="101"/>
                  </a:lnTo>
                  <a:lnTo>
                    <a:pt x="251" y="99"/>
                  </a:lnTo>
                  <a:lnTo>
                    <a:pt x="251" y="99"/>
                  </a:lnTo>
                  <a:lnTo>
                    <a:pt x="251" y="99"/>
                  </a:lnTo>
                  <a:lnTo>
                    <a:pt x="249" y="99"/>
                  </a:lnTo>
                  <a:lnTo>
                    <a:pt x="249" y="99"/>
                  </a:lnTo>
                  <a:lnTo>
                    <a:pt x="249" y="103"/>
                  </a:lnTo>
                  <a:lnTo>
                    <a:pt x="247" y="101"/>
                  </a:lnTo>
                  <a:lnTo>
                    <a:pt x="245" y="99"/>
                  </a:lnTo>
                  <a:lnTo>
                    <a:pt x="243" y="97"/>
                  </a:lnTo>
                  <a:lnTo>
                    <a:pt x="243" y="97"/>
                  </a:lnTo>
                  <a:lnTo>
                    <a:pt x="243" y="94"/>
                  </a:lnTo>
                  <a:lnTo>
                    <a:pt x="243" y="92"/>
                  </a:lnTo>
                  <a:lnTo>
                    <a:pt x="243" y="92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2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38" y="83"/>
                  </a:lnTo>
                  <a:lnTo>
                    <a:pt x="238" y="83"/>
                  </a:lnTo>
                  <a:lnTo>
                    <a:pt x="236" y="83"/>
                  </a:lnTo>
                  <a:lnTo>
                    <a:pt x="233" y="81"/>
                  </a:lnTo>
                  <a:lnTo>
                    <a:pt x="233" y="81"/>
                  </a:lnTo>
                  <a:lnTo>
                    <a:pt x="233" y="79"/>
                  </a:lnTo>
                  <a:lnTo>
                    <a:pt x="231" y="77"/>
                  </a:lnTo>
                  <a:lnTo>
                    <a:pt x="231" y="76"/>
                  </a:lnTo>
                  <a:lnTo>
                    <a:pt x="229" y="74"/>
                  </a:lnTo>
                  <a:lnTo>
                    <a:pt x="229" y="74"/>
                  </a:lnTo>
                  <a:lnTo>
                    <a:pt x="229" y="74"/>
                  </a:lnTo>
                  <a:lnTo>
                    <a:pt x="231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0"/>
                  </a:lnTo>
                  <a:lnTo>
                    <a:pt x="229" y="68"/>
                  </a:lnTo>
                  <a:lnTo>
                    <a:pt x="227" y="65"/>
                  </a:lnTo>
                  <a:lnTo>
                    <a:pt x="225" y="63"/>
                  </a:lnTo>
                  <a:lnTo>
                    <a:pt x="225" y="61"/>
                  </a:lnTo>
                  <a:lnTo>
                    <a:pt x="225" y="61"/>
                  </a:lnTo>
                  <a:lnTo>
                    <a:pt x="223" y="59"/>
                  </a:lnTo>
                  <a:lnTo>
                    <a:pt x="225" y="59"/>
                  </a:lnTo>
                  <a:lnTo>
                    <a:pt x="223" y="58"/>
                  </a:lnTo>
                  <a:lnTo>
                    <a:pt x="222" y="58"/>
                  </a:lnTo>
                  <a:lnTo>
                    <a:pt x="222" y="56"/>
                  </a:lnTo>
                  <a:lnTo>
                    <a:pt x="222" y="54"/>
                  </a:lnTo>
                  <a:lnTo>
                    <a:pt x="220" y="54"/>
                  </a:lnTo>
                  <a:lnTo>
                    <a:pt x="220" y="54"/>
                  </a:lnTo>
                  <a:lnTo>
                    <a:pt x="220" y="54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4" y="56"/>
                  </a:lnTo>
                  <a:lnTo>
                    <a:pt x="213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09" y="58"/>
                  </a:lnTo>
                  <a:lnTo>
                    <a:pt x="209" y="58"/>
                  </a:lnTo>
                  <a:lnTo>
                    <a:pt x="207" y="58"/>
                  </a:lnTo>
                  <a:lnTo>
                    <a:pt x="205" y="58"/>
                  </a:lnTo>
                  <a:lnTo>
                    <a:pt x="205" y="59"/>
                  </a:lnTo>
                  <a:lnTo>
                    <a:pt x="205" y="61"/>
                  </a:lnTo>
                  <a:lnTo>
                    <a:pt x="205" y="63"/>
                  </a:lnTo>
                  <a:lnTo>
                    <a:pt x="204" y="65"/>
                  </a:lnTo>
                  <a:lnTo>
                    <a:pt x="204" y="67"/>
                  </a:lnTo>
                  <a:lnTo>
                    <a:pt x="205" y="67"/>
                  </a:lnTo>
                  <a:lnTo>
                    <a:pt x="205" y="68"/>
                  </a:lnTo>
                  <a:lnTo>
                    <a:pt x="205" y="70"/>
                  </a:lnTo>
                  <a:lnTo>
                    <a:pt x="205" y="72"/>
                  </a:lnTo>
                  <a:lnTo>
                    <a:pt x="207" y="76"/>
                  </a:lnTo>
                  <a:lnTo>
                    <a:pt x="207" y="77"/>
                  </a:lnTo>
                  <a:lnTo>
                    <a:pt x="209" y="81"/>
                  </a:lnTo>
                  <a:lnTo>
                    <a:pt x="211" y="85"/>
                  </a:lnTo>
                  <a:lnTo>
                    <a:pt x="211" y="88"/>
                  </a:lnTo>
                  <a:lnTo>
                    <a:pt x="209" y="90"/>
                  </a:lnTo>
                  <a:lnTo>
                    <a:pt x="209" y="92"/>
                  </a:lnTo>
                  <a:lnTo>
                    <a:pt x="211" y="92"/>
                  </a:lnTo>
                  <a:lnTo>
                    <a:pt x="211" y="95"/>
                  </a:lnTo>
                  <a:lnTo>
                    <a:pt x="213" y="97"/>
                  </a:lnTo>
                  <a:lnTo>
                    <a:pt x="213" y="101"/>
                  </a:lnTo>
                  <a:lnTo>
                    <a:pt x="213" y="103"/>
                  </a:lnTo>
                  <a:lnTo>
                    <a:pt x="213" y="105"/>
                  </a:lnTo>
                  <a:lnTo>
                    <a:pt x="213" y="106"/>
                  </a:lnTo>
                  <a:lnTo>
                    <a:pt x="211" y="106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13" y="110"/>
                  </a:lnTo>
                  <a:lnTo>
                    <a:pt x="211" y="110"/>
                  </a:lnTo>
                  <a:lnTo>
                    <a:pt x="211" y="110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4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7" y="119"/>
                  </a:lnTo>
                  <a:lnTo>
                    <a:pt x="207" y="121"/>
                  </a:lnTo>
                  <a:lnTo>
                    <a:pt x="207" y="123"/>
                  </a:lnTo>
                  <a:lnTo>
                    <a:pt x="207" y="123"/>
                  </a:lnTo>
                  <a:lnTo>
                    <a:pt x="207" y="124"/>
                  </a:lnTo>
                  <a:lnTo>
                    <a:pt x="207" y="126"/>
                  </a:lnTo>
                  <a:lnTo>
                    <a:pt x="205" y="124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4" y="121"/>
                  </a:lnTo>
                  <a:lnTo>
                    <a:pt x="204" y="121"/>
                  </a:lnTo>
                  <a:lnTo>
                    <a:pt x="202" y="121"/>
                  </a:lnTo>
                  <a:lnTo>
                    <a:pt x="200" y="121"/>
                  </a:lnTo>
                  <a:lnTo>
                    <a:pt x="200" y="123"/>
                  </a:lnTo>
                  <a:lnTo>
                    <a:pt x="202" y="123"/>
                  </a:lnTo>
                  <a:lnTo>
                    <a:pt x="204" y="123"/>
                  </a:lnTo>
                  <a:lnTo>
                    <a:pt x="204" y="123"/>
                  </a:lnTo>
                  <a:lnTo>
                    <a:pt x="204" y="124"/>
                  </a:lnTo>
                  <a:lnTo>
                    <a:pt x="205" y="124"/>
                  </a:lnTo>
                  <a:lnTo>
                    <a:pt x="204" y="126"/>
                  </a:lnTo>
                  <a:lnTo>
                    <a:pt x="204" y="128"/>
                  </a:lnTo>
                  <a:lnTo>
                    <a:pt x="204" y="130"/>
                  </a:lnTo>
                  <a:lnTo>
                    <a:pt x="202" y="132"/>
                  </a:lnTo>
                  <a:lnTo>
                    <a:pt x="202" y="132"/>
                  </a:lnTo>
                  <a:lnTo>
                    <a:pt x="202" y="132"/>
                  </a:lnTo>
                  <a:lnTo>
                    <a:pt x="202" y="132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200" y="128"/>
                  </a:lnTo>
                  <a:lnTo>
                    <a:pt x="198" y="128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6" y="126"/>
                  </a:lnTo>
                  <a:lnTo>
                    <a:pt x="196" y="126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196" y="121"/>
                  </a:lnTo>
                  <a:lnTo>
                    <a:pt x="196" y="119"/>
                  </a:lnTo>
                  <a:lnTo>
                    <a:pt x="195" y="121"/>
                  </a:lnTo>
                  <a:lnTo>
                    <a:pt x="195" y="123"/>
                  </a:lnTo>
                  <a:lnTo>
                    <a:pt x="196" y="124"/>
                  </a:lnTo>
                  <a:lnTo>
                    <a:pt x="195" y="124"/>
                  </a:lnTo>
                  <a:lnTo>
                    <a:pt x="195" y="124"/>
                  </a:lnTo>
                  <a:lnTo>
                    <a:pt x="195" y="121"/>
                  </a:lnTo>
                  <a:lnTo>
                    <a:pt x="195" y="119"/>
                  </a:lnTo>
                  <a:lnTo>
                    <a:pt x="195" y="117"/>
                  </a:lnTo>
                  <a:lnTo>
                    <a:pt x="195" y="115"/>
                  </a:lnTo>
                  <a:lnTo>
                    <a:pt x="195" y="110"/>
                  </a:lnTo>
                  <a:lnTo>
                    <a:pt x="195" y="110"/>
                  </a:lnTo>
                  <a:lnTo>
                    <a:pt x="195" y="110"/>
                  </a:lnTo>
                  <a:lnTo>
                    <a:pt x="195" y="110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3" y="106"/>
                  </a:lnTo>
                  <a:lnTo>
                    <a:pt x="193" y="106"/>
                  </a:lnTo>
                  <a:lnTo>
                    <a:pt x="191" y="106"/>
                  </a:lnTo>
                  <a:lnTo>
                    <a:pt x="191" y="108"/>
                  </a:lnTo>
                  <a:lnTo>
                    <a:pt x="191" y="108"/>
                  </a:lnTo>
                  <a:lnTo>
                    <a:pt x="189" y="108"/>
                  </a:lnTo>
                  <a:lnTo>
                    <a:pt x="189" y="110"/>
                  </a:lnTo>
                  <a:lnTo>
                    <a:pt x="186" y="114"/>
                  </a:lnTo>
                  <a:lnTo>
                    <a:pt x="180" y="117"/>
                  </a:lnTo>
                  <a:lnTo>
                    <a:pt x="178" y="121"/>
                  </a:lnTo>
                  <a:lnTo>
                    <a:pt x="178" y="123"/>
                  </a:lnTo>
                  <a:lnTo>
                    <a:pt x="178" y="124"/>
                  </a:lnTo>
                  <a:lnTo>
                    <a:pt x="178" y="126"/>
                  </a:lnTo>
                  <a:lnTo>
                    <a:pt x="177" y="126"/>
                  </a:lnTo>
                  <a:lnTo>
                    <a:pt x="177" y="128"/>
                  </a:lnTo>
                  <a:lnTo>
                    <a:pt x="177" y="130"/>
                  </a:lnTo>
                  <a:lnTo>
                    <a:pt x="177" y="132"/>
                  </a:lnTo>
                  <a:lnTo>
                    <a:pt x="177" y="133"/>
                  </a:lnTo>
                  <a:lnTo>
                    <a:pt x="177" y="137"/>
                  </a:lnTo>
                  <a:lnTo>
                    <a:pt x="178" y="142"/>
                  </a:lnTo>
                  <a:lnTo>
                    <a:pt x="180" y="146"/>
                  </a:lnTo>
                  <a:lnTo>
                    <a:pt x="180" y="148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78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7" y="142"/>
                  </a:lnTo>
                  <a:lnTo>
                    <a:pt x="175" y="139"/>
                  </a:lnTo>
                  <a:lnTo>
                    <a:pt x="173" y="135"/>
                  </a:lnTo>
                  <a:lnTo>
                    <a:pt x="171" y="135"/>
                  </a:lnTo>
                  <a:lnTo>
                    <a:pt x="171" y="137"/>
                  </a:lnTo>
                  <a:lnTo>
                    <a:pt x="171" y="141"/>
                  </a:lnTo>
                  <a:lnTo>
                    <a:pt x="173" y="150"/>
                  </a:lnTo>
                  <a:lnTo>
                    <a:pt x="173" y="151"/>
                  </a:lnTo>
                  <a:lnTo>
                    <a:pt x="173" y="153"/>
                  </a:lnTo>
                  <a:lnTo>
                    <a:pt x="171" y="153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1" y="157"/>
                  </a:lnTo>
                  <a:lnTo>
                    <a:pt x="171" y="157"/>
                  </a:lnTo>
                  <a:lnTo>
                    <a:pt x="169" y="159"/>
                  </a:lnTo>
                  <a:lnTo>
                    <a:pt x="171" y="159"/>
                  </a:lnTo>
                  <a:lnTo>
                    <a:pt x="171" y="161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3" y="166"/>
                  </a:lnTo>
                  <a:lnTo>
                    <a:pt x="173" y="168"/>
                  </a:lnTo>
                  <a:lnTo>
                    <a:pt x="173" y="170"/>
                  </a:lnTo>
                  <a:lnTo>
                    <a:pt x="171" y="170"/>
                  </a:lnTo>
                  <a:lnTo>
                    <a:pt x="171" y="170"/>
                  </a:lnTo>
                  <a:lnTo>
                    <a:pt x="171" y="170"/>
                  </a:lnTo>
                  <a:lnTo>
                    <a:pt x="171" y="170"/>
                  </a:lnTo>
                  <a:lnTo>
                    <a:pt x="171" y="166"/>
                  </a:lnTo>
                  <a:lnTo>
                    <a:pt x="171" y="164"/>
                  </a:lnTo>
                  <a:lnTo>
                    <a:pt x="169" y="162"/>
                  </a:lnTo>
                  <a:lnTo>
                    <a:pt x="169" y="161"/>
                  </a:lnTo>
                  <a:lnTo>
                    <a:pt x="169" y="161"/>
                  </a:lnTo>
                  <a:lnTo>
                    <a:pt x="169" y="161"/>
                  </a:lnTo>
                  <a:lnTo>
                    <a:pt x="169" y="161"/>
                  </a:lnTo>
                  <a:lnTo>
                    <a:pt x="169" y="161"/>
                  </a:lnTo>
                  <a:lnTo>
                    <a:pt x="169" y="159"/>
                  </a:lnTo>
                  <a:lnTo>
                    <a:pt x="166" y="153"/>
                  </a:lnTo>
                  <a:lnTo>
                    <a:pt x="166" y="151"/>
                  </a:lnTo>
                  <a:lnTo>
                    <a:pt x="168" y="150"/>
                  </a:lnTo>
                  <a:lnTo>
                    <a:pt x="168" y="148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2"/>
                  </a:lnTo>
                  <a:lnTo>
                    <a:pt x="166" y="141"/>
                  </a:lnTo>
                  <a:lnTo>
                    <a:pt x="166" y="141"/>
                  </a:lnTo>
                  <a:lnTo>
                    <a:pt x="166" y="139"/>
                  </a:lnTo>
                  <a:lnTo>
                    <a:pt x="166" y="137"/>
                  </a:lnTo>
                  <a:lnTo>
                    <a:pt x="164" y="135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0" y="133"/>
                  </a:lnTo>
                  <a:lnTo>
                    <a:pt x="158" y="133"/>
                  </a:lnTo>
                  <a:lnTo>
                    <a:pt x="157" y="135"/>
                  </a:lnTo>
                  <a:lnTo>
                    <a:pt x="153" y="137"/>
                  </a:lnTo>
                  <a:lnTo>
                    <a:pt x="153" y="135"/>
                  </a:lnTo>
                  <a:lnTo>
                    <a:pt x="155" y="135"/>
                  </a:lnTo>
                  <a:lnTo>
                    <a:pt x="158" y="132"/>
                  </a:lnTo>
                  <a:lnTo>
                    <a:pt x="160" y="128"/>
                  </a:lnTo>
                  <a:lnTo>
                    <a:pt x="162" y="123"/>
                  </a:lnTo>
                  <a:lnTo>
                    <a:pt x="160" y="117"/>
                  </a:lnTo>
                  <a:lnTo>
                    <a:pt x="157" y="119"/>
                  </a:lnTo>
                  <a:lnTo>
                    <a:pt x="155" y="121"/>
                  </a:lnTo>
                  <a:lnTo>
                    <a:pt x="151" y="123"/>
                  </a:lnTo>
                  <a:lnTo>
                    <a:pt x="151" y="123"/>
                  </a:lnTo>
                  <a:lnTo>
                    <a:pt x="153" y="121"/>
                  </a:lnTo>
                  <a:lnTo>
                    <a:pt x="155" y="117"/>
                  </a:lnTo>
                  <a:lnTo>
                    <a:pt x="157" y="115"/>
                  </a:lnTo>
                  <a:lnTo>
                    <a:pt x="155" y="114"/>
                  </a:lnTo>
                  <a:lnTo>
                    <a:pt x="155" y="114"/>
                  </a:lnTo>
                  <a:lnTo>
                    <a:pt x="146" y="114"/>
                  </a:lnTo>
                  <a:lnTo>
                    <a:pt x="144" y="112"/>
                  </a:lnTo>
                  <a:lnTo>
                    <a:pt x="144" y="112"/>
                  </a:lnTo>
                  <a:lnTo>
                    <a:pt x="144" y="112"/>
                  </a:lnTo>
                  <a:lnTo>
                    <a:pt x="144" y="110"/>
                  </a:lnTo>
                  <a:lnTo>
                    <a:pt x="142" y="108"/>
                  </a:lnTo>
                  <a:lnTo>
                    <a:pt x="142" y="108"/>
                  </a:lnTo>
                  <a:lnTo>
                    <a:pt x="142" y="108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5"/>
                  </a:lnTo>
                  <a:lnTo>
                    <a:pt x="142" y="105"/>
                  </a:lnTo>
                  <a:lnTo>
                    <a:pt x="142" y="103"/>
                  </a:lnTo>
                  <a:lnTo>
                    <a:pt x="142" y="103"/>
                  </a:lnTo>
                  <a:lnTo>
                    <a:pt x="142" y="101"/>
                  </a:lnTo>
                  <a:lnTo>
                    <a:pt x="142" y="101"/>
                  </a:lnTo>
                  <a:lnTo>
                    <a:pt x="140" y="99"/>
                  </a:lnTo>
                  <a:lnTo>
                    <a:pt x="139" y="97"/>
                  </a:lnTo>
                  <a:lnTo>
                    <a:pt x="137" y="97"/>
                  </a:lnTo>
                  <a:lnTo>
                    <a:pt x="139" y="97"/>
                  </a:lnTo>
                  <a:lnTo>
                    <a:pt x="140" y="97"/>
                  </a:lnTo>
                  <a:lnTo>
                    <a:pt x="142" y="97"/>
                  </a:lnTo>
                  <a:lnTo>
                    <a:pt x="142" y="99"/>
                  </a:lnTo>
                  <a:lnTo>
                    <a:pt x="144" y="101"/>
                  </a:lnTo>
                  <a:lnTo>
                    <a:pt x="144" y="103"/>
                  </a:lnTo>
                  <a:lnTo>
                    <a:pt x="144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6" y="106"/>
                  </a:lnTo>
                  <a:lnTo>
                    <a:pt x="148" y="106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60" y="101"/>
                  </a:lnTo>
                  <a:lnTo>
                    <a:pt x="158" y="101"/>
                  </a:lnTo>
                  <a:lnTo>
                    <a:pt x="157" y="99"/>
                  </a:lnTo>
                  <a:lnTo>
                    <a:pt x="155" y="99"/>
                  </a:lnTo>
                  <a:lnTo>
                    <a:pt x="153" y="99"/>
                  </a:lnTo>
                  <a:lnTo>
                    <a:pt x="153" y="99"/>
                  </a:lnTo>
                  <a:lnTo>
                    <a:pt x="153" y="97"/>
                  </a:lnTo>
                  <a:lnTo>
                    <a:pt x="157" y="95"/>
                  </a:lnTo>
                  <a:lnTo>
                    <a:pt x="158" y="94"/>
                  </a:lnTo>
                  <a:lnTo>
                    <a:pt x="160" y="94"/>
                  </a:lnTo>
                  <a:lnTo>
                    <a:pt x="162" y="86"/>
                  </a:lnTo>
                  <a:lnTo>
                    <a:pt x="162" y="86"/>
                  </a:lnTo>
                  <a:lnTo>
                    <a:pt x="160" y="85"/>
                  </a:lnTo>
                  <a:lnTo>
                    <a:pt x="162" y="83"/>
                  </a:lnTo>
                  <a:lnTo>
                    <a:pt x="162" y="81"/>
                  </a:lnTo>
                  <a:lnTo>
                    <a:pt x="162" y="79"/>
                  </a:lnTo>
                  <a:lnTo>
                    <a:pt x="160" y="77"/>
                  </a:lnTo>
                  <a:lnTo>
                    <a:pt x="160" y="76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7" y="76"/>
                  </a:lnTo>
                  <a:lnTo>
                    <a:pt x="157" y="74"/>
                  </a:lnTo>
                  <a:lnTo>
                    <a:pt x="155" y="74"/>
                  </a:lnTo>
                  <a:lnTo>
                    <a:pt x="151" y="74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51" y="72"/>
                  </a:lnTo>
                  <a:lnTo>
                    <a:pt x="153" y="72"/>
                  </a:lnTo>
                  <a:lnTo>
                    <a:pt x="160" y="70"/>
                  </a:lnTo>
                  <a:lnTo>
                    <a:pt x="160" y="68"/>
                  </a:lnTo>
                  <a:lnTo>
                    <a:pt x="158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1" y="67"/>
                  </a:lnTo>
                  <a:lnTo>
                    <a:pt x="149" y="67"/>
                  </a:lnTo>
                  <a:lnTo>
                    <a:pt x="148" y="65"/>
                  </a:lnTo>
                  <a:lnTo>
                    <a:pt x="148" y="63"/>
                  </a:lnTo>
                  <a:lnTo>
                    <a:pt x="148" y="63"/>
                  </a:lnTo>
                  <a:lnTo>
                    <a:pt x="149" y="63"/>
                  </a:lnTo>
                  <a:lnTo>
                    <a:pt x="149" y="61"/>
                  </a:lnTo>
                  <a:lnTo>
                    <a:pt x="151" y="61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8"/>
                  </a:lnTo>
                  <a:lnTo>
                    <a:pt x="149" y="58"/>
                  </a:lnTo>
                  <a:lnTo>
                    <a:pt x="146" y="58"/>
                  </a:lnTo>
                  <a:lnTo>
                    <a:pt x="144" y="58"/>
                  </a:lnTo>
                  <a:lnTo>
                    <a:pt x="144" y="59"/>
                  </a:lnTo>
                  <a:lnTo>
                    <a:pt x="146" y="61"/>
                  </a:lnTo>
                  <a:lnTo>
                    <a:pt x="146" y="63"/>
                  </a:lnTo>
                  <a:lnTo>
                    <a:pt x="146" y="65"/>
                  </a:lnTo>
                  <a:lnTo>
                    <a:pt x="144" y="65"/>
                  </a:lnTo>
                  <a:lnTo>
                    <a:pt x="144" y="67"/>
                  </a:lnTo>
                  <a:lnTo>
                    <a:pt x="144" y="67"/>
                  </a:lnTo>
                  <a:lnTo>
                    <a:pt x="142" y="67"/>
                  </a:lnTo>
                  <a:lnTo>
                    <a:pt x="144" y="65"/>
                  </a:lnTo>
                  <a:lnTo>
                    <a:pt x="144" y="65"/>
                  </a:lnTo>
                  <a:lnTo>
                    <a:pt x="144" y="63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42" y="61"/>
                  </a:lnTo>
                  <a:lnTo>
                    <a:pt x="140" y="61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0" y="58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40" y="54"/>
                  </a:lnTo>
                  <a:lnTo>
                    <a:pt x="139" y="54"/>
                  </a:lnTo>
                  <a:lnTo>
                    <a:pt x="139" y="52"/>
                  </a:lnTo>
                  <a:lnTo>
                    <a:pt x="140" y="52"/>
                  </a:lnTo>
                  <a:lnTo>
                    <a:pt x="140" y="50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9" y="47"/>
                  </a:lnTo>
                  <a:lnTo>
                    <a:pt x="139" y="47"/>
                  </a:lnTo>
                  <a:lnTo>
                    <a:pt x="135" y="45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6" y="43"/>
                  </a:lnTo>
                  <a:lnTo>
                    <a:pt x="130" y="41"/>
                  </a:lnTo>
                  <a:lnTo>
                    <a:pt x="130" y="39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2" y="36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1" y="34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4"/>
                  </a:lnTo>
                  <a:lnTo>
                    <a:pt x="117" y="34"/>
                  </a:lnTo>
                  <a:lnTo>
                    <a:pt x="117" y="34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113" y="25"/>
                  </a:lnTo>
                  <a:lnTo>
                    <a:pt x="113" y="23"/>
                  </a:lnTo>
                  <a:lnTo>
                    <a:pt x="108" y="21"/>
                  </a:lnTo>
                  <a:lnTo>
                    <a:pt x="108" y="18"/>
                  </a:lnTo>
                  <a:lnTo>
                    <a:pt x="108" y="16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2" y="11"/>
                  </a:lnTo>
                  <a:lnTo>
                    <a:pt x="102" y="12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1" y="14"/>
                  </a:lnTo>
                  <a:lnTo>
                    <a:pt x="99" y="12"/>
                  </a:lnTo>
                  <a:lnTo>
                    <a:pt x="97" y="12"/>
                  </a:lnTo>
                  <a:lnTo>
                    <a:pt x="95" y="12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6"/>
                  </a:lnTo>
                  <a:lnTo>
                    <a:pt x="88" y="14"/>
                  </a:lnTo>
                  <a:lnTo>
                    <a:pt x="86" y="14"/>
                  </a:lnTo>
                  <a:lnTo>
                    <a:pt x="84" y="12"/>
                  </a:lnTo>
                  <a:lnTo>
                    <a:pt x="84" y="11"/>
                  </a:lnTo>
                  <a:lnTo>
                    <a:pt x="79" y="11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79" y="14"/>
                  </a:lnTo>
                  <a:lnTo>
                    <a:pt x="74" y="14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8"/>
                  </a:lnTo>
                  <a:lnTo>
                    <a:pt x="74" y="16"/>
                  </a:lnTo>
                  <a:lnTo>
                    <a:pt x="72" y="16"/>
                  </a:lnTo>
                  <a:lnTo>
                    <a:pt x="70" y="14"/>
                  </a:lnTo>
                  <a:lnTo>
                    <a:pt x="70" y="16"/>
                  </a:lnTo>
                  <a:lnTo>
                    <a:pt x="70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5" y="21"/>
                  </a:lnTo>
                  <a:lnTo>
                    <a:pt x="74" y="25"/>
                  </a:lnTo>
                  <a:lnTo>
                    <a:pt x="72" y="25"/>
                  </a:lnTo>
                  <a:lnTo>
                    <a:pt x="70" y="23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7"/>
                  </a:lnTo>
                  <a:lnTo>
                    <a:pt x="68" y="27"/>
                  </a:lnTo>
                  <a:lnTo>
                    <a:pt x="68" y="29"/>
                  </a:lnTo>
                  <a:lnTo>
                    <a:pt x="72" y="30"/>
                  </a:lnTo>
                  <a:lnTo>
                    <a:pt x="79" y="32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4" y="25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30"/>
                  </a:lnTo>
                  <a:lnTo>
                    <a:pt x="86" y="30"/>
                  </a:lnTo>
                  <a:lnTo>
                    <a:pt x="88" y="29"/>
                  </a:lnTo>
                  <a:lnTo>
                    <a:pt x="92" y="25"/>
                  </a:lnTo>
                  <a:lnTo>
                    <a:pt x="93" y="23"/>
                  </a:lnTo>
                  <a:lnTo>
                    <a:pt x="95" y="23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2" y="27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30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2" y="32"/>
                  </a:lnTo>
                  <a:lnTo>
                    <a:pt x="93" y="34"/>
                  </a:lnTo>
                  <a:lnTo>
                    <a:pt x="97" y="34"/>
                  </a:lnTo>
                  <a:lnTo>
                    <a:pt x="99" y="32"/>
                  </a:lnTo>
                  <a:lnTo>
                    <a:pt x="101" y="30"/>
                  </a:lnTo>
                  <a:lnTo>
                    <a:pt x="101" y="29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7" y="34"/>
                  </a:lnTo>
                  <a:lnTo>
                    <a:pt x="99" y="36"/>
                  </a:lnTo>
                  <a:lnTo>
                    <a:pt x="101" y="36"/>
                  </a:lnTo>
                  <a:lnTo>
                    <a:pt x="108" y="36"/>
                  </a:lnTo>
                  <a:lnTo>
                    <a:pt x="106" y="36"/>
                  </a:lnTo>
                  <a:lnTo>
                    <a:pt x="104" y="36"/>
                  </a:lnTo>
                  <a:lnTo>
                    <a:pt x="102" y="38"/>
                  </a:lnTo>
                  <a:lnTo>
                    <a:pt x="101" y="39"/>
                  </a:lnTo>
                  <a:lnTo>
                    <a:pt x="99" y="39"/>
                  </a:lnTo>
                  <a:lnTo>
                    <a:pt x="99" y="39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97" y="39"/>
                  </a:lnTo>
                  <a:lnTo>
                    <a:pt x="95" y="39"/>
                  </a:lnTo>
                  <a:lnTo>
                    <a:pt x="95" y="39"/>
                  </a:lnTo>
                  <a:lnTo>
                    <a:pt x="95" y="39"/>
                  </a:lnTo>
                  <a:lnTo>
                    <a:pt x="93" y="39"/>
                  </a:lnTo>
                  <a:lnTo>
                    <a:pt x="88" y="38"/>
                  </a:lnTo>
                  <a:lnTo>
                    <a:pt x="86" y="38"/>
                  </a:lnTo>
                  <a:lnTo>
                    <a:pt x="79" y="39"/>
                  </a:lnTo>
                  <a:lnTo>
                    <a:pt x="77" y="41"/>
                  </a:lnTo>
                  <a:lnTo>
                    <a:pt x="79" y="47"/>
                  </a:lnTo>
                  <a:lnTo>
                    <a:pt x="83" y="50"/>
                  </a:lnTo>
                  <a:lnTo>
                    <a:pt x="95" y="56"/>
                  </a:lnTo>
                  <a:lnTo>
                    <a:pt x="97" y="58"/>
                  </a:lnTo>
                  <a:lnTo>
                    <a:pt x="102" y="59"/>
                  </a:lnTo>
                  <a:lnTo>
                    <a:pt x="102" y="59"/>
                  </a:lnTo>
                  <a:lnTo>
                    <a:pt x="104" y="59"/>
                  </a:lnTo>
                  <a:lnTo>
                    <a:pt x="106" y="58"/>
                  </a:lnTo>
                  <a:lnTo>
                    <a:pt x="108" y="58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2" y="61"/>
                  </a:lnTo>
                  <a:lnTo>
                    <a:pt x="102" y="63"/>
                  </a:lnTo>
                  <a:lnTo>
                    <a:pt x="102" y="65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6" y="70"/>
                  </a:lnTo>
                  <a:lnTo>
                    <a:pt x="106" y="74"/>
                  </a:lnTo>
                  <a:lnTo>
                    <a:pt x="106" y="76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1"/>
                  </a:lnTo>
                  <a:lnTo>
                    <a:pt x="104" y="88"/>
                  </a:lnTo>
                  <a:lnTo>
                    <a:pt x="102" y="90"/>
                  </a:lnTo>
                  <a:lnTo>
                    <a:pt x="102" y="88"/>
                  </a:lnTo>
                  <a:lnTo>
                    <a:pt x="102" y="86"/>
                  </a:lnTo>
                  <a:lnTo>
                    <a:pt x="104" y="85"/>
                  </a:lnTo>
                  <a:lnTo>
                    <a:pt x="104" y="83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4" y="79"/>
                  </a:lnTo>
                  <a:lnTo>
                    <a:pt x="104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1" y="76"/>
                  </a:lnTo>
                  <a:lnTo>
                    <a:pt x="101" y="74"/>
                  </a:lnTo>
                  <a:lnTo>
                    <a:pt x="101" y="72"/>
                  </a:lnTo>
                  <a:lnTo>
                    <a:pt x="99" y="72"/>
                  </a:lnTo>
                  <a:lnTo>
                    <a:pt x="99" y="74"/>
                  </a:lnTo>
                  <a:lnTo>
                    <a:pt x="99" y="76"/>
                  </a:lnTo>
                  <a:lnTo>
                    <a:pt x="95" y="85"/>
                  </a:lnTo>
                  <a:lnTo>
                    <a:pt x="93" y="90"/>
                  </a:lnTo>
                  <a:lnTo>
                    <a:pt x="93" y="90"/>
                  </a:lnTo>
                  <a:lnTo>
                    <a:pt x="93" y="88"/>
                  </a:lnTo>
                  <a:lnTo>
                    <a:pt x="93" y="86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5" y="79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6"/>
                  </a:lnTo>
                  <a:lnTo>
                    <a:pt x="97" y="72"/>
                  </a:lnTo>
                  <a:lnTo>
                    <a:pt x="97" y="72"/>
                  </a:lnTo>
                  <a:lnTo>
                    <a:pt x="97" y="72"/>
                  </a:lnTo>
                  <a:lnTo>
                    <a:pt x="95" y="68"/>
                  </a:lnTo>
                  <a:lnTo>
                    <a:pt x="93" y="67"/>
                  </a:lnTo>
                  <a:lnTo>
                    <a:pt x="93" y="65"/>
                  </a:lnTo>
                  <a:lnTo>
                    <a:pt x="92" y="65"/>
                  </a:lnTo>
                  <a:lnTo>
                    <a:pt x="92" y="63"/>
                  </a:lnTo>
                  <a:lnTo>
                    <a:pt x="92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8" y="65"/>
                  </a:lnTo>
                  <a:lnTo>
                    <a:pt x="86" y="68"/>
                  </a:lnTo>
                  <a:lnTo>
                    <a:pt x="86" y="72"/>
                  </a:lnTo>
                  <a:lnTo>
                    <a:pt x="86" y="74"/>
                  </a:lnTo>
                  <a:lnTo>
                    <a:pt x="84" y="81"/>
                  </a:lnTo>
                  <a:lnTo>
                    <a:pt x="84" y="79"/>
                  </a:lnTo>
                  <a:lnTo>
                    <a:pt x="84" y="76"/>
                  </a:lnTo>
                  <a:lnTo>
                    <a:pt x="86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0"/>
                  </a:lnTo>
                  <a:lnTo>
                    <a:pt x="83" y="74"/>
                  </a:lnTo>
                  <a:lnTo>
                    <a:pt x="83" y="76"/>
                  </a:lnTo>
                  <a:lnTo>
                    <a:pt x="81" y="76"/>
                  </a:lnTo>
                  <a:lnTo>
                    <a:pt x="79" y="76"/>
                  </a:lnTo>
                  <a:lnTo>
                    <a:pt x="81" y="76"/>
                  </a:lnTo>
                  <a:lnTo>
                    <a:pt x="83" y="72"/>
                  </a:lnTo>
                  <a:lnTo>
                    <a:pt x="83" y="70"/>
                  </a:lnTo>
                  <a:lnTo>
                    <a:pt x="84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5"/>
                  </a:lnTo>
                  <a:lnTo>
                    <a:pt x="81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5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7" y="68"/>
                  </a:lnTo>
                  <a:lnTo>
                    <a:pt x="74" y="72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2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7" y="67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7" y="63"/>
                  </a:lnTo>
                  <a:lnTo>
                    <a:pt x="77" y="61"/>
                  </a:lnTo>
                  <a:lnTo>
                    <a:pt x="77" y="59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5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0" y="59"/>
                  </a:lnTo>
                  <a:lnTo>
                    <a:pt x="70" y="58"/>
                  </a:lnTo>
                  <a:lnTo>
                    <a:pt x="70" y="56"/>
                  </a:lnTo>
                  <a:lnTo>
                    <a:pt x="70" y="54"/>
                  </a:lnTo>
                  <a:lnTo>
                    <a:pt x="68" y="52"/>
                  </a:lnTo>
                  <a:lnTo>
                    <a:pt x="68" y="50"/>
                  </a:lnTo>
                  <a:lnTo>
                    <a:pt x="66" y="50"/>
                  </a:lnTo>
                  <a:lnTo>
                    <a:pt x="61" y="47"/>
                  </a:lnTo>
                  <a:lnTo>
                    <a:pt x="54" y="45"/>
                  </a:lnTo>
                  <a:lnTo>
                    <a:pt x="52" y="45"/>
                  </a:lnTo>
                  <a:lnTo>
                    <a:pt x="52" y="47"/>
                  </a:lnTo>
                  <a:lnTo>
                    <a:pt x="50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8" y="49"/>
                  </a:lnTo>
                  <a:lnTo>
                    <a:pt x="47" y="49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2" y="54"/>
                  </a:lnTo>
                  <a:lnTo>
                    <a:pt x="48" y="54"/>
                  </a:lnTo>
                  <a:lnTo>
                    <a:pt x="45" y="54"/>
                  </a:lnTo>
                  <a:lnTo>
                    <a:pt x="43" y="56"/>
                  </a:lnTo>
                  <a:lnTo>
                    <a:pt x="45" y="58"/>
                  </a:lnTo>
                  <a:lnTo>
                    <a:pt x="47" y="59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2" y="65"/>
                  </a:lnTo>
                  <a:lnTo>
                    <a:pt x="54" y="65"/>
                  </a:lnTo>
                  <a:lnTo>
                    <a:pt x="56" y="65"/>
                  </a:lnTo>
                  <a:lnTo>
                    <a:pt x="56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68"/>
                  </a:lnTo>
                  <a:lnTo>
                    <a:pt x="54" y="67"/>
                  </a:lnTo>
                  <a:lnTo>
                    <a:pt x="52" y="67"/>
                  </a:lnTo>
                  <a:lnTo>
                    <a:pt x="50" y="67"/>
                  </a:lnTo>
                  <a:lnTo>
                    <a:pt x="41" y="61"/>
                  </a:lnTo>
                  <a:lnTo>
                    <a:pt x="39" y="59"/>
                  </a:lnTo>
                  <a:lnTo>
                    <a:pt x="36" y="61"/>
                  </a:lnTo>
                  <a:lnTo>
                    <a:pt x="36" y="63"/>
                  </a:lnTo>
                  <a:lnTo>
                    <a:pt x="36" y="65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7" y="72"/>
                  </a:lnTo>
                  <a:lnTo>
                    <a:pt x="39" y="74"/>
                  </a:lnTo>
                  <a:lnTo>
                    <a:pt x="41" y="74"/>
                  </a:lnTo>
                  <a:lnTo>
                    <a:pt x="41" y="76"/>
                  </a:lnTo>
                  <a:lnTo>
                    <a:pt x="43" y="76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52" y="83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6" y="88"/>
                  </a:lnTo>
                  <a:lnTo>
                    <a:pt x="65" y="90"/>
                  </a:lnTo>
                  <a:lnTo>
                    <a:pt x="63" y="88"/>
                  </a:lnTo>
                  <a:lnTo>
                    <a:pt x="59" y="86"/>
                  </a:lnTo>
                  <a:lnTo>
                    <a:pt x="56" y="86"/>
                  </a:lnTo>
                  <a:lnTo>
                    <a:pt x="50" y="83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5" y="83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39" y="81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2" y="81"/>
                  </a:lnTo>
                  <a:lnTo>
                    <a:pt x="32" y="85"/>
                  </a:lnTo>
                  <a:lnTo>
                    <a:pt x="34" y="88"/>
                  </a:lnTo>
                  <a:lnTo>
                    <a:pt x="36" y="92"/>
                  </a:lnTo>
                  <a:lnTo>
                    <a:pt x="37" y="95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43" y="95"/>
                  </a:lnTo>
                  <a:lnTo>
                    <a:pt x="45" y="97"/>
                  </a:lnTo>
                  <a:lnTo>
                    <a:pt x="47" y="99"/>
                  </a:lnTo>
                  <a:lnTo>
                    <a:pt x="61" y="99"/>
                  </a:lnTo>
                  <a:lnTo>
                    <a:pt x="63" y="97"/>
                  </a:lnTo>
                  <a:lnTo>
                    <a:pt x="65" y="97"/>
                  </a:lnTo>
                  <a:lnTo>
                    <a:pt x="66" y="95"/>
                  </a:lnTo>
                  <a:lnTo>
                    <a:pt x="66" y="97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3" y="101"/>
                  </a:lnTo>
                  <a:lnTo>
                    <a:pt x="61" y="101"/>
                  </a:lnTo>
                  <a:lnTo>
                    <a:pt x="59" y="101"/>
                  </a:lnTo>
                  <a:lnTo>
                    <a:pt x="57" y="101"/>
                  </a:lnTo>
                  <a:lnTo>
                    <a:pt x="54" y="103"/>
                  </a:lnTo>
                  <a:lnTo>
                    <a:pt x="54" y="101"/>
                  </a:lnTo>
                  <a:lnTo>
                    <a:pt x="52" y="101"/>
                  </a:lnTo>
                  <a:lnTo>
                    <a:pt x="50" y="103"/>
                  </a:lnTo>
                  <a:lnTo>
                    <a:pt x="48" y="103"/>
                  </a:lnTo>
                  <a:lnTo>
                    <a:pt x="50" y="105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4" y="108"/>
                  </a:lnTo>
                  <a:lnTo>
                    <a:pt x="56" y="110"/>
                  </a:lnTo>
                  <a:lnTo>
                    <a:pt x="61" y="108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7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6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48" y="115"/>
                  </a:lnTo>
                  <a:lnTo>
                    <a:pt x="48" y="117"/>
                  </a:lnTo>
                  <a:lnTo>
                    <a:pt x="47" y="115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48" y="110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5" y="106"/>
                  </a:lnTo>
                  <a:lnTo>
                    <a:pt x="45" y="105"/>
                  </a:lnTo>
                  <a:lnTo>
                    <a:pt x="23" y="94"/>
                  </a:lnTo>
                  <a:lnTo>
                    <a:pt x="21" y="94"/>
                  </a:lnTo>
                  <a:lnTo>
                    <a:pt x="19" y="95"/>
                  </a:lnTo>
                  <a:lnTo>
                    <a:pt x="19" y="97"/>
                  </a:lnTo>
                  <a:lnTo>
                    <a:pt x="19" y="97"/>
                  </a:lnTo>
                  <a:lnTo>
                    <a:pt x="19" y="99"/>
                  </a:lnTo>
                  <a:lnTo>
                    <a:pt x="19" y="101"/>
                  </a:lnTo>
                  <a:lnTo>
                    <a:pt x="21" y="105"/>
                  </a:lnTo>
                  <a:lnTo>
                    <a:pt x="23" y="108"/>
                  </a:lnTo>
                  <a:lnTo>
                    <a:pt x="25" y="108"/>
                  </a:lnTo>
                  <a:lnTo>
                    <a:pt x="27" y="110"/>
                  </a:lnTo>
                  <a:lnTo>
                    <a:pt x="30" y="112"/>
                  </a:lnTo>
                  <a:lnTo>
                    <a:pt x="32" y="112"/>
                  </a:lnTo>
                  <a:lnTo>
                    <a:pt x="34" y="114"/>
                  </a:lnTo>
                  <a:lnTo>
                    <a:pt x="34" y="115"/>
                  </a:lnTo>
                  <a:lnTo>
                    <a:pt x="36" y="117"/>
                  </a:lnTo>
                  <a:lnTo>
                    <a:pt x="34" y="117"/>
                  </a:lnTo>
                  <a:lnTo>
                    <a:pt x="28" y="114"/>
                  </a:lnTo>
                  <a:lnTo>
                    <a:pt x="21" y="112"/>
                  </a:lnTo>
                  <a:lnTo>
                    <a:pt x="23" y="114"/>
                  </a:lnTo>
                  <a:lnTo>
                    <a:pt x="25" y="115"/>
                  </a:lnTo>
                  <a:lnTo>
                    <a:pt x="25" y="119"/>
                  </a:lnTo>
                  <a:lnTo>
                    <a:pt x="28" y="121"/>
                  </a:lnTo>
                  <a:lnTo>
                    <a:pt x="28" y="121"/>
                  </a:lnTo>
                  <a:lnTo>
                    <a:pt x="30" y="123"/>
                  </a:lnTo>
                  <a:lnTo>
                    <a:pt x="30" y="124"/>
                  </a:lnTo>
                  <a:lnTo>
                    <a:pt x="32" y="124"/>
                  </a:lnTo>
                  <a:lnTo>
                    <a:pt x="32" y="126"/>
                  </a:lnTo>
                  <a:lnTo>
                    <a:pt x="34" y="126"/>
                  </a:lnTo>
                  <a:lnTo>
                    <a:pt x="36" y="126"/>
                  </a:lnTo>
                  <a:lnTo>
                    <a:pt x="32" y="128"/>
                  </a:lnTo>
                  <a:lnTo>
                    <a:pt x="32" y="128"/>
                  </a:lnTo>
                  <a:lnTo>
                    <a:pt x="30" y="126"/>
                  </a:lnTo>
                  <a:lnTo>
                    <a:pt x="28" y="126"/>
                  </a:lnTo>
                  <a:lnTo>
                    <a:pt x="28" y="124"/>
                  </a:lnTo>
                  <a:lnTo>
                    <a:pt x="27" y="123"/>
                  </a:lnTo>
                  <a:lnTo>
                    <a:pt x="23" y="123"/>
                  </a:lnTo>
                  <a:lnTo>
                    <a:pt x="21" y="121"/>
                  </a:lnTo>
                  <a:lnTo>
                    <a:pt x="19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2" y="114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9" y="115"/>
                  </a:lnTo>
                  <a:lnTo>
                    <a:pt x="7" y="115"/>
                  </a:lnTo>
                  <a:lnTo>
                    <a:pt x="7" y="117"/>
                  </a:lnTo>
                  <a:lnTo>
                    <a:pt x="7" y="121"/>
                  </a:lnTo>
                  <a:lnTo>
                    <a:pt x="7" y="123"/>
                  </a:lnTo>
                  <a:lnTo>
                    <a:pt x="7" y="123"/>
                  </a:lnTo>
                  <a:lnTo>
                    <a:pt x="3" y="124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1" y="128"/>
                  </a:lnTo>
                  <a:lnTo>
                    <a:pt x="0" y="130"/>
                  </a:lnTo>
                  <a:lnTo>
                    <a:pt x="0" y="132"/>
                  </a:lnTo>
                  <a:lnTo>
                    <a:pt x="1" y="132"/>
                  </a:lnTo>
                  <a:lnTo>
                    <a:pt x="16" y="130"/>
                  </a:lnTo>
                  <a:lnTo>
                    <a:pt x="23" y="133"/>
                  </a:lnTo>
                  <a:lnTo>
                    <a:pt x="25" y="135"/>
                  </a:lnTo>
                  <a:lnTo>
                    <a:pt x="25" y="133"/>
                  </a:lnTo>
                  <a:lnTo>
                    <a:pt x="27" y="133"/>
                  </a:lnTo>
                  <a:lnTo>
                    <a:pt x="28" y="135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35"/>
                  </a:lnTo>
                  <a:lnTo>
                    <a:pt x="27" y="135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39"/>
                  </a:lnTo>
                  <a:lnTo>
                    <a:pt x="27" y="139"/>
                  </a:lnTo>
                  <a:lnTo>
                    <a:pt x="27" y="141"/>
                  </a:lnTo>
                  <a:lnTo>
                    <a:pt x="28" y="141"/>
                  </a:lnTo>
                  <a:lnTo>
                    <a:pt x="30" y="142"/>
                  </a:lnTo>
                  <a:lnTo>
                    <a:pt x="41" y="139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3"/>
                  </a:lnTo>
                  <a:lnTo>
                    <a:pt x="45" y="135"/>
                  </a:lnTo>
                  <a:lnTo>
                    <a:pt x="52" y="133"/>
                  </a:lnTo>
                  <a:lnTo>
                    <a:pt x="54" y="132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2"/>
                  </a:lnTo>
                  <a:lnTo>
                    <a:pt x="59" y="132"/>
                  </a:lnTo>
                  <a:lnTo>
                    <a:pt x="61" y="132"/>
                  </a:lnTo>
                  <a:lnTo>
                    <a:pt x="63" y="132"/>
                  </a:lnTo>
                  <a:lnTo>
                    <a:pt x="65" y="132"/>
                  </a:lnTo>
                  <a:lnTo>
                    <a:pt x="65" y="132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6" y="128"/>
                  </a:lnTo>
                  <a:lnTo>
                    <a:pt x="66" y="126"/>
                  </a:lnTo>
                  <a:lnTo>
                    <a:pt x="66" y="123"/>
                  </a:lnTo>
                  <a:lnTo>
                    <a:pt x="66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23"/>
                  </a:lnTo>
                  <a:lnTo>
                    <a:pt x="70" y="124"/>
                  </a:lnTo>
                  <a:lnTo>
                    <a:pt x="72" y="126"/>
                  </a:lnTo>
                  <a:lnTo>
                    <a:pt x="74" y="124"/>
                  </a:lnTo>
                  <a:lnTo>
                    <a:pt x="77" y="124"/>
                  </a:lnTo>
                  <a:lnTo>
                    <a:pt x="77" y="123"/>
                  </a:lnTo>
                  <a:lnTo>
                    <a:pt x="77" y="121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79" y="119"/>
                  </a:lnTo>
                  <a:lnTo>
                    <a:pt x="79" y="121"/>
                  </a:lnTo>
                  <a:lnTo>
                    <a:pt x="79" y="121"/>
                  </a:lnTo>
                  <a:lnTo>
                    <a:pt x="81" y="123"/>
                  </a:lnTo>
                  <a:lnTo>
                    <a:pt x="83" y="121"/>
                  </a:lnTo>
                  <a:lnTo>
                    <a:pt x="83" y="119"/>
                  </a:lnTo>
                  <a:lnTo>
                    <a:pt x="83" y="115"/>
                  </a:lnTo>
                  <a:lnTo>
                    <a:pt x="84" y="117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4" y="121"/>
                  </a:lnTo>
                  <a:lnTo>
                    <a:pt x="83" y="123"/>
                  </a:lnTo>
                  <a:lnTo>
                    <a:pt x="81" y="124"/>
                  </a:lnTo>
                  <a:lnTo>
                    <a:pt x="81" y="124"/>
                  </a:lnTo>
                  <a:lnTo>
                    <a:pt x="83" y="126"/>
                  </a:lnTo>
                  <a:lnTo>
                    <a:pt x="83" y="124"/>
                  </a:lnTo>
                  <a:lnTo>
                    <a:pt x="83" y="126"/>
                  </a:lnTo>
                  <a:lnTo>
                    <a:pt x="84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88" y="121"/>
                  </a:lnTo>
                  <a:lnTo>
                    <a:pt x="88" y="119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4"/>
                  </a:lnTo>
                  <a:lnTo>
                    <a:pt x="90" y="114"/>
                  </a:lnTo>
                  <a:lnTo>
                    <a:pt x="90" y="115"/>
                  </a:lnTo>
                  <a:lnTo>
                    <a:pt x="92" y="115"/>
                  </a:lnTo>
                  <a:lnTo>
                    <a:pt x="92" y="115"/>
                  </a:lnTo>
                  <a:lnTo>
                    <a:pt x="92" y="115"/>
                  </a:lnTo>
                  <a:lnTo>
                    <a:pt x="92" y="115"/>
                  </a:lnTo>
                  <a:lnTo>
                    <a:pt x="92" y="117"/>
                  </a:lnTo>
                  <a:lnTo>
                    <a:pt x="90" y="119"/>
                  </a:lnTo>
                  <a:lnTo>
                    <a:pt x="90" y="121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5" y="123"/>
                  </a:lnTo>
                  <a:lnTo>
                    <a:pt x="95" y="123"/>
                  </a:lnTo>
                  <a:lnTo>
                    <a:pt x="95" y="124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7" y="124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1"/>
                  </a:lnTo>
                  <a:lnTo>
                    <a:pt x="99" y="119"/>
                  </a:lnTo>
                  <a:lnTo>
                    <a:pt x="99" y="117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99" y="114"/>
                  </a:lnTo>
                  <a:lnTo>
                    <a:pt x="99" y="115"/>
                  </a:lnTo>
                  <a:lnTo>
                    <a:pt x="101" y="119"/>
                  </a:lnTo>
                  <a:lnTo>
                    <a:pt x="101" y="123"/>
                  </a:lnTo>
                  <a:lnTo>
                    <a:pt x="101" y="123"/>
                  </a:lnTo>
                  <a:lnTo>
                    <a:pt x="101" y="124"/>
                  </a:lnTo>
                  <a:lnTo>
                    <a:pt x="101" y="126"/>
                  </a:lnTo>
                  <a:lnTo>
                    <a:pt x="101" y="130"/>
                  </a:lnTo>
                  <a:lnTo>
                    <a:pt x="102" y="130"/>
                  </a:lnTo>
                  <a:lnTo>
                    <a:pt x="104" y="128"/>
                  </a:lnTo>
                  <a:lnTo>
                    <a:pt x="106" y="128"/>
                  </a:lnTo>
                  <a:lnTo>
                    <a:pt x="106" y="126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10" y="124"/>
                  </a:lnTo>
                  <a:lnTo>
                    <a:pt x="110" y="123"/>
                  </a:lnTo>
                  <a:lnTo>
                    <a:pt x="112" y="123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12" y="126"/>
                  </a:lnTo>
                  <a:lnTo>
                    <a:pt x="113" y="126"/>
                  </a:lnTo>
                  <a:lnTo>
                    <a:pt x="115" y="124"/>
                  </a:lnTo>
                  <a:lnTo>
                    <a:pt x="119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19" y="121"/>
                  </a:lnTo>
                  <a:lnTo>
                    <a:pt x="119" y="121"/>
                  </a:lnTo>
                  <a:lnTo>
                    <a:pt x="119" y="123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7" y="126"/>
                  </a:lnTo>
                  <a:lnTo>
                    <a:pt x="115" y="128"/>
                  </a:lnTo>
                  <a:lnTo>
                    <a:pt x="108" y="128"/>
                  </a:lnTo>
                  <a:lnTo>
                    <a:pt x="108" y="130"/>
                  </a:lnTo>
                  <a:lnTo>
                    <a:pt x="106" y="132"/>
                  </a:lnTo>
                  <a:lnTo>
                    <a:pt x="106" y="132"/>
                  </a:lnTo>
                  <a:lnTo>
                    <a:pt x="110" y="133"/>
                  </a:lnTo>
                  <a:lnTo>
                    <a:pt x="112" y="137"/>
                  </a:lnTo>
                  <a:lnTo>
                    <a:pt x="113" y="139"/>
                  </a:lnTo>
                  <a:lnTo>
                    <a:pt x="115" y="139"/>
                  </a:lnTo>
                  <a:lnTo>
                    <a:pt x="117" y="139"/>
                  </a:lnTo>
                  <a:lnTo>
                    <a:pt x="117" y="137"/>
                  </a:lnTo>
                  <a:lnTo>
                    <a:pt x="117" y="137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3"/>
                  </a:lnTo>
                  <a:lnTo>
                    <a:pt x="121" y="132"/>
                  </a:lnTo>
                  <a:lnTo>
                    <a:pt x="121" y="130"/>
                  </a:lnTo>
                  <a:lnTo>
                    <a:pt x="121" y="128"/>
                  </a:lnTo>
                  <a:lnTo>
                    <a:pt x="121" y="126"/>
                  </a:lnTo>
                  <a:lnTo>
                    <a:pt x="121" y="128"/>
                  </a:lnTo>
                  <a:lnTo>
                    <a:pt x="122" y="130"/>
                  </a:lnTo>
                  <a:lnTo>
                    <a:pt x="122" y="132"/>
                  </a:lnTo>
                  <a:lnTo>
                    <a:pt x="122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6" y="130"/>
                  </a:lnTo>
                  <a:lnTo>
                    <a:pt x="126" y="130"/>
                  </a:lnTo>
                  <a:lnTo>
                    <a:pt x="126" y="130"/>
                  </a:lnTo>
                  <a:lnTo>
                    <a:pt x="126" y="132"/>
                  </a:lnTo>
                  <a:lnTo>
                    <a:pt x="128" y="132"/>
                  </a:lnTo>
                  <a:lnTo>
                    <a:pt x="130" y="133"/>
                  </a:lnTo>
                  <a:lnTo>
                    <a:pt x="128" y="135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31" y="137"/>
                  </a:lnTo>
                  <a:lnTo>
                    <a:pt x="135" y="137"/>
                  </a:lnTo>
                  <a:lnTo>
                    <a:pt x="137" y="137"/>
                  </a:lnTo>
                  <a:lnTo>
                    <a:pt x="142" y="135"/>
                  </a:lnTo>
                  <a:lnTo>
                    <a:pt x="140" y="137"/>
                  </a:lnTo>
                  <a:lnTo>
                    <a:pt x="139" y="137"/>
                  </a:lnTo>
                  <a:lnTo>
                    <a:pt x="131" y="141"/>
                  </a:lnTo>
                  <a:lnTo>
                    <a:pt x="128" y="142"/>
                  </a:lnTo>
                  <a:lnTo>
                    <a:pt x="130" y="142"/>
                  </a:lnTo>
                  <a:lnTo>
                    <a:pt x="130" y="144"/>
                  </a:lnTo>
                  <a:lnTo>
                    <a:pt x="128" y="144"/>
                  </a:lnTo>
                  <a:lnTo>
                    <a:pt x="128" y="142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8" y="142"/>
                  </a:lnTo>
                  <a:lnTo>
                    <a:pt x="126" y="144"/>
                  </a:lnTo>
                  <a:lnTo>
                    <a:pt x="122" y="146"/>
                  </a:lnTo>
                  <a:lnTo>
                    <a:pt x="121" y="148"/>
                  </a:lnTo>
                  <a:lnTo>
                    <a:pt x="115" y="151"/>
                  </a:lnTo>
                  <a:lnTo>
                    <a:pt x="110" y="153"/>
                  </a:lnTo>
                  <a:lnTo>
                    <a:pt x="110" y="155"/>
                  </a:lnTo>
                  <a:lnTo>
                    <a:pt x="108" y="157"/>
                  </a:lnTo>
                  <a:lnTo>
                    <a:pt x="108" y="159"/>
                  </a:lnTo>
                  <a:lnTo>
                    <a:pt x="106" y="159"/>
                  </a:lnTo>
                  <a:lnTo>
                    <a:pt x="104" y="159"/>
                  </a:lnTo>
                  <a:lnTo>
                    <a:pt x="104" y="161"/>
                  </a:lnTo>
                  <a:lnTo>
                    <a:pt x="104" y="161"/>
                  </a:lnTo>
                  <a:lnTo>
                    <a:pt x="101" y="162"/>
                  </a:lnTo>
                  <a:lnTo>
                    <a:pt x="101" y="164"/>
                  </a:lnTo>
                  <a:lnTo>
                    <a:pt x="99" y="166"/>
                  </a:lnTo>
                  <a:lnTo>
                    <a:pt x="99" y="168"/>
                  </a:lnTo>
                  <a:lnTo>
                    <a:pt x="101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102" y="168"/>
                  </a:lnTo>
                  <a:lnTo>
                    <a:pt x="101" y="168"/>
                  </a:lnTo>
                  <a:lnTo>
                    <a:pt x="101" y="170"/>
                  </a:lnTo>
                  <a:lnTo>
                    <a:pt x="99" y="170"/>
                  </a:lnTo>
                  <a:lnTo>
                    <a:pt x="99" y="170"/>
                  </a:lnTo>
                  <a:lnTo>
                    <a:pt x="99" y="171"/>
                  </a:lnTo>
                  <a:lnTo>
                    <a:pt x="101" y="171"/>
                  </a:lnTo>
                  <a:lnTo>
                    <a:pt x="104" y="171"/>
                  </a:lnTo>
                  <a:lnTo>
                    <a:pt x="106" y="171"/>
                  </a:lnTo>
                  <a:lnTo>
                    <a:pt x="106" y="170"/>
                  </a:lnTo>
                  <a:lnTo>
                    <a:pt x="106" y="171"/>
                  </a:lnTo>
                  <a:lnTo>
                    <a:pt x="110" y="173"/>
                  </a:lnTo>
                  <a:lnTo>
                    <a:pt x="124" y="177"/>
                  </a:lnTo>
                  <a:lnTo>
                    <a:pt x="128" y="175"/>
                  </a:lnTo>
                  <a:lnTo>
                    <a:pt x="135" y="170"/>
                  </a:lnTo>
                  <a:lnTo>
                    <a:pt x="135" y="168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5" y="166"/>
                  </a:lnTo>
                  <a:lnTo>
                    <a:pt x="139" y="166"/>
                  </a:lnTo>
                  <a:lnTo>
                    <a:pt x="139" y="168"/>
                  </a:lnTo>
                  <a:lnTo>
                    <a:pt x="139" y="171"/>
                  </a:lnTo>
                  <a:lnTo>
                    <a:pt x="137" y="177"/>
                  </a:lnTo>
                  <a:lnTo>
                    <a:pt x="137" y="179"/>
                  </a:lnTo>
                  <a:lnTo>
                    <a:pt x="135" y="179"/>
                  </a:lnTo>
                  <a:lnTo>
                    <a:pt x="135" y="180"/>
                  </a:lnTo>
                  <a:lnTo>
                    <a:pt x="135" y="180"/>
                  </a:lnTo>
                  <a:lnTo>
                    <a:pt x="133" y="182"/>
                  </a:lnTo>
                  <a:lnTo>
                    <a:pt x="135" y="182"/>
                  </a:lnTo>
                  <a:lnTo>
                    <a:pt x="137" y="184"/>
                  </a:lnTo>
                  <a:lnTo>
                    <a:pt x="137" y="184"/>
                  </a:lnTo>
                  <a:lnTo>
                    <a:pt x="135" y="186"/>
                  </a:lnTo>
                  <a:lnTo>
                    <a:pt x="130" y="188"/>
                  </a:lnTo>
                  <a:lnTo>
                    <a:pt x="128" y="186"/>
                  </a:lnTo>
                  <a:lnTo>
                    <a:pt x="128" y="186"/>
                  </a:lnTo>
                  <a:lnTo>
                    <a:pt x="128" y="188"/>
                  </a:lnTo>
                  <a:lnTo>
                    <a:pt x="126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1" y="186"/>
                  </a:lnTo>
                  <a:lnTo>
                    <a:pt x="119" y="186"/>
                  </a:lnTo>
                  <a:lnTo>
                    <a:pt x="119" y="186"/>
                  </a:lnTo>
                  <a:lnTo>
                    <a:pt x="119" y="188"/>
                  </a:lnTo>
                  <a:lnTo>
                    <a:pt x="113" y="184"/>
                  </a:lnTo>
                  <a:lnTo>
                    <a:pt x="108" y="182"/>
                  </a:lnTo>
                  <a:lnTo>
                    <a:pt x="102" y="184"/>
                  </a:lnTo>
                  <a:lnTo>
                    <a:pt x="99" y="184"/>
                  </a:lnTo>
                  <a:lnTo>
                    <a:pt x="97" y="184"/>
                  </a:lnTo>
                  <a:lnTo>
                    <a:pt x="97" y="186"/>
                  </a:lnTo>
                  <a:lnTo>
                    <a:pt x="97" y="186"/>
                  </a:lnTo>
                  <a:lnTo>
                    <a:pt x="95" y="186"/>
                  </a:lnTo>
                  <a:lnTo>
                    <a:pt x="95" y="188"/>
                  </a:lnTo>
                  <a:lnTo>
                    <a:pt x="95" y="191"/>
                  </a:lnTo>
                  <a:lnTo>
                    <a:pt x="97" y="191"/>
                  </a:lnTo>
                  <a:lnTo>
                    <a:pt x="97" y="191"/>
                  </a:lnTo>
                  <a:lnTo>
                    <a:pt x="97" y="193"/>
                  </a:lnTo>
                  <a:lnTo>
                    <a:pt x="97" y="191"/>
                  </a:lnTo>
                  <a:lnTo>
                    <a:pt x="93" y="189"/>
                  </a:lnTo>
                  <a:lnTo>
                    <a:pt x="92" y="189"/>
                  </a:lnTo>
                  <a:lnTo>
                    <a:pt x="92" y="188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90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90" y="186"/>
                  </a:lnTo>
                  <a:lnTo>
                    <a:pt x="90" y="186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2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0"/>
                  </a:lnTo>
                  <a:lnTo>
                    <a:pt x="88" y="182"/>
                  </a:lnTo>
                  <a:lnTo>
                    <a:pt x="84" y="186"/>
                  </a:lnTo>
                  <a:lnTo>
                    <a:pt x="83" y="186"/>
                  </a:lnTo>
                  <a:lnTo>
                    <a:pt x="83" y="188"/>
                  </a:lnTo>
                  <a:lnTo>
                    <a:pt x="86" y="186"/>
                  </a:lnTo>
                  <a:lnTo>
                    <a:pt x="86" y="188"/>
                  </a:lnTo>
                  <a:lnTo>
                    <a:pt x="84" y="189"/>
                  </a:lnTo>
                  <a:lnTo>
                    <a:pt x="81" y="189"/>
                  </a:lnTo>
                  <a:lnTo>
                    <a:pt x="79" y="191"/>
                  </a:lnTo>
                  <a:lnTo>
                    <a:pt x="79" y="191"/>
                  </a:lnTo>
                  <a:lnTo>
                    <a:pt x="77" y="189"/>
                  </a:lnTo>
                  <a:lnTo>
                    <a:pt x="77" y="188"/>
                  </a:lnTo>
                  <a:lnTo>
                    <a:pt x="75" y="188"/>
                  </a:lnTo>
                  <a:lnTo>
                    <a:pt x="74" y="189"/>
                  </a:lnTo>
                  <a:lnTo>
                    <a:pt x="74" y="191"/>
                  </a:lnTo>
                  <a:lnTo>
                    <a:pt x="74" y="193"/>
                  </a:lnTo>
                  <a:lnTo>
                    <a:pt x="74" y="193"/>
                  </a:lnTo>
                  <a:lnTo>
                    <a:pt x="72" y="193"/>
                  </a:lnTo>
                  <a:lnTo>
                    <a:pt x="72" y="193"/>
                  </a:lnTo>
                  <a:lnTo>
                    <a:pt x="72" y="195"/>
                  </a:lnTo>
                  <a:lnTo>
                    <a:pt x="70" y="195"/>
                  </a:lnTo>
                  <a:lnTo>
                    <a:pt x="70" y="197"/>
                  </a:lnTo>
                  <a:lnTo>
                    <a:pt x="70" y="198"/>
                  </a:lnTo>
                  <a:lnTo>
                    <a:pt x="70" y="200"/>
                  </a:lnTo>
                  <a:lnTo>
                    <a:pt x="68" y="195"/>
                  </a:lnTo>
                  <a:lnTo>
                    <a:pt x="68" y="195"/>
                  </a:lnTo>
                  <a:lnTo>
                    <a:pt x="68" y="193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1"/>
                  </a:lnTo>
                  <a:lnTo>
                    <a:pt x="70" y="191"/>
                  </a:lnTo>
                  <a:lnTo>
                    <a:pt x="70" y="191"/>
                  </a:lnTo>
                  <a:lnTo>
                    <a:pt x="72" y="189"/>
                  </a:lnTo>
                  <a:lnTo>
                    <a:pt x="72" y="188"/>
                  </a:lnTo>
                  <a:lnTo>
                    <a:pt x="68" y="188"/>
                  </a:lnTo>
                  <a:lnTo>
                    <a:pt x="66" y="188"/>
                  </a:lnTo>
                  <a:lnTo>
                    <a:pt x="65" y="189"/>
                  </a:lnTo>
                  <a:lnTo>
                    <a:pt x="65" y="191"/>
                  </a:lnTo>
                  <a:lnTo>
                    <a:pt x="65" y="193"/>
                  </a:lnTo>
                  <a:lnTo>
                    <a:pt x="65" y="195"/>
                  </a:lnTo>
                  <a:lnTo>
                    <a:pt x="65" y="197"/>
                  </a:lnTo>
                  <a:lnTo>
                    <a:pt x="65" y="197"/>
                  </a:lnTo>
                  <a:lnTo>
                    <a:pt x="65" y="198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7"/>
                  </a:lnTo>
                  <a:lnTo>
                    <a:pt x="61" y="195"/>
                  </a:lnTo>
                  <a:lnTo>
                    <a:pt x="61" y="195"/>
                  </a:lnTo>
                  <a:lnTo>
                    <a:pt x="59" y="197"/>
                  </a:lnTo>
                  <a:lnTo>
                    <a:pt x="59" y="197"/>
                  </a:lnTo>
                  <a:lnTo>
                    <a:pt x="59" y="197"/>
                  </a:lnTo>
                  <a:lnTo>
                    <a:pt x="59" y="195"/>
                  </a:lnTo>
                  <a:lnTo>
                    <a:pt x="59" y="193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7" y="195"/>
                  </a:lnTo>
                  <a:lnTo>
                    <a:pt x="57" y="195"/>
                  </a:lnTo>
                  <a:lnTo>
                    <a:pt x="57" y="195"/>
                  </a:lnTo>
                  <a:lnTo>
                    <a:pt x="57" y="197"/>
                  </a:lnTo>
                  <a:lnTo>
                    <a:pt x="52" y="195"/>
                  </a:lnTo>
                  <a:lnTo>
                    <a:pt x="50" y="197"/>
                  </a:lnTo>
                  <a:lnTo>
                    <a:pt x="48" y="198"/>
                  </a:lnTo>
                  <a:lnTo>
                    <a:pt x="48" y="200"/>
                  </a:lnTo>
                  <a:lnTo>
                    <a:pt x="47" y="200"/>
                  </a:lnTo>
                  <a:lnTo>
                    <a:pt x="45" y="200"/>
                  </a:lnTo>
                  <a:lnTo>
                    <a:pt x="45" y="202"/>
                  </a:lnTo>
                  <a:lnTo>
                    <a:pt x="45" y="202"/>
                  </a:lnTo>
                  <a:lnTo>
                    <a:pt x="39" y="200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28" y="200"/>
                  </a:lnTo>
                  <a:lnTo>
                    <a:pt x="27" y="200"/>
                  </a:lnTo>
                  <a:lnTo>
                    <a:pt x="25" y="202"/>
                  </a:lnTo>
                  <a:lnTo>
                    <a:pt x="25" y="204"/>
                  </a:lnTo>
                  <a:lnTo>
                    <a:pt x="23" y="202"/>
                  </a:lnTo>
                  <a:lnTo>
                    <a:pt x="23" y="202"/>
                  </a:lnTo>
                  <a:lnTo>
                    <a:pt x="25" y="207"/>
                  </a:lnTo>
                  <a:lnTo>
                    <a:pt x="25" y="209"/>
                  </a:lnTo>
                  <a:lnTo>
                    <a:pt x="27" y="211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30" y="218"/>
                  </a:lnTo>
                  <a:lnTo>
                    <a:pt x="30" y="220"/>
                  </a:lnTo>
                  <a:lnTo>
                    <a:pt x="34" y="222"/>
                  </a:lnTo>
                  <a:lnTo>
                    <a:pt x="36" y="222"/>
                  </a:lnTo>
                  <a:lnTo>
                    <a:pt x="37" y="220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5" y="217"/>
                  </a:lnTo>
                  <a:lnTo>
                    <a:pt x="45" y="215"/>
                  </a:lnTo>
                  <a:lnTo>
                    <a:pt x="47" y="213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8" y="213"/>
                  </a:lnTo>
                  <a:lnTo>
                    <a:pt x="47" y="213"/>
                  </a:lnTo>
                  <a:lnTo>
                    <a:pt x="54" y="215"/>
                  </a:lnTo>
                  <a:lnTo>
                    <a:pt x="54" y="215"/>
                  </a:lnTo>
                  <a:lnTo>
                    <a:pt x="54" y="215"/>
                  </a:lnTo>
                  <a:lnTo>
                    <a:pt x="56" y="213"/>
                  </a:lnTo>
                  <a:lnTo>
                    <a:pt x="56" y="213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61" y="209"/>
                  </a:lnTo>
                  <a:lnTo>
                    <a:pt x="65" y="209"/>
                  </a:lnTo>
                  <a:lnTo>
                    <a:pt x="66" y="213"/>
                  </a:lnTo>
                  <a:lnTo>
                    <a:pt x="74" y="213"/>
                  </a:lnTo>
                  <a:lnTo>
                    <a:pt x="79" y="213"/>
                  </a:lnTo>
                  <a:lnTo>
                    <a:pt x="86" y="215"/>
                  </a:lnTo>
                  <a:lnTo>
                    <a:pt x="86" y="215"/>
                  </a:lnTo>
                  <a:lnTo>
                    <a:pt x="86" y="215"/>
                  </a:lnTo>
                  <a:lnTo>
                    <a:pt x="90" y="217"/>
                  </a:lnTo>
                  <a:lnTo>
                    <a:pt x="90" y="217"/>
                  </a:lnTo>
                  <a:lnTo>
                    <a:pt x="90" y="217"/>
                  </a:lnTo>
                  <a:lnTo>
                    <a:pt x="88" y="215"/>
                  </a:lnTo>
                  <a:lnTo>
                    <a:pt x="88" y="213"/>
                  </a:lnTo>
                  <a:lnTo>
                    <a:pt x="92" y="213"/>
                  </a:lnTo>
                  <a:lnTo>
                    <a:pt x="93" y="213"/>
                  </a:lnTo>
                  <a:lnTo>
                    <a:pt x="93" y="215"/>
                  </a:lnTo>
                  <a:lnTo>
                    <a:pt x="93" y="215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2" y="217"/>
                  </a:lnTo>
                  <a:lnTo>
                    <a:pt x="93" y="218"/>
                  </a:lnTo>
                  <a:lnTo>
                    <a:pt x="97" y="217"/>
                  </a:lnTo>
                  <a:lnTo>
                    <a:pt x="97" y="217"/>
                  </a:lnTo>
                  <a:lnTo>
                    <a:pt x="97" y="217"/>
                  </a:lnTo>
                  <a:lnTo>
                    <a:pt x="97" y="215"/>
                  </a:lnTo>
                  <a:lnTo>
                    <a:pt x="97" y="215"/>
                  </a:lnTo>
                  <a:lnTo>
                    <a:pt x="99" y="213"/>
                  </a:lnTo>
                  <a:lnTo>
                    <a:pt x="99" y="213"/>
                  </a:lnTo>
                  <a:lnTo>
                    <a:pt x="102" y="213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2" y="211"/>
                  </a:lnTo>
                  <a:lnTo>
                    <a:pt x="104" y="213"/>
                  </a:lnTo>
                  <a:lnTo>
                    <a:pt x="104" y="213"/>
                  </a:lnTo>
                  <a:lnTo>
                    <a:pt x="104" y="213"/>
                  </a:lnTo>
                  <a:lnTo>
                    <a:pt x="104" y="211"/>
                  </a:lnTo>
                  <a:lnTo>
                    <a:pt x="104" y="211"/>
                  </a:lnTo>
                  <a:lnTo>
                    <a:pt x="106" y="211"/>
                  </a:lnTo>
                  <a:lnTo>
                    <a:pt x="106" y="213"/>
                  </a:lnTo>
                  <a:lnTo>
                    <a:pt x="104" y="215"/>
                  </a:lnTo>
                  <a:lnTo>
                    <a:pt x="104" y="217"/>
                  </a:lnTo>
                  <a:lnTo>
                    <a:pt x="104" y="217"/>
                  </a:lnTo>
                  <a:lnTo>
                    <a:pt x="104" y="217"/>
                  </a:lnTo>
                  <a:lnTo>
                    <a:pt x="108" y="217"/>
                  </a:lnTo>
                  <a:lnTo>
                    <a:pt x="110" y="218"/>
                  </a:lnTo>
                  <a:lnTo>
                    <a:pt x="110" y="218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08" y="220"/>
                  </a:lnTo>
                  <a:lnTo>
                    <a:pt x="110" y="222"/>
                  </a:lnTo>
                  <a:lnTo>
                    <a:pt x="108" y="222"/>
                  </a:lnTo>
                  <a:lnTo>
                    <a:pt x="108" y="224"/>
                  </a:lnTo>
                  <a:lnTo>
                    <a:pt x="108" y="224"/>
                  </a:lnTo>
                  <a:lnTo>
                    <a:pt x="106" y="227"/>
                  </a:lnTo>
                  <a:lnTo>
                    <a:pt x="104" y="227"/>
                  </a:lnTo>
                  <a:lnTo>
                    <a:pt x="106" y="227"/>
                  </a:lnTo>
                  <a:lnTo>
                    <a:pt x="108" y="227"/>
                  </a:lnTo>
                  <a:lnTo>
                    <a:pt x="110" y="226"/>
                  </a:lnTo>
                  <a:lnTo>
                    <a:pt x="110" y="224"/>
                  </a:lnTo>
                  <a:lnTo>
                    <a:pt x="112" y="224"/>
                  </a:lnTo>
                  <a:lnTo>
                    <a:pt x="113" y="224"/>
                  </a:lnTo>
                  <a:lnTo>
                    <a:pt x="117" y="220"/>
                  </a:lnTo>
                  <a:lnTo>
                    <a:pt x="117" y="222"/>
                  </a:lnTo>
                  <a:lnTo>
                    <a:pt x="115" y="224"/>
                  </a:lnTo>
                  <a:lnTo>
                    <a:pt x="110" y="226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9"/>
                  </a:lnTo>
                  <a:lnTo>
                    <a:pt x="108" y="229"/>
                  </a:lnTo>
                  <a:lnTo>
                    <a:pt x="108" y="231"/>
                  </a:lnTo>
                  <a:lnTo>
                    <a:pt x="110" y="231"/>
                  </a:lnTo>
                  <a:lnTo>
                    <a:pt x="108" y="233"/>
                  </a:lnTo>
                  <a:lnTo>
                    <a:pt x="106" y="231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4" y="231"/>
                  </a:lnTo>
                  <a:lnTo>
                    <a:pt x="104" y="231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8" y="235"/>
                  </a:lnTo>
                  <a:lnTo>
                    <a:pt x="108" y="235"/>
                  </a:lnTo>
                  <a:lnTo>
                    <a:pt x="108" y="235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10" y="242"/>
                  </a:lnTo>
                  <a:lnTo>
                    <a:pt x="110" y="242"/>
                  </a:lnTo>
                  <a:lnTo>
                    <a:pt x="112" y="242"/>
                  </a:lnTo>
                  <a:lnTo>
                    <a:pt x="113" y="240"/>
                  </a:lnTo>
                  <a:lnTo>
                    <a:pt x="113" y="240"/>
                  </a:lnTo>
                  <a:lnTo>
                    <a:pt x="113" y="242"/>
                  </a:lnTo>
                  <a:lnTo>
                    <a:pt x="113" y="242"/>
                  </a:lnTo>
                  <a:lnTo>
                    <a:pt x="113" y="242"/>
                  </a:lnTo>
                  <a:lnTo>
                    <a:pt x="113" y="242"/>
                  </a:lnTo>
                  <a:lnTo>
                    <a:pt x="115" y="242"/>
                  </a:lnTo>
                  <a:lnTo>
                    <a:pt x="115" y="244"/>
                  </a:lnTo>
                  <a:lnTo>
                    <a:pt x="115" y="244"/>
                  </a:lnTo>
                  <a:lnTo>
                    <a:pt x="115" y="244"/>
                  </a:lnTo>
                  <a:lnTo>
                    <a:pt x="115" y="245"/>
                  </a:lnTo>
                  <a:lnTo>
                    <a:pt x="115" y="247"/>
                  </a:lnTo>
                  <a:lnTo>
                    <a:pt x="113" y="249"/>
                  </a:lnTo>
                  <a:lnTo>
                    <a:pt x="113" y="251"/>
                  </a:lnTo>
                  <a:lnTo>
                    <a:pt x="113" y="251"/>
                  </a:lnTo>
                  <a:lnTo>
                    <a:pt x="113" y="249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51"/>
                  </a:lnTo>
                  <a:lnTo>
                    <a:pt x="117" y="253"/>
                  </a:lnTo>
                  <a:lnTo>
                    <a:pt x="117" y="253"/>
                  </a:lnTo>
                  <a:lnTo>
                    <a:pt x="119" y="253"/>
                  </a:lnTo>
                  <a:lnTo>
                    <a:pt x="119" y="253"/>
                  </a:lnTo>
                  <a:lnTo>
                    <a:pt x="119" y="253"/>
                  </a:lnTo>
                  <a:lnTo>
                    <a:pt x="119" y="253"/>
                  </a:lnTo>
                  <a:lnTo>
                    <a:pt x="119" y="253"/>
                  </a:lnTo>
                  <a:lnTo>
                    <a:pt x="119" y="253"/>
                  </a:lnTo>
                  <a:lnTo>
                    <a:pt x="121" y="253"/>
                  </a:lnTo>
                  <a:lnTo>
                    <a:pt x="122" y="251"/>
                  </a:lnTo>
                  <a:lnTo>
                    <a:pt x="122" y="251"/>
                  </a:lnTo>
                  <a:lnTo>
                    <a:pt x="122" y="249"/>
                  </a:lnTo>
                  <a:lnTo>
                    <a:pt x="122" y="249"/>
                  </a:lnTo>
                  <a:lnTo>
                    <a:pt x="124" y="247"/>
                  </a:lnTo>
                  <a:lnTo>
                    <a:pt x="124" y="245"/>
                  </a:lnTo>
                  <a:lnTo>
                    <a:pt x="124" y="244"/>
                  </a:lnTo>
                  <a:lnTo>
                    <a:pt x="124" y="242"/>
                  </a:lnTo>
                  <a:lnTo>
                    <a:pt x="124" y="240"/>
                  </a:lnTo>
                  <a:lnTo>
                    <a:pt x="126" y="240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8" y="244"/>
                  </a:lnTo>
                  <a:lnTo>
                    <a:pt x="131" y="242"/>
                  </a:lnTo>
                  <a:lnTo>
                    <a:pt x="131" y="240"/>
                  </a:lnTo>
                  <a:lnTo>
                    <a:pt x="133" y="242"/>
                  </a:lnTo>
                  <a:lnTo>
                    <a:pt x="133" y="240"/>
                  </a:lnTo>
                  <a:lnTo>
                    <a:pt x="133" y="240"/>
                  </a:lnTo>
                  <a:lnTo>
                    <a:pt x="137" y="238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40" y="235"/>
                  </a:lnTo>
                  <a:lnTo>
                    <a:pt x="140" y="233"/>
                  </a:lnTo>
                  <a:lnTo>
                    <a:pt x="140" y="231"/>
                  </a:lnTo>
                  <a:lnTo>
                    <a:pt x="140" y="231"/>
                  </a:lnTo>
                  <a:lnTo>
                    <a:pt x="142" y="229"/>
                  </a:lnTo>
                  <a:lnTo>
                    <a:pt x="142" y="231"/>
                  </a:lnTo>
                  <a:lnTo>
                    <a:pt x="142" y="231"/>
                  </a:lnTo>
                  <a:lnTo>
                    <a:pt x="140" y="233"/>
                  </a:lnTo>
                  <a:lnTo>
                    <a:pt x="140" y="233"/>
                  </a:lnTo>
                  <a:lnTo>
                    <a:pt x="142" y="233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4" y="233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8" y="235"/>
                  </a:lnTo>
                  <a:lnTo>
                    <a:pt x="148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8" y="238"/>
                  </a:lnTo>
                  <a:lnTo>
                    <a:pt x="148" y="240"/>
                  </a:lnTo>
                  <a:lnTo>
                    <a:pt x="149" y="240"/>
                  </a:lnTo>
                  <a:lnTo>
                    <a:pt x="151" y="240"/>
                  </a:lnTo>
                  <a:lnTo>
                    <a:pt x="151" y="240"/>
                  </a:lnTo>
                  <a:lnTo>
                    <a:pt x="148" y="240"/>
                  </a:lnTo>
                  <a:lnTo>
                    <a:pt x="146" y="240"/>
                  </a:lnTo>
                  <a:lnTo>
                    <a:pt x="146" y="238"/>
                  </a:lnTo>
                  <a:lnTo>
                    <a:pt x="144" y="238"/>
                  </a:lnTo>
                  <a:lnTo>
                    <a:pt x="144" y="238"/>
                  </a:lnTo>
                  <a:lnTo>
                    <a:pt x="144" y="236"/>
                  </a:lnTo>
                  <a:lnTo>
                    <a:pt x="142" y="236"/>
                  </a:lnTo>
                  <a:lnTo>
                    <a:pt x="140" y="236"/>
                  </a:lnTo>
                  <a:lnTo>
                    <a:pt x="140" y="236"/>
                  </a:lnTo>
                  <a:lnTo>
                    <a:pt x="140" y="236"/>
                  </a:lnTo>
                  <a:lnTo>
                    <a:pt x="139" y="238"/>
                  </a:lnTo>
                  <a:lnTo>
                    <a:pt x="137" y="240"/>
                  </a:lnTo>
                  <a:lnTo>
                    <a:pt x="135" y="242"/>
                  </a:lnTo>
                  <a:lnTo>
                    <a:pt x="135" y="242"/>
                  </a:lnTo>
                  <a:lnTo>
                    <a:pt x="135" y="242"/>
                  </a:lnTo>
                  <a:lnTo>
                    <a:pt x="137" y="242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5" y="244"/>
                  </a:lnTo>
                  <a:lnTo>
                    <a:pt x="128" y="247"/>
                  </a:lnTo>
                  <a:lnTo>
                    <a:pt x="128" y="249"/>
                  </a:lnTo>
                  <a:lnTo>
                    <a:pt x="128" y="249"/>
                  </a:lnTo>
                  <a:lnTo>
                    <a:pt x="126" y="251"/>
                  </a:lnTo>
                  <a:lnTo>
                    <a:pt x="126" y="253"/>
                  </a:lnTo>
                  <a:lnTo>
                    <a:pt x="126" y="254"/>
                  </a:lnTo>
                  <a:lnTo>
                    <a:pt x="126" y="254"/>
                  </a:lnTo>
                  <a:lnTo>
                    <a:pt x="126" y="254"/>
                  </a:lnTo>
                  <a:lnTo>
                    <a:pt x="124" y="254"/>
                  </a:lnTo>
                  <a:lnTo>
                    <a:pt x="124" y="256"/>
                  </a:lnTo>
                  <a:lnTo>
                    <a:pt x="124" y="258"/>
                  </a:lnTo>
                  <a:lnTo>
                    <a:pt x="124" y="258"/>
                  </a:lnTo>
                  <a:lnTo>
                    <a:pt x="124" y="260"/>
                  </a:lnTo>
                  <a:lnTo>
                    <a:pt x="124" y="262"/>
                  </a:lnTo>
                  <a:lnTo>
                    <a:pt x="126" y="262"/>
                  </a:lnTo>
                  <a:lnTo>
                    <a:pt x="126" y="262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33" y="262"/>
                  </a:lnTo>
                  <a:lnTo>
                    <a:pt x="131" y="262"/>
                  </a:lnTo>
                  <a:lnTo>
                    <a:pt x="130" y="263"/>
                  </a:lnTo>
                  <a:lnTo>
                    <a:pt x="130" y="263"/>
                  </a:lnTo>
                  <a:lnTo>
                    <a:pt x="128" y="263"/>
                  </a:lnTo>
                  <a:lnTo>
                    <a:pt x="126" y="263"/>
                  </a:lnTo>
                  <a:lnTo>
                    <a:pt x="126" y="265"/>
                  </a:lnTo>
                  <a:lnTo>
                    <a:pt x="122" y="267"/>
                  </a:lnTo>
                  <a:lnTo>
                    <a:pt x="121" y="269"/>
                  </a:lnTo>
                  <a:lnTo>
                    <a:pt x="121" y="271"/>
                  </a:lnTo>
                  <a:lnTo>
                    <a:pt x="126" y="272"/>
                  </a:lnTo>
                  <a:lnTo>
                    <a:pt x="128" y="272"/>
                  </a:lnTo>
                  <a:lnTo>
                    <a:pt x="130" y="271"/>
                  </a:lnTo>
                  <a:lnTo>
                    <a:pt x="131" y="269"/>
                  </a:lnTo>
                  <a:lnTo>
                    <a:pt x="133" y="267"/>
                  </a:lnTo>
                  <a:lnTo>
                    <a:pt x="133" y="267"/>
                  </a:lnTo>
                  <a:lnTo>
                    <a:pt x="133" y="267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7" y="265"/>
                  </a:lnTo>
                  <a:lnTo>
                    <a:pt x="137" y="265"/>
                  </a:lnTo>
                  <a:lnTo>
                    <a:pt x="137" y="265"/>
                  </a:lnTo>
                  <a:lnTo>
                    <a:pt x="137" y="263"/>
                  </a:lnTo>
                  <a:lnTo>
                    <a:pt x="140" y="262"/>
                  </a:lnTo>
                  <a:lnTo>
                    <a:pt x="144" y="260"/>
                  </a:lnTo>
                  <a:lnTo>
                    <a:pt x="153" y="260"/>
                  </a:lnTo>
                  <a:lnTo>
                    <a:pt x="153" y="260"/>
                  </a:lnTo>
                  <a:lnTo>
                    <a:pt x="153" y="260"/>
                  </a:lnTo>
                  <a:lnTo>
                    <a:pt x="153" y="260"/>
                  </a:lnTo>
                  <a:lnTo>
                    <a:pt x="153" y="260"/>
                  </a:lnTo>
                  <a:lnTo>
                    <a:pt x="153" y="262"/>
                  </a:lnTo>
                  <a:lnTo>
                    <a:pt x="153" y="262"/>
                  </a:lnTo>
                  <a:lnTo>
                    <a:pt x="153" y="262"/>
                  </a:lnTo>
                  <a:lnTo>
                    <a:pt x="151" y="262"/>
                  </a:lnTo>
                  <a:lnTo>
                    <a:pt x="151" y="263"/>
                  </a:lnTo>
                  <a:lnTo>
                    <a:pt x="153" y="263"/>
                  </a:lnTo>
                  <a:lnTo>
                    <a:pt x="155" y="262"/>
                  </a:lnTo>
                  <a:lnTo>
                    <a:pt x="155" y="263"/>
                  </a:lnTo>
                  <a:lnTo>
                    <a:pt x="155" y="263"/>
                  </a:lnTo>
                  <a:lnTo>
                    <a:pt x="153" y="265"/>
                  </a:lnTo>
                  <a:lnTo>
                    <a:pt x="146" y="263"/>
                  </a:lnTo>
                  <a:lnTo>
                    <a:pt x="144" y="263"/>
                  </a:lnTo>
                  <a:lnTo>
                    <a:pt x="144" y="263"/>
                  </a:lnTo>
                  <a:lnTo>
                    <a:pt x="142" y="265"/>
                  </a:lnTo>
                  <a:lnTo>
                    <a:pt x="142" y="265"/>
                  </a:lnTo>
                  <a:lnTo>
                    <a:pt x="142" y="265"/>
                  </a:lnTo>
                  <a:lnTo>
                    <a:pt x="144" y="265"/>
                  </a:lnTo>
                  <a:lnTo>
                    <a:pt x="142" y="265"/>
                  </a:lnTo>
                  <a:lnTo>
                    <a:pt x="140" y="265"/>
                  </a:lnTo>
                  <a:lnTo>
                    <a:pt x="139" y="265"/>
                  </a:lnTo>
                  <a:lnTo>
                    <a:pt x="139" y="267"/>
                  </a:lnTo>
                  <a:lnTo>
                    <a:pt x="139" y="267"/>
                  </a:lnTo>
                  <a:lnTo>
                    <a:pt x="137" y="269"/>
                  </a:lnTo>
                  <a:lnTo>
                    <a:pt x="137" y="271"/>
                  </a:lnTo>
                  <a:lnTo>
                    <a:pt x="135" y="272"/>
                  </a:lnTo>
                  <a:lnTo>
                    <a:pt x="131" y="276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30" y="280"/>
                  </a:lnTo>
                  <a:lnTo>
                    <a:pt x="131" y="280"/>
                  </a:lnTo>
                  <a:lnTo>
                    <a:pt x="131" y="280"/>
                  </a:lnTo>
                  <a:lnTo>
                    <a:pt x="133" y="280"/>
                  </a:lnTo>
                  <a:lnTo>
                    <a:pt x="133" y="278"/>
                  </a:lnTo>
                  <a:lnTo>
                    <a:pt x="135" y="278"/>
                  </a:lnTo>
                  <a:lnTo>
                    <a:pt x="135" y="280"/>
                  </a:lnTo>
                  <a:lnTo>
                    <a:pt x="135" y="280"/>
                  </a:lnTo>
                  <a:lnTo>
                    <a:pt x="135" y="282"/>
                  </a:lnTo>
                  <a:lnTo>
                    <a:pt x="137" y="282"/>
                  </a:lnTo>
                  <a:lnTo>
                    <a:pt x="139" y="282"/>
                  </a:lnTo>
                  <a:lnTo>
                    <a:pt x="140" y="282"/>
                  </a:lnTo>
                  <a:lnTo>
                    <a:pt x="140" y="282"/>
                  </a:lnTo>
                  <a:lnTo>
                    <a:pt x="139" y="283"/>
                  </a:lnTo>
                  <a:lnTo>
                    <a:pt x="139" y="283"/>
                  </a:lnTo>
                  <a:lnTo>
                    <a:pt x="139" y="285"/>
                  </a:lnTo>
                  <a:lnTo>
                    <a:pt x="139" y="285"/>
                  </a:lnTo>
                  <a:lnTo>
                    <a:pt x="139" y="285"/>
                  </a:lnTo>
                  <a:lnTo>
                    <a:pt x="140" y="285"/>
                  </a:lnTo>
                  <a:lnTo>
                    <a:pt x="140" y="287"/>
                  </a:lnTo>
                  <a:lnTo>
                    <a:pt x="139" y="287"/>
                  </a:lnTo>
                  <a:lnTo>
                    <a:pt x="139" y="287"/>
                  </a:lnTo>
                  <a:lnTo>
                    <a:pt x="137" y="285"/>
                  </a:lnTo>
                  <a:lnTo>
                    <a:pt x="135" y="287"/>
                  </a:lnTo>
                  <a:lnTo>
                    <a:pt x="137" y="287"/>
                  </a:lnTo>
                  <a:lnTo>
                    <a:pt x="135" y="287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5" y="289"/>
                  </a:lnTo>
                  <a:lnTo>
                    <a:pt x="135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5" y="291"/>
                  </a:lnTo>
                  <a:lnTo>
                    <a:pt x="133" y="291"/>
                  </a:lnTo>
                  <a:lnTo>
                    <a:pt x="133" y="289"/>
                  </a:lnTo>
                  <a:lnTo>
                    <a:pt x="133" y="289"/>
                  </a:lnTo>
                  <a:lnTo>
                    <a:pt x="133" y="289"/>
                  </a:lnTo>
                  <a:lnTo>
                    <a:pt x="126" y="287"/>
                  </a:lnTo>
                  <a:lnTo>
                    <a:pt x="124" y="289"/>
                  </a:lnTo>
                  <a:lnTo>
                    <a:pt x="126" y="289"/>
                  </a:lnTo>
                  <a:lnTo>
                    <a:pt x="128" y="289"/>
                  </a:lnTo>
                  <a:lnTo>
                    <a:pt x="130" y="292"/>
                  </a:lnTo>
                  <a:lnTo>
                    <a:pt x="130" y="292"/>
                  </a:lnTo>
                  <a:lnTo>
                    <a:pt x="130" y="292"/>
                  </a:lnTo>
                  <a:lnTo>
                    <a:pt x="130" y="292"/>
                  </a:lnTo>
                  <a:lnTo>
                    <a:pt x="130" y="294"/>
                  </a:lnTo>
                  <a:lnTo>
                    <a:pt x="130" y="294"/>
                  </a:lnTo>
                  <a:lnTo>
                    <a:pt x="128" y="294"/>
                  </a:lnTo>
                  <a:lnTo>
                    <a:pt x="128" y="294"/>
                  </a:lnTo>
                  <a:lnTo>
                    <a:pt x="126" y="294"/>
                  </a:lnTo>
                  <a:lnTo>
                    <a:pt x="128" y="292"/>
                  </a:lnTo>
                  <a:lnTo>
                    <a:pt x="128" y="292"/>
                  </a:lnTo>
                  <a:lnTo>
                    <a:pt x="128" y="292"/>
                  </a:lnTo>
                  <a:lnTo>
                    <a:pt x="126" y="292"/>
                  </a:lnTo>
                  <a:lnTo>
                    <a:pt x="124" y="294"/>
                  </a:lnTo>
                  <a:lnTo>
                    <a:pt x="124" y="296"/>
                  </a:lnTo>
                  <a:lnTo>
                    <a:pt x="124" y="294"/>
                  </a:lnTo>
                  <a:lnTo>
                    <a:pt x="126" y="294"/>
                  </a:lnTo>
                  <a:lnTo>
                    <a:pt x="128" y="296"/>
                  </a:lnTo>
                  <a:lnTo>
                    <a:pt x="128" y="296"/>
                  </a:lnTo>
                  <a:lnTo>
                    <a:pt x="128" y="298"/>
                  </a:lnTo>
                  <a:lnTo>
                    <a:pt x="128" y="298"/>
                  </a:lnTo>
                  <a:lnTo>
                    <a:pt x="128" y="298"/>
                  </a:lnTo>
                  <a:lnTo>
                    <a:pt x="128" y="298"/>
                  </a:lnTo>
                  <a:lnTo>
                    <a:pt x="126" y="298"/>
                  </a:lnTo>
                  <a:lnTo>
                    <a:pt x="126" y="300"/>
                  </a:lnTo>
                  <a:lnTo>
                    <a:pt x="124" y="300"/>
                  </a:lnTo>
                  <a:lnTo>
                    <a:pt x="121" y="301"/>
                  </a:lnTo>
                  <a:lnTo>
                    <a:pt x="117" y="303"/>
                  </a:lnTo>
                  <a:lnTo>
                    <a:pt x="117" y="303"/>
                  </a:lnTo>
                  <a:lnTo>
                    <a:pt x="115" y="303"/>
                  </a:lnTo>
                  <a:lnTo>
                    <a:pt x="113" y="303"/>
                  </a:lnTo>
                  <a:lnTo>
                    <a:pt x="113" y="301"/>
                  </a:lnTo>
                  <a:lnTo>
                    <a:pt x="113" y="303"/>
                  </a:lnTo>
                  <a:lnTo>
                    <a:pt x="112" y="303"/>
                  </a:lnTo>
                  <a:lnTo>
                    <a:pt x="108" y="305"/>
                  </a:lnTo>
                  <a:lnTo>
                    <a:pt x="108" y="305"/>
                  </a:lnTo>
                  <a:lnTo>
                    <a:pt x="108" y="305"/>
                  </a:lnTo>
                  <a:lnTo>
                    <a:pt x="106" y="307"/>
                  </a:lnTo>
                  <a:lnTo>
                    <a:pt x="106" y="307"/>
                  </a:lnTo>
                  <a:lnTo>
                    <a:pt x="108" y="307"/>
                  </a:lnTo>
                  <a:lnTo>
                    <a:pt x="106" y="309"/>
                  </a:lnTo>
                  <a:lnTo>
                    <a:pt x="104" y="309"/>
                  </a:lnTo>
                  <a:lnTo>
                    <a:pt x="101" y="309"/>
                  </a:lnTo>
                  <a:lnTo>
                    <a:pt x="99" y="309"/>
                  </a:lnTo>
                  <a:lnTo>
                    <a:pt x="99" y="307"/>
                  </a:lnTo>
                  <a:lnTo>
                    <a:pt x="99" y="307"/>
                  </a:lnTo>
                  <a:lnTo>
                    <a:pt x="99" y="303"/>
                  </a:lnTo>
                  <a:lnTo>
                    <a:pt x="97" y="301"/>
                  </a:lnTo>
                  <a:lnTo>
                    <a:pt x="95" y="300"/>
                  </a:lnTo>
                  <a:lnTo>
                    <a:pt x="93" y="298"/>
                  </a:lnTo>
                  <a:lnTo>
                    <a:pt x="92" y="296"/>
                  </a:lnTo>
                  <a:lnTo>
                    <a:pt x="92" y="296"/>
                  </a:lnTo>
                  <a:lnTo>
                    <a:pt x="92" y="296"/>
                  </a:lnTo>
                  <a:lnTo>
                    <a:pt x="90" y="298"/>
                  </a:lnTo>
                  <a:lnTo>
                    <a:pt x="90" y="298"/>
                  </a:lnTo>
                  <a:lnTo>
                    <a:pt x="90" y="300"/>
                  </a:lnTo>
                  <a:lnTo>
                    <a:pt x="90" y="300"/>
                  </a:lnTo>
                  <a:lnTo>
                    <a:pt x="90" y="303"/>
                  </a:lnTo>
                  <a:lnTo>
                    <a:pt x="90" y="303"/>
                  </a:lnTo>
                  <a:lnTo>
                    <a:pt x="90" y="305"/>
                  </a:lnTo>
                  <a:lnTo>
                    <a:pt x="90" y="307"/>
                  </a:lnTo>
                  <a:lnTo>
                    <a:pt x="90" y="309"/>
                  </a:lnTo>
                  <a:lnTo>
                    <a:pt x="90" y="310"/>
                  </a:lnTo>
                  <a:lnTo>
                    <a:pt x="92" y="310"/>
                  </a:lnTo>
                  <a:lnTo>
                    <a:pt x="92" y="312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2"/>
                  </a:lnTo>
                  <a:lnTo>
                    <a:pt x="93" y="312"/>
                  </a:lnTo>
                  <a:lnTo>
                    <a:pt x="92" y="312"/>
                  </a:lnTo>
                  <a:lnTo>
                    <a:pt x="92" y="314"/>
                  </a:lnTo>
                  <a:lnTo>
                    <a:pt x="90" y="318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92" y="321"/>
                  </a:lnTo>
                  <a:lnTo>
                    <a:pt x="92" y="321"/>
                  </a:lnTo>
                  <a:lnTo>
                    <a:pt x="92" y="323"/>
                  </a:lnTo>
                  <a:lnTo>
                    <a:pt x="92" y="323"/>
                  </a:lnTo>
                  <a:lnTo>
                    <a:pt x="90" y="325"/>
                  </a:lnTo>
                  <a:lnTo>
                    <a:pt x="90" y="325"/>
                  </a:lnTo>
                  <a:lnTo>
                    <a:pt x="90" y="327"/>
                  </a:lnTo>
                  <a:lnTo>
                    <a:pt x="92" y="327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3" y="327"/>
                  </a:lnTo>
                  <a:lnTo>
                    <a:pt x="93" y="327"/>
                  </a:lnTo>
                  <a:lnTo>
                    <a:pt x="93" y="327"/>
                  </a:lnTo>
                  <a:lnTo>
                    <a:pt x="95" y="327"/>
                  </a:lnTo>
                  <a:lnTo>
                    <a:pt x="99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5"/>
                  </a:lnTo>
                  <a:lnTo>
                    <a:pt x="102" y="325"/>
                  </a:lnTo>
                  <a:lnTo>
                    <a:pt x="104" y="323"/>
                  </a:lnTo>
                  <a:lnTo>
                    <a:pt x="106" y="323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8" y="323"/>
                  </a:lnTo>
                  <a:lnTo>
                    <a:pt x="108" y="323"/>
                  </a:lnTo>
                  <a:lnTo>
                    <a:pt x="110" y="321"/>
                  </a:lnTo>
                  <a:lnTo>
                    <a:pt x="122" y="325"/>
                  </a:lnTo>
                  <a:lnTo>
                    <a:pt x="126" y="325"/>
                  </a:lnTo>
                  <a:lnTo>
                    <a:pt x="126" y="325"/>
                  </a:lnTo>
                  <a:lnTo>
                    <a:pt x="128" y="323"/>
                  </a:lnTo>
                  <a:lnTo>
                    <a:pt x="137" y="321"/>
                  </a:lnTo>
                  <a:lnTo>
                    <a:pt x="139" y="321"/>
                  </a:lnTo>
                  <a:lnTo>
                    <a:pt x="140" y="323"/>
                  </a:lnTo>
                  <a:lnTo>
                    <a:pt x="142" y="325"/>
                  </a:lnTo>
                  <a:lnTo>
                    <a:pt x="144" y="325"/>
                  </a:lnTo>
                  <a:lnTo>
                    <a:pt x="158" y="323"/>
                  </a:lnTo>
                  <a:lnTo>
                    <a:pt x="158" y="323"/>
                  </a:lnTo>
                  <a:lnTo>
                    <a:pt x="158" y="323"/>
                  </a:lnTo>
                  <a:lnTo>
                    <a:pt x="158" y="323"/>
                  </a:lnTo>
                  <a:lnTo>
                    <a:pt x="158" y="323"/>
                  </a:lnTo>
                  <a:lnTo>
                    <a:pt x="158" y="321"/>
                  </a:lnTo>
                  <a:lnTo>
                    <a:pt x="158" y="319"/>
                  </a:lnTo>
                  <a:lnTo>
                    <a:pt x="160" y="319"/>
                  </a:lnTo>
                  <a:lnTo>
                    <a:pt x="162" y="318"/>
                  </a:lnTo>
                  <a:lnTo>
                    <a:pt x="164" y="319"/>
                  </a:lnTo>
                  <a:lnTo>
                    <a:pt x="166" y="319"/>
                  </a:lnTo>
                  <a:lnTo>
                    <a:pt x="166" y="318"/>
                  </a:lnTo>
                  <a:lnTo>
                    <a:pt x="164" y="316"/>
                  </a:lnTo>
                  <a:lnTo>
                    <a:pt x="162" y="316"/>
                  </a:lnTo>
                  <a:lnTo>
                    <a:pt x="162" y="314"/>
                  </a:lnTo>
                  <a:lnTo>
                    <a:pt x="162" y="314"/>
                  </a:lnTo>
                  <a:lnTo>
                    <a:pt x="164" y="312"/>
                  </a:lnTo>
                  <a:lnTo>
                    <a:pt x="164" y="312"/>
                  </a:lnTo>
                  <a:lnTo>
                    <a:pt x="164" y="312"/>
                  </a:lnTo>
                  <a:lnTo>
                    <a:pt x="168" y="310"/>
                  </a:lnTo>
                  <a:lnTo>
                    <a:pt x="168" y="310"/>
                  </a:lnTo>
                  <a:lnTo>
                    <a:pt x="169" y="312"/>
                  </a:lnTo>
                  <a:lnTo>
                    <a:pt x="175" y="312"/>
                  </a:lnTo>
                  <a:lnTo>
                    <a:pt x="173" y="314"/>
                  </a:lnTo>
                  <a:lnTo>
                    <a:pt x="171" y="314"/>
                  </a:lnTo>
                  <a:lnTo>
                    <a:pt x="166" y="314"/>
                  </a:lnTo>
                  <a:lnTo>
                    <a:pt x="168" y="316"/>
                  </a:lnTo>
                  <a:lnTo>
                    <a:pt x="168" y="318"/>
                  </a:lnTo>
                  <a:lnTo>
                    <a:pt x="168" y="319"/>
                  </a:lnTo>
                  <a:lnTo>
                    <a:pt x="168" y="319"/>
                  </a:lnTo>
                  <a:lnTo>
                    <a:pt x="169" y="321"/>
                  </a:lnTo>
                  <a:lnTo>
                    <a:pt x="169" y="321"/>
                  </a:lnTo>
                  <a:lnTo>
                    <a:pt x="173" y="323"/>
                  </a:lnTo>
                  <a:lnTo>
                    <a:pt x="178" y="327"/>
                  </a:lnTo>
                  <a:lnTo>
                    <a:pt x="184" y="328"/>
                  </a:lnTo>
                  <a:lnTo>
                    <a:pt x="186" y="330"/>
                  </a:lnTo>
                  <a:lnTo>
                    <a:pt x="186" y="330"/>
                  </a:lnTo>
                  <a:lnTo>
                    <a:pt x="184" y="328"/>
                  </a:lnTo>
                  <a:lnTo>
                    <a:pt x="186" y="330"/>
                  </a:lnTo>
                  <a:lnTo>
                    <a:pt x="187" y="328"/>
                  </a:lnTo>
                  <a:lnTo>
                    <a:pt x="189" y="328"/>
                  </a:lnTo>
                  <a:lnTo>
                    <a:pt x="191" y="325"/>
                  </a:lnTo>
                  <a:lnTo>
                    <a:pt x="191" y="323"/>
                  </a:lnTo>
                  <a:lnTo>
                    <a:pt x="191" y="323"/>
                  </a:lnTo>
                  <a:lnTo>
                    <a:pt x="189" y="321"/>
                  </a:lnTo>
                  <a:lnTo>
                    <a:pt x="189" y="321"/>
                  </a:lnTo>
                  <a:lnTo>
                    <a:pt x="193" y="321"/>
                  </a:lnTo>
                  <a:lnTo>
                    <a:pt x="193" y="325"/>
                  </a:lnTo>
                  <a:lnTo>
                    <a:pt x="193" y="328"/>
                  </a:lnTo>
                  <a:lnTo>
                    <a:pt x="191" y="330"/>
                  </a:lnTo>
                  <a:lnTo>
                    <a:pt x="191" y="330"/>
                  </a:lnTo>
                  <a:lnTo>
                    <a:pt x="191" y="332"/>
                  </a:lnTo>
                  <a:lnTo>
                    <a:pt x="195" y="330"/>
                  </a:lnTo>
                  <a:lnTo>
                    <a:pt x="195" y="330"/>
                  </a:lnTo>
                  <a:lnTo>
                    <a:pt x="195" y="330"/>
                  </a:lnTo>
                  <a:lnTo>
                    <a:pt x="195" y="330"/>
                  </a:lnTo>
                  <a:lnTo>
                    <a:pt x="195" y="330"/>
                  </a:lnTo>
                  <a:lnTo>
                    <a:pt x="195" y="332"/>
                  </a:lnTo>
                  <a:lnTo>
                    <a:pt x="196" y="332"/>
                  </a:lnTo>
                  <a:lnTo>
                    <a:pt x="196" y="332"/>
                  </a:lnTo>
                  <a:lnTo>
                    <a:pt x="195" y="332"/>
                  </a:lnTo>
                  <a:lnTo>
                    <a:pt x="193" y="332"/>
                  </a:lnTo>
                  <a:lnTo>
                    <a:pt x="193" y="334"/>
                  </a:lnTo>
                  <a:lnTo>
                    <a:pt x="193" y="334"/>
                  </a:lnTo>
                  <a:lnTo>
                    <a:pt x="191" y="332"/>
                  </a:lnTo>
                  <a:lnTo>
                    <a:pt x="191" y="332"/>
                  </a:lnTo>
                  <a:lnTo>
                    <a:pt x="187" y="332"/>
                  </a:lnTo>
                  <a:lnTo>
                    <a:pt x="191" y="334"/>
                  </a:lnTo>
                  <a:lnTo>
                    <a:pt x="193" y="336"/>
                  </a:lnTo>
                  <a:lnTo>
                    <a:pt x="195" y="338"/>
                  </a:lnTo>
                  <a:lnTo>
                    <a:pt x="198" y="339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98" y="336"/>
                  </a:lnTo>
                  <a:lnTo>
                    <a:pt x="198" y="336"/>
                  </a:lnTo>
                  <a:lnTo>
                    <a:pt x="198" y="334"/>
                  </a:lnTo>
                  <a:lnTo>
                    <a:pt x="198" y="334"/>
                  </a:lnTo>
                  <a:lnTo>
                    <a:pt x="200" y="332"/>
                  </a:lnTo>
                  <a:lnTo>
                    <a:pt x="200" y="332"/>
                  </a:lnTo>
                  <a:lnTo>
                    <a:pt x="202" y="330"/>
                  </a:lnTo>
                  <a:lnTo>
                    <a:pt x="204" y="327"/>
                  </a:lnTo>
                  <a:lnTo>
                    <a:pt x="205" y="327"/>
                  </a:lnTo>
                  <a:lnTo>
                    <a:pt x="205" y="325"/>
                  </a:lnTo>
                  <a:lnTo>
                    <a:pt x="205" y="325"/>
                  </a:lnTo>
                  <a:lnTo>
                    <a:pt x="205" y="325"/>
                  </a:lnTo>
                  <a:lnTo>
                    <a:pt x="205" y="325"/>
                  </a:lnTo>
                  <a:lnTo>
                    <a:pt x="205" y="327"/>
                  </a:lnTo>
                  <a:lnTo>
                    <a:pt x="205" y="327"/>
                  </a:lnTo>
                  <a:lnTo>
                    <a:pt x="204" y="330"/>
                  </a:lnTo>
                  <a:lnTo>
                    <a:pt x="207" y="332"/>
                  </a:lnTo>
                  <a:lnTo>
                    <a:pt x="209" y="334"/>
                  </a:lnTo>
                  <a:lnTo>
                    <a:pt x="209" y="336"/>
                  </a:lnTo>
                  <a:lnTo>
                    <a:pt x="211" y="336"/>
                  </a:lnTo>
                  <a:lnTo>
                    <a:pt x="209" y="336"/>
                  </a:lnTo>
                  <a:lnTo>
                    <a:pt x="205" y="334"/>
                  </a:lnTo>
                  <a:lnTo>
                    <a:pt x="205" y="332"/>
                  </a:lnTo>
                  <a:lnTo>
                    <a:pt x="202" y="334"/>
                  </a:lnTo>
                  <a:lnTo>
                    <a:pt x="200" y="334"/>
                  </a:lnTo>
                  <a:lnTo>
                    <a:pt x="198" y="336"/>
                  </a:lnTo>
                  <a:lnTo>
                    <a:pt x="198" y="338"/>
                  </a:lnTo>
                  <a:lnTo>
                    <a:pt x="200" y="338"/>
                  </a:lnTo>
                  <a:lnTo>
                    <a:pt x="198" y="339"/>
                  </a:lnTo>
                  <a:lnTo>
                    <a:pt x="198" y="339"/>
                  </a:lnTo>
                  <a:lnTo>
                    <a:pt x="200" y="341"/>
                  </a:lnTo>
                  <a:lnTo>
                    <a:pt x="202" y="343"/>
                  </a:lnTo>
                  <a:lnTo>
                    <a:pt x="204" y="347"/>
                  </a:lnTo>
                  <a:lnTo>
                    <a:pt x="204" y="345"/>
                  </a:lnTo>
                  <a:lnTo>
                    <a:pt x="204" y="343"/>
                  </a:lnTo>
                  <a:lnTo>
                    <a:pt x="202" y="341"/>
                  </a:lnTo>
                  <a:lnTo>
                    <a:pt x="202" y="339"/>
                  </a:lnTo>
                  <a:lnTo>
                    <a:pt x="202" y="339"/>
                  </a:lnTo>
                  <a:lnTo>
                    <a:pt x="204" y="339"/>
                  </a:lnTo>
                  <a:lnTo>
                    <a:pt x="204" y="341"/>
                  </a:lnTo>
                  <a:lnTo>
                    <a:pt x="204" y="343"/>
                  </a:lnTo>
                  <a:lnTo>
                    <a:pt x="205" y="345"/>
                  </a:lnTo>
                  <a:lnTo>
                    <a:pt x="205" y="345"/>
                  </a:lnTo>
                  <a:lnTo>
                    <a:pt x="207" y="347"/>
                  </a:lnTo>
                  <a:lnTo>
                    <a:pt x="207" y="348"/>
                  </a:lnTo>
                  <a:lnTo>
                    <a:pt x="205" y="347"/>
                  </a:lnTo>
                  <a:lnTo>
                    <a:pt x="205" y="348"/>
                  </a:lnTo>
                  <a:lnTo>
                    <a:pt x="207" y="348"/>
                  </a:lnTo>
                  <a:lnTo>
                    <a:pt x="207" y="348"/>
                  </a:lnTo>
                  <a:lnTo>
                    <a:pt x="209" y="348"/>
                  </a:lnTo>
                  <a:lnTo>
                    <a:pt x="209" y="347"/>
                  </a:lnTo>
                  <a:lnTo>
                    <a:pt x="209" y="348"/>
                  </a:lnTo>
                  <a:lnTo>
                    <a:pt x="209" y="350"/>
                  </a:lnTo>
                  <a:lnTo>
                    <a:pt x="209" y="350"/>
                  </a:lnTo>
                  <a:lnTo>
                    <a:pt x="211" y="350"/>
                  </a:lnTo>
                  <a:lnTo>
                    <a:pt x="211" y="350"/>
                  </a:lnTo>
                  <a:lnTo>
                    <a:pt x="211" y="352"/>
                  </a:lnTo>
                  <a:lnTo>
                    <a:pt x="211" y="352"/>
                  </a:lnTo>
                  <a:lnTo>
                    <a:pt x="209" y="350"/>
                  </a:lnTo>
                  <a:lnTo>
                    <a:pt x="209" y="350"/>
                  </a:lnTo>
                  <a:lnTo>
                    <a:pt x="209" y="352"/>
                  </a:lnTo>
                  <a:lnTo>
                    <a:pt x="216" y="357"/>
                  </a:lnTo>
                  <a:lnTo>
                    <a:pt x="218" y="357"/>
                  </a:lnTo>
                  <a:lnTo>
                    <a:pt x="223" y="357"/>
                  </a:lnTo>
                  <a:lnTo>
                    <a:pt x="222" y="357"/>
                  </a:lnTo>
                  <a:lnTo>
                    <a:pt x="223" y="357"/>
                  </a:lnTo>
                  <a:lnTo>
                    <a:pt x="223" y="357"/>
                  </a:lnTo>
                  <a:lnTo>
                    <a:pt x="223" y="357"/>
                  </a:lnTo>
                  <a:lnTo>
                    <a:pt x="223" y="357"/>
                  </a:lnTo>
                  <a:lnTo>
                    <a:pt x="223" y="357"/>
                  </a:lnTo>
                  <a:lnTo>
                    <a:pt x="223" y="357"/>
                  </a:lnTo>
                  <a:lnTo>
                    <a:pt x="223" y="357"/>
                  </a:lnTo>
                  <a:lnTo>
                    <a:pt x="225" y="357"/>
                  </a:lnTo>
                  <a:lnTo>
                    <a:pt x="238" y="359"/>
                  </a:lnTo>
                  <a:lnTo>
                    <a:pt x="233" y="357"/>
                  </a:lnTo>
                  <a:lnTo>
                    <a:pt x="233" y="357"/>
                  </a:lnTo>
                  <a:lnTo>
                    <a:pt x="238" y="357"/>
                  </a:lnTo>
                  <a:lnTo>
                    <a:pt x="238" y="357"/>
                  </a:lnTo>
                  <a:lnTo>
                    <a:pt x="240" y="357"/>
                  </a:lnTo>
                  <a:lnTo>
                    <a:pt x="240" y="357"/>
                  </a:lnTo>
                  <a:lnTo>
                    <a:pt x="240" y="357"/>
                  </a:lnTo>
                  <a:lnTo>
                    <a:pt x="240" y="359"/>
                  </a:lnTo>
                  <a:lnTo>
                    <a:pt x="240" y="359"/>
                  </a:lnTo>
                  <a:lnTo>
                    <a:pt x="240" y="359"/>
                  </a:lnTo>
                  <a:lnTo>
                    <a:pt x="242" y="361"/>
                  </a:lnTo>
                  <a:lnTo>
                    <a:pt x="249" y="363"/>
                  </a:lnTo>
                  <a:lnTo>
                    <a:pt x="254" y="366"/>
                  </a:lnTo>
                  <a:lnTo>
                    <a:pt x="258" y="366"/>
                  </a:lnTo>
                  <a:lnTo>
                    <a:pt x="261" y="370"/>
                  </a:lnTo>
                  <a:lnTo>
                    <a:pt x="261" y="370"/>
                  </a:lnTo>
                  <a:lnTo>
                    <a:pt x="269" y="372"/>
                  </a:lnTo>
                  <a:lnTo>
                    <a:pt x="270" y="370"/>
                  </a:lnTo>
                  <a:lnTo>
                    <a:pt x="270" y="370"/>
                  </a:lnTo>
                  <a:lnTo>
                    <a:pt x="270" y="370"/>
                  </a:lnTo>
                  <a:lnTo>
                    <a:pt x="272" y="372"/>
                  </a:lnTo>
                  <a:lnTo>
                    <a:pt x="272" y="372"/>
                  </a:lnTo>
                  <a:lnTo>
                    <a:pt x="272" y="372"/>
                  </a:lnTo>
                  <a:lnTo>
                    <a:pt x="272" y="372"/>
                  </a:lnTo>
                  <a:lnTo>
                    <a:pt x="274" y="372"/>
                  </a:lnTo>
                  <a:lnTo>
                    <a:pt x="278" y="372"/>
                  </a:lnTo>
                  <a:lnTo>
                    <a:pt x="287" y="374"/>
                  </a:lnTo>
                  <a:lnTo>
                    <a:pt x="290" y="374"/>
                  </a:lnTo>
                  <a:lnTo>
                    <a:pt x="299" y="372"/>
                  </a:lnTo>
                  <a:lnTo>
                    <a:pt x="307" y="368"/>
                  </a:lnTo>
                  <a:lnTo>
                    <a:pt x="317" y="366"/>
                  </a:lnTo>
                  <a:lnTo>
                    <a:pt x="316" y="366"/>
                  </a:lnTo>
                  <a:lnTo>
                    <a:pt x="316" y="366"/>
                  </a:lnTo>
                  <a:lnTo>
                    <a:pt x="314" y="366"/>
                  </a:lnTo>
                  <a:lnTo>
                    <a:pt x="312" y="366"/>
                  </a:lnTo>
                  <a:lnTo>
                    <a:pt x="312" y="365"/>
                  </a:lnTo>
                  <a:lnTo>
                    <a:pt x="312" y="363"/>
                  </a:lnTo>
                  <a:lnTo>
                    <a:pt x="312" y="361"/>
                  </a:lnTo>
                  <a:lnTo>
                    <a:pt x="312" y="361"/>
                  </a:lnTo>
                  <a:lnTo>
                    <a:pt x="310" y="359"/>
                  </a:lnTo>
                  <a:lnTo>
                    <a:pt x="310" y="359"/>
                  </a:lnTo>
                  <a:lnTo>
                    <a:pt x="310" y="359"/>
                  </a:lnTo>
                  <a:lnTo>
                    <a:pt x="310" y="357"/>
                  </a:lnTo>
                  <a:lnTo>
                    <a:pt x="310" y="357"/>
                  </a:lnTo>
                  <a:lnTo>
                    <a:pt x="310" y="357"/>
                  </a:lnTo>
                  <a:lnTo>
                    <a:pt x="312" y="357"/>
                  </a:lnTo>
                  <a:lnTo>
                    <a:pt x="316" y="359"/>
                  </a:lnTo>
                  <a:lnTo>
                    <a:pt x="316" y="359"/>
                  </a:lnTo>
                  <a:lnTo>
                    <a:pt x="319" y="359"/>
                  </a:lnTo>
                  <a:lnTo>
                    <a:pt x="321" y="359"/>
                  </a:lnTo>
                  <a:lnTo>
                    <a:pt x="321" y="359"/>
                  </a:lnTo>
                  <a:lnTo>
                    <a:pt x="319" y="359"/>
                  </a:lnTo>
                  <a:lnTo>
                    <a:pt x="317" y="361"/>
                  </a:lnTo>
                  <a:lnTo>
                    <a:pt x="317" y="361"/>
                  </a:lnTo>
                  <a:lnTo>
                    <a:pt x="317" y="363"/>
                  </a:lnTo>
                  <a:lnTo>
                    <a:pt x="316" y="363"/>
                  </a:lnTo>
                  <a:lnTo>
                    <a:pt x="316" y="363"/>
                  </a:lnTo>
                  <a:lnTo>
                    <a:pt x="317" y="366"/>
                  </a:lnTo>
                  <a:lnTo>
                    <a:pt x="319" y="365"/>
                  </a:lnTo>
                  <a:lnTo>
                    <a:pt x="323" y="363"/>
                  </a:lnTo>
                  <a:lnTo>
                    <a:pt x="328" y="361"/>
                  </a:lnTo>
                  <a:lnTo>
                    <a:pt x="330" y="357"/>
                  </a:lnTo>
                  <a:lnTo>
                    <a:pt x="332" y="354"/>
                  </a:lnTo>
                  <a:lnTo>
                    <a:pt x="334" y="350"/>
                  </a:lnTo>
                  <a:lnTo>
                    <a:pt x="332" y="350"/>
                  </a:lnTo>
                  <a:lnTo>
                    <a:pt x="328" y="352"/>
                  </a:lnTo>
                  <a:lnTo>
                    <a:pt x="330" y="350"/>
                  </a:lnTo>
                  <a:lnTo>
                    <a:pt x="328" y="348"/>
                  </a:lnTo>
                  <a:lnTo>
                    <a:pt x="328" y="348"/>
                  </a:lnTo>
                  <a:lnTo>
                    <a:pt x="328" y="348"/>
                  </a:lnTo>
                  <a:lnTo>
                    <a:pt x="328" y="348"/>
                  </a:lnTo>
                  <a:lnTo>
                    <a:pt x="330" y="348"/>
                  </a:lnTo>
                  <a:lnTo>
                    <a:pt x="330" y="347"/>
                  </a:lnTo>
                  <a:lnTo>
                    <a:pt x="332" y="347"/>
                  </a:lnTo>
                  <a:lnTo>
                    <a:pt x="332" y="348"/>
                  </a:lnTo>
                  <a:lnTo>
                    <a:pt x="332" y="348"/>
                  </a:lnTo>
                  <a:lnTo>
                    <a:pt x="332" y="348"/>
                  </a:lnTo>
                  <a:lnTo>
                    <a:pt x="332" y="348"/>
                  </a:lnTo>
                  <a:lnTo>
                    <a:pt x="334" y="348"/>
                  </a:lnTo>
                  <a:lnTo>
                    <a:pt x="334" y="348"/>
                  </a:lnTo>
                  <a:lnTo>
                    <a:pt x="337" y="343"/>
                  </a:lnTo>
                  <a:lnTo>
                    <a:pt x="335" y="345"/>
                  </a:lnTo>
                  <a:lnTo>
                    <a:pt x="332" y="343"/>
                  </a:lnTo>
                  <a:lnTo>
                    <a:pt x="330" y="343"/>
                  </a:lnTo>
                  <a:lnTo>
                    <a:pt x="330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3"/>
                  </a:lnTo>
                  <a:lnTo>
                    <a:pt x="328" y="341"/>
                  </a:lnTo>
                  <a:lnTo>
                    <a:pt x="330" y="343"/>
                  </a:lnTo>
                  <a:lnTo>
                    <a:pt x="330" y="343"/>
                  </a:lnTo>
                  <a:lnTo>
                    <a:pt x="332" y="341"/>
                  </a:lnTo>
                  <a:lnTo>
                    <a:pt x="332" y="339"/>
                  </a:lnTo>
                  <a:lnTo>
                    <a:pt x="332" y="338"/>
                  </a:lnTo>
                  <a:lnTo>
                    <a:pt x="332" y="338"/>
                  </a:lnTo>
                  <a:lnTo>
                    <a:pt x="334" y="336"/>
                  </a:lnTo>
                  <a:lnTo>
                    <a:pt x="334" y="336"/>
                  </a:lnTo>
                  <a:lnTo>
                    <a:pt x="335" y="336"/>
                  </a:lnTo>
                  <a:lnTo>
                    <a:pt x="335" y="336"/>
                  </a:lnTo>
                  <a:lnTo>
                    <a:pt x="337" y="336"/>
                  </a:lnTo>
                  <a:lnTo>
                    <a:pt x="337" y="336"/>
                  </a:lnTo>
                  <a:lnTo>
                    <a:pt x="335" y="334"/>
                  </a:lnTo>
                  <a:lnTo>
                    <a:pt x="337" y="334"/>
                  </a:lnTo>
                  <a:lnTo>
                    <a:pt x="337" y="334"/>
                  </a:lnTo>
                  <a:lnTo>
                    <a:pt x="339" y="336"/>
                  </a:lnTo>
                  <a:lnTo>
                    <a:pt x="341" y="334"/>
                  </a:lnTo>
                  <a:lnTo>
                    <a:pt x="341" y="334"/>
                  </a:lnTo>
                  <a:lnTo>
                    <a:pt x="341" y="332"/>
                  </a:lnTo>
                  <a:lnTo>
                    <a:pt x="341" y="330"/>
                  </a:lnTo>
                  <a:lnTo>
                    <a:pt x="343" y="332"/>
                  </a:lnTo>
                  <a:lnTo>
                    <a:pt x="344" y="334"/>
                  </a:lnTo>
                  <a:lnTo>
                    <a:pt x="344" y="336"/>
                  </a:lnTo>
                  <a:lnTo>
                    <a:pt x="344" y="336"/>
                  </a:lnTo>
                  <a:lnTo>
                    <a:pt x="343" y="336"/>
                  </a:lnTo>
                  <a:lnTo>
                    <a:pt x="341" y="338"/>
                  </a:lnTo>
                  <a:lnTo>
                    <a:pt x="341" y="339"/>
                  </a:lnTo>
                  <a:lnTo>
                    <a:pt x="346" y="336"/>
                  </a:lnTo>
                  <a:lnTo>
                    <a:pt x="346" y="334"/>
                  </a:lnTo>
                  <a:lnTo>
                    <a:pt x="346" y="334"/>
                  </a:lnTo>
                  <a:lnTo>
                    <a:pt x="346" y="334"/>
                  </a:lnTo>
                  <a:lnTo>
                    <a:pt x="346" y="334"/>
                  </a:lnTo>
                  <a:lnTo>
                    <a:pt x="346" y="332"/>
                  </a:lnTo>
                  <a:lnTo>
                    <a:pt x="346" y="334"/>
                  </a:lnTo>
                  <a:lnTo>
                    <a:pt x="348" y="334"/>
                  </a:lnTo>
                  <a:lnTo>
                    <a:pt x="348" y="332"/>
                  </a:lnTo>
                  <a:lnTo>
                    <a:pt x="348" y="330"/>
                  </a:lnTo>
                  <a:lnTo>
                    <a:pt x="350" y="332"/>
                  </a:lnTo>
                  <a:lnTo>
                    <a:pt x="350" y="332"/>
                  </a:lnTo>
                  <a:lnTo>
                    <a:pt x="348" y="334"/>
                  </a:lnTo>
                  <a:lnTo>
                    <a:pt x="348" y="334"/>
                  </a:lnTo>
                  <a:lnTo>
                    <a:pt x="354" y="334"/>
                  </a:lnTo>
                  <a:lnTo>
                    <a:pt x="361" y="330"/>
                  </a:lnTo>
                  <a:lnTo>
                    <a:pt x="366" y="327"/>
                  </a:lnTo>
                  <a:lnTo>
                    <a:pt x="366" y="328"/>
                  </a:lnTo>
                  <a:lnTo>
                    <a:pt x="366" y="328"/>
                  </a:lnTo>
                  <a:lnTo>
                    <a:pt x="368" y="328"/>
                  </a:lnTo>
                  <a:lnTo>
                    <a:pt x="368" y="328"/>
                  </a:lnTo>
                  <a:lnTo>
                    <a:pt x="370" y="328"/>
                  </a:lnTo>
                  <a:lnTo>
                    <a:pt x="370" y="330"/>
                  </a:lnTo>
                  <a:lnTo>
                    <a:pt x="373" y="330"/>
                  </a:lnTo>
                  <a:lnTo>
                    <a:pt x="375" y="328"/>
                  </a:lnTo>
                  <a:lnTo>
                    <a:pt x="377" y="328"/>
                  </a:lnTo>
                  <a:lnTo>
                    <a:pt x="377" y="327"/>
                  </a:lnTo>
                  <a:lnTo>
                    <a:pt x="375" y="325"/>
                  </a:lnTo>
                  <a:lnTo>
                    <a:pt x="375" y="325"/>
                  </a:lnTo>
                  <a:lnTo>
                    <a:pt x="375" y="323"/>
                  </a:lnTo>
                  <a:lnTo>
                    <a:pt x="375" y="321"/>
                  </a:lnTo>
                  <a:lnTo>
                    <a:pt x="377" y="321"/>
                  </a:lnTo>
                  <a:lnTo>
                    <a:pt x="377" y="321"/>
                  </a:lnTo>
                  <a:lnTo>
                    <a:pt x="379" y="321"/>
                  </a:lnTo>
                  <a:lnTo>
                    <a:pt x="377" y="319"/>
                  </a:lnTo>
                  <a:lnTo>
                    <a:pt x="377" y="319"/>
                  </a:lnTo>
                  <a:lnTo>
                    <a:pt x="377" y="316"/>
                  </a:lnTo>
                  <a:lnTo>
                    <a:pt x="379" y="316"/>
                  </a:lnTo>
                  <a:lnTo>
                    <a:pt x="379" y="316"/>
                  </a:lnTo>
                  <a:lnTo>
                    <a:pt x="379" y="316"/>
                  </a:lnTo>
                  <a:lnTo>
                    <a:pt x="379" y="318"/>
                  </a:lnTo>
                  <a:lnTo>
                    <a:pt x="379" y="318"/>
                  </a:lnTo>
                  <a:lnTo>
                    <a:pt x="379" y="319"/>
                  </a:lnTo>
                  <a:lnTo>
                    <a:pt x="379" y="323"/>
                  </a:lnTo>
                  <a:lnTo>
                    <a:pt x="379" y="323"/>
                  </a:lnTo>
                  <a:lnTo>
                    <a:pt x="379" y="323"/>
                  </a:lnTo>
                  <a:lnTo>
                    <a:pt x="379" y="323"/>
                  </a:lnTo>
                  <a:lnTo>
                    <a:pt x="379" y="325"/>
                  </a:lnTo>
                  <a:lnTo>
                    <a:pt x="379" y="325"/>
                  </a:lnTo>
                  <a:lnTo>
                    <a:pt x="379" y="325"/>
                  </a:lnTo>
                  <a:lnTo>
                    <a:pt x="379" y="325"/>
                  </a:lnTo>
                  <a:lnTo>
                    <a:pt x="379" y="327"/>
                  </a:lnTo>
                  <a:lnTo>
                    <a:pt x="379" y="328"/>
                  </a:lnTo>
                  <a:lnTo>
                    <a:pt x="379" y="330"/>
                  </a:lnTo>
                  <a:lnTo>
                    <a:pt x="379" y="330"/>
                  </a:lnTo>
                  <a:lnTo>
                    <a:pt x="381" y="330"/>
                  </a:lnTo>
                  <a:lnTo>
                    <a:pt x="381" y="328"/>
                  </a:lnTo>
                  <a:lnTo>
                    <a:pt x="379" y="328"/>
                  </a:lnTo>
                  <a:lnTo>
                    <a:pt x="379" y="327"/>
                  </a:lnTo>
                  <a:lnTo>
                    <a:pt x="381" y="325"/>
                  </a:lnTo>
                  <a:lnTo>
                    <a:pt x="381" y="321"/>
                  </a:lnTo>
                  <a:lnTo>
                    <a:pt x="381" y="321"/>
                  </a:lnTo>
                  <a:lnTo>
                    <a:pt x="381" y="321"/>
                  </a:lnTo>
                  <a:lnTo>
                    <a:pt x="381" y="323"/>
                  </a:lnTo>
                  <a:lnTo>
                    <a:pt x="381" y="325"/>
                  </a:lnTo>
                  <a:lnTo>
                    <a:pt x="381" y="327"/>
                  </a:lnTo>
                  <a:lnTo>
                    <a:pt x="381" y="328"/>
                  </a:lnTo>
                  <a:lnTo>
                    <a:pt x="381" y="328"/>
                  </a:lnTo>
                  <a:lnTo>
                    <a:pt x="382" y="328"/>
                  </a:lnTo>
                  <a:lnTo>
                    <a:pt x="382" y="327"/>
                  </a:lnTo>
                  <a:lnTo>
                    <a:pt x="381" y="325"/>
                  </a:lnTo>
                  <a:lnTo>
                    <a:pt x="381" y="323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4" y="323"/>
                  </a:lnTo>
                  <a:lnTo>
                    <a:pt x="386" y="325"/>
                  </a:lnTo>
                  <a:lnTo>
                    <a:pt x="386" y="325"/>
                  </a:lnTo>
                  <a:lnTo>
                    <a:pt x="386" y="327"/>
                  </a:lnTo>
                  <a:lnTo>
                    <a:pt x="386" y="327"/>
                  </a:lnTo>
                  <a:lnTo>
                    <a:pt x="386" y="328"/>
                  </a:lnTo>
                  <a:lnTo>
                    <a:pt x="386" y="328"/>
                  </a:lnTo>
                  <a:lnTo>
                    <a:pt x="388" y="328"/>
                  </a:lnTo>
                  <a:lnTo>
                    <a:pt x="388" y="327"/>
                  </a:lnTo>
                  <a:lnTo>
                    <a:pt x="388" y="325"/>
                  </a:lnTo>
                  <a:lnTo>
                    <a:pt x="388" y="325"/>
                  </a:lnTo>
                  <a:lnTo>
                    <a:pt x="388" y="323"/>
                  </a:lnTo>
                  <a:lnTo>
                    <a:pt x="390" y="323"/>
                  </a:lnTo>
                  <a:lnTo>
                    <a:pt x="388" y="323"/>
                  </a:lnTo>
                  <a:lnTo>
                    <a:pt x="388" y="323"/>
                  </a:lnTo>
                  <a:lnTo>
                    <a:pt x="388" y="323"/>
                  </a:lnTo>
                  <a:lnTo>
                    <a:pt x="388" y="321"/>
                  </a:lnTo>
                  <a:lnTo>
                    <a:pt x="388" y="323"/>
                  </a:lnTo>
                  <a:lnTo>
                    <a:pt x="390" y="323"/>
                  </a:lnTo>
                  <a:lnTo>
                    <a:pt x="395" y="321"/>
                  </a:lnTo>
                  <a:lnTo>
                    <a:pt x="404" y="314"/>
                  </a:lnTo>
                  <a:lnTo>
                    <a:pt x="402" y="316"/>
                  </a:lnTo>
                  <a:lnTo>
                    <a:pt x="402" y="318"/>
                  </a:lnTo>
                  <a:lnTo>
                    <a:pt x="402" y="318"/>
                  </a:lnTo>
                  <a:lnTo>
                    <a:pt x="400" y="318"/>
                  </a:lnTo>
                  <a:lnTo>
                    <a:pt x="402" y="318"/>
                  </a:lnTo>
                  <a:lnTo>
                    <a:pt x="406" y="314"/>
                  </a:lnTo>
                  <a:lnTo>
                    <a:pt x="409" y="310"/>
                  </a:lnTo>
                  <a:lnTo>
                    <a:pt x="409" y="309"/>
                  </a:lnTo>
                  <a:lnTo>
                    <a:pt x="411" y="307"/>
                  </a:lnTo>
                  <a:lnTo>
                    <a:pt x="409" y="307"/>
                  </a:lnTo>
                  <a:lnTo>
                    <a:pt x="409" y="309"/>
                  </a:lnTo>
                  <a:lnTo>
                    <a:pt x="409" y="307"/>
                  </a:lnTo>
                  <a:lnTo>
                    <a:pt x="409" y="305"/>
                  </a:lnTo>
                  <a:lnTo>
                    <a:pt x="411" y="305"/>
                  </a:lnTo>
                  <a:lnTo>
                    <a:pt x="413" y="301"/>
                  </a:lnTo>
                  <a:lnTo>
                    <a:pt x="413" y="303"/>
                  </a:lnTo>
                  <a:lnTo>
                    <a:pt x="415" y="303"/>
                  </a:lnTo>
                  <a:lnTo>
                    <a:pt x="417" y="301"/>
                  </a:lnTo>
                  <a:lnTo>
                    <a:pt x="417" y="301"/>
                  </a:lnTo>
                  <a:lnTo>
                    <a:pt x="417" y="301"/>
                  </a:lnTo>
                  <a:lnTo>
                    <a:pt x="417" y="300"/>
                  </a:lnTo>
                  <a:lnTo>
                    <a:pt x="417" y="300"/>
                  </a:lnTo>
                  <a:lnTo>
                    <a:pt x="419" y="298"/>
                  </a:lnTo>
                  <a:lnTo>
                    <a:pt x="419" y="300"/>
                  </a:lnTo>
                  <a:lnTo>
                    <a:pt x="419" y="300"/>
                  </a:lnTo>
                  <a:lnTo>
                    <a:pt x="419" y="300"/>
                  </a:lnTo>
                  <a:lnTo>
                    <a:pt x="420" y="298"/>
                  </a:lnTo>
                  <a:lnTo>
                    <a:pt x="420" y="298"/>
                  </a:lnTo>
                  <a:lnTo>
                    <a:pt x="422" y="296"/>
                  </a:lnTo>
                  <a:lnTo>
                    <a:pt x="424" y="296"/>
                  </a:lnTo>
                  <a:lnTo>
                    <a:pt x="424" y="294"/>
                  </a:lnTo>
                  <a:lnTo>
                    <a:pt x="428" y="292"/>
                  </a:lnTo>
                  <a:lnTo>
                    <a:pt x="428" y="291"/>
                  </a:lnTo>
                  <a:lnTo>
                    <a:pt x="426" y="291"/>
                  </a:lnTo>
                  <a:lnTo>
                    <a:pt x="428" y="289"/>
                  </a:lnTo>
                  <a:lnTo>
                    <a:pt x="440" y="285"/>
                  </a:lnTo>
                  <a:lnTo>
                    <a:pt x="442" y="285"/>
                  </a:lnTo>
                  <a:lnTo>
                    <a:pt x="440" y="283"/>
                  </a:lnTo>
                  <a:lnTo>
                    <a:pt x="437" y="285"/>
                  </a:lnTo>
                  <a:lnTo>
                    <a:pt x="440" y="282"/>
                  </a:lnTo>
                  <a:lnTo>
                    <a:pt x="442" y="280"/>
                  </a:lnTo>
                  <a:lnTo>
                    <a:pt x="442" y="280"/>
                  </a:lnTo>
                  <a:lnTo>
                    <a:pt x="442" y="280"/>
                  </a:lnTo>
                  <a:lnTo>
                    <a:pt x="442" y="282"/>
                  </a:lnTo>
                  <a:lnTo>
                    <a:pt x="444" y="280"/>
                  </a:lnTo>
                  <a:lnTo>
                    <a:pt x="447" y="280"/>
                  </a:lnTo>
                  <a:lnTo>
                    <a:pt x="449" y="278"/>
                  </a:lnTo>
                  <a:lnTo>
                    <a:pt x="453" y="278"/>
                  </a:lnTo>
                  <a:lnTo>
                    <a:pt x="455" y="276"/>
                  </a:lnTo>
                  <a:lnTo>
                    <a:pt x="453" y="276"/>
                  </a:lnTo>
                  <a:lnTo>
                    <a:pt x="453" y="276"/>
                  </a:lnTo>
                  <a:lnTo>
                    <a:pt x="451" y="276"/>
                  </a:lnTo>
                  <a:lnTo>
                    <a:pt x="453" y="274"/>
                  </a:lnTo>
                  <a:lnTo>
                    <a:pt x="455" y="276"/>
                  </a:lnTo>
                  <a:lnTo>
                    <a:pt x="456" y="274"/>
                  </a:lnTo>
                  <a:lnTo>
                    <a:pt x="458" y="272"/>
                  </a:lnTo>
                  <a:lnTo>
                    <a:pt x="458" y="271"/>
                  </a:lnTo>
                  <a:lnTo>
                    <a:pt x="458" y="269"/>
                  </a:lnTo>
                  <a:lnTo>
                    <a:pt x="456" y="269"/>
                  </a:lnTo>
                  <a:lnTo>
                    <a:pt x="456" y="267"/>
                  </a:lnTo>
                  <a:lnTo>
                    <a:pt x="456" y="269"/>
                  </a:lnTo>
                  <a:lnTo>
                    <a:pt x="458" y="269"/>
                  </a:lnTo>
                  <a:lnTo>
                    <a:pt x="458" y="269"/>
                  </a:lnTo>
                  <a:lnTo>
                    <a:pt x="458" y="267"/>
                  </a:lnTo>
                  <a:lnTo>
                    <a:pt x="458" y="267"/>
                  </a:lnTo>
                  <a:lnTo>
                    <a:pt x="456" y="263"/>
                  </a:lnTo>
                  <a:lnTo>
                    <a:pt x="456" y="262"/>
                  </a:lnTo>
                  <a:lnTo>
                    <a:pt x="455" y="262"/>
                  </a:lnTo>
                  <a:lnTo>
                    <a:pt x="453" y="262"/>
                  </a:lnTo>
                  <a:lnTo>
                    <a:pt x="453" y="260"/>
                  </a:lnTo>
                  <a:lnTo>
                    <a:pt x="455" y="262"/>
                  </a:lnTo>
                  <a:lnTo>
                    <a:pt x="456" y="262"/>
                  </a:lnTo>
                  <a:lnTo>
                    <a:pt x="456" y="263"/>
                  </a:lnTo>
                  <a:lnTo>
                    <a:pt x="458" y="263"/>
                  </a:lnTo>
                  <a:lnTo>
                    <a:pt x="460" y="265"/>
                  </a:lnTo>
                  <a:lnTo>
                    <a:pt x="460" y="269"/>
                  </a:lnTo>
                  <a:lnTo>
                    <a:pt x="460" y="271"/>
                  </a:lnTo>
                  <a:lnTo>
                    <a:pt x="460" y="271"/>
                  </a:lnTo>
                  <a:lnTo>
                    <a:pt x="460" y="271"/>
                  </a:lnTo>
                  <a:lnTo>
                    <a:pt x="462" y="272"/>
                  </a:lnTo>
                  <a:lnTo>
                    <a:pt x="462" y="272"/>
                  </a:lnTo>
                  <a:lnTo>
                    <a:pt x="462" y="271"/>
                  </a:lnTo>
                  <a:lnTo>
                    <a:pt x="462" y="271"/>
                  </a:lnTo>
                  <a:lnTo>
                    <a:pt x="462" y="269"/>
                  </a:lnTo>
                  <a:lnTo>
                    <a:pt x="462" y="269"/>
                  </a:lnTo>
                  <a:lnTo>
                    <a:pt x="462" y="269"/>
                  </a:lnTo>
                  <a:lnTo>
                    <a:pt x="462" y="267"/>
                  </a:lnTo>
                  <a:lnTo>
                    <a:pt x="462" y="269"/>
                  </a:lnTo>
                  <a:lnTo>
                    <a:pt x="464" y="269"/>
                  </a:lnTo>
                  <a:lnTo>
                    <a:pt x="464" y="271"/>
                  </a:lnTo>
                  <a:lnTo>
                    <a:pt x="464" y="272"/>
                  </a:lnTo>
                  <a:lnTo>
                    <a:pt x="464" y="272"/>
                  </a:lnTo>
                  <a:lnTo>
                    <a:pt x="465" y="272"/>
                  </a:lnTo>
                  <a:lnTo>
                    <a:pt x="465" y="272"/>
                  </a:lnTo>
                  <a:lnTo>
                    <a:pt x="465" y="276"/>
                  </a:lnTo>
                  <a:lnTo>
                    <a:pt x="467" y="276"/>
                  </a:lnTo>
                  <a:lnTo>
                    <a:pt x="467" y="276"/>
                  </a:lnTo>
                  <a:lnTo>
                    <a:pt x="467" y="274"/>
                  </a:lnTo>
                  <a:lnTo>
                    <a:pt x="467" y="274"/>
                  </a:lnTo>
                  <a:lnTo>
                    <a:pt x="467" y="272"/>
                  </a:lnTo>
                  <a:lnTo>
                    <a:pt x="467" y="272"/>
                  </a:lnTo>
                  <a:lnTo>
                    <a:pt x="469" y="274"/>
                  </a:lnTo>
                  <a:lnTo>
                    <a:pt x="469" y="274"/>
                  </a:lnTo>
                  <a:lnTo>
                    <a:pt x="469" y="274"/>
                  </a:lnTo>
                  <a:lnTo>
                    <a:pt x="471" y="272"/>
                  </a:lnTo>
                  <a:lnTo>
                    <a:pt x="471" y="272"/>
                  </a:lnTo>
                  <a:lnTo>
                    <a:pt x="473" y="272"/>
                  </a:lnTo>
                  <a:lnTo>
                    <a:pt x="473" y="272"/>
                  </a:lnTo>
                  <a:lnTo>
                    <a:pt x="474" y="274"/>
                  </a:lnTo>
                  <a:lnTo>
                    <a:pt x="476" y="276"/>
                  </a:lnTo>
                  <a:lnTo>
                    <a:pt x="476" y="276"/>
                  </a:lnTo>
                  <a:lnTo>
                    <a:pt x="480" y="276"/>
                  </a:lnTo>
                  <a:lnTo>
                    <a:pt x="480" y="276"/>
                  </a:lnTo>
                  <a:lnTo>
                    <a:pt x="482" y="274"/>
                  </a:lnTo>
                  <a:lnTo>
                    <a:pt x="484" y="274"/>
                  </a:lnTo>
                  <a:lnTo>
                    <a:pt x="482" y="272"/>
                  </a:lnTo>
                  <a:lnTo>
                    <a:pt x="482" y="271"/>
                  </a:lnTo>
                  <a:lnTo>
                    <a:pt x="482" y="271"/>
                  </a:lnTo>
                  <a:lnTo>
                    <a:pt x="482" y="271"/>
                  </a:lnTo>
                  <a:lnTo>
                    <a:pt x="480" y="272"/>
                  </a:lnTo>
                  <a:lnTo>
                    <a:pt x="480" y="271"/>
                  </a:lnTo>
                  <a:lnTo>
                    <a:pt x="478" y="271"/>
                  </a:lnTo>
                  <a:lnTo>
                    <a:pt x="478" y="269"/>
                  </a:lnTo>
                  <a:lnTo>
                    <a:pt x="480" y="269"/>
                  </a:lnTo>
                  <a:lnTo>
                    <a:pt x="480" y="269"/>
                  </a:lnTo>
                  <a:lnTo>
                    <a:pt x="480" y="269"/>
                  </a:lnTo>
                  <a:lnTo>
                    <a:pt x="482" y="267"/>
                  </a:lnTo>
                  <a:lnTo>
                    <a:pt x="482" y="265"/>
                  </a:lnTo>
                  <a:lnTo>
                    <a:pt x="482" y="265"/>
                  </a:lnTo>
                  <a:lnTo>
                    <a:pt x="482" y="267"/>
                  </a:lnTo>
                  <a:lnTo>
                    <a:pt x="482" y="267"/>
                  </a:lnTo>
                  <a:lnTo>
                    <a:pt x="482" y="267"/>
                  </a:lnTo>
                  <a:lnTo>
                    <a:pt x="482" y="269"/>
                  </a:lnTo>
                  <a:lnTo>
                    <a:pt x="482" y="267"/>
                  </a:lnTo>
                  <a:lnTo>
                    <a:pt x="484" y="267"/>
                  </a:lnTo>
                  <a:lnTo>
                    <a:pt x="484" y="265"/>
                  </a:lnTo>
                  <a:lnTo>
                    <a:pt x="487" y="263"/>
                  </a:lnTo>
                  <a:lnTo>
                    <a:pt x="487" y="263"/>
                  </a:lnTo>
                  <a:lnTo>
                    <a:pt x="489" y="262"/>
                  </a:lnTo>
                  <a:lnTo>
                    <a:pt x="489" y="260"/>
                  </a:lnTo>
                  <a:lnTo>
                    <a:pt x="489" y="260"/>
                  </a:lnTo>
                  <a:lnTo>
                    <a:pt x="491" y="260"/>
                  </a:lnTo>
                  <a:lnTo>
                    <a:pt x="491" y="258"/>
                  </a:lnTo>
                  <a:lnTo>
                    <a:pt x="491" y="258"/>
                  </a:lnTo>
                  <a:lnTo>
                    <a:pt x="491" y="256"/>
                  </a:lnTo>
                  <a:lnTo>
                    <a:pt x="491" y="256"/>
                  </a:lnTo>
                  <a:lnTo>
                    <a:pt x="491" y="256"/>
                  </a:lnTo>
                  <a:lnTo>
                    <a:pt x="496" y="258"/>
                  </a:lnTo>
                  <a:lnTo>
                    <a:pt x="498" y="258"/>
                  </a:lnTo>
                  <a:lnTo>
                    <a:pt x="496" y="260"/>
                  </a:lnTo>
                  <a:lnTo>
                    <a:pt x="491" y="260"/>
                  </a:lnTo>
                  <a:lnTo>
                    <a:pt x="489" y="262"/>
                  </a:lnTo>
                  <a:lnTo>
                    <a:pt x="491" y="262"/>
                  </a:lnTo>
                  <a:lnTo>
                    <a:pt x="494" y="260"/>
                  </a:lnTo>
                  <a:lnTo>
                    <a:pt x="500" y="260"/>
                  </a:lnTo>
                  <a:lnTo>
                    <a:pt x="500" y="260"/>
                  </a:lnTo>
                  <a:lnTo>
                    <a:pt x="500" y="258"/>
                  </a:lnTo>
                  <a:lnTo>
                    <a:pt x="500" y="256"/>
                  </a:lnTo>
                  <a:lnTo>
                    <a:pt x="500" y="256"/>
                  </a:lnTo>
                  <a:lnTo>
                    <a:pt x="500" y="256"/>
                  </a:lnTo>
                  <a:lnTo>
                    <a:pt x="502" y="256"/>
                  </a:lnTo>
                  <a:lnTo>
                    <a:pt x="502" y="254"/>
                  </a:lnTo>
                  <a:lnTo>
                    <a:pt x="502" y="254"/>
                  </a:lnTo>
                  <a:lnTo>
                    <a:pt x="502" y="254"/>
                  </a:lnTo>
                  <a:lnTo>
                    <a:pt x="502" y="254"/>
                  </a:lnTo>
                  <a:lnTo>
                    <a:pt x="502" y="253"/>
                  </a:lnTo>
                  <a:lnTo>
                    <a:pt x="502" y="253"/>
                  </a:lnTo>
                  <a:lnTo>
                    <a:pt x="503" y="249"/>
                  </a:lnTo>
                  <a:lnTo>
                    <a:pt x="503" y="247"/>
                  </a:lnTo>
                  <a:lnTo>
                    <a:pt x="503" y="245"/>
                  </a:lnTo>
                  <a:lnTo>
                    <a:pt x="503" y="245"/>
                  </a:lnTo>
                  <a:lnTo>
                    <a:pt x="503" y="244"/>
                  </a:lnTo>
                  <a:lnTo>
                    <a:pt x="509" y="238"/>
                  </a:lnTo>
                  <a:lnTo>
                    <a:pt x="509" y="236"/>
                  </a:lnTo>
                  <a:lnTo>
                    <a:pt x="509" y="236"/>
                  </a:lnTo>
                  <a:lnTo>
                    <a:pt x="507" y="236"/>
                  </a:lnTo>
                  <a:lnTo>
                    <a:pt x="503" y="242"/>
                  </a:lnTo>
                  <a:lnTo>
                    <a:pt x="502" y="242"/>
                  </a:lnTo>
                  <a:lnTo>
                    <a:pt x="502" y="244"/>
                  </a:lnTo>
                  <a:lnTo>
                    <a:pt x="502" y="244"/>
                  </a:lnTo>
                  <a:lnTo>
                    <a:pt x="500" y="242"/>
                  </a:lnTo>
                  <a:lnTo>
                    <a:pt x="500" y="242"/>
                  </a:lnTo>
                  <a:lnTo>
                    <a:pt x="500" y="242"/>
                  </a:lnTo>
                  <a:lnTo>
                    <a:pt x="498" y="240"/>
                  </a:lnTo>
                  <a:lnTo>
                    <a:pt x="498" y="238"/>
                  </a:lnTo>
                  <a:lnTo>
                    <a:pt x="498" y="238"/>
                  </a:lnTo>
                  <a:lnTo>
                    <a:pt x="505" y="238"/>
                  </a:lnTo>
                  <a:lnTo>
                    <a:pt x="505" y="236"/>
                  </a:lnTo>
                  <a:lnTo>
                    <a:pt x="505" y="236"/>
                  </a:lnTo>
                  <a:lnTo>
                    <a:pt x="507" y="235"/>
                  </a:lnTo>
                  <a:lnTo>
                    <a:pt x="505" y="233"/>
                  </a:lnTo>
                  <a:lnTo>
                    <a:pt x="505" y="233"/>
                  </a:lnTo>
                  <a:lnTo>
                    <a:pt x="503" y="231"/>
                  </a:lnTo>
                  <a:lnTo>
                    <a:pt x="502" y="231"/>
                  </a:lnTo>
                  <a:lnTo>
                    <a:pt x="505" y="227"/>
                  </a:lnTo>
                  <a:lnTo>
                    <a:pt x="512" y="231"/>
                  </a:lnTo>
                  <a:lnTo>
                    <a:pt x="512" y="231"/>
                  </a:lnTo>
                  <a:lnTo>
                    <a:pt x="512" y="229"/>
                  </a:lnTo>
                  <a:lnTo>
                    <a:pt x="512" y="227"/>
                  </a:lnTo>
                  <a:lnTo>
                    <a:pt x="509" y="227"/>
                  </a:lnTo>
                  <a:lnTo>
                    <a:pt x="509" y="226"/>
                  </a:lnTo>
                  <a:lnTo>
                    <a:pt x="509" y="226"/>
                  </a:lnTo>
                  <a:lnTo>
                    <a:pt x="507" y="224"/>
                  </a:lnTo>
                  <a:lnTo>
                    <a:pt x="507" y="222"/>
                  </a:lnTo>
                  <a:lnTo>
                    <a:pt x="507" y="220"/>
                  </a:lnTo>
                  <a:lnTo>
                    <a:pt x="507" y="220"/>
                  </a:lnTo>
                  <a:lnTo>
                    <a:pt x="503" y="218"/>
                  </a:lnTo>
                  <a:lnTo>
                    <a:pt x="503" y="218"/>
                  </a:lnTo>
                  <a:lnTo>
                    <a:pt x="503" y="217"/>
                  </a:lnTo>
                  <a:lnTo>
                    <a:pt x="503" y="217"/>
                  </a:lnTo>
                  <a:lnTo>
                    <a:pt x="503" y="215"/>
                  </a:lnTo>
                  <a:lnTo>
                    <a:pt x="503" y="215"/>
                  </a:lnTo>
                  <a:lnTo>
                    <a:pt x="502" y="215"/>
                  </a:lnTo>
                  <a:lnTo>
                    <a:pt x="502" y="215"/>
                  </a:lnTo>
                  <a:lnTo>
                    <a:pt x="502" y="213"/>
                  </a:lnTo>
                  <a:lnTo>
                    <a:pt x="505" y="215"/>
                  </a:lnTo>
                  <a:lnTo>
                    <a:pt x="505" y="215"/>
                  </a:lnTo>
                  <a:lnTo>
                    <a:pt x="507" y="218"/>
                  </a:lnTo>
                  <a:lnTo>
                    <a:pt x="509" y="218"/>
                  </a:lnTo>
                  <a:lnTo>
                    <a:pt x="509" y="224"/>
                  </a:lnTo>
                  <a:lnTo>
                    <a:pt x="511" y="224"/>
                  </a:lnTo>
                  <a:lnTo>
                    <a:pt x="511" y="226"/>
                  </a:lnTo>
                  <a:lnTo>
                    <a:pt x="512" y="226"/>
                  </a:lnTo>
                  <a:lnTo>
                    <a:pt x="523" y="224"/>
                  </a:lnTo>
                  <a:lnTo>
                    <a:pt x="527" y="220"/>
                  </a:lnTo>
                  <a:lnTo>
                    <a:pt x="527" y="220"/>
                  </a:lnTo>
                  <a:lnTo>
                    <a:pt x="527" y="218"/>
                  </a:lnTo>
                  <a:lnTo>
                    <a:pt x="525" y="218"/>
                  </a:lnTo>
                  <a:lnTo>
                    <a:pt x="523" y="217"/>
                  </a:lnTo>
                  <a:lnTo>
                    <a:pt x="523" y="215"/>
                  </a:lnTo>
                  <a:lnTo>
                    <a:pt x="525" y="215"/>
                  </a:lnTo>
                  <a:lnTo>
                    <a:pt x="525" y="215"/>
                  </a:lnTo>
                  <a:lnTo>
                    <a:pt x="525" y="213"/>
                  </a:lnTo>
                  <a:lnTo>
                    <a:pt x="527" y="215"/>
                  </a:lnTo>
                  <a:lnTo>
                    <a:pt x="532" y="215"/>
                  </a:lnTo>
                  <a:lnTo>
                    <a:pt x="534" y="213"/>
                  </a:lnTo>
                  <a:lnTo>
                    <a:pt x="534" y="213"/>
                  </a:lnTo>
                  <a:lnTo>
                    <a:pt x="534" y="211"/>
                  </a:lnTo>
                  <a:lnTo>
                    <a:pt x="529" y="209"/>
                  </a:lnTo>
                  <a:lnTo>
                    <a:pt x="530" y="207"/>
                  </a:lnTo>
                  <a:lnTo>
                    <a:pt x="534" y="209"/>
                  </a:lnTo>
                  <a:lnTo>
                    <a:pt x="536" y="209"/>
                  </a:lnTo>
                  <a:lnTo>
                    <a:pt x="538" y="207"/>
                  </a:lnTo>
                  <a:lnTo>
                    <a:pt x="538" y="207"/>
                  </a:lnTo>
                  <a:lnTo>
                    <a:pt x="538" y="207"/>
                  </a:lnTo>
                  <a:lnTo>
                    <a:pt x="538" y="206"/>
                  </a:lnTo>
                  <a:lnTo>
                    <a:pt x="538" y="206"/>
                  </a:lnTo>
                  <a:lnTo>
                    <a:pt x="538" y="204"/>
                  </a:lnTo>
                  <a:lnTo>
                    <a:pt x="534" y="202"/>
                  </a:lnTo>
                  <a:lnTo>
                    <a:pt x="527" y="200"/>
                  </a:lnTo>
                  <a:lnTo>
                    <a:pt x="523" y="198"/>
                  </a:lnTo>
                  <a:lnTo>
                    <a:pt x="525" y="197"/>
                  </a:lnTo>
                  <a:lnTo>
                    <a:pt x="527" y="198"/>
                  </a:lnTo>
                  <a:lnTo>
                    <a:pt x="532" y="198"/>
                  </a:lnTo>
                  <a:lnTo>
                    <a:pt x="538" y="200"/>
                  </a:lnTo>
                  <a:lnTo>
                    <a:pt x="540" y="200"/>
                  </a:lnTo>
                  <a:lnTo>
                    <a:pt x="541" y="198"/>
                  </a:lnTo>
                  <a:lnTo>
                    <a:pt x="541" y="197"/>
                  </a:lnTo>
                  <a:lnTo>
                    <a:pt x="536" y="195"/>
                  </a:lnTo>
                  <a:lnTo>
                    <a:pt x="532" y="193"/>
                  </a:lnTo>
                  <a:lnTo>
                    <a:pt x="532" y="191"/>
                  </a:lnTo>
                  <a:lnTo>
                    <a:pt x="532" y="191"/>
                  </a:lnTo>
                  <a:lnTo>
                    <a:pt x="532" y="189"/>
                  </a:lnTo>
                  <a:lnTo>
                    <a:pt x="530" y="189"/>
                  </a:lnTo>
                  <a:lnTo>
                    <a:pt x="530" y="188"/>
                  </a:lnTo>
                  <a:lnTo>
                    <a:pt x="514" y="188"/>
                  </a:lnTo>
                  <a:lnTo>
                    <a:pt x="514" y="186"/>
                  </a:lnTo>
                  <a:lnTo>
                    <a:pt x="525" y="186"/>
                  </a:lnTo>
                  <a:lnTo>
                    <a:pt x="527" y="184"/>
                  </a:lnTo>
                  <a:lnTo>
                    <a:pt x="527" y="182"/>
                  </a:lnTo>
                  <a:lnTo>
                    <a:pt x="525" y="182"/>
                  </a:lnTo>
                  <a:lnTo>
                    <a:pt x="525" y="182"/>
                  </a:lnTo>
                  <a:lnTo>
                    <a:pt x="525" y="180"/>
                  </a:lnTo>
                  <a:lnTo>
                    <a:pt x="527" y="180"/>
                  </a:lnTo>
                  <a:lnTo>
                    <a:pt x="529" y="184"/>
                  </a:lnTo>
                  <a:lnTo>
                    <a:pt x="532" y="184"/>
                  </a:lnTo>
                  <a:lnTo>
                    <a:pt x="534" y="186"/>
                  </a:lnTo>
                  <a:lnTo>
                    <a:pt x="534" y="186"/>
                  </a:lnTo>
                  <a:lnTo>
                    <a:pt x="536" y="186"/>
                  </a:lnTo>
                  <a:lnTo>
                    <a:pt x="536" y="188"/>
                  </a:lnTo>
                  <a:lnTo>
                    <a:pt x="536" y="189"/>
                  </a:lnTo>
                  <a:lnTo>
                    <a:pt x="536" y="191"/>
                  </a:lnTo>
                  <a:lnTo>
                    <a:pt x="538" y="191"/>
                  </a:lnTo>
                  <a:lnTo>
                    <a:pt x="541" y="191"/>
                  </a:lnTo>
                  <a:lnTo>
                    <a:pt x="545" y="191"/>
                  </a:lnTo>
                  <a:lnTo>
                    <a:pt x="545" y="191"/>
                  </a:lnTo>
                  <a:lnTo>
                    <a:pt x="547" y="189"/>
                  </a:lnTo>
                  <a:lnTo>
                    <a:pt x="547" y="189"/>
                  </a:lnTo>
                  <a:lnTo>
                    <a:pt x="547" y="189"/>
                  </a:lnTo>
                  <a:lnTo>
                    <a:pt x="547" y="188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9" y="184"/>
                  </a:lnTo>
                  <a:lnTo>
                    <a:pt x="550" y="184"/>
                  </a:lnTo>
                  <a:lnTo>
                    <a:pt x="550" y="182"/>
                  </a:lnTo>
                  <a:lnTo>
                    <a:pt x="552" y="180"/>
                  </a:lnTo>
                  <a:lnTo>
                    <a:pt x="550" y="179"/>
                  </a:lnTo>
                  <a:close/>
                  <a:moveTo>
                    <a:pt x="326" y="3"/>
                  </a:moveTo>
                  <a:lnTo>
                    <a:pt x="326" y="2"/>
                  </a:lnTo>
                  <a:lnTo>
                    <a:pt x="328" y="2"/>
                  </a:lnTo>
                  <a:lnTo>
                    <a:pt x="326" y="2"/>
                  </a:lnTo>
                  <a:lnTo>
                    <a:pt x="326" y="0"/>
                  </a:lnTo>
                  <a:lnTo>
                    <a:pt x="325" y="0"/>
                  </a:lnTo>
                  <a:lnTo>
                    <a:pt x="325" y="2"/>
                  </a:lnTo>
                  <a:lnTo>
                    <a:pt x="326" y="3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D48EC858-8A0E-BA02-A3E6-649766759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4179888"/>
              <a:ext cx="538163" cy="330200"/>
            </a:xfrm>
            <a:custGeom>
              <a:avLst/>
              <a:gdLst>
                <a:gd name="T0" fmla="*/ 332 w 339"/>
                <a:gd name="T1" fmla="*/ 35 h 208"/>
                <a:gd name="T2" fmla="*/ 318 w 339"/>
                <a:gd name="T3" fmla="*/ 26 h 208"/>
                <a:gd name="T4" fmla="*/ 311 w 339"/>
                <a:gd name="T5" fmla="*/ 17 h 208"/>
                <a:gd name="T6" fmla="*/ 302 w 339"/>
                <a:gd name="T7" fmla="*/ 13 h 208"/>
                <a:gd name="T8" fmla="*/ 280 w 339"/>
                <a:gd name="T9" fmla="*/ 17 h 208"/>
                <a:gd name="T10" fmla="*/ 267 w 339"/>
                <a:gd name="T11" fmla="*/ 0 h 208"/>
                <a:gd name="T12" fmla="*/ 251 w 339"/>
                <a:gd name="T13" fmla="*/ 6 h 208"/>
                <a:gd name="T14" fmla="*/ 220 w 339"/>
                <a:gd name="T15" fmla="*/ 2 h 208"/>
                <a:gd name="T16" fmla="*/ 215 w 339"/>
                <a:gd name="T17" fmla="*/ 18 h 208"/>
                <a:gd name="T18" fmla="*/ 202 w 339"/>
                <a:gd name="T19" fmla="*/ 26 h 208"/>
                <a:gd name="T20" fmla="*/ 186 w 339"/>
                <a:gd name="T21" fmla="*/ 31 h 208"/>
                <a:gd name="T22" fmla="*/ 177 w 339"/>
                <a:gd name="T23" fmla="*/ 26 h 208"/>
                <a:gd name="T24" fmla="*/ 166 w 339"/>
                <a:gd name="T25" fmla="*/ 36 h 208"/>
                <a:gd name="T26" fmla="*/ 134 w 339"/>
                <a:gd name="T27" fmla="*/ 44 h 208"/>
                <a:gd name="T28" fmla="*/ 134 w 339"/>
                <a:gd name="T29" fmla="*/ 56 h 208"/>
                <a:gd name="T30" fmla="*/ 81 w 339"/>
                <a:gd name="T31" fmla="*/ 60 h 208"/>
                <a:gd name="T32" fmla="*/ 69 w 339"/>
                <a:gd name="T33" fmla="*/ 51 h 208"/>
                <a:gd name="T34" fmla="*/ 49 w 339"/>
                <a:gd name="T35" fmla="*/ 47 h 208"/>
                <a:gd name="T36" fmla="*/ 45 w 339"/>
                <a:gd name="T37" fmla="*/ 55 h 208"/>
                <a:gd name="T38" fmla="*/ 40 w 339"/>
                <a:gd name="T39" fmla="*/ 67 h 208"/>
                <a:gd name="T40" fmla="*/ 25 w 339"/>
                <a:gd name="T41" fmla="*/ 62 h 208"/>
                <a:gd name="T42" fmla="*/ 16 w 339"/>
                <a:gd name="T43" fmla="*/ 67 h 208"/>
                <a:gd name="T44" fmla="*/ 29 w 339"/>
                <a:gd name="T45" fmla="*/ 78 h 208"/>
                <a:gd name="T46" fmla="*/ 16 w 339"/>
                <a:gd name="T47" fmla="*/ 91 h 208"/>
                <a:gd name="T48" fmla="*/ 16 w 339"/>
                <a:gd name="T49" fmla="*/ 102 h 208"/>
                <a:gd name="T50" fmla="*/ 20 w 339"/>
                <a:gd name="T51" fmla="*/ 109 h 208"/>
                <a:gd name="T52" fmla="*/ 20 w 339"/>
                <a:gd name="T53" fmla="*/ 116 h 208"/>
                <a:gd name="T54" fmla="*/ 9 w 339"/>
                <a:gd name="T55" fmla="*/ 118 h 208"/>
                <a:gd name="T56" fmla="*/ 0 w 339"/>
                <a:gd name="T57" fmla="*/ 127 h 208"/>
                <a:gd name="T58" fmla="*/ 11 w 339"/>
                <a:gd name="T59" fmla="*/ 130 h 208"/>
                <a:gd name="T60" fmla="*/ 14 w 339"/>
                <a:gd name="T61" fmla="*/ 139 h 208"/>
                <a:gd name="T62" fmla="*/ 22 w 339"/>
                <a:gd name="T63" fmla="*/ 152 h 208"/>
                <a:gd name="T64" fmla="*/ 32 w 339"/>
                <a:gd name="T65" fmla="*/ 161 h 208"/>
                <a:gd name="T66" fmla="*/ 38 w 339"/>
                <a:gd name="T67" fmla="*/ 163 h 208"/>
                <a:gd name="T68" fmla="*/ 47 w 339"/>
                <a:gd name="T69" fmla="*/ 177 h 208"/>
                <a:gd name="T70" fmla="*/ 61 w 339"/>
                <a:gd name="T71" fmla="*/ 190 h 208"/>
                <a:gd name="T72" fmla="*/ 65 w 339"/>
                <a:gd name="T73" fmla="*/ 192 h 208"/>
                <a:gd name="T74" fmla="*/ 78 w 339"/>
                <a:gd name="T75" fmla="*/ 199 h 208"/>
                <a:gd name="T76" fmla="*/ 99 w 339"/>
                <a:gd name="T77" fmla="*/ 206 h 208"/>
                <a:gd name="T78" fmla="*/ 114 w 339"/>
                <a:gd name="T79" fmla="*/ 208 h 208"/>
                <a:gd name="T80" fmla="*/ 126 w 339"/>
                <a:gd name="T81" fmla="*/ 199 h 208"/>
                <a:gd name="T82" fmla="*/ 137 w 339"/>
                <a:gd name="T83" fmla="*/ 195 h 208"/>
                <a:gd name="T84" fmla="*/ 144 w 339"/>
                <a:gd name="T85" fmla="*/ 194 h 208"/>
                <a:gd name="T86" fmla="*/ 159 w 339"/>
                <a:gd name="T87" fmla="*/ 190 h 208"/>
                <a:gd name="T88" fmla="*/ 168 w 339"/>
                <a:gd name="T89" fmla="*/ 183 h 208"/>
                <a:gd name="T90" fmla="*/ 179 w 339"/>
                <a:gd name="T91" fmla="*/ 177 h 208"/>
                <a:gd name="T92" fmla="*/ 202 w 339"/>
                <a:gd name="T93" fmla="*/ 179 h 208"/>
                <a:gd name="T94" fmla="*/ 226 w 339"/>
                <a:gd name="T95" fmla="*/ 179 h 208"/>
                <a:gd name="T96" fmla="*/ 233 w 339"/>
                <a:gd name="T97" fmla="*/ 174 h 208"/>
                <a:gd name="T98" fmla="*/ 242 w 339"/>
                <a:gd name="T99" fmla="*/ 170 h 208"/>
                <a:gd name="T100" fmla="*/ 255 w 339"/>
                <a:gd name="T101" fmla="*/ 167 h 208"/>
                <a:gd name="T102" fmla="*/ 260 w 339"/>
                <a:gd name="T103" fmla="*/ 145 h 208"/>
                <a:gd name="T104" fmla="*/ 269 w 339"/>
                <a:gd name="T105" fmla="*/ 136 h 208"/>
                <a:gd name="T106" fmla="*/ 274 w 339"/>
                <a:gd name="T107" fmla="*/ 125 h 208"/>
                <a:gd name="T108" fmla="*/ 278 w 339"/>
                <a:gd name="T109" fmla="*/ 116 h 208"/>
                <a:gd name="T110" fmla="*/ 287 w 339"/>
                <a:gd name="T111" fmla="*/ 102 h 208"/>
                <a:gd name="T112" fmla="*/ 294 w 339"/>
                <a:gd name="T113" fmla="*/ 80 h 208"/>
                <a:gd name="T114" fmla="*/ 305 w 339"/>
                <a:gd name="T115" fmla="*/ 67 h 208"/>
                <a:gd name="T116" fmla="*/ 316 w 339"/>
                <a:gd name="T117" fmla="*/ 58 h 208"/>
                <a:gd name="T118" fmla="*/ 334 w 339"/>
                <a:gd name="T119" fmla="*/ 55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9" h="208">
                  <a:moveTo>
                    <a:pt x="338" y="46"/>
                  </a:moveTo>
                  <a:lnTo>
                    <a:pt x="338" y="44"/>
                  </a:lnTo>
                  <a:lnTo>
                    <a:pt x="338" y="44"/>
                  </a:lnTo>
                  <a:lnTo>
                    <a:pt x="338" y="42"/>
                  </a:lnTo>
                  <a:lnTo>
                    <a:pt x="338" y="42"/>
                  </a:lnTo>
                  <a:lnTo>
                    <a:pt x="339" y="40"/>
                  </a:lnTo>
                  <a:lnTo>
                    <a:pt x="338" y="40"/>
                  </a:lnTo>
                  <a:lnTo>
                    <a:pt x="338" y="38"/>
                  </a:lnTo>
                  <a:lnTo>
                    <a:pt x="338" y="36"/>
                  </a:lnTo>
                  <a:lnTo>
                    <a:pt x="336" y="36"/>
                  </a:lnTo>
                  <a:lnTo>
                    <a:pt x="334" y="35"/>
                  </a:lnTo>
                  <a:lnTo>
                    <a:pt x="334" y="35"/>
                  </a:lnTo>
                  <a:lnTo>
                    <a:pt x="332" y="35"/>
                  </a:lnTo>
                  <a:lnTo>
                    <a:pt x="332" y="35"/>
                  </a:lnTo>
                  <a:lnTo>
                    <a:pt x="330" y="35"/>
                  </a:lnTo>
                  <a:lnTo>
                    <a:pt x="330" y="35"/>
                  </a:lnTo>
                  <a:lnTo>
                    <a:pt x="327" y="35"/>
                  </a:lnTo>
                  <a:lnTo>
                    <a:pt x="327" y="35"/>
                  </a:lnTo>
                  <a:lnTo>
                    <a:pt x="325" y="35"/>
                  </a:lnTo>
                  <a:lnTo>
                    <a:pt x="325" y="35"/>
                  </a:lnTo>
                  <a:lnTo>
                    <a:pt x="325" y="33"/>
                  </a:lnTo>
                  <a:lnTo>
                    <a:pt x="323" y="31"/>
                  </a:lnTo>
                  <a:lnTo>
                    <a:pt x="323" y="29"/>
                  </a:lnTo>
                  <a:lnTo>
                    <a:pt x="320" y="24"/>
                  </a:lnTo>
                  <a:lnTo>
                    <a:pt x="320" y="24"/>
                  </a:lnTo>
                  <a:lnTo>
                    <a:pt x="320" y="24"/>
                  </a:lnTo>
                  <a:lnTo>
                    <a:pt x="320" y="24"/>
                  </a:lnTo>
                  <a:lnTo>
                    <a:pt x="318" y="26"/>
                  </a:lnTo>
                  <a:lnTo>
                    <a:pt x="318" y="26"/>
                  </a:lnTo>
                  <a:lnTo>
                    <a:pt x="316" y="26"/>
                  </a:lnTo>
                  <a:lnTo>
                    <a:pt x="316" y="24"/>
                  </a:lnTo>
                  <a:lnTo>
                    <a:pt x="316" y="24"/>
                  </a:lnTo>
                  <a:lnTo>
                    <a:pt x="316" y="24"/>
                  </a:lnTo>
                  <a:lnTo>
                    <a:pt x="314" y="24"/>
                  </a:lnTo>
                  <a:lnTo>
                    <a:pt x="314" y="26"/>
                  </a:lnTo>
                  <a:lnTo>
                    <a:pt x="314" y="26"/>
                  </a:lnTo>
                  <a:lnTo>
                    <a:pt x="314" y="26"/>
                  </a:lnTo>
                  <a:lnTo>
                    <a:pt x="314" y="24"/>
                  </a:lnTo>
                  <a:lnTo>
                    <a:pt x="311" y="20"/>
                  </a:lnTo>
                  <a:lnTo>
                    <a:pt x="311" y="18"/>
                  </a:lnTo>
                  <a:lnTo>
                    <a:pt x="311" y="18"/>
                  </a:lnTo>
                  <a:lnTo>
                    <a:pt x="311" y="17"/>
                  </a:lnTo>
                  <a:lnTo>
                    <a:pt x="311" y="17"/>
                  </a:lnTo>
                  <a:lnTo>
                    <a:pt x="311" y="17"/>
                  </a:lnTo>
                  <a:lnTo>
                    <a:pt x="311" y="17"/>
                  </a:lnTo>
                  <a:lnTo>
                    <a:pt x="309" y="17"/>
                  </a:lnTo>
                  <a:lnTo>
                    <a:pt x="309" y="15"/>
                  </a:lnTo>
                  <a:lnTo>
                    <a:pt x="309" y="13"/>
                  </a:lnTo>
                  <a:lnTo>
                    <a:pt x="307" y="11"/>
                  </a:lnTo>
                  <a:lnTo>
                    <a:pt x="305" y="11"/>
                  </a:lnTo>
                  <a:lnTo>
                    <a:pt x="303" y="11"/>
                  </a:lnTo>
                  <a:lnTo>
                    <a:pt x="303" y="13"/>
                  </a:lnTo>
                  <a:lnTo>
                    <a:pt x="303" y="13"/>
                  </a:lnTo>
                  <a:lnTo>
                    <a:pt x="303" y="13"/>
                  </a:lnTo>
                  <a:lnTo>
                    <a:pt x="303" y="13"/>
                  </a:lnTo>
                  <a:lnTo>
                    <a:pt x="302" y="13"/>
                  </a:lnTo>
                  <a:lnTo>
                    <a:pt x="302" y="13"/>
                  </a:lnTo>
                  <a:lnTo>
                    <a:pt x="300" y="15"/>
                  </a:lnTo>
                  <a:lnTo>
                    <a:pt x="300" y="15"/>
                  </a:lnTo>
                  <a:lnTo>
                    <a:pt x="296" y="15"/>
                  </a:lnTo>
                  <a:lnTo>
                    <a:pt x="296" y="15"/>
                  </a:lnTo>
                  <a:lnTo>
                    <a:pt x="294" y="15"/>
                  </a:lnTo>
                  <a:lnTo>
                    <a:pt x="292" y="15"/>
                  </a:lnTo>
                  <a:lnTo>
                    <a:pt x="291" y="15"/>
                  </a:lnTo>
                  <a:lnTo>
                    <a:pt x="289" y="17"/>
                  </a:lnTo>
                  <a:lnTo>
                    <a:pt x="287" y="17"/>
                  </a:lnTo>
                  <a:lnTo>
                    <a:pt x="285" y="18"/>
                  </a:lnTo>
                  <a:lnTo>
                    <a:pt x="283" y="18"/>
                  </a:lnTo>
                  <a:lnTo>
                    <a:pt x="282" y="17"/>
                  </a:lnTo>
                  <a:lnTo>
                    <a:pt x="280" y="17"/>
                  </a:lnTo>
                  <a:lnTo>
                    <a:pt x="280" y="15"/>
                  </a:lnTo>
                  <a:lnTo>
                    <a:pt x="276" y="11"/>
                  </a:lnTo>
                  <a:lnTo>
                    <a:pt x="276" y="9"/>
                  </a:lnTo>
                  <a:lnTo>
                    <a:pt x="276" y="6"/>
                  </a:lnTo>
                  <a:lnTo>
                    <a:pt x="274" y="6"/>
                  </a:lnTo>
                  <a:lnTo>
                    <a:pt x="274" y="6"/>
                  </a:lnTo>
                  <a:lnTo>
                    <a:pt x="273" y="6"/>
                  </a:lnTo>
                  <a:lnTo>
                    <a:pt x="271" y="6"/>
                  </a:lnTo>
                  <a:lnTo>
                    <a:pt x="271" y="4"/>
                  </a:lnTo>
                  <a:lnTo>
                    <a:pt x="271" y="4"/>
                  </a:lnTo>
                  <a:lnTo>
                    <a:pt x="271" y="2"/>
                  </a:lnTo>
                  <a:lnTo>
                    <a:pt x="271" y="2"/>
                  </a:lnTo>
                  <a:lnTo>
                    <a:pt x="269" y="2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4" y="2"/>
                  </a:lnTo>
                  <a:lnTo>
                    <a:pt x="262" y="2"/>
                  </a:lnTo>
                  <a:lnTo>
                    <a:pt x="262" y="2"/>
                  </a:lnTo>
                  <a:lnTo>
                    <a:pt x="260" y="2"/>
                  </a:lnTo>
                  <a:lnTo>
                    <a:pt x="260" y="2"/>
                  </a:lnTo>
                  <a:lnTo>
                    <a:pt x="260" y="4"/>
                  </a:lnTo>
                  <a:lnTo>
                    <a:pt x="260" y="4"/>
                  </a:lnTo>
                  <a:lnTo>
                    <a:pt x="258" y="6"/>
                  </a:lnTo>
                  <a:lnTo>
                    <a:pt x="258" y="4"/>
                  </a:lnTo>
                  <a:lnTo>
                    <a:pt x="258" y="4"/>
                  </a:lnTo>
                  <a:lnTo>
                    <a:pt x="256" y="4"/>
                  </a:lnTo>
                  <a:lnTo>
                    <a:pt x="255" y="4"/>
                  </a:lnTo>
                  <a:lnTo>
                    <a:pt x="251" y="6"/>
                  </a:lnTo>
                  <a:lnTo>
                    <a:pt x="249" y="6"/>
                  </a:lnTo>
                  <a:lnTo>
                    <a:pt x="249" y="4"/>
                  </a:lnTo>
                  <a:lnTo>
                    <a:pt x="247" y="4"/>
                  </a:lnTo>
                  <a:lnTo>
                    <a:pt x="246" y="4"/>
                  </a:lnTo>
                  <a:lnTo>
                    <a:pt x="244" y="4"/>
                  </a:lnTo>
                  <a:lnTo>
                    <a:pt x="242" y="4"/>
                  </a:lnTo>
                  <a:lnTo>
                    <a:pt x="240" y="2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237" y="0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24" y="2"/>
                  </a:lnTo>
                  <a:lnTo>
                    <a:pt x="220" y="2"/>
                  </a:lnTo>
                  <a:lnTo>
                    <a:pt x="220" y="4"/>
                  </a:lnTo>
                  <a:lnTo>
                    <a:pt x="220" y="4"/>
                  </a:lnTo>
                  <a:lnTo>
                    <a:pt x="220" y="4"/>
                  </a:lnTo>
                  <a:lnTo>
                    <a:pt x="220" y="6"/>
                  </a:lnTo>
                  <a:lnTo>
                    <a:pt x="220" y="6"/>
                  </a:lnTo>
                  <a:lnTo>
                    <a:pt x="220" y="6"/>
                  </a:lnTo>
                  <a:lnTo>
                    <a:pt x="220" y="6"/>
                  </a:lnTo>
                  <a:lnTo>
                    <a:pt x="220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17" y="9"/>
                  </a:lnTo>
                  <a:lnTo>
                    <a:pt x="217" y="11"/>
                  </a:lnTo>
                  <a:lnTo>
                    <a:pt x="217" y="11"/>
                  </a:lnTo>
                  <a:lnTo>
                    <a:pt x="215" y="18"/>
                  </a:lnTo>
                  <a:lnTo>
                    <a:pt x="213" y="20"/>
                  </a:lnTo>
                  <a:lnTo>
                    <a:pt x="211" y="22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8" y="24"/>
                  </a:lnTo>
                  <a:lnTo>
                    <a:pt x="208" y="24"/>
                  </a:lnTo>
                  <a:lnTo>
                    <a:pt x="208" y="22"/>
                  </a:lnTo>
                  <a:lnTo>
                    <a:pt x="206" y="22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2" y="26"/>
                  </a:lnTo>
                  <a:lnTo>
                    <a:pt x="202" y="26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199" y="27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1" y="33"/>
                  </a:lnTo>
                  <a:lnTo>
                    <a:pt x="191" y="33"/>
                  </a:lnTo>
                  <a:lnTo>
                    <a:pt x="190" y="33"/>
                  </a:lnTo>
                  <a:lnTo>
                    <a:pt x="188" y="31"/>
                  </a:lnTo>
                  <a:lnTo>
                    <a:pt x="186" y="31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4" y="29"/>
                  </a:lnTo>
                  <a:lnTo>
                    <a:pt x="184" y="29"/>
                  </a:lnTo>
                  <a:lnTo>
                    <a:pt x="184" y="27"/>
                  </a:lnTo>
                  <a:lnTo>
                    <a:pt x="182" y="27"/>
                  </a:lnTo>
                  <a:lnTo>
                    <a:pt x="181" y="27"/>
                  </a:lnTo>
                  <a:lnTo>
                    <a:pt x="179" y="27"/>
                  </a:lnTo>
                  <a:lnTo>
                    <a:pt x="179" y="26"/>
                  </a:lnTo>
                  <a:lnTo>
                    <a:pt x="177" y="26"/>
                  </a:lnTo>
                  <a:lnTo>
                    <a:pt x="177" y="26"/>
                  </a:lnTo>
                  <a:lnTo>
                    <a:pt x="177" y="26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0" y="29"/>
                  </a:lnTo>
                  <a:lnTo>
                    <a:pt x="170" y="31"/>
                  </a:lnTo>
                  <a:lnTo>
                    <a:pt x="170" y="33"/>
                  </a:lnTo>
                  <a:lnTo>
                    <a:pt x="170" y="33"/>
                  </a:lnTo>
                  <a:lnTo>
                    <a:pt x="170" y="33"/>
                  </a:lnTo>
                  <a:lnTo>
                    <a:pt x="170" y="33"/>
                  </a:lnTo>
                  <a:lnTo>
                    <a:pt x="170" y="33"/>
                  </a:lnTo>
                  <a:lnTo>
                    <a:pt x="170" y="33"/>
                  </a:lnTo>
                  <a:lnTo>
                    <a:pt x="170" y="33"/>
                  </a:lnTo>
                  <a:lnTo>
                    <a:pt x="170" y="35"/>
                  </a:lnTo>
                  <a:lnTo>
                    <a:pt x="170" y="35"/>
                  </a:lnTo>
                  <a:lnTo>
                    <a:pt x="166" y="36"/>
                  </a:lnTo>
                  <a:lnTo>
                    <a:pt x="161" y="36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0" y="38"/>
                  </a:lnTo>
                  <a:lnTo>
                    <a:pt x="148" y="38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3" y="38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5" y="44"/>
                  </a:lnTo>
                  <a:lnTo>
                    <a:pt x="135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2" y="49"/>
                  </a:lnTo>
                  <a:lnTo>
                    <a:pt x="132" y="51"/>
                  </a:lnTo>
                  <a:lnTo>
                    <a:pt x="134" y="53"/>
                  </a:lnTo>
                  <a:lnTo>
                    <a:pt x="134" y="55"/>
                  </a:lnTo>
                  <a:lnTo>
                    <a:pt x="135" y="55"/>
                  </a:lnTo>
                  <a:lnTo>
                    <a:pt x="135" y="55"/>
                  </a:lnTo>
                  <a:lnTo>
                    <a:pt x="135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2" y="58"/>
                  </a:lnTo>
                  <a:lnTo>
                    <a:pt x="130" y="60"/>
                  </a:lnTo>
                  <a:lnTo>
                    <a:pt x="128" y="60"/>
                  </a:lnTo>
                  <a:lnTo>
                    <a:pt x="126" y="60"/>
                  </a:lnTo>
                  <a:lnTo>
                    <a:pt x="125" y="58"/>
                  </a:lnTo>
                  <a:lnTo>
                    <a:pt x="123" y="58"/>
                  </a:lnTo>
                  <a:lnTo>
                    <a:pt x="112" y="60"/>
                  </a:lnTo>
                  <a:lnTo>
                    <a:pt x="108" y="62"/>
                  </a:lnTo>
                  <a:lnTo>
                    <a:pt x="106" y="62"/>
                  </a:lnTo>
                  <a:lnTo>
                    <a:pt x="101" y="60"/>
                  </a:lnTo>
                  <a:lnTo>
                    <a:pt x="90" y="62"/>
                  </a:lnTo>
                  <a:lnTo>
                    <a:pt x="87" y="62"/>
                  </a:lnTo>
                  <a:lnTo>
                    <a:pt x="83" y="60"/>
                  </a:lnTo>
                  <a:lnTo>
                    <a:pt x="81" y="60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6" y="56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2" y="53"/>
                  </a:lnTo>
                  <a:lnTo>
                    <a:pt x="70" y="53"/>
                  </a:lnTo>
                  <a:lnTo>
                    <a:pt x="70" y="51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3" y="44"/>
                  </a:lnTo>
                  <a:lnTo>
                    <a:pt x="61" y="44"/>
                  </a:lnTo>
                  <a:lnTo>
                    <a:pt x="60" y="42"/>
                  </a:lnTo>
                  <a:lnTo>
                    <a:pt x="58" y="42"/>
                  </a:lnTo>
                  <a:lnTo>
                    <a:pt x="56" y="42"/>
                  </a:lnTo>
                  <a:lnTo>
                    <a:pt x="54" y="42"/>
                  </a:lnTo>
                  <a:lnTo>
                    <a:pt x="52" y="42"/>
                  </a:lnTo>
                  <a:lnTo>
                    <a:pt x="49" y="46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51" y="49"/>
                  </a:lnTo>
                  <a:lnTo>
                    <a:pt x="49" y="49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53"/>
                  </a:lnTo>
                  <a:lnTo>
                    <a:pt x="47" y="53"/>
                  </a:lnTo>
                  <a:lnTo>
                    <a:pt x="45" y="53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7" y="56"/>
                  </a:lnTo>
                  <a:lnTo>
                    <a:pt x="49" y="56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60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9" y="65"/>
                  </a:lnTo>
                  <a:lnTo>
                    <a:pt x="45" y="65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8" y="64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4" y="67"/>
                  </a:lnTo>
                  <a:lnTo>
                    <a:pt x="32" y="67"/>
                  </a:lnTo>
                  <a:lnTo>
                    <a:pt x="32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5" y="62"/>
                  </a:lnTo>
                  <a:lnTo>
                    <a:pt x="23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22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6" y="65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9"/>
                  </a:lnTo>
                  <a:lnTo>
                    <a:pt x="20" y="69"/>
                  </a:lnTo>
                  <a:lnTo>
                    <a:pt x="22" y="69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7" y="73"/>
                  </a:lnTo>
                  <a:lnTo>
                    <a:pt x="29" y="74"/>
                  </a:lnTo>
                  <a:lnTo>
                    <a:pt x="27" y="74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8"/>
                  </a:lnTo>
                  <a:lnTo>
                    <a:pt x="29" y="80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5" y="85"/>
                  </a:lnTo>
                  <a:lnTo>
                    <a:pt x="20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8" y="92"/>
                  </a:lnTo>
                  <a:lnTo>
                    <a:pt x="18" y="94"/>
                  </a:lnTo>
                  <a:lnTo>
                    <a:pt x="20" y="96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6" y="98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2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8" y="103"/>
                  </a:lnTo>
                  <a:lnTo>
                    <a:pt x="18" y="105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8" y="107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22" y="107"/>
                  </a:lnTo>
                  <a:lnTo>
                    <a:pt x="20" y="107"/>
                  </a:lnTo>
                  <a:lnTo>
                    <a:pt x="20" y="109"/>
                  </a:lnTo>
                  <a:lnTo>
                    <a:pt x="18" y="109"/>
                  </a:lnTo>
                  <a:lnTo>
                    <a:pt x="18" y="111"/>
                  </a:lnTo>
                  <a:lnTo>
                    <a:pt x="18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4"/>
                  </a:lnTo>
                  <a:lnTo>
                    <a:pt x="18" y="114"/>
                  </a:lnTo>
                  <a:lnTo>
                    <a:pt x="16" y="114"/>
                  </a:lnTo>
                  <a:lnTo>
                    <a:pt x="18" y="114"/>
                  </a:lnTo>
                  <a:lnTo>
                    <a:pt x="18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4" y="116"/>
                  </a:lnTo>
                  <a:lnTo>
                    <a:pt x="14" y="116"/>
                  </a:lnTo>
                  <a:lnTo>
                    <a:pt x="11" y="116"/>
                  </a:lnTo>
                  <a:lnTo>
                    <a:pt x="9" y="116"/>
                  </a:lnTo>
                  <a:lnTo>
                    <a:pt x="9" y="116"/>
                  </a:lnTo>
                  <a:lnTo>
                    <a:pt x="9" y="118"/>
                  </a:lnTo>
                  <a:lnTo>
                    <a:pt x="9" y="118"/>
                  </a:lnTo>
                  <a:lnTo>
                    <a:pt x="7" y="118"/>
                  </a:lnTo>
                  <a:lnTo>
                    <a:pt x="7" y="120"/>
                  </a:lnTo>
                  <a:lnTo>
                    <a:pt x="7" y="120"/>
                  </a:lnTo>
                  <a:lnTo>
                    <a:pt x="7" y="120"/>
                  </a:lnTo>
                  <a:lnTo>
                    <a:pt x="7" y="120"/>
                  </a:lnTo>
                  <a:lnTo>
                    <a:pt x="7" y="120"/>
                  </a:lnTo>
                  <a:lnTo>
                    <a:pt x="7" y="121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9" y="127"/>
                  </a:lnTo>
                  <a:lnTo>
                    <a:pt x="9" y="127"/>
                  </a:lnTo>
                  <a:lnTo>
                    <a:pt x="11" y="129"/>
                  </a:lnTo>
                  <a:lnTo>
                    <a:pt x="11" y="129"/>
                  </a:lnTo>
                  <a:lnTo>
                    <a:pt x="11" y="129"/>
                  </a:lnTo>
                  <a:lnTo>
                    <a:pt x="11" y="129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2"/>
                  </a:lnTo>
                  <a:lnTo>
                    <a:pt x="11" y="132"/>
                  </a:lnTo>
                  <a:lnTo>
                    <a:pt x="11" y="132"/>
                  </a:lnTo>
                  <a:lnTo>
                    <a:pt x="11" y="132"/>
                  </a:lnTo>
                  <a:lnTo>
                    <a:pt x="11" y="134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3" y="138"/>
                  </a:lnTo>
                  <a:lnTo>
                    <a:pt x="13" y="138"/>
                  </a:lnTo>
                  <a:lnTo>
                    <a:pt x="13" y="138"/>
                  </a:lnTo>
                  <a:lnTo>
                    <a:pt x="13" y="139"/>
                  </a:lnTo>
                  <a:lnTo>
                    <a:pt x="14" y="139"/>
                  </a:lnTo>
                  <a:lnTo>
                    <a:pt x="14" y="139"/>
                  </a:lnTo>
                  <a:lnTo>
                    <a:pt x="14" y="139"/>
                  </a:lnTo>
                  <a:lnTo>
                    <a:pt x="14" y="139"/>
                  </a:lnTo>
                  <a:lnTo>
                    <a:pt x="16" y="139"/>
                  </a:lnTo>
                  <a:lnTo>
                    <a:pt x="16" y="141"/>
                  </a:lnTo>
                  <a:lnTo>
                    <a:pt x="16" y="141"/>
                  </a:lnTo>
                  <a:lnTo>
                    <a:pt x="14" y="141"/>
                  </a:lnTo>
                  <a:lnTo>
                    <a:pt x="14" y="141"/>
                  </a:lnTo>
                  <a:lnTo>
                    <a:pt x="14" y="143"/>
                  </a:lnTo>
                  <a:lnTo>
                    <a:pt x="14" y="143"/>
                  </a:lnTo>
                  <a:lnTo>
                    <a:pt x="14" y="143"/>
                  </a:lnTo>
                  <a:lnTo>
                    <a:pt x="14" y="145"/>
                  </a:lnTo>
                  <a:lnTo>
                    <a:pt x="16" y="145"/>
                  </a:lnTo>
                  <a:lnTo>
                    <a:pt x="18" y="148"/>
                  </a:lnTo>
                  <a:lnTo>
                    <a:pt x="20" y="150"/>
                  </a:lnTo>
                  <a:lnTo>
                    <a:pt x="22" y="152"/>
                  </a:lnTo>
                  <a:lnTo>
                    <a:pt x="22" y="154"/>
                  </a:lnTo>
                  <a:lnTo>
                    <a:pt x="23" y="154"/>
                  </a:lnTo>
                  <a:lnTo>
                    <a:pt x="23" y="156"/>
                  </a:lnTo>
                  <a:lnTo>
                    <a:pt x="25" y="156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7" y="156"/>
                  </a:lnTo>
                  <a:lnTo>
                    <a:pt x="29" y="156"/>
                  </a:lnTo>
                  <a:lnTo>
                    <a:pt x="29" y="158"/>
                  </a:lnTo>
                  <a:lnTo>
                    <a:pt x="31" y="158"/>
                  </a:lnTo>
                  <a:lnTo>
                    <a:pt x="31" y="159"/>
                  </a:lnTo>
                  <a:lnTo>
                    <a:pt x="32" y="161"/>
                  </a:lnTo>
                  <a:lnTo>
                    <a:pt x="32" y="161"/>
                  </a:lnTo>
                  <a:lnTo>
                    <a:pt x="34" y="161"/>
                  </a:lnTo>
                  <a:lnTo>
                    <a:pt x="34" y="161"/>
                  </a:lnTo>
                  <a:lnTo>
                    <a:pt x="34" y="161"/>
                  </a:lnTo>
                  <a:lnTo>
                    <a:pt x="36" y="161"/>
                  </a:lnTo>
                  <a:lnTo>
                    <a:pt x="36" y="161"/>
                  </a:lnTo>
                  <a:lnTo>
                    <a:pt x="36" y="161"/>
                  </a:lnTo>
                  <a:lnTo>
                    <a:pt x="36" y="161"/>
                  </a:lnTo>
                  <a:lnTo>
                    <a:pt x="36" y="161"/>
                  </a:lnTo>
                  <a:lnTo>
                    <a:pt x="36" y="163"/>
                  </a:lnTo>
                  <a:lnTo>
                    <a:pt x="36" y="161"/>
                  </a:lnTo>
                  <a:lnTo>
                    <a:pt x="36" y="161"/>
                  </a:lnTo>
                  <a:lnTo>
                    <a:pt x="38" y="161"/>
                  </a:lnTo>
                  <a:lnTo>
                    <a:pt x="38" y="163"/>
                  </a:lnTo>
                  <a:lnTo>
                    <a:pt x="38" y="163"/>
                  </a:lnTo>
                  <a:lnTo>
                    <a:pt x="38" y="163"/>
                  </a:lnTo>
                  <a:lnTo>
                    <a:pt x="40" y="165"/>
                  </a:lnTo>
                  <a:lnTo>
                    <a:pt x="40" y="165"/>
                  </a:lnTo>
                  <a:lnTo>
                    <a:pt x="40" y="167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1" y="170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7" y="176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9" y="177"/>
                  </a:lnTo>
                  <a:lnTo>
                    <a:pt x="51" y="179"/>
                  </a:lnTo>
                  <a:lnTo>
                    <a:pt x="51" y="181"/>
                  </a:lnTo>
                  <a:lnTo>
                    <a:pt x="56" y="181"/>
                  </a:lnTo>
                  <a:lnTo>
                    <a:pt x="56" y="181"/>
                  </a:lnTo>
                  <a:lnTo>
                    <a:pt x="58" y="183"/>
                  </a:lnTo>
                  <a:lnTo>
                    <a:pt x="58" y="185"/>
                  </a:lnTo>
                  <a:lnTo>
                    <a:pt x="58" y="186"/>
                  </a:lnTo>
                  <a:lnTo>
                    <a:pt x="60" y="186"/>
                  </a:lnTo>
                  <a:lnTo>
                    <a:pt x="60" y="188"/>
                  </a:lnTo>
                  <a:lnTo>
                    <a:pt x="60" y="188"/>
                  </a:lnTo>
                  <a:lnTo>
                    <a:pt x="61" y="188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0" y="190"/>
                  </a:lnTo>
                  <a:lnTo>
                    <a:pt x="60" y="190"/>
                  </a:lnTo>
                  <a:lnTo>
                    <a:pt x="60" y="190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0"/>
                  </a:lnTo>
                  <a:lnTo>
                    <a:pt x="63" y="192"/>
                  </a:lnTo>
                  <a:lnTo>
                    <a:pt x="63" y="192"/>
                  </a:lnTo>
                  <a:lnTo>
                    <a:pt x="63" y="192"/>
                  </a:lnTo>
                  <a:lnTo>
                    <a:pt x="63" y="192"/>
                  </a:lnTo>
                  <a:lnTo>
                    <a:pt x="65" y="192"/>
                  </a:lnTo>
                  <a:lnTo>
                    <a:pt x="65" y="192"/>
                  </a:lnTo>
                  <a:lnTo>
                    <a:pt x="65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2"/>
                  </a:lnTo>
                  <a:lnTo>
                    <a:pt x="67" y="192"/>
                  </a:lnTo>
                  <a:lnTo>
                    <a:pt x="70" y="192"/>
                  </a:lnTo>
                  <a:lnTo>
                    <a:pt x="72" y="194"/>
                  </a:lnTo>
                  <a:lnTo>
                    <a:pt x="74" y="194"/>
                  </a:lnTo>
                  <a:lnTo>
                    <a:pt x="78" y="195"/>
                  </a:lnTo>
                  <a:lnTo>
                    <a:pt x="78" y="197"/>
                  </a:lnTo>
                  <a:lnTo>
                    <a:pt x="78" y="197"/>
                  </a:lnTo>
                  <a:lnTo>
                    <a:pt x="78" y="199"/>
                  </a:lnTo>
                  <a:lnTo>
                    <a:pt x="78" y="199"/>
                  </a:lnTo>
                  <a:lnTo>
                    <a:pt x="78" y="199"/>
                  </a:lnTo>
                  <a:lnTo>
                    <a:pt x="78" y="201"/>
                  </a:lnTo>
                  <a:lnTo>
                    <a:pt x="79" y="201"/>
                  </a:lnTo>
                  <a:lnTo>
                    <a:pt x="79" y="201"/>
                  </a:lnTo>
                  <a:lnTo>
                    <a:pt x="87" y="203"/>
                  </a:lnTo>
                  <a:lnTo>
                    <a:pt x="87" y="203"/>
                  </a:lnTo>
                  <a:lnTo>
                    <a:pt x="88" y="204"/>
                  </a:lnTo>
                  <a:lnTo>
                    <a:pt x="88" y="206"/>
                  </a:lnTo>
                  <a:lnTo>
                    <a:pt x="88" y="206"/>
                  </a:lnTo>
                  <a:lnTo>
                    <a:pt x="88" y="204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4" y="204"/>
                  </a:lnTo>
                  <a:lnTo>
                    <a:pt x="99" y="206"/>
                  </a:lnTo>
                  <a:lnTo>
                    <a:pt x="99" y="206"/>
                  </a:lnTo>
                  <a:lnTo>
                    <a:pt x="101" y="204"/>
                  </a:lnTo>
                  <a:lnTo>
                    <a:pt x="101" y="204"/>
                  </a:lnTo>
                  <a:lnTo>
                    <a:pt x="101" y="204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8" y="206"/>
                  </a:lnTo>
                  <a:lnTo>
                    <a:pt x="110" y="206"/>
                  </a:lnTo>
                  <a:lnTo>
                    <a:pt x="110" y="206"/>
                  </a:lnTo>
                  <a:lnTo>
                    <a:pt x="112" y="208"/>
                  </a:lnTo>
                  <a:lnTo>
                    <a:pt x="112" y="206"/>
                  </a:lnTo>
                  <a:lnTo>
                    <a:pt x="114" y="206"/>
                  </a:lnTo>
                  <a:lnTo>
                    <a:pt x="114" y="206"/>
                  </a:lnTo>
                  <a:lnTo>
                    <a:pt x="114" y="208"/>
                  </a:lnTo>
                  <a:lnTo>
                    <a:pt x="114" y="208"/>
                  </a:lnTo>
                  <a:lnTo>
                    <a:pt x="116" y="208"/>
                  </a:lnTo>
                  <a:lnTo>
                    <a:pt x="116" y="208"/>
                  </a:lnTo>
                  <a:lnTo>
                    <a:pt x="116" y="208"/>
                  </a:lnTo>
                  <a:lnTo>
                    <a:pt x="116" y="208"/>
                  </a:lnTo>
                  <a:lnTo>
                    <a:pt x="117" y="206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21" y="204"/>
                  </a:lnTo>
                  <a:lnTo>
                    <a:pt x="123" y="204"/>
                  </a:lnTo>
                  <a:lnTo>
                    <a:pt x="125" y="203"/>
                  </a:lnTo>
                  <a:lnTo>
                    <a:pt x="125" y="201"/>
                  </a:lnTo>
                  <a:lnTo>
                    <a:pt x="126" y="199"/>
                  </a:lnTo>
                  <a:lnTo>
                    <a:pt x="126" y="199"/>
                  </a:lnTo>
                  <a:lnTo>
                    <a:pt x="126" y="199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8" y="195"/>
                  </a:lnTo>
                  <a:lnTo>
                    <a:pt x="130" y="195"/>
                  </a:lnTo>
                  <a:lnTo>
                    <a:pt x="132" y="197"/>
                  </a:lnTo>
                  <a:lnTo>
                    <a:pt x="134" y="197"/>
                  </a:lnTo>
                  <a:lnTo>
                    <a:pt x="134" y="197"/>
                  </a:lnTo>
                  <a:lnTo>
                    <a:pt x="135" y="197"/>
                  </a:lnTo>
                  <a:lnTo>
                    <a:pt x="135" y="197"/>
                  </a:lnTo>
                  <a:lnTo>
                    <a:pt x="135" y="195"/>
                  </a:lnTo>
                  <a:lnTo>
                    <a:pt x="135" y="195"/>
                  </a:lnTo>
                  <a:lnTo>
                    <a:pt x="135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9" y="194"/>
                  </a:lnTo>
                  <a:lnTo>
                    <a:pt x="141" y="194"/>
                  </a:lnTo>
                  <a:lnTo>
                    <a:pt x="144" y="194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4"/>
                  </a:lnTo>
                  <a:lnTo>
                    <a:pt x="144" y="194"/>
                  </a:lnTo>
                  <a:lnTo>
                    <a:pt x="144" y="194"/>
                  </a:lnTo>
                  <a:lnTo>
                    <a:pt x="144" y="194"/>
                  </a:lnTo>
                  <a:lnTo>
                    <a:pt x="144" y="194"/>
                  </a:lnTo>
                  <a:lnTo>
                    <a:pt x="144" y="192"/>
                  </a:lnTo>
                  <a:lnTo>
                    <a:pt x="146" y="192"/>
                  </a:lnTo>
                  <a:lnTo>
                    <a:pt x="146" y="192"/>
                  </a:lnTo>
                  <a:lnTo>
                    <a:pt x="148" y="192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50" y="188"/>
                  </a:lnTo>
                  <a:lnTo>
                    <a:pt x="152" y="188"/>
                  </a:lnTo>
                  <a:lnTo>
                    <a:pt x="152" y="190"/>
                  </a:lnTo>
                  <a:lnTo>
                    <a:pt x="152" y="190"/>
                  </a:lnTo>
                  <a:lnTo>
                    <a:pt x="153" y="190"/>
                  </a:lnTo>
                  <a:lnTo>
                    <a:pt x="157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61" y="188"/>
                  </a:lnTo>
                  <a:lnTo>
                    <a:pt x="161" y="186"/>
                  </a:lnTo>
                  <a:lnTo>
                    <a:pt x="162" y="186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6" y="185"/>
                  </a:lnTo>
                  <a:lnTo>
                    <a:pt x="166" y="185"/>
                  </a:lnTo>
                  <a:lnTo>
                    <a:pt x="166" y="185"/>
                  </a:lnTo>
                  <a:lnTo>
                    <a:pt x="166" y="185"/>
                  </a:lnTo>
                  <a:lnTo>
                    <a:pt x="168" y="185"/>
                  </a:lnTo>
                  <a:lnTo>
                    <a:pt x="168" y="183"/>
                  </a:lnTo>
                  <a:lnTo>
                    <a:pt x="168" y="183"/>
                  </a:lnTo>
                  <a:lnTo>
                    <a:pt x="168" y="183"/>
                  </a:lnTo>
                  <a:lnTo>
                    <a:pt x="170" y="183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0" y="179"/>
                  </a:lnTo>
                  <a:lnTo>
                    <a:pt x="170" y="179"/>
                  </a:lnTo>
                  <a:lnTo>
                    <a:pt x="170" y="179"/>
                  </a:lnTo>
                  <a:lnTo>
                    <a:pt x="171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5" y="177"/>
                  </a:lnTo>
                  <a:lnTo>
                    <a:pt x="177" y="177"/>
                  </a:lnTo>
                  <a:lnTo>
                    <a:pt x="179" y="177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184" y="179"/>
                  </a:lnTo>
                  <a:lnTo>
                    <a:pt x="184" y="179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1" y="177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9" y="179"/>
                  </a:lnTo>
                  <a:lnTo>
                    <a:pt x="200" y="177"/>
                  </a:lnTo>
                  <a:lnTo>
                    <a:pt x="200" y="177"/>
                  </a:lnTo>
                  <a:lnTo>
                    <a:pt x="200" y="177"/>
                  </a:lnTo>
                  <a:lnTo>
                    <a:pt x="202" y="179"/>
                  </a:lnTo>
                  <a:lnTo>
                    <a:pt x="202" y="179"/>
                  </a:lnTo>
                  <a:lnTo>
                    <a:pt x="202" y="179"/>
                  </a:lnTo>
                  <a:lnTo>
                    <a:pt x="202" y="179"/>
                  </a:lnTo>
                  <a:lnTo>
                    <a:pt x="204" y="179"/>
                  </a:lnTo>
                  <a:lnTo>
                    <a:pt x="204" y="179"/>
                  </a:lnTo>
                  <a:lnTo>
                    <a:pt x="208" y="181"/>
                  </a:lnTo>
                  <a:lnTo>
                    <a:pt x="209" y="179"/>
                  </a:lnTo>
                  <a:lnTo>
                    <a:pt x="218" y="179"/>
                  </a:lnTo>
                  <a:lnTo>
                    <a:pt x="218" y="177"/>
                  </a:lnTo>
                  <a:lnTo>
                    <a:pt x="220" y="177"/>
                  </a:lnTo>
                  <a:lnTo>
                    <a:pt x="222" y="177"/>
                  </a:lnTo>
                  <a:lnTo>
                    <a:pt x="224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31" y="177"/>
                  </a:lnTo>
                  <a:lnTo>
                    <a:pt x="231" y="177"/>
                  </a:lnTo>
                  <a:lnTo>
                    <a:pt x="231" y="177"/>
                  </a:lnTo>
                  <a:lnTo>
                    <a:pt x="231" y="176"/>
                  </a:lnTo>
                  <a:lnTo>
                    <a:pt x="231" y="176"/>
                  </a:lnTo>
                  <a:lnTo>
                    <a:pt x="231" y="176"/>
                  </a:lnTo>
                  <a:lnTo>
                    <a:pt x="231" y="176"/>
                  </a:lnTo>
                  <a:lnTo>
                    <a:pt x="233" y="176"/>
                  </a:lnTo>
                  <a:lnTo>
                    <a:pt x="233" y="176"/>
                  </a:lnTo>
                  <a:lnTo>
                    <a:pt x="233" y="176"/>
                  </a:lnTo>
                  <a:lnTo>
                    <a:pt x="233" y="174"/>
                  </a:lnTo>
                  <a:lnTo>
                    <a:pt x="233" y="172"/>
                  </a:lnTo>
                  <a:lnTo>
                    <a:pt x="233" y="172"/>
                  </a:lnTo>
                  <a:lnTo>
                    <a:pt x="235" y="170"/>
                  </a:lnTo>
                  <a:lnTo>
                    <a:pt x="235" y="170"/>
                  </a:lnTo>
                  <a:lnTo>
                    <a:pt x="235" y="170"/>
                  </a:lnTo>
                  <a:lnTo>
                    <a:pt x="237" y="170"/>
                  </a:lnTo>
                  <a:lnTo>
                    <a:pt x="238" y="170"/>
                  </a:lnTo>
                  <a:lnTo>
                    <a:pt x="238" y="170"/>
                  </a:lnTo>
                  <a:lnTo>
                    <a:pt x="238" y="170"/>
                  </a:lnTo>
                  <a:lnTo>
                    <a:pt x="240" y="170"/>
                  </a:lnTo>
                  <a:lnTo>
                    <a:pt x="240" y="170"/>
                  </a:lnTo>
                  <a:lnTo>
                    <a:pt x="240" y="170"/>
                  </a:lnTo>
                  <a:lnTo>
                    <a:pt x="240" y="170"/>
                  </a:lnTo>
                  <a:lnTo>
                    <a:pt x="242" y="170"/>
                  </a:lnTo>
                  <a:lnTo>
                    <a:pt x="244" y="172"/>
                  </a:lnTo>
                  <a:lnTo>
                    <a:pt x="244" y="172"/>
                  </a:lnTo>
                  <a:lnTo>
                    <a:pt x="246" y="170"/>
                  </a:lnTo>
                  <a:lnTo>
                    <a:pt x="246" y="170"/>
                  </a:lnTo>
                  <a:lnTo>
                    <a:pt x="246" y="172"/>
                  </a:lnTo>
                  <a:lnTo>
                    <a:pt x="246" y="172"/>
                  </a:lnTo>
                  <a:lnTo>
                    <a:pt x="247" y="172"/>
                  </a:lnTo>
                  <a:lnTo>
                    <a:pt x="247" y="172"/>
                  </a:lnTo>
                  <a:lnTo>
                    <a:pt x="251" y="168"/>
                  </a:lnTo>
                  <a:lnTo>
                    <a:pt x="251" y="168"/>
                  </a:lnTo>
                  <a:lnTo>
                    <a:pt x="253" y="168"/>
                  </a:lnTo>
                  <a:lnTo>
                    <a:pt x="253" y="168"/>
                  </a:lnTo>
                  <a:lnTo>
                    <a:pt x="253" y="168"/>
                  </a:lnTo>
                  <a:lnTo>
                    <a:pt x="255" y="167"/>
                  </a:lnTo>
                  <a:lnTo>
                    <a:pt x="255" y="163"/>
                  </a:lnTo>
                  <a:lnTo>
                    <a:pt x="255" y="161"/>
                  </a:lnTo>
                  <a:lnTo>
                    <a:pt x="255" y="161"/>
                  </a:lnTo>
                  <a:lnTo>
                    <a:pt x="256" y="159"/>
                  </a:lnTo>
                  <a:lnTo>
                    <a:pt x="258" y="159"/>
                  </a:lnTo>
                  <a:lnTo>
                    <a:pt x="260" y="159"/>
                  </a:lnTo>
                  <a:lnTo>
                    <a:pt x="260" y="158"/>
                  </a:lnTo>
                  <a:lnTo>
                    <a:pt x="258" y="154"/>
                  </a:lnTo>
                  <a:lnTo>
                    <a:pt x="258" y="154"/>
                  </a:lnTo>
                  <a:lnTo>
                    <a:pt x="258" y="152"/>
                  </a:lnTo>
                  <a:lnTo>
                    <a:pt x="260" y="150"/>
                  </a:lnTo>
                  <a:lnTo>
                    <a:pt x="260" y="150"/>
                  </a:lnTo>
                  <a:lnTo>
                    <a:pt x="260" y="147"/>
                  </a:lnTo>
                  <a:lnTo>
                    <a:pt x="260" y="145"/>
                  </a:lnTo>
                  <a:lnTo>
                    <a:pt x="262" y="145"/>
                  </a:lnTo>
                  <a:lnTo>
                    <a:pt x="262" y="145"/>
                  </a:lnTo>
                  <a:lnTo>
                    <a:pt x="264" y="145"/>
                  </a:lnTo>
                  <a:lnTo>
                    <a:pt x="265" y="143"/>
                  </a:lnTo>
                  <a:lnTo>
                    <a:pt x="267" y="143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9" y="139"/>
                  </a:lnTo>
                  <a:lnTo>
                    <a:pt x="269" y="139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69" y="136"/>
                  </a:lnTo>
                  <a:lnTo>
                    <a:pt x="269" y="136"/>
                  </a:lnTo>
                  <a:lnTo>
                    <a:pt x="269" y="136"/>
                  </a:lnTo>
                  <a:lnTo>
                    <a:pt x="269" y="136"/>
                  </a:lnTo>
                  <a:lnTo>
                    <a:pt x="269" y="136"/>
                  </a:lnTo>
                  <a:lnTo>
                    <a:pt x="269" y="134"/>
                  </a:lnTo>
                  <a:lnTo>
                    <a:pt x="269" y="134"/>
                  </a:lnTo>
                  <a:lnTo>
                    <a:pt x="269" y="134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7"/>
                  </a:lnTo>
                  <a:lnTo>
                    <a:pt x="274" y="127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4" y="123"/>
                  </a:lnTo>
                  <a:lnTo>
                    <a:pt x="274" y="123"/>
                  </a:lnTo>
                  <a:lnTo>
                    <a:pt x="274" y="123"/>
                  </a:lnTo>
                  <a:lnTo>
                    <a:pt x="278" y="121"/>
                  </a:lnTo>
                  <a:lnTo>
                    <a:pt x="278" y="121"/>
                  </a:lnTo>
                  <a:lnTo>
                    <a:pt x="278" y="118"/>
                  </a:lnTo>
                  <a:lnTo>
                    <a:pt x="280" y="118"/>
                  </a:lnTo>
                  <a:lnTo>
                    <a:pt x="280" y="118"/>
                  </a:lnTo>
                  <a:lnTo>
                    <a:pt x="278" y="116"/>
                  </a:lnTo>
                  <a:lnTo>
                    <a:pt x="278" y="116"/>
                  </a:lnTo>
                  <a:lnTo>
                    <a:pt x="278" y="116"/>
                  </a:lnTo>
                  <a:lnTo>
                    <a:pt x="278" y="116"/>
                  </a:lnTo>
                  <a:lnTo>
                    <a:pt x="278" y="116"/>
                  </a:lnTo>
                  <a:lnTo>
                    <a:pt x="278" y="114"/>
                  </a:lnTo>
                  <a:lnTo>
                    <a:pt x="280" y="112"/>
                  </a:lnTo>
                  <a:lnTo>
                    <a:pt x="280" y="112"/>
                  </a:lnTo>
                  <a:lnTo>
                    <a:pt x="283" y="111"/>
                  </a:lnTo>
                  <a:lnTo>
                    <a:pt x="283" y="109"/>
                  </a:lnTo>
                  <a:lnTo>
                    <a:pt x="283" y="109"/>
                  </a:lnTo>
                  <a:lnTo>
                    <a:pt x="283" y="107"/>
                  </a:lnTo>
                  <a:lnTo>
                    <a:pt x="285" y="107"/>
                  </a:lnTo>
                  <a:lnTo>
                    <a:pt x="285" y="105"/>
                  </a:lnTo>
                  <a:lnTo>
                    <a:pt x="285" y="105"/>
                  </a:lnTo>
                  <a:lnTo>
                    <a:pt x="287" y="103"/>
                  </a:lnTo>
                  <a:lnTo>
                    <a:pt x="287" y="103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7" y="102"/>
                  </a:lnTo>
                  <a:lnTo>
                    <a:pt x="287" y="100"/>
                  </a:lnTo>
                  <a:lnTo>
                    <a:pt x="287" y="100"/>
                  </a:lnTo>
                  <a:lnTo>
                    <a:pt x="287" y="98"/>
                  </a:lnTo>
                  <a:lnTo>
                    <a:pt x="289" y="96"/>
                  </a:lnTo>
                  <a:lnTo>
                    <a:pt x="289" y="94"/>
                  </a:lnTo>
                  <a:lnTo>
                    <a:pt x="291" y="92"/>
                  </a:lnTo>
                  <a:lnTo>
                    <a:pt x="291" y="91"/>
                  </a:lnTo>
                  <a:lnTo>
                    <a:pt x="292" y="91"/>
                  </a:lnTo>
                  <a:lnTo>
                    <a:pt x="294" y="89"/>
                  </a:lnTo>
                  <a:lnTo>
                    <a:pt x="296" y="87"/>
                  </a:lnTo>
                  <a:lnTo>
                    <a:pt x="296" y="85"/>
                  </a:lnTo>
                  <a:lnTo>
                    <a:pt x="294" y="83"/>
                  </a:lnTo>
                  <a:lnTo>
                    <a:pt x="294" y="80"/>
                  </a:lnTo>
                  <a:lnTo>
                    <a:pt x="296" y="78"/>
                  </a:lnTo>
                  <a:lnTo>
                    <a:pt x="298" y="76"/>
                  </a:lnTo>
                  <a:lnTo>
                    <a:pt x="300" y="74"/>
                  </a:lnTo>
                  <a:lnTo>
                    <a:pt x="303" y="74"/>
                  </a:lnTo>
                  <a:lnTo>
                    <a:pt x="303" y="74"/>
                  </a:lnTo>
                  <a:lnTo>
                    <a:pt x="303" y="73"/>
                  </a:lnTo>
                  <a:lnTo>
                    <a:pt x="303" y="73"/>
                  </a:lnTo>
                  <a:lnTo>
                    <a:pt x="303" y="73"/>
                  </a:lnTo>
                  <a:lnTo>
                    <a:pt x="303" y="73"/>
                  </a:lnTo>
                  <a:lnTo>
                    <a:pt x="303" y="73"/>
                  </a:lnTo>
                  <a:lnTo>
                    <a:pt x="303" y="71"/>
                  </a:lnTo>
                  <a:lnTo>
                    <a:pt x="305" y="69"/>
                  </a:lnTo>
                  <a:lnTo>
                    <a:pt x="305" y="69"/>
                  </a:lnTo>
                  <a:lnTo>
                    <a:pt x="305" y="67"/>
                  </a:lnTo>
                  <a:lnTo>
                    <a:pt x="305" y="67"/>
                  </a:lnTo>
                  <a:lnTo>
                    <a:pt x="307" y="67"/>
                  </a:lnTo>
                  <a:lnTo>
                    <a:pt x="307" y="65"/>
                  </a:lnTo>
                  <a:lnTo>
                    <a:pt x="307" y="65"/>
                  </a:lnTo>
                  <a:lnTo>
                    <a:pt x="309" y="64"/>
                  </a:lnTo>
                  <a:lnTo>
                    <a:pt x="309" y="64"/>
                  </a:lnTo>
                  <a:lnTo>
                    <a:pt x="311" y="64"/>
                  </a:lnTo>
                  <a:lnTo>
                    <a:pt x="311" y="62"/>
                  </a:lnTo>
                  <a:lnTo>
                    <a:pt x="312" y="62"/>
                  </a:lnTo>
                  <a:lnTo>
                    <a:pt x="314" y="64"/>
                  </a:lnTo>
                  <a:lnTo>
                    <a:pt x="314" y="64"/>
                  </a:lnTo>
                  <a:lnTo>
                    <a:pt x="316" y="62"/>
                  </a:lnTo>
                  <a:lnTo>
                    <a:pt x="316" y="62"/>
                  </a:lnTo>
                  <a:lnTo>
                    <a:pt x="316" y="58"/>
                  </a:lnTo>
                  <a:lnTo>
                    <a:pt x="318" y="58"/>
                  </a:lnTo>
                  <a:lnTo>
                    <a:pt x="321" y="60"/>
                  </a:lnTo>
                  <a:lnTo>
                    <a:pt x="323" y="60"/>
                  </a:lnTo>
                  <a:lnTo>
                    <a:pt x="325" y="60"/>
                  </a:lnTo>
                  <a:lnTo>
                    <a:pt x="327" y="60"/>
                  </a:lnTo>
                  <a:lnTo>
                    <a:pt x="329" y="58"/>
                  </a:lnTo>
                  <a:lnTo>
                    <a:pt x="330" y="56"/>
                  </a:lnTo>
                  <a:lnTo>
                    <a:pt x="330" y="56"/>
                  </a:lnTo>
                  <a:lnTo>
                    <a:pt x="332" y="56"/>
                  </a:lnTo>
                  <a:lnTo>
                    <a:pt x="332" y="56"/>
                  </a:lnTo>
                  <a:lnTo>
                    <a:pt x="334" y="56"/>
                  </a:lnTo>
                  <a:lnTo>
                    <a:pt x="334" y="55"/>
                  </a:lnTo>
                  <a:lnTo>
                    <a:pt x="334" y="55"/>
                  </a:lnTo>
                  <a:lnTo>
                    <a:pt x="334" y="55"/>
                  </a:lnTo>
                  <a:lnTo>
                    <a:pt x="334" y="53"/>
                  </a:lnTo>
                  <a:lnTo>
                    <a:pt x="334" y="53"/>
                  </a:lnTo>
                  <a:lnTo>
                    <a:pt x="334" y="51"/>
                  </a:lnTo>
                  <a:lnTo>
                    <a:pt x="336" y="51"/>
                  </a:lnTo>
                  <a:lnTo>
                    <a:pt x="338" y="49"/>
                  </a:lnTo>
                  <a:lnTo>
                    <a:pt x="339" y="47"/>
                  </a:lnTo>
                  <a:lnTo>
                    <a:pt x="339" y="47"/>
                  </a:lnTo>
                  <a:lnTo>
                    <a:pt x="338" y="46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8EEB885A-DD0B-8353-FFBF-3FDB351B7B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29625" y="4946651"/>
              <a:ext cx="685800" cy="701675"/>
            </a:xfrm>
            <a:custGeom>
              <a:avLst/>
              <a:gdLst>
                <a:gd name="T0" fmla="*/ 309 w 432"/>
                <a:gd name="T1" fmla="*/ 424 h 442"/>
                <a:gd name="T2" fmla="*/ 231 w 432"/>
                <a:gd name="T3" fmla="*/ 404 h 442"/>
                <a:gd name="T4" fmla="*/ 197 w 432"/>
                <a:gd name="T5" fmla="*/ 406 h 442"/>
                <a:gd name="T6" fmla="*/ 273 w 432"/>
                <a:gd name="T7" fmla="*/ 433 h 442"/>
                <a:gd name="T8" fmla="*/ 377 w 432"/>
                <a:gd name="T9" fmla="*/ 381 h 442"/>
                <a:gd name="T10" fmla="*/ 164 w 432"/>
                <a:gd name="T11" fmla="*/ 357 h 442"/>
                <a:gd name="T12" fmla="*/ 419 w 432"/>
                <a:gd name="T13" fmla="*/ 365 h 442"/>
                <a:gd name="T14" fmla="*/ 390 w 432"/>
                <a:gd name="T15" fmla="*/ 346 h 442"/>
                <a:gd name="T16" fmla="*/ 412 w 432"/>
                <a:gd name="T17" fmla="*/ 330 h 442"/>
                <a:gd name="T18" fmla="*/ 244 w 432"/>
                <a:gd name="T19" fmla="*/ 328 h 442"/>
                <a:gd name="T20" fmla="*/ 291 w 432"/>
                <a:gd name="T21" fmla="*/ 318 h 442"/>
                <a:gd name="T22" fmla="*/ 318 w 432"/>
                <a:gd name="T23" fmla="*/ 314 h 442"/>
                <a:gd name="T24" fmla="*/ 368 w 432"/>
                <a:gd name="T25" fmla="*/ 307 h 442"/>
                <a:gd name="T26" fmla="*/ 363 w 432"/>
                <a:gd name="T27" fmla="*/ 301 h 442"/>
                <a:gd name="T28" fmla="*/ 244 w 432"/>
                <a:gd name="T29" fmla="*/ 294 h 442"/>
                <a:gd name="T30" fmla="*/ 347 w 432"/>
                <a:gd name="T31" fmla="*/ 289 h 442"/>
                <a:gd name="T32" fmla="*/ 265 w 432"/>
                <a:gd name="T33" fmla="*/ 276 h 442"/>
                <a:gd name="T34" fmla="*/ 267 w 432"/>
                <a:gd name="T35" fmla="*/ 265 h 442"/>
                <a:gd name="T36" fmla="*/ 363 w 432"/>
                <a:gd name="T37" fmla="*/ 267 h 442"/>
                <a:gd name="T38" fmla="*/ 61 w 432"/>
                <a:gd name="T39" fmla="*/ 265 h 442"/>
                <a:gd name="T40" fmla="*/ 193 w 432"/>
                <a:gd name="T41" fmla="*/ 243 h 442"/>
                <a:gd name="T42" fmla="*/ 41 w 432"/>
                <a:gd name="T43" fmla="*/ 224 h 442"/>
                <a:gd name="T44" fmla="*/ 56 w 432"/>
                <a:gd name="T45" fmla="*/ 220 h 442"/>
                <a:gd name="T46" fmla="*/ 325 w 432"/>
                <a:gd name="T47" fmla="*/ 215 h 442"/>
                <a:gd name="T48" fmla="*/ 52 w 432"/>
                <a:gd name="T49" fmla="*/ 191 h 442"/>
                <a:gd name="T50" fmla="*/ 253 w 432"/>
                <a:gd name="T51" fmla="*/ 195 h 442"/>
                <a:gd name="T52" fmla="*/ 229 w 432"/>
                <a:gd name="T53" fmla="*/ 222 h 442"/>
                <a:gd name="T54" fmla="*/ 161 w 432"/>
                <a:gd name="T55" fmla="*/ 191 h 442"/>
                <a:gd name="T56" fmla="*/ 226 w 432"/>
                <a:gd name="T57" fmla="*/ 227 h 442"/>
                <a:gd name="T58" fmla="*/ 213 w 432"/>
                <a:gd name="T59" fmla="*/ 169 h 442"/>
                <a:gd name="T60" fmla="*/ 325 w 432"/>
                <a:gd name="T61" fmla="*/ 160 h 442"/>
                <a:gd name="T62" fmla="*/ 271 w 432"/>
                <a:gd name="T63" fmla="*/ 148 h 442"/>
                <a:gd name="T64" fmla="*/ 18 w 432"/>
                <a:gd name="T65" fmla="*/ 155 h 442"/>
                <a:gd name="T66" fmla="*/ 283 w 432"/>
                <a:gd name="T67" fmla="*/ 128 h 442"/>
                <a:gd name="T68" fmla="*/ 251 w 432"/>
                <a:gd name="T69" fmla="*/ 77 h 442"/>
                <a:gd name="T70" fmla="*/ 175 w 432"/>
                <a:gd name="T71" fmla="*/ 260 h 442"/>
                <a:gd name="T72" fmla="*/ 215 w 432"/>
                <a:gd name="T73" fmla="*/ 262 h 442"/>
                <a:gd name="T74" fmla="*/ 199 w 432"/>
                <a:gd name="T75" fmla="*/ 216 h 442"/>
                <a:gd name="T76" fmla="*/ 148 w 432"/>
                <a:gd name="T77" fmla="*/ 187 h 442"/>
                <a:gd name="T78" fmla="*/ 170 w 432"/>
                <a:gd name="T79" fmla="*/ 159 h 442"/>
                <a:gd name="T80" fmla="*/ 148 w 432"/>
                <a:gd name="T81" fmla="*/ 112 h 442"/>
                <a:gd name="T82" fmla="*/ 177 w 432"/>
                <a:gd name="T83" fmla="*/ 97 h 442"/>
                <a:gd name="T84" fmla="*/ 218 w 432"/>
                <a:gd name="T85" fmla="*/ 113 h 442"/>
                <a:gd name="T86" fmla="*/ 211 w 432"/>
                <a:gd name="T87" fmla="*/ 83 h 442"/>
                <a:gd name="T88" fmla="*/ 276 w 432"/>
                <a:gd name="T89" fmla="*/ 52 h 442"/>
                <a:gd name="T90" fmla="*/ 338 w 432"/>
                <a:gd name="T91" fmla="*/ 50 h 442"/>
                <a:gd name="T92" fmla="*/ 327 w 432"/>
                <a:gd name="T93" fmla="*/ 18 h 442"/>
                <a:gd name="T94" fmla="*/ 240 w 432"/>
                <a:gd name="T95" fmla="*/ 16 h 442"/>
                <a:gd name="T96" fmla="*/ 152 w 432"/>
                <a:gd name="T97" fmla="*/ 39 h 442"/>
                <a:gd name="T98" fmla="*/ 67 w 432"/>
                <a:gd name="T99" fmla="*/ 61 h 442"/>
                <a:gd name="T100" fmla="*/ 32 w 432"/>
                <a:gd name="T101" fmla="*/ 128 h 442"/>
                <a:gd name="T102" fmla="*/ 32 w 432"/>
                <a:gd name="T103" fmla="*/ 157 h 442"/>
                <a:gd name="T104" fmla="*/ 63 w 432"/>
                <a:gd name="T105" fmla="*/ 175 h 442"/>
                <a:gd name="T106" fmla="*/ 58 w 432"/>
                <a:gd name="T107" fmla="*/ 184 h 442"/>
                <a:gd name="T108" fmla="*/ 74 w 432"/>
                <a:gd name="T109" fmla="*/ 222 h 442"/>
                <a:gd name="T110" fmla="*/ 106 w 432"/>
                <a:gd name="T111" fmla="*/ 224 h 442"/>
                <a:gd name="T112" fmla="*/ 152 w 432"/>
                <a:gd name="T113" fmla="*/ 222 h 442"/>
                <a:gd name="T114" fmla="*/ 144 w 432"/>
                <a:gd name="T115" fmla="*/ 236 h 442"/>
                <a:gd name="T116" fmla="*/ 83 w 432"/>
                <a:gd name="T117" fmla="*/ 258 h 442"/>
                <a:gd name="T118" fmla="*/ 126 w 432"/>
                <a:gd name="T119" fmla="*/ 309 h 442"/>
                <a:gd name="T120" fmla="*/ 159 w 432"/>
                <a:gd name="T121" fmla="*/ 327 h 442"/>
                <a:gd name="T122" fmla="*/ 168 w 432"/>
                <a:gd name="T123" fmla="*/ 309 h 442"/>
                <a:gd name="T124" fmla="*/ 171 w 432"/>
                <a:gd name="T125" fmla="*/ 276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2" h="442">
                  <a:moveTo>
                    <a:pt x="226" y="440"/>
                  </a:moveTo>
                  <a:lnTo>
                    <a:pt x="226" y="440"/>
                  </a:lnTo>
                  <a:lnTo>
                    <a:pt x="226" y="439"/>
                  </a:lnTo>
                  <a:lnTo>
                    <a:pt x="226" y="439"/>
                  </a:lnTo>
                  <a:lnTo>
                    <a:pt x="224" y="439"/>
                  </a:lnTo>
                  <a:lnTo>
                    <a:pt x="224" y="439"/>
                  </a:lnTo>
                  <a:lnTo>
                    <a:pt x="222" y="439"/>
                  </a:lnTo>
                  <a:lnTo>
                    <a:pt x="222" y="439"/>
                  </a:lnTo>
                  <a:lnTo>
                    <a:pt x="222" y="439"/>
                  </a:lnTo>
                  <a:lnTo>
                    <a:pt x="222" y="439"/>
                  </a:lnTo>
                  <a:lnTo>
                    <a:pt x="220" y="439"/>
                  </a:lnTo>
                  <a:lnTo>
                    <a:pt x="220" y="440"/>
                  </a:lnTo>
                  <a:lnTo>
                    <a:pt x="224" y="440"/>
                  </a:lnTo>
                  <a:lnTo>
                    <a:pt x="224" y="442"/>
                  </a:lnTo>
                  <a:lnTo>
                    <a:pt x="226" y="442"/>
                  </a:lnTo>
                  <a:lnTo>
                    <a:pt x="226" y="440"/>
                  </a:lnTo>
                  <a:lnTo>
                    <a:pt x="226" y="440"/>
                  </a:lnTo>
                  <a:lnTo>
                    <a:pt x="226" y="440"/>
                  </a:lnTo>
                  <a:close/>
                  <a:moveTo>
                    <a:pt x="368" y="404"/>
                  </a:moveTo>
                  <a:lnTo>
                    <a:pt x="368" y="404"/>
                  </a:lnTo>
                  <a:lnTo>
                    <a:pt x="367" y="404"/>
                  </a:lnTo>
                  <a:lnTo>
                    <a:pt x="365" y="404"/>
                  </a:lnTo>
                  <a:lnTo>
                    <a:pt x="365" y="404"/>
                  </a:lnTo>
                  <a:lnTo>
                    <a:pt x="365" y="404"/>
                  </a:lnTo>
                  <a:lnTo>
                    <a:pt x="365" y="404"/>
                  </a:lnTo>
                  <a:lnTo>
                    <a:pt x="363" y="404"/>
                  </a:lnTo>
                  <a:lnTo>
                    <a:pt x="363" y="406"/>
                  </a:lnTo>
                  <a:lnTo>
                    <a:pt x="363" y="406"/>
                  </a:lnTo>
                  <a:lnTo>
                    <a:pt x="363" y="406"/>
                  </a:lnTo>
                  <a:lnTo>
                    <a:pt x="361" y="408"/>
                  </a:lnTo>
                  <a:lnTo>
                    <a:pt x="361" y="408"/>
                  </a:lnTo>
                  <a:lnTo>
                    <a:pt x="361" y="408"/>
                  </a:lnTo>
                  <a:lnTo>
                    <a:pt x="361" y="408"/>
                  </a:lnTo>
                  <a:lnTo>
                    <a:pt x="363" y="410"/>
                  </a:lnTo>
                  <a:lnTo>
                    <a:pt x="363" y="410"/>
                  </a:lnTo>
                  <a:lnTo>
                    <a:pt x="363" y="410"/>
                  </a:lnTo>
                  <a:lnTo>
                    <a:pt x="365" y="408"/>
                  </a:lnTo>
                  <a:lnTo>
                    <a:pt x="365" y="408"/>
                  </a:lnTo>
                  <a:lnTo>
                    <a:pt x="365" y="408"/>
                  </a:lnTo>
                  <a:lnTo>
                    <a:pt x="367" y="408"/>
                  </a:lnTo>
                  <a:lnTo>
                    <a:pt x="367" y="408"/>
                  </a:lnTo>
                  <a:lnTo>
                    <a:pt x="367" y="406"/>
                  </a:lnTo>
                  <a:lnTo>
                    <a:pt x="367" y="406"/>
                  </a:lnTo>
                  <a:lnTo>
                    <a:pt x="368" y="406"/>
                  </a:lnTo>
                  <a:lnTo>
                    <a:pt x="368" y="406"/>
                  </a:lnTo>
                  <a:lnTo>
                    <a:pt x="368" y="406"/>
                  </a:lnTo>
                  <a:lnTo>
                    <a:pt x="368" y="404"/>
                  </a:lnTo>
                  <a:lnTo>
                    <a:pt x="368" y="404"/>
                  </a:lnTo>
                  <a:lnTo>
                    <a:pt x="370" y="404"/>
                  </a:lnTo>
                  <a:lnTo>
                    <a:pt x="370" y="404"/>
                  </a:lnTo>
                  <a:lnTo>
                    <a:pt x="368" y="404"/>
                  </a:lnTo>
                  <a:close/>
                  <a:moveTo>
                    <a:pt x="334" y="413"/>
                  </a:moveTo>
                  <a:lnTo>
                    <a:pt x="334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3"/>
                  </a:lnTo>
                  <a:lnTo>
                    <a:pt x="332" y="413"/>
                  </a:lnTo>
                  <a:lnTo>
                    <a:pt x="330" y="413"/>
                  </a:lnTo>
                  <a:lnTo>
                    <a:pt x="330" y="415"/>
                  </a:lnTo>
                  <a:lnTo>
                    <a:pt x="329" y="417"/>
                  </a:lnTo>
                  <a:lnTo>
                    <a:pt x="329" y="417"/>
                  </a:lnTo>
                  <a:lnTo>
                    <a:pt x="329" y="417"/>
                  </a:lnTo>
                  <a:lnTo>
                    <a:pt x="329" y="417"/>
                  </a:lnTo>
                  <a:lnTo>
                    <a:pt x="329" y="417"/>
                  </a:lnTo>
                  <a:lnTo>
                    <a:pt x="327" y="419"/>
                  </a:lnTo>
                  <a:lnTo>
                    <a:pt x="325" y="419"/>
                  </a:lnTo>
                  <a:lnTo>
                    <a:pt x="325" y="419"/>
                  </a:lnTo>
                  <a:lnTo>
                    <a:pt x="325" y="417"/>
                  </a:lnTo>
                  <a:lnTo>
                    <a:pt x="323" y="417"/>
                  </a:lnTo>
                  <a:lnTo>
                    <a:pt x="321" y="417"/>
                  </a:lnTo>
                  <a:lnTo>
                    <a:pt x="321" y="417"/>
                  </a:lnTo>
                  <a:lnTo>
                    <a:pt x="321" y="417"/>
                  </a:lnTo>
                  <a:lnTo>
                    <a:pt x="321" y="417"/>
                  </a:lnTo>
                  <a:lnTo>
                    <a:pt x="321" y="417"/>
                  </a:lnTo>
                  <a:lnTo>
                    <a:pt x="320" y="417"/>
                  </a:lnTo>
                  <a:lnTo>
                    <a:pt x="320" y="417"/>
                  </a:lnTo>
                  <a:lnTo>
                    <a:pt x="320" y="417"/>
                  </a:lnTo>
                  <a:lnTo>
                    <a:pt x="318" y="419"/>
                  </a:lnTo>
                  <a:lnTo>
                    <a:pt x="318" y="419"/>
                  </a:lnTo>
                  <a:lnTo>
                    <a:pt x="316" y="419"/>
                  </a:lnTo>
                  <a:lnTo>
                    <a:pt x="314" y="419"/>
                  </a:lnTo>
                  <a:lnTo>
                    <a:pt x="314" y="419"/>
                  </a:lnTo>
                  <a:lnTo>
                    <a:pt x="314" y="419"/>
                  </a:lnTo>
                  <a:lnTo>
                    <a:pt x="312" y="421"/>
                  </a:lnTo>
                  <a:lnTo>
                    <a:pt x="312" y="421"/>
                  </a:lnTo>
                  <a:lnTo>
                    <a:pt x="312" y="421"/>
                  </a:lnTo>
                  <a:lnTo>
                    <a:pt x="312" y="421"/>
                  </a:lnTo>
                  <a:lnTo>
                    <a:pt x="311" y="421"/>
                  </a:lnTo>
                  <a:lnTo>
                    <a:pt x="311" y="422"/>
                  </a:lnTo>
                  <a:lnTo>
                    <a:pt x="311" y="424"/>
                  </a:lnTo>
                  <a:lnTo>
                    <a:pt x="309" y="424"/>
                  </a:lnTo>
                  <a:lnTo>
                    <a:pt x="309" y="422"/>
                  </a:lnTo>
                  <a:lnTo>
                    <a:pt x="307" y="422"/>
                  </a:lnTo>
                  <a:lnTo>
                    <a:pt x="307" y="422"/>
                  </a:lnTo>
                  <a:lnTo>
                    <a:pt x="305" y="422"/>
                  </a:lnTo>
                  <a:lnTo>
                    <a:pt x="305" y="422"/>
                  </a:lnTo>
                  <a:lnTo>
                    <a:pt x="305" y="421"/>
                  </a:lnTo>
                  <a:lnTo>
                    <a:pt x="305" y="421"/>
                  </a:lnTo>
                  <a:lnTo>
                    <a:pt x="305" y="421"/>
                  </a:lnTo>
                  <a:lnTo>
                    <a:pt x="305" y="419"/>
                  </a:lnTo>
                  <a:lnTo>
                    <a:pt x="305" y="419"/>
                  </a:lnTo>
                  <a:lnTo>
                    <a:pt x="305" y="417"/>
                  </a:lnTo>
                  <a:lnTo>
                    <a:pt x="305" y="417"/>
                  </a:lnTo>
                  <a:lnTo>
                    <a:pt x="305" y="415"/>
                  </a:lnTo>
                  <a:lnTo>
                    <a:pt x="305" y="415"/>
                  </a:lnTo>
                  <a:lnTo>
                    <a:pt x="305" y="415"/>
                  </a:lnTo>
                  <a:lnTo>
                    <a:pt x="305" y="415"/>
                  </a:lnTo>
                  <a:lnTo>
                    <a:pt x="307" y="415"/>
                  </a:lnTo>
                  <a:lnTo>
                    <a:pt x="307" y="415"/>
                  </a:lnTo>
                  <a:lnTo>
                    <a:pt x="307" y="415"/>
                  </a:lnTo>
                  <a:lnTo>
                    <a:pt x="307" y="415"/>
                  </a:lnTo>
                  <a:lnTo>
                    <a:pt x="307" y="413"/>
                  </a:lnTo>
                  <a:lnTo>
                    <a:pt x="307" y="413"/>
                  </a:lnTo>
                  <a:lnTo>
                    <a:pt x="307" y="413"/>
                  </a:lnTo>
                  <a:lnTo>
                    <a:pt x="305" y="413"/>
                  </a:lnTo>
                  <a:lnTo>
                    <a:pt x="305" y="413"/>
                  </a:lnTo>
                  <a:lnTo>
                    <a:pt x="305" y="415"/>
                  </a:lnTo>
                  <a:lnTo>
                    <a:pt x="305" y="415"/>
                  </a:lnTo>
                  <a:lnTo>
                    <a:pt x="305" y="413"/>
                  </a:lnTo>
                  <a:lnTo>
                    <a:pt x="305" y="413"/>
                  </a:lnTo>
                  <a:lnTo>
                    <a:pt x="305" y="413"/>
                  </a:lnTo>
                  <a:lnTo>
                    <a:pt x="305" y="413"/>
                  </a:lnTo>
                  <a:lnTo>
                    <a:pt x="307" y="411"/>
                  </a:lnTo>
                  <a:lnTo>
                    <a:pt x="307" y="411"/>
                  </a:lnTo>
                  <a:lnTo>
                    <a:pt x="307" y="410"/>
                  </a:lnTo>
                  <a:lnTo>
                    <a:pt x="303" y="410"/>
                  </a:lnTo>
                  <a:lnTo>
                    <a:pt x="303" y="410"/>
                  </a:lnTo>
                  <a:lnTo>
                    <a:pt x="301" y="410"/>
                  </a:lnTo>
                  <a:lnTo>
                    <a:pt x="301" y="410"/>
                  </a:lnTo>
                  <a:lnTo>
                    <a:pt x="301" y="410"/>
                  </a:lnTo>
                  <a:lnTo>
                    <a:pt x="292" y="411"/>
                  </a:lnTo>
                  <a:lnTo>
                    <a:pt x="291" y="413"/>
                  </a:lnTo>
                  <a:lnTo>
                    <a:pt x="291" y="411"/>
                  </a:lnTo>
                  <a:lnTo>
                    <a:pt x="289" y="411"/>
                  </a:lnTo>
                  <a:lnTo>
                    <a:pt x="289" y="410"/>
                  </a:lnTo>
                  <a:lnTo>
                    <a:pt x="287" y="410"/>
                  </a:lnTo>
                  <a:lnTo>
                    <a:pt x="287" y="410"/>
                  </a:lnTo>
                  <a:lnTo>
                    <a:pt x="287" y="410"/>
                  </a:lnTo>
                  <a:lnTo>
                    <a:pt x="285" y="410"/>
                  </a:lnTo>
                  <a:lnTo>
                    <a:pt x="285" y="410"/>
                  </a:lnTo>
                  <a:lnTo>
                    <a:pt x="283" y="410"/>
                  </a:lnTo>
                  <a:lnTo>
                    <a:pt x="282" y="410"/>
                  </a:lnTo>
                  <a:lnTo>
                    <a:pt x="280" y="410"/>
                  </a:lnTo>
                  <a:lnTo>
                    <a:pt x="280" y="410"/>
                  </a:lnTo>
                  <a:lnTo>
                    <a:pt x="280" y="410"/>
                  </a:lnTo>
                  <a:lnTo>
                    <a:pt x="278" y="410"/>
                  </a:lnTo>
                  <a:lnTo>
                    <a:pt x="278" y="410"/>
                  </a:lnTo>
                  <a:lnTo>
                    <a:pt x="278" y="410"/>
                  </a:lnTo>
                  <a:lnTo>
                    <a:pt x="276" y="410"/>
                  </a:lnTo>
                  <a:lnTo>
                    <a:pt x="274" y="410"/>
                  </a:lnTo>
                  <a:lnTo>
                    <a:pt x="273" y="410"/>
                  </a:lnTo>
                  <a:lnTo>
                    <a:pt x="271" y="408"/>
                  </a:lnTo>
                  <a:lnTo>
                    <a:pt x="271" y="408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69" y="404"/>
                  </a:lnTo>
                  <a:lnTo>
                    <a:pt x="267" y="404"/>
                  </a:lnTo>
                  <a:lnTo>
                    <a:pt x="267" y="404"/>
                  </a:lnTo>
                  <a:lnTo>
                    <a:pt x="267" y="406"/>
                  </a:lnTo>
                  <a:lnTo>
                    <a:pt x="267" y="406"/>
                  </a:lnTo>
                  <a:lnTo>
                    <a:pt x="267" y="406"/>
                  </a:lnTo>
                  <a:lnTo>
                    <a:pt x="264" y="404"/>
                  </a:lnTo>
                  <a:lnTo>
                    <a:pt x="262" y="404"/>
                  </a:lnTo>
                  <a:lnTo>
                    <a:pt x="262" y="406"/>
                  </a:lnTo>
                  <a:lnTo>
                    <a:pt x="260" y="406"/>
                  </a:lnTo>
                  <a:lnTo>
                    <a:pt x="260" y="406"/>
                  </a:lnTo>
                  <a:lnTo>
                    <a:pt x="255" y="404"/>
                  </a:lnTo>
                  <a:lnTo>
                    <a:pt x="253" y="404"/>
                  </a:lnTo>
                  <a:lnTo>
                    <a:pt x="253" y="404"/>
                  </a:lnTo>
                  <a:lnTo>
                    <a:pt x="251" y="404"/>
                  </a:lnTo>
                  <a:lnTo>
                    <a:pt x="249" y="406"/>
                  </a:lnTo>
                  <a:lnTo>
                    <a:pt x="247" y="406"/>
                  </a:lnTo>
                  <a:lnTo>
                    <a:pt x="244" y="408"/>
                  </a:lnTo>
                  <a:lnTo>
                    <a:pt x="242" y="408"/>
                  </a:lnTo>
                  <a:lnTo>
                    <a:pt x="240" y="408"/>
                  </a:lnTo>
                  <a:lnTo>
                    <a:pt x="236" y="410"/>
                  </a:lnTo>
                  <a:lnTo>
                    <a:pt x="235" y="408"/>
                  </a:lnTo>
                  <a:lnTo>
                    <a:pt x="233" y="408"/>
                  </a:lnTo>
                  <a:lnTo>
                    <a:pt x="233" y="408"/>
                  </a:lnTo>
                  <a:lnTo>
                    <a:pt x="231" y="408"/>
                  </a:lnTo>
                  <a:lnTo>
                    <a:pt x="231" y="408"/>
                  </a:lnTo>
                  <a:lnTo>
                    <a:pt x="231" y="404"/>
                  </a:lnTo>
                  <a:lnTo>
                    <a:pt x="231" y="404"/>
                  </a:lnTo>
                  <a:lnTo>
                    <a:pt x="231" y="401"/>
                  </a:lnTo>
                  <a:lnTo>
                    <a:pt x="231" y="402"/>
                  </a:lnTo>
                  <a:lnTo>
                    <a:pt x="229" y="402"/>
                  </a:lnTo>
                  <a:lnTo>
                    <a:pt x="229" y="402"/>
                  </a:lnTo>
                  <a:lnTo>
                    <a:pt x="227" y="402"/>
                  </a:lnTo>
                  <a:lnTo>
                    <a:pt x="227" y="402"/>
                  </a:lnTo>
                  <a:lnTo>
                    <a:pt x="226" y="401"/>
                  </a:lnTo>
                  <a:lnTo>
                    <a:pt x="224" y="401"/>
                  </a:lnTo>
                  <a:lnTo>
                    <a:pt x="224" y="401"/>
                  </a:lnTo>
                  <a:lnTo>
                    <a:pt x="222" y="401"/>
                  </a:lnTo>
                  <a:lnTo>
                    <a:pt x="222" y="399"/>
                  </a:lnTo>
                  <a:lnTo>
                    <a:pt x="222" y="399"/>
                  </a:lnTo>
                  <a:lnTo>
                    <a:pt x="224" y="399"/>
                  </a:lnTo>
                  <a:lnTo>
                    <a:pt x="226" y="399"/>
                  </a:lnTo>
                  <a:lnTo>
                    <a:pt x="227" y="399"/>
                  </a:lnTo>
                  <a:lnTo>
                    <a:pt x="227" y="399"/>
                  </a:lnTo>
                  <a:lnTo>
                    <a:pt x="227" y="399"/>
                  </a:lnTo>
                  <a:lnTo>
                    <a:pt x="227" y="399"/>
                  </a:lnTo>
                  <a:lnTo>
                    <a:pt x="229" y="397"/>
                  </a:lnTo>
                  <a:lnTo>
                    <a:pt x="229" y="397"/>
                  </a:lnTo>
                  <a:lnTo>
                    <a:pt x="229" y="397"/>
                  </a:lnTo>
                  <a:lnTo>
                    <a:pt x="227" y="395"/>
                  </a:lnTo>
                  <a:lnTo>
                    <a:pt x="227" y="393"/>
                  </a:lnTo>
                  <a:lnTo>
                    <a:pt x="224" y="393"/>
                  </a:lnTo>
                  <a:lnTo>
                    <a:pt x="222" y="395"/>
                  </a:lnTo>
                  <a:lnTo>
                    <a:pt x="224" y="397"/>
                  </a:lnTo>
                  <a:lnTo>
                    <a:pt x="222" y="397"/>
                  </a:lnTo>
                  <a:lnTo>
                    <a:pt x="222" y="397"/>
                  </a:lnTo>
                  <a:lnTo>
                    <a:pt x="222" y="397"/>
                  </a:lnTo>
                  <a:lnTo>
                    <a:pt x="222" y="397"/>
                  </a:lnTo>
                  <a:lnTo>
                    <a:pt x="220" y="399"/>
                  </a:lnTo>
                  <a:lnTo>
                    <a:pt x="220" y="399"/>
                  </a:lnTo>
                  <a:lnTo>
                    <a:pt x="220" y="399"/>
                  </a:lnTo>
                  <a:lnTo>
                    <a:pt x="218" y="399"/>
                  </a:lnTo>
                  <a:lnTo>
                    <a:pt x="217" y="399"/>
                  </a:lnTo>
                  <a:lnTo>
                    <a:pt x="215" y="399"/>
                  </a:lnTo>
                  <a:lnTo>
                    <a:pt x="213" y="399"/>
                  </a:lnTo>
                  <a:lnTo>
                    <a:pt x="209" y="397"/>
                  </a:lnTo>
                  <a:lnTo>
                    <a:pt x="209" y="397"/>
                  </a:lnTo>
                  <a:lnTo>
                    <a:pt x="208" y="395"/>
                  </a:lnTo>
                  <a:lnTo>
                    <a:pt x="208" y="395"/>
                  </a:lnTo>
                  <a:lnTo>
                    <a:pt x="208" y="393"/>
                  </a:lnTo>
                  <a:lnTo>
                    <a:pt x="208" y="392"/>
                  </a:lnTo>
                  <a:lnTo>
                    <a:pt x="208" y="390"/>
                  </a:lnTo>
                  <a:lnTo>
                    <a:pt x="208" y="390"/>
                  </a:lnTo>
                  <a:lnTo>
                    <a:pt x="208" y="390"/>
                  </a:lnTo>
                  <a:lnTo>
                    <a:pt x="206" y="388"/>
                  </a:lnTo>
                  <a:lnTo>
                    <a:pt x="206" y="388"/>
                  </a:lnTo>
                  <a:lnTo>
                    <a:pt x="206" y="388"/>
                  </a:lnTo>
                  <a:lnTo>
                    <a:pt x="206" y="390"/>
                  </a:lnTo>
                  <a:lnTo>
                    <a:pt x="204" y="390"/>
                  </a:lnTo>
                  <a:lnTo>
                    <a:pt x="204" y="392"/>
                  </a:lnTo>
                  <a:lnTo>
                    <a:pt x="204" y="392"/>
                  </a:lnTo>
                  <a:lnTo>
                    <a:pt x="204" y="393"/>
                  </a:lnTo>
                  <a:lnTo>
                    <a:pt x="204" y="393"/>
                  </a:lnTo>
                  <a:lnTo>
                    <a:pt x="204" y="393"/>
                  </a:lnTo>
                  <a:lnTo>
                    <a:pt x="206" y="395"/>
                  </a:lnTo>
                  <a:lnTo>
                    <a:pt x="206" y="397"/>
                  </a:lnTo>
                  <a:lnTo>
                    <a:pt x="206" y="399"/>
                  </a:lnTo>
                  <a:lnTo>
                    <a:pt x="204" y="399"/>
                  </a:lnTo>
                  <a:lnTo>
                    <a:pt x="204" y="399"/>
                  </a:lnTo>
                  <a:lnTo>
                    <a:pt x="202" y="401"/>
                  </a:lnTo>
                  <a:lnTo>
                    <a:pt x="202" y="401"/>
                  </a:lnTo>
                  <a:lnTo>
                    <a:pt x="200" y="399"/>
                  </a:lnTo>
                  <a:lnTo>
                    <a:pt x="200" y="399"/>
                  </a:lnTo>
                  <a:lnTo>
                    <a:pt x="200" y="399"/>
                  </a:lnTo>
                  <a:lnTo>
                    <a:pt x="200" y="399"/>
                  </a:lnTo>
                  <a:lnTo>
                    <a:pt x="200" y="399"/>
                  </a:lnTo>
                  <a:lnTo>
                    <a:pt x="200" y="399"/>
                  </a:lnTo>
                  <a:lnTo>
                    <a:pt x="200" y="399"/>
                  </a:lnTo>
                  <a:lnTo>
                    <a:pt x="200" y="399"/>
                  </a:lnTo>
                  <a:lnTo>
                    <a:pt x="199" y="397"/>
                  </a:lnTo>
                  <a:lnTo>
                    <a:pt x="199" y="397"/>
                  </a:lnTo>
                  <a:lnTo>
                    <a:pt x="199" y="393"/>
                  </a:lnTo>
                  <a:lnTo>
                    <a:pt x="199" y="393"/>
                  </a:lnTo>
                  <a:lnTo>
                    <a:pt x="199" y="393"/>
                  </a:lnTo>
                  <a:lnTo>
                    <a:pt x="199" y="395"/>
                  </a:lnTo>
                  <a:lnTo>
                    <a:pt x="199" y="395"/>
                  </a:lnTo>
                  <a:lnTo>
                    <a:pt x="199" y="397"/>
                  </a:lnTo>
                  <a:lnTo>
                    <a:pt x="197" y="399"/>
                  </a:lnTo>
                  <a:lnTo>
                    <a:pt x="197" y="399"/>
                  </a:lnTo>
                  <a:lnTo>
                    <a:pt x="197" y="399"/>
                  </a:lnTo>
                  <a:lnTo>
                    <a:pt x="197" y="399"/>
                  </a:lnTo>
                  <a:lnTo>
                    <a:pt x="197" y="399"/>
                  </a:lnTo>
                  <a:lnTo>
                    <a:pt x="197" y="399"/>
                  </a:lnTo>
                  <a:lnTo>
                    <a:pt x="197" y="401"/>
                  </a:lnTo>
                  <a:lnTo>
                    <a:pt x="197" y="401"/>
                  </a:lnTo>
                  <a:lnTo>
                    <a:pt x="197" y="401"/>
                  </a:lnTo>
                  <a:lnTo>
                    <a:pt x="197" y="402"/>
                  </a:lnTo>
                  <a:lnTo>
                    <a:pt x="197" y="402"/>
                  </a:lnTo>
                  <a:lnTo>
                    <a:pt x="197" y="402"/>
                  </a:lnTo>
                  <a:lnTo>
                    <a:pt x="197" y="402"/>
                  </a:lnTo>
                  <a:lnTo>
                    <a:pt x="197" y="404"/>
                  </a:lnTo>
                  <a:lnTo>
                    <a:pt x="197" y="404"/>
                  </a:lnTo>
                  <a:lnTo>
                    <a:pt x="197" y="404"/>
                  </a:lnTo>
                  <a:lnTo>
                    <a:pt x="197" y="406"/>
                  </a:lnTo>
                  <a:lnTo>
                    <a:pt x="195" y="408"/>
                  </a:lnTo>
                  <a:lnTo>
                    <a:pt x="197" y="408"/>
                  </a:lnTo>
                  <a:lnTo>
                    <a:pt x="195" y="410"/>
                  </a:lnTo>
                  <a:lnTo>
                    <a:pt x="195" y="410"/>
                  </a:lnTo>
                  <a:lnTo>
                    <a:pt x="197" y="410"/>
                  </a:lnTo>
                  <a:lnTo>
                    <a:pt x="197" y="411"/>
                  </a:lnTo>
                  <a:lnTo>
                    <a:pt x="197" y="411"/>
                  </a:lnTo>
                  <a:lnTo>
                    <a:pt x="197" y="411"/>
                  </a:lnTo>
                  <a:lnTo>
                    <a:pt x="197" y="411"/>
                  </a:lnTo>
                  <a:lnTo>
                    <a:pt x="197" y="411"/>
                  </a:lnTo>
                  <a:lnTo>
                    <a:pt x="195" y="411"/>
                  </a:lnTo>
                  <a:lnTo>
                    <a:pt x="195" y="411"/>
                  </a:lnTo>
                  <a:lnTo>
                    <a:pt x="195" y="411"/>
                  </a:lnTo>
                  <a:lnTo>
                    <a:pt x="195" y="411"/>
                  </a:lnTo>
                  <a:lnTo>
                    <a:pt x="195" y="411"/>
                  </a:lnTo>
                  <a:lnTo>
                    <a:pt x="195" y="411"/>
                  </a:lnTo>
                  <a:lnTo>
                    <a:pt x="195" y="411"/>
                  </a:lnTo>
                  <a:lnTo>
                    <a:pt x="195" y="413"/>
                  </a:lnTo>
                  <a:lnTo>
                    <a:pt x="195" y="413"/>
                  </a:lnTo>
                  <a:lnTo>
                    <a:pt x="195" y="413"/>
                  </a:lnTo>
                  <a:lnTo>
                    <a:pt x="197" y="413"/>
                  </a:lnTo>
                  <a:lnTo>
                    <a:pt x="197" y="413"/>
                  </a:lnTo>
                  <a:lnTo>
                    <a:pt x="197" y="415"/>
                  </a:lnTo>
                  <a:lnTo>
                    <a:pt x="197" y="415"/>
                  </a:lnTo>
                  <a:lnTo>
                    <a:pt x="199" y="415"/>
                  </a:lnTo>
                  <a:lnTo>
                    <a:pt x="199" y="415"/>
                  </a:lnTo>
                  <a:lnTo>
                    <a:pt x="199" y="415"/>
                  </a:lnTo>
                  <a:lnTo>
                    <a:pt x="199" y="415"/>
                  </a:lnTo>
                  <a:lnTo>
                    <a:pt x="199" y="417"/>
                  </a:lnTo>
                  <a:lnTo>
                    <a:pt x="202" y="415"/>
                  </a:lnTo>
                  <a:lnTo>
                    <a:pt x="202" y="417"/>
                  </a:lnTo>
                  <a:lnTo>
                    <a:pt x="204" y="415"/>
                  </a:lnTo>
                  <a:lnTo>
                    <a:pt x="208" y="417"/>
                  </a:lnTo>
                  <a:lnTo>
                    <a:pt x="209" y="415"/>
                  </a:lnTo>
                  <a:lnTo>
                    <a:pt x="209" y="415"/>
                  </a:lnTo>
                  <a:lnTo>
                    <a:pt x="209" y="415"/>
                  </a:lnTo>
                  <a:lnTo>
                    <a:pt x="209" y="415"/>
                  </a:lnTo>
                  <a:lnTo>
                    <a:pt x="209" y="415"/>
                  </a:lnTo>
                  <a:lnTo>
                    <a:pt x="211" y="415"/>
                  </a:lnTo>
                  <a:lnTo>
                    <a:pt x="213" y="417"/>
                  </a:lnTo>
                  <a:lnTo>
                    <a:pt x="218" y="417"/>
                  </a:lnTo>
                  <a:lnTo>
                    <a:pt x="218" y="417"/>
                  </a:lnTo>
                  <a:lnTo>
                    <a:pt x="220" y="419"/>
                  </a:lnTo>
                  <a:lnTo>
                    <a:pt x="222" y="419"/>
                  </a:lnTo>
                  <a:lnTo>
                    <a:pt x="222" y="419"/>
                  </a:lnTo>
                  <a:lnTo>
                    <a:pt x="222" y="419"/>
                  </a:lnTo>
                  <a:lnTo>
                    <a:pt x="222" y="419"/>
                  </a:lnTo>
                  <a:lnTo>
                    <a:pt x="224" y="419"/>
                  </a:lnTo>
                  <a:lnTo>
                    <a:pt x="224" y="419"/>
                  </a:lnTo>
                  <a:lnTo>
                    <a:pt x="227" y="419"/>
                  </a:lnTo>
                  <a:lnTo>
                    <a:pt x="227" y="419"/>
                  </a:lnTo>
                  <a:lnTo>
                    <a:pt x="227" y="419"/>
                  </a:lnTo>
                  <a:lnTo>
                    <a:pt x="229" y="419"/>
                  </a:lnTo>
                  <a:lnTo>
                    <a:pt x="229" y="419"/>
                  </a:lnTo>
                  <a:lnTo>
                    <a:pt x="229" y="419"/>
                  </a:lnTo>
                  <a:lnTo>
                    <a:pt x="229" y="419"/>
                  </a:lnTo>
                  <a:lnTo>
                    <a:pt x="229" y="419"/>
                  </a:lnTo>
                  <a:lnTo>
                    <a:pt x="229" y="419"/>
                  </a:lnTo>
                  <a:lnTo>
                    <a:pt x="233" y="419"/>
                  </a:lnTo>
                  <a:lnTo>
                    <a:pt x="238" y="419"/>
                  </a:lnTo>
                  <a:lnTo>
                    <a:pt x="238" y="419"/>
                  </a:lnTo>
                  <a:lnTo>
                    <a:pt x="238" y="421"/>
                  </a:lnTo>
                  <a:lnTo>
                    <a:pt x="242" y="421"/>
                  </a:lnTo>
                  <a:lnTo>
                    <a:pt x="242" y="421"/>
                  </a:lnTo>
                  <a:lnTo>
                    <a:pt x="244" y="421"/>
                  </a:lnTo>
                  <a:lnTo>
                    <a:pt x="246" y="422"/>
                  </a:lnTo>
                  <a:lnTo>
                    <a:pt x="246" y="422"/>
                  </a:lnTo>
                  <a:lnTo>
                    <a:pt x="246" y="424"/>
                  </a:lnTo>
                  <a:lnTo>
                    <a:pt x="247" y="424"/>
                  </a:lnTo>
                  <a:lnTo>
                    <a:pt x="247" y="424"/>
                  </a:lnTo>
                  <a:lnTo>
                    <a:pt x="247" y="424"/>
                  </a:lnTo>
                  <a:lnTo>
                    <a:pt x="249" y="424"/>
                  </a:lnTo>
                  <a:lnTo>
                    <a:pt x="249" y="424"/>
                  </a:lnTo>
                  <a:lnTo>
                    <a:pt x="255" y="424"/>
                  </a:lnTo>
                  <a:lnTo>
                    <a:pt x="255" y="424"/>
                  </a:lnTo>
                  <a:lnTo>
                    <a:pt x="255" y="424"/>
                  </a:lnTo>
                  <a:lnTo>
                    <a:pt x="255" y="426"/>
                  </a:lnTo>
                  <a:lnTo>
                    <a:pt x="256" y="426"/>
                  </a:lnTo>
                  <a:lnTo>
                    <a:pt x="256" y="426"/>
                  </a:lnTo>
                  <a:lnTo>
                    <a:pt x="256" y="426"/>
                  </a:lnTo>
                  <a:lnTo>
                    <a:pt x="256" y="428"/>
                  </a:lnTo>
                  <a:lnTo>
                    <a:pt x="256" y="428"/>
                  </a:lnTo>
                  <a:lnTo>
                    <a:pt x="256" y="430"/>
                  </a:lnTo>
                  <a:lnTo>
                    <a:pt x="256" y="430"/>
                  </a:lnTo>
                  <a:lnTo>
                    <a:pt x="256" y="431"/>
                  </a:lnTo>
                  <a:lnTo>
                    <a:pt x="256" y="433"/>
                  </a:lnTo>
                  <a:lnTo>
                    <a:pt x="256" y="433"/>
                  </a:lnTo>
                  <a:lnTo>
                    <a:pt x="256" y="435"/>
                  </a:lnTo>
                  <a:lnTo>
                    <a:pt x="256" y="435"/>
                  </a:lnTo>
                  <a:lnTo>
                    <a:pt x="267" y="435"/>
                  </a:lnTo>
                  <a:lnTo>
                    <a:pt x="269" y="435"/>
                  </a:lnTo>
                  <a:lnTo>
                    <a:pt x="269" y="435"/>
                  </a:lnTo>
                  <a:lnTo>
                    <a:pt x="271" y="433"/>
                  </a:lnTo>
                  <a:lnTo>
                    <a:pt x="273" y="433"/>
                  </a:lnTo>
                  <a:lnTo>
                    <a:pt x="273" y="433"/>
                  </a:lnTo>
                  <a:lnTo>
                    <a:pt x="273" y="433"/>
                  </a:lnTo>
                  <a:lnTo>
                    <a:pt x="273" y="433"/>
                  </a:lnTo>
                  <a:lnTo>
                    <a:pt x="274" y="435"/>
                  </a:lnTo>
                  <a:lnTo>
                    <a:pt x="274" y="435"/>
                  </a:lnTo>
                  <a:lnTo>
                    <a:pt x="274" y="433"/>
                  </a:lnTo>
                  <a:lnTo>
                    <a:pt x="274" y="433"/>
                  </a:lnTo>
                  <a:lnTo>
                    <a:pt x="274" y="433"/>
                  </a:lnTo>
                  <a:lnTo>
                    <a:pt x="276" y="433"/>
                  </a:lnTo>
                  <a:lnTo>
                    <a:pt x="280" y="433"/>
                  </a:lnTo>
                  <a:lnTo>
                    <a:pt x="280" y="433"/>
                  </a:lnTo>
                  <a:lnTo>
                    <a:pt x="283" y="431"/>
                  </a:lnTo>
                  <a:lnTo>
                    <a:pt x="283" y="431"/>
                  </a:lnTo>
                  <a:lnTo>
                    <a:pt x="283" y="431"/>
                  </a:lnTo>
                  <a:lnTo>
                    <a:pt x="285" y="431"/>
                  </a:lnTo>
                  <a:lnTo>
                    <a:pt x="285" y="431"/>
                  </a:lnTo>
                  <a:lnTo>
                    <a:pt x="289" y="431"/>
                  </a:lnTo>
                  <a:lnTo>
                    <a:pt x="294" y="431"/>
                  </a:lnTo>
                  <a:lnTo>
                    <a:pt x="294" y="431"/>
                  </a:lnTo>
                  <a:lnTo>
                    <a:pt x="296" y="431"/>
                  </a:lnTo>
                  <a:lnTo>
                    <a:pt x="300" y="430"/>
                  </a:lnTo>
                  <a:lnTo>
                    <a:pt x="309" y="430"/>
                  </a:lnTo>
                  <a:lnTo>
                    <a:pt x="312" y="430"/>
                  </a:lnTo>
                  <a:lnTo>
                    <a:pt x="314" y="428"/>
                  </a:lnTo>
                  <a:lnTo>
                    <a:pt x="316" y="428"/>
                  </a:lnTo>
                  <a:lnTo>
                    <a:pt x="318" y="428"/>
                  </a:lnTo>
                  <a:lnTo>
                    <a:pt x="318" y="428"/>
                  </a:lnTo>
                  <a:lnTo>
                    <a:pt x="318" y="428"/>
                  </a:lnTo>
                  <a:lnTo>
                    <a:pt x="318" y="428"/>
                  </a:lnTo>
                  <a:lnTo>
                    <a:pt x="320" y="428"/>
                  </a:lnTo>
                  <a:lnTo>
                    <a:pt x="320" y="430"/>
                  </a:lnTo>
                  <a:lnTo>
                    <a:pt x="321" y="430"/>
                  </a:lnTo>
                  <a:lnTo>
                    <a:pt x="321" y="430"/>
                  </a:lnTo>
                  <a:lnTo>
                    <a:pt x="323" y="430"/>
                  </a:lnTo>
                  <a:lnTo>
                    <a:pt x="323" y="430"/>
                  </a:lnTo>
                  <a:lnTo>
                    <a:pt x="323" y="430"/>
                  </a:lnTo>
                  <a:lnTo>
                    <a:pt x="323" y="430"/>
                  </a:lnTo>
                  <a:lnTo>
                    <a:pt x="325" y="430"/>
                  </a:lnTo>
                  <a:lnTo>
                    <a:pt x="327" y="430"/>
                  </a:lnTo>
                  <a:lnTo>
                    <a:pt x="329" y="430"/>
                  </a:lnTo>
                  <a:lnTo>
                    <a:pt x="330" y="430"/>
                  </a:lnTo>
                  <a:lnTo>
                    <a:pt x="330" y="428"/>
                  </a:lnTo>
                  <a:lnTo>
                    <a:pt x="330" y="428"/>
                  </a:lnTo>
                  <a:lnTo>
                    <a:pt x="330" y="428"/>
                  </a:lnTo>
                  <a:lnTo>
                    <a:pt x="332" y="426"/>
                  </a:lnTo>
                  <a:lnTo>
                    <a:pt x="332" y="426"/>
                  </a:lnTo>
                  <a:lnTo>
                    <a:pt x="332" y="426"/>
                  </a:lnTo>
                  <a:lnTo>
                    <a:pt x="332" y="424"/>
                  </a:lnTo>
                  <a:lnTo>
                    <a:pt x="334" y="422"/>
                  </a:lnTo>
                  <a:lnTo>
                    <a:pt x="334" y="422"/>
                  </a:lnTo>
                  <a:lnTo>
                    <a:pt x="332" y="421"/>
                  </a:lnTo>
                  <a:lnTo>
                    <a:pt x="334" y="421"/>
                  </a:lnTo>
                  <a:lnTo>
                    <a:pt x="334" y="419"/>
                  </a:lnTo>
                  <a:lnTo>
                    <a:pt x="334" y="419"/>
                  </a:lnTo>
                  <a:lnTo>
                    <a:pt x="334" y="419"/>
                  </a:lnTo>
                  <a:lnTo>
                    <a:pt x="332" y="417"/>
                  </a:lnTo>
                  <a:lnTo>
                    <a:pt x="332" y="415"/>
                  </a:lnTo>
                  <a:lnTo>
                    <a:pt x="332" y="413"/>
                  </a:lnTo>
                  <a:lnTo>
                    <a:pt x="334" y="413"/>
                  </a:lnTo>
                  <a:close/>
                  <a:moveTo>
                    <a:pt x="379" y="399"/>
                  </a:moveTo>
                  <a:lnTo>
                    <a:pt x="379" y="399"/>
                  </a:lnTo>
                  <a:lnTo>
                    <a:pt x="379" y="399"/>
                  </a:lnTo>
                  <a:lnTo>
                    <a:pt x="379" y="399"/>
                  </a:lnTo>
                  <a:lnTo>
                    <a:pt x="379" y="397"/>
                  </a:lnTo>
                  <a:lnTo>
                    <a:pt x="379" y="397"/>
                  </a:lnTo>
                  <a:lnTo>
                    <a:pt x="379" y="397"/>
                  </a:lnTo>
                  <a:lnTo>
                    <a:pt x="379" y="397"/>
                  </a:lnTo>
                  <a:lnTo>
                    <a:pt x="379" y="397"/>
                  </a:lnTo>
                  <a:lnTo>
                    <a:pt x="379" y="397"/>
                  </a:lnTo>
                  <a:lnTo>
                    <a:pt x="377" y="393"/>
                  </a:lnTo>
                  <a:lnTo>
                    <a:pt x="377" y="393"/>
                  </a:lnTo>
                  <a:lnTo>
                    <a:pt x="377" y="393"/>
                  </a:lnTo>
                  <a:lnTo>
                    <a:pt x="377" y="392"/>
                  </a:lnTo>
                  <a:lnTo>
                    <a:pt x="377" y="390"/>
                  </a:lnTo>
                  <a:lnTo>
                    <a:pt x="377" y="390"/>
                  </a:lnTo>
                  <a:lnTo>
                    <a:pt x="377" y="390"/>
                  </a:lnTo>
                  <a:lnTo>
                    <a:pt x="377" y="388"/>
                  </a:lnTo>
                  <a:lnTo>
                    <a:pt x="379" y="388"/>
                  </a:lnTo>
                  <a:lnTo>
                    <a:pt x="379" y="386"/>
                  </a:lnTo>
                  <a:lnTo>
                    <a:pt x="379" y="386"/>
                  </a:lnTo>
                  <a:lnTo>
                    <a:pt x="379" y="386"/>
                  </a:lnTo>
                  <a:lnTo>
                    <a:pt x="379" y="386"/>
                  </a:lnTo>
                  <a:lnTo>
                    <a:pt x="379" y="384"/>
                  </a:lnTo>
                  <a:lnTo>
                    <a:pt x="379" y="384"/>
                  </a:lnTo>
                  <a:lnTo>
                    <a:pt x="379" y="383"/>
                  </a:lnTo>
                  <a:lnTo>
                    <a:pt x="379" y="383"/>
                  </a:lnTo>
                  <a:lnTo>
                    <a:pt x="381" y="381"/>
                  </a:lnTo>
                  <a:lnTo>
                    <a:pt x="381" y="381"/>
                  </a:lnTo>
                  <a:lnTo>
                    <a:pt x="381" y="379"/>
                  </a:lnTo>
                  <a:lnTo>
                    <a:pt x="379" y="379"/>
                  </a:lnTo>
                  <a:lnTo>
                    <a:pt x="379" y="379"/>
                  </a:lnTo>
                  <a:lnTo>
                    <a:pt x="379" y="381"/>
                  </a:lnTo>
                  <a:lnTo>
                    <a:pt x="379" y="381"/>
                  </a:lnTo>
                  <a:lnTo>
                    <a:pt x="377" y="381"/>
                  </a:lnTo>
                  <a:lnTo>
                    <a:pt x="377" y="381"/>
                  </a:lnTo>
                  <a:lnTo>
                    <a:pt x="377" y="381"/>
                  </a:lnTo>
                  <a:lnTo>
                    <a:pt x="377" y="381"/>
                  </a:lnTo>
                  <a:lnTo>
                    <a:pt x="377" y="381"/>
                  </a:lnTo>
                  <a:lnTo>
                    <a:pt x="377" y="383"/>
                  </a:lnTo>
                  <a:lnTo>
                    <a:pt x="377" y="383"/>
                  </a:lnTo>
                  <a:lnTo>
                    <a:pt x="377" y="384"/>
                  </a:lnTo>
                  <a:lnTo>
                    <a:pt x="377" y="386"/>
                  </a:lnTo>
                  <a:lnTo>
                    <a:pt x="376" y="388"/>
                  </a:lnTo>
                  <a:lnTo>
                    <a:pt x="376" y="390"/>
                  </a:lnTo>
                  <a:lnTo>
                    <a:pt x="374" y="392"/>
                  </a:lnTo>
                  <a:lnTo>
                    <a:pt x="374" y="392"/>
                  </a:lnTo>
                  <a:lnTo>
                    <a:pt x="374" y="392"/>
                  </a:lnTo>
                  <a:lnTo>
                    <a:pt x="372" y="393"/>
                  </a:lnTo>
                  <a:lnTo>
                    <a:pt x="372" y="393"/>
                  </a:lnTo>
                  <a:lnTo>
                    <a:pt x="372" y="395"/>
                  </a:lnTo>
                  <a:lnTo>
                    <a:pt x="372" y="395"/>
                  </a:lnTo>
                  <a:lnTo>
                    <a:pt x="374" y="395"/>
                  </a:lnTo>
                  <a:lnTo>
                    <a:pt x="374" y="395"/>
                  </a:lnTo>
                  <a:lnTo>
                    <a:pt x="374" y="397"/>
                  </a:lnTo>
                  <a:lnTo>
                    <a:pt x="374" y="397"/>
                  </a:lnTo>
                  <a:lnTo>
                    <a:pt x="374" y="397"/>
                  </a:lnTo>
                  <a:lnTo>
                    <a:pt x="374" y="399"/>
                  </a:lnTo>
                  <a:lnTo>
                    <a:pt x="376" y="401"/>
                  </a:lnTo>
                  <a:lnTo>
                    <a:pt x="376" y="401"/>
                  </a:lnTo>
                  <a:lnTo>
                    <a:pt x="374" y="401"/>
                  </a:lnTo>
                  <a:lnTo>
                    <a:pt x="374" y="402"/>
                  </a:lnTo>
                  <a:lnTo>
                    <a:pt x="374" y="402"/>
                  </a:lnTo>
                  <a:lnTo>
                    <a:pt x="374" y="402"/>
                  </a:lnTo>
                  <a:lnTo>
                    <a:pt x="374" y="402"/>
                  </a:lnTo>
                  <a:lnTo>
                    <a:pt x="374" y="402"/>
                  </a:lnTo>
                  <a:lnTo>
                    <a:pt x="374" y="404"/>
                  </a:lnTo>
                  <a:lnTo>
                    <a:pt x="374" y="404"/>
                  </a:lnTo>
                  <a:lnTo>
                    <a:pt x="376" y="404"/>
                  </a:lnTo>
                  <a:lnTo>
                    <a:pt x="376" y="404"/>
                  </a:lnTo>
                  <a:lnTo>
                    <a:pt x="376" y="404"/>
                  </a:lnTo>
                  <a:lnTo>
                    <a:pt x="376" y="406"/>
                  </a:lnTo>
                  <a:lnTo>
                    <a:pt x="376" y="406"/>
                  </a:lnTo>
                  <a:lnTo>
                    <a:pt x="377" y="404"/>
                  </a:lnTo>
                  <a:lnTo>
                    <a:pt x="377" y="404"/>
                  </a:lnTo>
                  <a:lnTo>
                    <a:pt x="377" y="404"/>
                  </a:lnTo>
                  <a:lnTo>
                    <a:pt x="377" y="404"/>
                  </a:lnTo>
                  <a:lnTo>
                    <a:pt x="377" y="404"/>
                  </a:lnTo>
                  <a:lnTo>
                    <a:pt x="377" y="404"/>
                  </a:lnTo>
                  <a:lnTo>
                    <a:pt x="377" y="404"/>
                  </a:lnTo>
                  <a:lnTo>
                    <a:pt x="377" y="402"/>
                  </a:lnTo>
                  <a:lnTo>
                    <a:pt x="377" y="402"/>
                  </a:lnTo>
                  <a:lnTo>
                    <a:pt x="379" y="401"/>
                  </a:lnTo>
                  <a:lnTo>
                    <a:pt x="381" y="402"/>
                  </a:lnTo>
                  <a:lnTo>
                    <a:pt x="381" y="401"/>
                  </a:lnTo>
                  <a:lnTo>
                    <a:pt x="381" y="399"/>
                  </a:lnTo>
                  <a:lnTo>
                    <a:pt x="379" y="399"/>
                  </a:lnTo>
                  <a:close/>
                  <a:moveTo>
                    <a:pt x="184" y="377"/>
                  </a:moveTo>
                  <a:lnTo>
                    <a:pt x="184" y="375"/>
                  </a:lnTo>
                  <a:lnTo>
                    <a:pt x="182" y="375"/>
                  </a:lnTo>
                  <a:lnTo>
                    <a:pt x="182" y="375"/>
                  </a:lnTo>
                  <a:lnTo>
                    <a:pt x="182" y="375"/>
                  </a:lnTo>
                  <a:lnTo>
                    <a:pt x="182" y="375"/>
                  </a:lnTo>
                  <a:lnTo>
                    <a:pt x="182" y="375"/>
                  </a:lnTo>
                  <a:lnTo>
                    <a:pt x="182" y="377"/>
                  </a:lnTo>
                  <a:lnTo>
                    <a:pt x="182" y="377"/>
                  </a:lnTo>
                  <a:lnTo>
                    <a:pt x="184" y="377"/>
                  </a:lnTo>
                  <a:lnTo>
                    <a:pt x="184" y="379"/>
                  </a:lnTo>
                  <a:lnTo>
                    <a:pt x="184" y="379"/>
                  </a:lnTo>
                  <a:lnTo>
                    <a:pt x="186" y="379"/>
                  </a:lnTo>
                  <a:lnTo>
                    <a:pt x="186" y="377"/>
                  </a:lnTo>
                  <a:lnTo>
                    <a:pt x="184" y="377"/>
                  </a:lnTo>
                  <a:close/>
                  <a:moveTo>
                    <a:pt x="397" y="354"/>
                  </a:moveTo>
                  <a:lnTo>
                    <a:pt x="397" y="354"/>
                  </a:lnTo>
                  <a:lnTo>
                    <a:pt x="395" y="354"/>
                  </a:lnTo>
                  <a:lnTo>
                    <a:pt x="395" y="354"/>
                  </a:lnTo>
                  <a:lnTo>
                    <a:pt x="395" y="355"/>
                  </a:lnTo>
                  <a:lnTo>
                    <a:pt x="395" y="355"/>
                  </a:lnTo>
                  <a:lnTo>
                    <a:pt x="395" y="355"/>
                  </a:lnTo>
                  <a:lnTo>
                    <a:pt x="397" y="355"/>
                  </a:lnTo>
                  <a:lnTo>
                    <a:pt x="397" y="355"/>
                  </a:lnTo>
                  <a:lnTo>
                    <a:pt x="397" y="355"/>
                  </a:lnTo>
                  <a:lnTo>
                    <a:pt x="399" y="355"/>
                  </a:lnTo>
                  <a:lnTo>
                    <a:pt x="399" y="355"/>
                  </a:lnTo>
                  <a:lnTo>
                    <a:pt x="399" y="355"/>
                  </a:lnTo>
                  <a:lnTo>
                    <a:pt x="399" y="355"/>
                  </a:lnTo>
                  <a:lnTo>
                    <a:pt x="399" y="354"/>
                  </a:lnTo>
                  <a:lnTo>
                    <a:pt x="399" y="354"/>
                  </a:lnTo>
                  <a:lnTo>
                    <a:pt x="397" y="354"/>
                  </a:lnTo>
                  <a:close/>
                  <a:moveTo>
                    <a:pt x="173" y="352"/>
                  </a:moveTo>
                  <a:lnTo>
                    <a:pt x="170" y="350"/>
                  </a:lnTo>
                  <a:lnTo>
                    <a:pt x="168" y="348"/>
                  </a:lnTo>
                  <a:lnTo>
                    <a:pt x="166" y="345"/>
                  </a:lnTo>
                  <a:lnTo>
                    <a:pt x="166" y="345"/>
                  </a:lnTo>
                  <a:lnTo>
                    <a:pt x="166" y="346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64" y="350"/>
                  </a:lnTo>
                  <a:lnTo>
                    <a:pt x="164" y="350"/>
                  </a:lnTo>
                  <a:lnTo>
                    <a:pt x="164" y="352"/>
                  </a:lnTo>
                  <a:lnTo>
                    <a:pt x="164" y="354"/>
                  </a:lnTo>
                  <a:lnTo>
                    <a:pt x="164" y="357"/>
                  </a:lnTo>
                  <a:lnTo>
                    <a:pt x="164" y="357"/>
                  </a:lnTo>
                  <a:lnTo>
                    <a:pt x="164" y="357"/>
                  </a:lnTo>
                  <a:lnTo>
                    <a:pt x="164" y="357"/>
                  </a:lnTo>
                  <a:lnTo>
                    <a:pt x="166" y="359"/>
                  </a:lnTo>
                  <a:lnTo>
                    <a:pt x="166" y="357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6" y="359"/>
                  </a:lnTo>
                  <a:lnTo>
                    <a:pt x="168" y="359"/>
                  </a:lnTo>
                  <a:lnTo>
                    <a:pt x="168" y="359"/>
                  </a:lnTo>
                  <a:lnTo>
                    <a:pt x="168" y="361"/>
                  </a:lnTo>
                  <a:lnTo>
                    <a:pt x="168" y="361"/>
                  </a:lnTo>
                  <a:lnTo>
                    <a:pt x="170" y="361"/>
                  </a:lnTo>
                  <a:lnTo>
                    <a:pt x="170" y="361"/>
                  </a:lnTo>
                  <a:lnTo>
                    <a:pt x="171" y="361"/>
                  </a:lnTo>
                  <a:lnTo>
                    <a:pt x="171" y="361"/>
                  </a:lnTo>
                  <a:lnTo>
                    <a:pt x="171" y="357"/>
                  </a:lnTo>
                  <a:lnTo>
                    <a:pt x="171" y="355"/>
                  </a:lnTo>
                  <a:lnTo>
                    <a:pt x="171" y="355"/>
                  </a:lnTo>
                  <a:lnTo>
                    <a:pt x="173" y="355"/>
                  </a:lnTo>
                  <a:lnTo>
                    <a:pt x="173" y="355"/>
                  </a:lnTo>
                  <a:lnTo>
                    <a:pt x="173" y="354"/>
                  </a:lnTo>
                  <a:lnTo>
                    <a:pt x="173" y="354"/>
                  </a:lnTo>
                  <a:lnTo>
                    <a:pt x="173" y="352"/>
                  </a:lnTo>
                  <a:close/>
                  <a:moveTo>
                    <a:pt x="307" y="345"/>
                  </a:moveTo>
                  <a:lnTo>
                    <a:pt x="307" y="345"/>
                  </a:lnTo>
                  <a:lnTo>
                    <a:pt x="307" y="345"/>
                  </a:lnTo>
                  <a:lnTo>
                    <a:pt x="305" y="345"/>
                  </a:lnTo>
                  <a:lnTo>
                    <a:pt x="305" y="346"/>
                  </a:lnTo>
                  <a:lnTo>
                    <a:pt x="305" y="346"/>
                  </a:lnTo>
                  <a:lnTo>
                    <a:pt x="305" y="346"/>
                  </a:lnTo>
                  <a:lnTo>
                    <a:pt x="305" y="346"/>
                  </a:lnTo>
                  <a:lnTo>
                    <a:pt x="307" y="346"/>
                  </a:lnTo>
                  <a:lnTo>
                    <a:pt x="307" y="346"/>
                  </a:lnTo>
                  <a:lnTo>
                    <a:pt x="307" y="346"/>
                  </a:lnTo>
                  <a:lnTo>
                    <a:pt x="309" y="346"/>
                  </a:lnTo>
                  <a:lnTo>
                    <a:pt x="309" y="346"/>
                  </a:lnTo>
                  <a:lnTo>
                    <a:pt x="311" y="346"/>
                  </a:lnTo>
                  <a:lnTo>
                    <a:pt x="311" y="346"/>
                  </a:lnTo>
                  <a:lnTo>
                    <a:pt x="311" y="348"/>
                  </a:lnTo>
                  <a:lnTo>
                    <a:pt x="311" y="348"/>
                  </a:lnTo>
                  <a:lnTo>
                    <a:pt x="312" y="346"/>
                  </a:lnTo>
                  <a:lnTo>
                    <a:pt x="311" y="346"/>
                  </a:lnTo>
                  <a:lnTo>
                    <a:pt x="309" y="345"/>
                  </a:lnTo>
                  <a:lnTo>
                    <a:pt x="307" y="345"/>
                  </a:lnTo>
                  <a:close/>
                  <a:moveTo>
                    <a:pt x="432" y="343"/>
                  </a:moveTo>
                  <a:lnTo>
                    <a:pt x="430" y="341"/>
                  </a:lnTo>
                  <a:lnTo>
                    <a:pt x="430" y="341"/>
                  </a:lnTo>
                  <a:lnTo>
                    <a:pt x="430" y="341"/>
                  </a:lnTo>
                  <a:lnTo>
                    <a:pt x="428" y="343"/>
                  </a:lnTo>
                  <a:lnTo>
                    <a:pt x="424" y="343"/>
                  </a:lnTo>
                  <a:lnTo>
                    <a:pt x="422" y="343"/>
                  </a:lnTo>
                  <a:lnTo>
                    <a:pt x="422" y="345"/>
                  </a:lnTo>
                  <a:lnTo>
                    <a:pt x="417" y="346"/>
                  </a:lnTo>
                  <a:lnTo>
                    <a:pt x="413" y="348"/>
                  </a:lnTo>
                  <a:lnTo>
                    <a:pt x="413" y="348"/>
                  </a:lnTo>
                  <a:lnTo>
                    <a:pt x="413" y="350"/>
                  </a:lnTo>
                  <a:lnTo>
                    <a:pt x="412" y="352"/>
                  </a:lnTo>
                  <a:lnTo>
                    <a:pt x="412" y="352"/>
                  </a:lnTo>
                  <a:lnTo>
                    <a:pt x="412" y="352"/>
                  </a:lnTo>
                  <a:lnTo>
                    <a:pt x="410" y="352"/>
                  </a:lnTo>
                  <a:lnTo>
                    <a:pt x="410" y="352"/>
                  </a:lnTo>
                  <a:lnTo>
                    <a:pt x="408" y="354"/>
                  </a:lnTo>
                  <a:lnTo>
                    <a:pt x="408" y="354"/>
                  </a:lnTo>
                  <a:lnTo>
                    <a:pt x="408" y="355"/>
                  </a:lnTo>
                  <a:lnTo>
                    <a:pt x="408" y="355"/>
                  </a:lnTo>
                  <a:lnTo>
                    <a:pt x="408" y="355"/>
                  </a:lnTo>
                  <a:lnTo>
                    <a:pt x="408" y="355"/>
                  </a:lnTo>
                  <a:lnTo>
                    <a:pt x="408" y="357"/>
                  </a:lnTo>
                  <a:lnTo>
                    <a:pt x="408" y="357"/>
                  </a:lnTo>
                  <a:lnTo>
                    <a:pt x="406" y="357"/>
                  </a:lnTo>
                  <a:lnTo>
                    <a:pt x="406" y="357"/>
                  </a:lnTo>
                  <a:lnTo>
                    <a:pt x="404" y="359"/>
                  </a:lnTo>
                  <a:lnTo>
                    <a:pt x="403" y="359"/>
                  </a:lnTo>
                  <a:lnTo>
                    <a:pt x="403" y="359"/>
                  </a:lnTo>
                  <a:lnTo>
                    <a:pt x="404" y="359"/>
                  </a:lnTo>
                  <a:lnTo>
                    <a:pt x="404" y="359"/>
                  </a:lnTo>
                  <a:lnTo>
                    <a:pt x="404" y="361"/>
                  </a:lnTo>
                  <a:lnTo>
                    <a:pt x="404" y="361"/>
                  </a:lnTo>
                  <a:lnTo>
                    <a:pt x="404" y="361"/>
                  </a:lnTo>
                  <a:lnTo>
                    <a:pt x="404" y="361"/>
                  </a:lnTo>
                  <a:lnTo>
                    <a:pt x="406" y="363"/>
                  </a:lnTo>
                  <a:lnTo>
                    <a:pt x="406" y="363"/>
                  </a:lnTo>
                  <a:lnTo>
                    <a:pt x="406" y="365"/>
                  </a:lnTo>
                  <a:lnTo>
                    <a:pt x="406" y="365"/>
                  </a:lnTo>
                  <a:lnTo>
                    <a:pt x="406" y="366"/>
                  </a:lnTo>
                  <a:lnTo>
                    <a:pt x="404" y="372"/>
                  </a:lnTo>
                  <a:lnTo>
                    <a:pt x="404" y="372"/>
                  </a:lnTo>
                  <a:lnTo>
                    <a:pt x="406" y="374"/>
                  </a:lnTo>
                  <a:lnTo>
                    <a:pt x="406" y="374"/>
                  </a:lnTo>
                  <a:lnTo>
                    <a:pt x="406" y="375"/>
                  </a:lnTo>
                  <a:lnTo>
                    <a:pt x="408" y="375"/>
                  </a:lnTo>
                  <a:lnTo>
                    <a:pt x="410" y="375"/>
                  </a:lnTo>
                  <a:lnTo>
                    <a:pt x="412" y="374"/>
                  </a:lnTo>
                  <a:lnTo>
                    <a:pt x="413" y="372"/>
                  </a:lnTo>
                  <a:lnTo>
                    <a:pt x="415" y="368"/>
                  </a:lnTo>
                  <a:lnTo>
                    <a:pt x="417" y="366"/>
                  </a:lnTo>
                  <a:lnTo>
                    <a:pt x="419" y="365"/>
                  </a:lnTo>
                  <a:lnTo>
                    <a:pt x="419" y="365"/>
                  </a:lnTo>
                  <a:lnTo>
                    <a:pt x="421" y="365"/>
                  </a:lnTo>
                  <a:lnTo>
                    <a:pt x="422" y="366"/>
                  </a:lnTo>
                  <a:lnTo>
                    <a:pt x="422" y="365"/>
                  </a:lnTo>
                  <a:lnTo>
                    <a:pt x="422" y="365"/>
                  </a:lnTo>
                  <a:lnTo>
                    <a:pt x="422" y="365"/>
                  </a:lnTo>
                  <a:lnTo>
                    <a:pt x="424" y="365"/>
                  </a:lnTo>
                  <a:lnTo>
                    <a:pt x="424" y="363"/>
                  </a:lnTo>
                  <a:lnTo>
                    <a:pt x="424" y="363"/>
                  </a:lnTo>
                  <a:lnTo>
                    <a:pt x="422" y="363"/>
                  </a:lnTo>
                  <a:lnTo>
                    <a:pt x="422" y="363"/>
                  </a:lnTo>
                  <a:lnTo>
                    <a:pt x="422" y="363"/>
                  </a:lnTo>
                  <a:lnTo>
                    <a:pt x="422" y="363"/>
                  </a:lnTo>
                  <a:lnTo>
                    <a:pt x="422" y="359"/>
                  </a:lnTo>
                  <a:lnTo>
                    <a:pt x="424" y="359"/>
                  </a:lnTo>
                  <a:lnTo>
                    <a:pt x="424" y="359"/>
                  </a:lnTo>
                  <a:lnTo>
                    <a:pt x="424" y="357"/>
                  </a:lnTo>
                  <a:lnTo>
                    <a:pt x="424" y="357"/>
                  </a:lnTo>
                  <a:lnTo>
                    <a:pt x="424" y="357"/>
                  </a:lnTo>
                  <a:lnTo>
                    <a:pt x="426" y="357"/>
                  </a:lnTo>
                  <a:lnTo>
                    <a:pt x="426" y="357"/>
                  </a:lnTo>
                  <a:lnTo>
                    <a:pt x="426" y="357"/>
                  </a:lnTo>
                  <a:lnTo>
                    <a:pt x="426" y="355"/>
                  </a:lnTo>
                  <a:lnTo>
                    <a:pt x="426" y="355"/>
                  </a:lnTo>
                  <a:lnTo>
                    <a:pt x="428" y="354"/>
                  </a:lnTo>
                  <a:lnTo>
                    <a:pt x="428" y="354"/>
                  </a:lnTo>
                  <a:lnTo>
                    <a:pt x="428" y="352"/>
                  </a:lnTo>
                  <a:lnTo>
                    <a:pt x="428" y="352"/>
                  </a:lnTo>
                  <a:lnTo>
                    <a:pt x="428" y="350"/>
                  </a:lnTo>
                  <a:lnTo>
                    <a:pt x="430" y="350"/>
                  </a:lnTo>
                  <a:lnTo>
                    <a:pt x="430" y="346"/>
                  </a:lnTo>
                  <a:lnTo>
                    <a:pt x="430" y="346"/>
                  </a:lnTo>
                  <a:lnTo>
                    <a:pt x="432" y="346"/>
                  </a:lnTo>
                  <a:lnTo>
                    <a:pt x="430" y="343"/>
                  </a:lnTo>
                  <a:lnTo>
                    <a:pt x="432" y="343"/>
                  </a:lnTo>
                  <a:lnTo>
                    <a:pt x="432" y="343"/>
                  </a:lnTo>
                  <a:close/>
                  <a:moveTo>
                    <a:pt x="289" y="346"/>
                  </a:moveTo>
                  <a:lnTo>
                    <a:pt x="289" y="346"/>
                  </a:lnTo>
                  <a:lnTo>
                    <a:pt x="289" y="346"/>
                  </a:lnTo>
                  <a:lnTo>
                    <a:pt x="287" y="346"/>
                  </a:lnTo>
                  <a:lnTo>
                    <a:pt x="287" y="346"/>
                  </a:lnTo>
                  <a:lnTo>
                    <a:pt x="287" y="348"/>
                  </a:lnTo>
                  <a:lnTo>
                    <a:pt x="291" y="348"/>
                  </a:lnTo>
                  <a:lnTo>
                    <a:pt x="291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2" y="346"/>
                  </a:lnTo>
                  <a:lnTo>
                    <a:pt x="292" y="345"/>
                  </a:lnTo>
                  <a:lnTo>
                    <a:pt x="292" y="343"/>
                  </a:lnTo>
                  <a:lnTo>
                    <a:pt x="291" y="341"/>
                  </a:lnTo>
                  <a:lnTo>
                    <a:pt x="289" y="339"/>
                  </a:lnTo>
                  <a:lnTo>
                    <a:pt x="287" y="339"/>
                  </a:lnTo>
                  <a:lnTo>
                    <a:pt x="287" y="339"/>
                  </a:lnTo>
                  <a:lnTo>
                    <a:pt x="287" y="339"/>
                  </a:lnTo>
                  <a:lnTo>
                    <a:pt x="287" y="339"/>
                  </a:lnTo>
                  <a:lnTo>
                    <a:pt x="287" y="341"/>
                  </a:lnTo>
                  <a:lnTo>
                    <a:pt x="289" y="341"/>
                  </a:lnTo>
                  <a:lnTo>
                    <a:pt x="291" y="341"/>
                  </a:lnTo>
                  <a:lnTo>
                    <a:pt x="289" y="343"/>
                  </a:lnTo>
                  <a:lnTo>
                    <a:pt x="289" y="343"/>
                  </a:lnTo>
                  <a:lnTo>
                    <a:pt x="291" y="343"/>
                  </a:lnTo>
                  <a:lnTo>
                    <a:pt x="291" y="343"/>
                  </a:lnTo>
                  <a:lnTo>
                    <a:pt x="291" y="345"/>
                  </a:lnTo>
                  <a:lnTo>
                    <a:pt x="291" y="345"/>
                  </a:lnTo>
                  <a:lnTo>
                    <a:pt x="289" y="346"/>
                  </a:lnTo>
                  <a:close/>
                  <a:moveTo>
                    <a:pt x="392" y="343"/>
                  </a:moveTo>
                  <a:lnTo>
                    <a:pt x="390" y="343"/>
                  </a:lnTo>
                  <a:lnTo>
                    <a:pt x="390" y="345"/>
                  </a:lnTo>
                  <a:lnTo>
                    <a:pt x="388" y="345"/>
                  </a:lnTo>
                  <a:lnTo>
                    <a:pt x="388" y="343"/>
                  </a:lnTo>
                  <a:lnTo>
                    <a:pt x="388" y="343"/>
                  </a:lnTo>
                  <a:lnTo>
                    <a:pt x="388" y="341"/>
                  </a:lnTo>
                  <a:lnTo>
                    <a:pt x="388" y="339"/>
                  </a:lnTo>
                  <a:lnTo>
                    <a:pt x="386" y="339"/>
                  </a:lnTo>
                  <a:lnTo>
                    <a:pt x="386" y="339"/>
                  </a:lnTo>
                  <a:lnTo>
                    <a:pt x="385" y="341"/>
                  </a:lnTo>
                  <a:lnTo>
                    <a:pt x="385" y="341"/>
                  </a:lnTo>
                  <a:lnTo>
                    <a:pt x="385" y="339"/>
                  </a:lnTo>
                  <a:lnTo>
                    <a:pt x="385" y="341"/>
                  </a:lnTo>
                  <a:lnTo>
                    <a:pt x="383" y="341"/>
                  </a:lnTo>
                  <a:lnTo>
                    <a:pt x="383" y="343"/>
                  </a:lnTo>
                  <a:lnTo>
                    <a:pt x="385" y="343"/>
                  </a:lnTo>
                  <a:lnTo>
                    <a:pt x="385" y="343"/>
                  </a:lnTo>
                  <a:lnTo>
                    <a:pt x="385" y="343"/>
                  </a:lnTo>
                  <a:lnTo>
                    <a:pt x="385" y="343"/>
                  </a:lnTo>
                  <a:lnTo>
                    <a:pt x="385" y="343"/>
                  </a:lnTo>
                  <a:lnTo>
                    <a:pt x="386" y="343"/>
                  </a:lnTo>
                  <a:lnTo>
                    <a:pt x="386" y="343"/>
                  </a:lnTo>
                  <a:lnTo>
                    <a:pt x="386" y="343"/>
                  </a:lnTo>
                  <a:lnTo>
                    <a:pt x="386" y="345"/>
                  </a:lnTo>
                  <a:lnTo>
                    <a:pt x="386" y="345"/>
                  </a:lnTo>
                  <a:lnTo>
                    <a:pt x="388" y="346"/>
                  </a:lnTo>
                  <a:lnTo>
                    <a:pt x="388" y="345"/>
                  </a:lnTo>
                  <a:lnTo>
                    <a:pt x="388" y="346"/>
                  </a:lnTo>
                  <a:lnTo>
                    <a:pt x="388" y="345"/>
                  </a:lnTo>
                  <a:lnTo>
                    <a:pt x="390" y="346"/>
                  </a:lnTo>
                  <a:lnTo>
                    <a:pt x="390" y="345"/>
                  </a:lnTo>
                  <a:lnTo>
                    <a:pt x="390" y="345"/>
                  </a:lnTo>
                  <a:lnTo>
                    <a:pt x="392" y="345"/>
                  </a:lnTo>
                  <a:lnTo>
                    <a:pt x="392" y="343"/>
                  </a:lnTo>
                  <a:lnTo>
                    <a:pt x="392" y="343"/>
                  </a:lnTo>
                  <a:close/>
                  <a:moveTo>
                    <a:pt x="377" y="332"/>
                  </a:moveTo>
                  <a:lnTo>
                    <a:pt x="376" y="332"/>
                  </a:lnTo>
                  <a:lnTo>
                    <a:pt x="376" y="334"/>
                  </a:lnTo>
                  <a:lnTo>
                    <a:pt x="376" y="334"/>
                  </a:lnTo>
                  <a:lnTo>
                    <a:pt x="376" y="334"/>
                  </a:lnTo>
                  <a:lnTo>
                    <a:pt x="377" y="334"/>
                  </a:lnTo>
                  <a:lnTo>
                    <a:pt x="377" y="334"/>
                  </a:lnTo>
                  <a:lnTo>
                    <a:pt x="379" y="334"/>
                  </a:lnTo>
                  <a:lnTo>
                    <a:pt x="379" y="332"/>
                  </a:lnTo>
                  <a:lnTo>
                    <a:pt x="379" y="332"/>
                  </a:lnTo>
                  <a:lnTo>
                    <a:pt x="377" y="330"/>
                  </a:lnTo>
                  <a:lnTo>
                    <a:pt x="377" y="332"/>
                  </a:lnTo>
                  <a:close/>
                  <a:moveTo>
                    <a:pt x="341" y="330"/>
                  </a:moveTo>
                  <a:lnTo>
                    <a:pt x="338" y="330"/>
                  </a:lnTo>
                  <a:lnTo>
                    <a:pt x="338" y="330"/>
                  </a:lnTo>
                  <a:lnTo>
                    <a:pt x="338" y="330"/>
                  </a:lnTo>
                  <a:lnTo>
                    <a:pt x="338" y="330"/>
                  </a:lnTo>
                  <a:lnTo>
                    <a:pt x="338" y="330"/>
                  </a:lnTo>
                  <a:lnTo>
                    <a:pt x="338" y="330"/>
                  </a:lnTo>
                  <a:lnTo>
                    <a:pt x="338" y="332"/>
                  </a:lnTo>
                  <a:lnTo>
                    <a:pt x="338" y="332"/>
                  </a:lnTo>
                  <a:lnTo>
                    <a:pt x="338" y="332"/>
                  </a:lnTo>
                  <a:lnTo>
                    <a:pt x="339" y="332"/>
                  </a:lnTo>
                  <a:lnTo>
                    <a:pt x="338" y="334"/>
                  </a:lnTo>
                  <a:lnTo>
                    <a:pt x="338" y="332"/>
                  </a:lnTo>
                  <a:lnTo>
                    <a:pt x="338" y="332"/>
                  </a:lnTo>
                  <a:lnTo>
                    <a:pt x="338" y="332"/>
                  </a:lnTo>
                  <a:lnTo>
                    <a:pt x="338" y="332"/>
                  </a:lnTo>
                  <a:lnTo>
                    <a:pt x="336" y="334"/>
                  </a:lnTo>
                  <a:lnTo>
                    <a:pt x="336" y="334"/>
                  </a:lnTo>
                  <a:lnTo>
                    <a:pt x="336" y="334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32" y="334"/>
                  </a:lnTo>
                  <a:lnTo>
                    <a:pt x="332" y="334"/>
                  </a:lnTo>
                  <a:lnTo>
                    <a:pt x="332" y="334"/>
                  </a:lnTo>
                  <a:lnTo>
                    <a:pt x="332" y="336"/>
                  </a:lnTo>
                  <a:lnTo>
                    <a:pt x="332" y="336"/>
                  </a:lnTo>
                  <a:lnTo>
                    <a:pt x="332" y="336"/>
                  </a:lnTo>
                  <a:lnTo>
                    <a:pt x="334" y="337"/>
                  </a:lnTo>
                  <a:lnTo>
                    <a:pt x="334" y="337"/>
                  </a:lnTo>
                  <a:lnTo>
                    <a:pt x="336" y="337"/>
                  </a:lnTo>
                  <a:lnTo>
                    <a:pt x="336" y="337"/>
                  </a:lnTo>
                  <a:lnTo>
                    <a:pt x="336" y="336"/>
                  </a:lnTo>
                  <a:lnTo>
                    <a:pt x="336" y="336"/>
                  </a:lnTo>
                  <a:lnTo>
                    <a:pt x="338" y="334"/>
                  </a:lnTo>
                  <a:lnTo>
                    <a:pt x="338" y="334"/>
                  </a:lnTo>
                  <a:lnTo>
                    <a:pt x="338" y="334"/>
                  </a:lnTo>
                  <a:lnTo>
                    <a:pt x="339" y="334"/>
                  </a:lnTo>
                  <a:lnTo>
                    <a:pt x="339" y="334"/>
                  </a:lnTo>
                  <a:lnTo>
                    <a:pt x="341" y="332"/>
                  </a:lnTo>
                  <a:lnTo>
                    <a:pt x="341" y="334"/>
                  </a:lnTo>
                  <a:lnTo>
                    <a:pt x="341" y="334"/>
                  </a:lnTo>
                  <a:lnTo>
                    <a:pt x="341" y="334"/>
                  </a:lnTo>
                  <a:lnTo>
                    <a:pt x="341" y="334"/>
                  </a:lnTo>
                  <a:lnTo>
                    <a:pt x="341" y="332"/>
                  </a:lnTo>
                  <a:lnTo>
                    <a:pt x="341" y="330"/>
                  </a:lnTo>
                  <a:close/>
                  <a:moveTo>
                    <a:pt x="408" y="334"/>
                  </a:moveTo>
                  <a:lnTo>
                    <a:pt x="410" y="334"/>
                  </a:lnTo>
                  <a:lnTo>
                    <a:pt x="412" y="336"/>
                  </a:lnTo>
                  <a:lnTo>
                    <a:pt x="412" y="336"/>
                  </a:lnTo>
                  <a:lnTo>
                    <a:pt x="410" y="336"/>
                  </a:lnTo>
                  <a:lnTo>
                    <a:pt x="410" y="336"/>
                  </a:lnTo>
                  <a:lnTo>
                    <a:pt x="410" y="336"/>
                  </a:lnTo>
                  <a:lnTo>
                    <a:pt x="412" y="336"/>
                  </a:lnTo>
                  <a:lnTo>
                    <a:pt x="412" y="336"/>
                  </a:lnTo>
                  <a:lnTo>
                    <a:pt x="413" y="336"/>
                  </a:lnTo>
                  <a:lnTo>
                    <a:pt x="413" y="336"/>
                  </a:lnTo>
                  <a:lnTo>
                    <a:pt x="412" y="336"/>
                  </a:lnTo>
                  <a:lnTo>
                    <a:pt x="412" y="336"/>
                  </a:lnTo>
                  <a:lnTo>
                    <a:pt x="412" y="336"/>
                  </a:lnTo>
                  <a:lnTo>
                    <a:pt x="412" y="336"/>
                  </a:lnTo>
                  <a:lnTo>
                    <a:pt x="413" y="334"/>
                  </a:lnTo>
                  <a:lnTo>
                    <a:pt x="412" y="334"/>
                  </a:lnTo>
                  <a:lnTo>
                    <a:pt x="412" y="334"/>
                  </a:lnTo>
                  <a:lnTo>
                    <a:pt x="412" y="332"/>
                  </a:lnTo>
                  <a:lnTo>
                    <a:pt x="412" y="332"/>
                  </a:lnTo>
                  <a:lnTo>
                    <a:pt x="412" y="332"/>
                  </a:lnTo>
                  <a:lnTo>
                    <a:pt x="412" y="332"/>
                  </a:lnTo>
                  <a:lnTo>
                    <a:pt x="412" y="332"/>
                  </a:lnTo>
                  <a:lnTo>
                    <a:pt x="412" y="332"/>
                  </a:lnTo>
                  <a:lnTo>
                    <a:pt x="412" y="332"/>
                  </a:lnTo>
                  <a:lnTo>
                    <a:pt x="412" y="332"/>
                  </a:lnTo>
                  <a:lnTo>
                    <a:pt x="413" y="330"/>
                  </a:lnTo>
                  <a:lnTo>
                    <a:pt x="413" y="330"/>
                  </a:lnTo>
                  <a:lnTo>
                    <a:pt x="412" y="330"/>
                  </a:lnTo>
                  <a:lnTo>
                    <a:pt x="412" y="330"/>
                  </a:lnTo>
                  <a:lnTo>
                    <a:pt x="412" y="330"/>
                  </a:lnTo>
                  <a:lnTo>
                    <a:pt x="410" y="332"/>
                  </a:lnTo>
                  <a:lnTo>
                    <a:pt x="410" y="332"/>
                  </a:lnTo>
                  <a:lnTo>
                    <a:pt x="410" y="332"/>
                  </a:lnTo>
                  <a:lnTo>
                    <a:pt x="410" y="332"/>
                  </a:lnTo>
                  <a:lnTo>
                    <a:pt x="410" y="330"/>
                  </a:lnTo>
                  <a:lnTo>
                    <a:pt x="410" y="330"/>
                  </a:lnTo>
                  <a:lnTo>
                    <a:pt x="412" y="330"/>
                  </a:lnTo>
                  <a:lnTo>
                    <a:pt x="412" y="328"/>
                  </a:lnTo>
                  <a:lnTo>
                    <a:pt x="412" y="328"/>
                  </a:lnTo>
                  <a:lnTo>
                    <a:pt x="410" y="330"/>
                  </a:lnTo>
                  <a:lnTo>
                    <a:pt x="410" y="330"/>
                  </a:lnTo>
                  <a:lnTo>
                    <a:pt x="410" y="330"/>
                  </a:lnTo>
                  <a:lnTo>
                    <a:pt x="408" y="330"/>
                  </a:lnTo>
                  <a:lnTo>
                    <a:pt x="408" y="330"/>
                  </a:lnTo>
                  <a:lnTo>
                    <a:pt x="408" y="330"/>
                  </a:lnTo>
                  <a:lnTo>
                    <a:pt x="408" y="332"/>
                  </a:lnTo>
                  <a:lnTo>
                    <a:pt x="408" y="332"/>
                  </a:lnTo>
                  <a:lnTo>
                    <a:pt x="408" y="334"/>
                  </a:lnTo>
                  <a:lnTo>
                    <a:pt x="406" y="334"/>
                  </a:lnTo>
                  <a:lnTo>
                    <a:pt x="410" y="334"/>
                  </a:lnTo>
                  <a:lnTo>
                    <a:pt x="408" y="334"/>
                  </a:lnTo>
                  <a:close/>
                  <a:moveTo>
                    <a:pt x="262" y="328"/>
                  </a:moveTo>
                  <a:lnTo>
                    <a:pt x="262" y="328"/>
                  </a:lnTo>
                  <a:lnTo>
                    <a:pt x="260" y="328"/>
                  </a:lnTo>
                  <a:lnTo>
                    <a:pt x="262" y="328"/>
                  </a:lnTo>
                  <a:lnTo>
                    <a:pt x="262" y="330"/>
                  </a:lnTo>
                  <a:lnTo>
                    <a:pt x="264" y="330"/>
                  </a:lnTo>
                  <a:lnTo>
                    <a:pt x="264" y="330"/>
                  </a:lnTo>
                  <a:lnTo>
                    <a:pt x="265" y="332"/>
                  </a:lnTo>
                  <a:lnTo>
                    <a:pt x="265" y="332"/>
                  </a:lnTo>
                  <a:lnTo>
                    <a:pt x="267" y="332"/>
                  </a:lnTo>
                  <a:lnTo>
                    <a:pt x="267" y="332"/>
                  </a:lnTo>
                  <a:lnTo>
                    <a:pt x="265" y="330"/>
                  </a:lnTo>
                  <a:lnTo>
                    <a:pt x="262" y="328"/>
                  </a:lnTo>
                  <a:close/>
                  <a:moveTo>
                    <a:pt x="278" y="325"/>
                  </a:moveTo>
                  <a:lnTo>
                    <a:pt x="276" y="325"/>
                  </a:lnTo>
                  <a:lnTo>
                    <a:pt x="276" y="325"/>
                  </a:lnTo>
                  <a:lnTo>
                    <a:pt x="274" y="325"/>
                  </a:lnTo>
                  <a:lnTo>
                    <a:pt x="274" y="327"/>
                  </a:lnTo>
                  <a:lnTo>
                    <a:pt x="273" y="330"/>
                  </a:lnTo>
                  <a:lnTo>
                    <a:pt x="273" y="330"/>
                  </a:lnTo>
                  <a:lnTo>
                    <a:pt x="274" y="328"/>
                  </a:lnTo>
                  <a:lnTo>
                    <a:pt x="278" y="325"/>
                  </a:lnTo>
                  <a:lnTo>
                    <a:pt x="278" y="325"/>
                  </a:lnTo>
                  <a:lnTo>
                    <a:pt x="278" y="325"/>
                  </a:lnTo>
                  <a:lnTo>
                    <a:pt x="278" y="325"/>
                  </a:lnTo>
                  <a:close/>
                  <a:moveTo>
                    <a:pt x="106" y="323"/>
                  </a:moveTo>
                  <a:lnTo>
                    <a:pt x="106" y="323"/>
                  </a:lnTo>
                  <a:lnTo>
                    <a:pt x="106" y="323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8" y="327"/>
                  </a:lnTo>
                  <a:lnTo>
                    <a:pt x="108" y="325"/>
                  </a:lnTo>
                  <a:lnTo>
                    <a:pt x="108" y="323"/>
                  </a:lnTo>
                  <a:lnTo>
                    <a:pt x="108" y="323"/>
                  </a:lnTo>
                  <a:lnTo>
                    <a:pt x="106" y="323"/>
                  </a:lnTo>
                  <a:close/>
                  <a:moveTo>
                    <a:pt x="246" y="321"/>
                  </a:moveTo>
                  <a:lnTo>
                    <a:pt x="244" y="321"/>
                  </a:lnTo>
                  <a:lnTo>
                    <a:pt x="242" y="323"/>
                  </a:lnTo>
                  <a:lnTo>
                    <a:pt x="242" y="323"/>
                  </a:lnTo>
                  <a:lnTo>
                    <a:pt x="240" y="321"/>
                  </a:lnTo>
                  <a:lnTo>
                    <a:pt x="240" y="321"/>
                  </a:lnTo>
                  <a:lnTo>
                    <a:pt x="238" y="321"/>
                  </a:lnTo>
                  <a:lnTo>
                    <a:pt x="238" y="323"/>
                  </a:lnTo>
                  <a:lnTo>
                    <a:pt x="240" y="323"/>
                  </a:lnTo>
                  <a:lnTo>
                    <a:pt x="240" y="323"/>
                  </a:lnTo>
                  <a:lnTo>
                    <a:pt x="240" y="325"/>
                  </a:lnTo>
                  <a:lnTo>
                    <a:pt x="242" y="323"/>
                  </a:lnTo>
                  <a:lnTo>
                    <a:pt x="242" y="325"/>
                  </a:lnTo>
                  <a:lnTo>
                    <a:pt x="242" y="325"/>
                  </a:lnTo>
                  <a:lnTo>
                    <a:pt x="242" y="325"/>
                  </a:lnTo>
                  <a:lnTo>
                    <a:pt x="242" y="327"/>
                  </a:lnTo>
                  <a:lnTo>
                    <a:pt x="240" y="327"/>
                  </a:lnTo>
                  <a:lnTo>
                    <a:pt x="238" y="325"/>
                  </a:lnTo>
                  <a:lnTo>
                    <a:pt x="238" y="323"/>
                  </a:lnTo>
                  <a:lnTo>
                    <a:pt x="238" y="323"/>
                  </a:lnTo>
                  <a:lnTo>
                    <a:pt x="236" y="323"/>
                  </a:lnTo>
                  <a:lnTo>
                    <a:pt x="236" y="323"/>
                  </a:lnTo>
                  <a:lnTo>
                    <a:pt x="236" y="323"/>
                  </a:lnTo>
                  <a:lnTo>
                    <a:pt x="236" y="323"/>
                  </a:lnTo>
                  <a:lnTo>
                    <a:pt x="236" y="323"/>
                  </a:lnTo>
                  <a:lnTo>
                    <a:pt x="235" y="325"/>
                  </a:lnTo>
                  <a:lnTo>
                    <a:pt x="235" y="325"/>
                  </a:lnTo>
                  <a:lnTo>
                    <a:pt x="235" y="325"/>
                  </a:lnTo>
                  <a:lnTo>
                    <a:pt x="236" y="325"/>
                  </a:lnTo>
                  <a:lnTo>
                    <a:pt x="235" y="325"/>
                  </a:lnTo>
                  <a:lnTo>
                    <a:pt x="235" y="327"/>
                  </a:lnTo>
                  <a:lnTo>
                    <a:pt x="235" y="327"/>
                  </a:lnTo>
                  <a:lnTo>
                    <a:pt x="235" y="327"/>
                  </a:lnTo>
                  <a:lnTo>
                    <a:pt x="235" y="328"/>
                  </a:lnTo>
                  <a:lnTo>
                    <a:pt x="235" y="328"/>
                  </a:lnTo>
                  <a:lnTo>
                    <a:pt x="236" y="328"/>
                  </a:lnTo>
                  <a:lnTo>
                    <a:pt x="244" y="328"/>
                  </a:lnTo>
                  <a:lnTo>
                    <a:pt x="246" y="327"/>
                  </a:lnTo>
                  <a:lnTo>
                    <a:pt x="246" y="327"/>
                  </a:lnTo>
                  <a:lnTo>
                    <a:pt x="246" y="327"/>
                  </a:lnTo>
                  <a:lnTo>
                    <a:pt x="246" y="323"/>
                  </a:lnTo>
                  <a:lnTo>
                    <a:pt x="246" y="323"/>
                  </a:lnTo>
                  <a:lnTo>
                    <a:pt x="246" y="321"/>
                  </a:lnTo>
                  <a:close/>
                  <a:moveTo>
                    <a:pt x="251" y="323"/>
                  </a:moveTo>
                  <a:lnTo>
                    <a:pt x="251" y="323"/>
                  </a:lnTo>
                  <a:lnTo>
                    <a:pt x="253" y="321"/>
                  </a:lnTo>
                  <a:lnTo>
                    <a:pt x="253" y="321"/>
                  </a:lnTo>
                  <a:lnTo>
                    <a:pt x="251" y="321"/>
                  </a:lnTo>
                  <a:lnTo>
                    <a:pt x="251" y="321"/>
                  </a:lnTo>
                  <a:lnTo>
                    <a:pt x="251" y="319"/>
                  </a:lnTo>
                  <a:lnTo>
                    <a:pt x="251" y="319"/>
                  </a:lnTo>
                  <a:lnTo>
                    <a:pt x="249" y="319"/>
                  </a:lnTo>
                  <a:lnTo>
                    <a:pt x="249" y="321"/>
                  </a:lnTo>
                  <a:lnTo>
                    <a:pt x="251" y="323"/>
                  </a:lnTo>
                  <a:lnTo>
                    <a:pt x="251" y="323"/>
                  </a:lnTo>
                  <a:close/>
                  <a:moveTo>
                    <a:pt x="283" y="325"/>
                  </a:moveTo>
                  <a:lnTo>
                    <a:pt x="282" y="325"/>
                  </a:lnTo>
                  <a:lnTo>
                    <a:pt x="282" y="325"/>
                  </a:lnTo>
                  <a:lnTo>
                    <a:pt x="285" y="328"/>
                  </a:lnTo>
                  <a:lnTo>
                    <a:pt x="287" y="328"/>
                  </a:lnTo>
                  <a:lnTo>
                    <a:pt x="289" y="327"/>
                  </a:lnTo>
                  <a:lnTo>
                    <a:pt x="289" y="327"/>
                  </a:lnTo>
                  <a:lnTo>
                    <a:pt x="289" y="327"/>
                  </a:lnTo>
                  <a:lnTo>
                    <a:pt x="289" y="325"/>
                  </a:lnTo>
                  <a:lnTo>
                    <a:pt x="289" y="325"/>
                  </a:lnTo>
                  <a:lnTo>
                    <a:pt x="289" y="325"/>
                  </a:lnTo>
                  <a:lnTo>
                    <a:pt x="289" y="325"/>
                  </a:lnTo>
                  <a:lnTo>
                    <a:pt x="287" y="323"/>
                  </a:lnTo>
                  <a:lnTo>
                    <a:pt x="287" y="323"/>
                  </a:lnTo>
                  <a:lnTo>
                    <a:pt x="287" y="323"/>
                  </a:lnTo>
                  <a:lnTo>
                    <a:pt x="285" y="323"/>
                  </a:lnTo>
                  <a:lnTo>
                    <a:pt x="285" y="321"/>
                  </a:lnTo>
                  <a:lnTo>
                    <a:pt x="283" y="319"/>
                  </a:lnTo>
                  <a:lnTo>
                    <a:pt x="282" y="321"/>
                  </a:lnTo>
                  <a:lnTo>
                    <a:pt x="282" y="321"/>
                  </a:lnTo>
                  <a:lnTo>
                    <a:pt x="282" y="323"/>
                  </a:lnTo>
                  <a:lnTo>
                    <a:pt x="282" y="323"/>
                  </a:lnTo>
                  <a:lnTo>
                    <a:pt x="282" y="325"/>
                  </a:lnTo>
                  <a:lnTo>
                    <a:pt x="282" y="325"/>
                  </a:lnTo>
                  <a:lnTo>
                    <a:pt x="283" y="325"/>
                  </a:lnTo>
                  <a:lnTo>
                    <a:pt x="283" y="325"/>
                  </a:lnTo>
                  <a:lnTo>
                    <a:pt x="283" y="325"/>
                  </a:lnTo>
                  <a:close/>
                  <a:moveTo>
                    <a:pt x="105" y="319"/>
                  </a:moveTo>
                  <a:lnTo>
                    <a:pt x="105" y="319"/>
                  </a:lnTo>
                  <a:lnTo>
                    <a:pt x="105" y="319"/>
                  </a:lnTo>
                  <a:lnTo>
                    <a:pt x="103" y="319"/>
                  </a:lnTo>
                  <a:lnTo>
                    <a:pt x="103" y="321"/>
                  </a:lnTo>
                  <a:lnTo>
                    <a:pt x="103" y="323"/>
                  </a:lnTo>
                  <a:lnTo>
                    <a:pt x="103" y="323"/>
                  </a:lnTo>
                  <a:lnTo>
                    <a:pt x="105" y="321"/>
                  </a:lnTo>
                  <a:lnTo>
                    <a:pt x="105" y="321"/>
                  </a:lnTo>
                  <a:lnTo>
                    <a:pt x="105" y="321"/>
                  </a:lnTo>
                  <a:lnTo>
                    <a:pt x="105" y="321"/>
                  </a:lnTo>
                  <a:lnTo>
                    <a:pt x="105" y="321"/>
                  </a:lnTo>
                  <a:lnTo>
                    <a:pt x="105" y="321"/>
                  </a:lnTo>
                  <a:lnTo>
                    <a:pt x="105" y="319"/>
                  </a:lnTo>
                  <a:lnTo>
                    <a:pt x="105" y="319"/>
                  </a:lnTo>
                  <a:lnTo>
                    <a:pt x="105" y="319"/>
                  </a:lnTo>
                  <a:close/>
                  <a:moveTo>
                    <a:pt x="213" y="318"/>
                  </a:moveTo>
                  <a:lnTo>
                    <a:pt x="213" y="318"/>
                  </a:lnTo>
                  <a:lnTo>
                    <a:pt x="213" y="318"/>
                  </a:lnTo>
                  <a:lnTo>
                    <a:pt x="213" y="318"/>
                  </a:lnTo>
                  <a:lnTo>
                    <a:pt x="213" y="318"/>
                  </a:lnTo>
                  <a:lnTo>
                    <a:pt x="213" y="318"/>
                  </a:lnTo>
                  <a:lnTo>
                    <a:pt x="213" y="318"/>
                  </a:lnTo>
                  <a:close/>
                  <a:moveTo>
                    <a:pt x="247" y="321"/>
                  </a:moveTo>
                  <a:lnTo>
                    <a:pt x="249" y="318"/>
                  </a:lnTo>
                  <a:lnTo>
                    <a:pt x="249" y="318"/>
                  </a:lnTo>
                  <a:lnTo>
                    <a:pt x="249" y="318"/>
                  </a:lnTo>
                  <a:lnTo>
                    <a:pt x="249" y="318"/>
                  </a:lnTo>
                  <a:lnTo>
                    <a:pt x="249" y="318"/>
                  </a:lnTo>
                  <a:lnTo>
                    <a:pt x="249" y="318"/>
                  </a:lnTo>
                  <a:lnTo>
                    <a:pt x="249" y="318"/>
                  </a:lnTo>
                  <a:lnTo>
                    <a:pt x="249" y="318"/>
                  </a:lnTo>
                  <a:lnTo>
                    <a:pt x="247" y="318"/>
                  </a:lnTo>
                  <a:lnTo>
                    <a:pt x="247" y="318"/>
                  </a:lnTo>
                  <a:lnTo>
                    <a:pt x="247" y="318"/>
                  </a:lnTo>
                  <a:lnTo>
                    <a:pt x="247" y="318"/>
                  </a:lnTo>
                  <a:lnTo>
                    <a:pt x="246" y="318"/>
                  </a:lnTo>
                  <a:lnTo>
                    <a:pt x="246" y="318"/>
                  </a:lnTo>
                  <a:lnTo>
                    <a:pt x="246" y="318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6" y="319"/>
                  </a:lnTo>
                  <a:lnTo>
                    <a:pt x="246" y="321"/>
                  </a:lnTo>
                  <a:lnTo>
                    <a:pt x="247" y="321"/>
                  </a:lnTo>
                  <a:lnTo>
                    <a:pt x="247" y="321"/>
                  </a:lnTo>
                  <a:close/>
                  <a:moveTo>
                    <a:pt x="292" y="316"/>
                  </a:moveTo>
                  <a:lnTo>
                    <a:pt x="291" y="316"/>
                  </a:lnTo>
                  <a:lnTo>
                    <a:pt x="291" y="318"/>
                  </a:lnTo>
                  <a:lnTo>
                    <a:pt x="291" y="318"/>
                  </a:lnTo>
                  <a:lnTo>
                    <a:pt x="291" y="318"/>
                  </a:lnTo>
                  <a:lnTo>
                    <a:pt x="292" y="318"/>
                  </a:lnTo>
                  <a:lnTo>
                    <a:pt x="292" y="318"/>
                  </a:lnTo>
                  <a:lnTo>
                    <a:pt x="292" y="316"/>
                  </a:lnTo>
                  <a:lnTo>
                    <a:pt x="292" y="316"/>
                  </a:lnTo>
                  <a:lnTo>
                    <a:pt x="292" y="316"/>
                  </a:lnTo>
                  <a:lnTo>
                    <a:pt x="292" y="316"/>
                  </a:lnTo>
                  <a:lnTo>
                    <a:pt x="292" y="316"/>
                  </a:lnTo>
                  <a:close/>
                  <a:moveTo>
                    <a:pt x="374" y="323"/>
                  </a:moveTo>
                  <a:lnTo>
                    <a:pt x="376" y="321"/>
                  </a:lnTo>
                  <a:lnTo>
                    <a:pt x="379" y="319"/>
                  </a:lnTo>
                  <a:lnTo>
                    <a:pt x="379" y="318"/>
                  </a:lnTo>
                  <a:lnTo>
                    <a:pt x="385" y="316"/>
                  </a:lnTo>
                  <a:lnTo>
                    <a:pt x="386" y="316"/>
                  </a:lnTo>
                  <a:lnTo>
                    <a:pt x="386" y="314"/>
                  </a:lnTo>
                  <a:lnTo>
                    <a:pt x="383" y="314"/>
                  </a:lnTo>
                  <a:lnTo>
                    <a:pt x="383" y="312"/>
                  </a:lnTo>
                  <a:lnTo>
                    <a:pt x="383" y="314"/>
                  </a:lnTo>
                  <a:lnTo>
                    <a:pt x="377" y="314"/>
                  </a:lnTo>
                  <a:lnTo>
                    <a:pt x="372" y="318"/>
                  </a:lnTo>
                  <a:lnTo>
                    <a:pt x="372" y="318"/>
                  </a:lnTo>
                  <a:lnTo>
                    <a:pt x="370" y="319"/>
                  </a:lnTo>
                  <a:lnTo>
                    <a:pt x="368" y="321"/>
                  </a:lnTo>
                  <a:lnTo>
                    <a:pt x="368" y="321"/>
                  </a:lnTo>
                  <a:lnTo>
                    <a:pt x="368" y="321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7" y="321"/>
                  </a:lnTo>
                  <a:lnTo>
                    <a:pt x="365" y="321"/>
                  </a:lnTo>
                  <a:lnTo>
                    <a:pt x="365" y="323"/>
                  </a:lnTo>
                  <a:lnTo>
                    <a:pt x="365" y="325"/>
                  </a:lnTo>
                  <a:lnTo>
                    <a:pt x="365" y="325"/>
                  </a:lnTo>
                  <a:lnTo>
                    <a:pt x="367" y="327"/>
                  </a:lnTo>
                  <a:lnTo>
                    <a:pt x="367" y="327"/>
                  </a:lnTo>
                  <a:lnTo>
                    <a:pt x="368" y="327"/>
                  </a:lnTo>
                  <a:lnTo>
                    <a:pt x="367" y="327"/>
                  </a:lnTo>
                  <a:lnTo>
                    <a:pt x="367" y="325"/>
                  </a:lnTo>
                  <a:lnTo>
                    <a:pt x="368" y="325"/>
                  </a:lnTo>
                  <a:lnTo>
                    <a:pt x="368" y="325"/>
                  </a:lnTo>
                  <a:lnTo>
                    <a:pt x="368" y="323"/>
                  </a:lnTo>
                  <a:lnTo>
                    <a:pt x="368" y="323"/>
                  </a:lnTo>
                  <a:lnTo>
                    <a:pt x="372" y="321"/>
                  </a:lnTo>
                  <a:lnTo>
                    <a:pt x="372" y="321"/>
                  </a:lnTo>
                  <a:lnTo>
                    <a:pt x="374" y="321"/>
                  </a:lnTo>
                  <a:lnTo>
                    <a:pt x="374" y="323"/>
                  </a:lnTo>
                  <a:close/>
                  <a:moveTo>
                    <a:pt x="301" y="314"/>
                  </a:moveTo>
                  <a:lnTo>
                    <a:pt x="303" y="314"/>
                  </a:lnTo>
                  <a:lnTo>
                    <a:pt x="303" y="314"/>
                  </a:lnTo>
                  <a:lnTo>
                    <a:pt x="301" y="312"/>
                  </a:lnTo>
                  <a:lnTo>
                    <a:pt x="301" y="312"/>
                  </a:lnTo>
                  <a:lnTo>
                    <a:pt x="301" y="314"/>
                  </a:lnTo>
                  <a:lnTo>
                    <a:pt x="300" y="314"/>
                  </a:lnTo>
                  <a:lnTo>
                    <a:pt x="300" y="314"/>
                  </a:lnTo>
                  <a:lnTo>
                    <a:pt x="300" y="314"/>
                  </a:lnTo>
                  <a:lnTo>
                    <a:pt x="300" y="314"/>
                  </a:lnTo>
                  <a:lnTo>
                    <a:pt x="301" y="314"/>
                  </a:lnTo>
                  <a:close/>
                  <a:moveTo>
                    <a:pt x="191" y="312"/>
                  </a:moveTo>
                  <a:lnTo>
                    <a:pt x="191" y="312"/>
                  </a:lnTo>
                  <a:lnTo>
                    <a:pt x="191" y="312"/>
                  </a:lnTo>
                  <a:lnTo>
                    <a:pt x="191" y="312"/>
                  </a:lnTo>
                  <a:lnTo>
                    <a:pt x="191" y="312"/>
                  </a:lnTo>
                  <a:lnTo>
                    <a:pt x="191" y="312"/>
                  </a:lnTo>
                  <a:lnTo>
                    <a:pt x="191" y="312"/>
                  </a:lnTo>
                  <a:lnTo>
                    <a:pt x="191" y="312"/>
                  </a:lnTo>
                  <a:lnTo>
                    <a:pt x="191" y="314"/>
                  </a:lnTo>
                  <a:lnTo>
                    <a:pt x="191" y="312"/>
                  </a:lnTo>
                  <a:lnTo>
                    <a:pt x="191" y="312"/>
                  </a:lnTo>
                  <a:lnTo>
                    <a:pt x="191" y="312"/>
                  </a:lnTo>
                  <a:close/>
                  <a:moveTo>
                    <a:pt x="314" y="319"/>
                  </a:moveTo>
                  <a:lnTo>
                    <a:pt x="314" y="318"/>
                  </a:lnTo>
                  <a:lnTo>
                    <a:pt x="316" y="316"/>
                  </a:lnTo>
                  <a:lnTo>
                    <a:pt x="316" y="316"/>
                  </a:lnTo>
                  <a:lnTo>
                    <a:pt x="318" y="314"/>
                  </a:lnTo>
                  <a:lnTo>
                    <a:pt x="320" y="314"/>
                  </a:lnTo>
                  <a:lnTo>
                    <a:pt x="320" y="314"/>
                  </a:lnTo>
                  <a:lnTo>
                    <a:pt x="320" y="314"/>
                  </a:lnTo>
                  <a:lnTo>
                    <a:pt x="321" y="314"/>
                  </a:lnTo>
                  <a:lnTo>
                    <a:pt x="321" y="314"/>
                  </a:lnTo>
                  <a:lnTo>
                    <a:pt x="323" y="314"/>
                  </a:lnTo>
                  <a:lnTo>
                    <a:pt x="323" y="314"/>
                  </a:lnTo>
                  <a:lnTo>
                    <a:pt x="323" y="314"/>
                  </a:lnTo>
                  <a:lnTo>
                    <a:pt x="323" y="314"/>
                  </a:lnTo>
                  <a:lnTo>
                    <a:pt x="321" y="314"/>
                  </a:lnTo>
                  <a:lnTo>
                    <a:pt x="321" y="312"/>
                  </a:lnTo>
                  <a:lnTo>
                    <a:pt x="320" y="312"/>
                  </a:lnTo>
                  <a:lnTo>
                    <a:pt x="320" y="310"/>
                  </a:lnTo>
                  <a:lnTo>
                    <a:pt x="320" y="310"/>
                  </a:lnTo>
                  <a:lnTo>
                    <a:pt x="318" y="312"/>
                  </a:lnTo>
                  <a:lnTo>
                    <a:pt x="318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18" y="312"/>
                  </a:lnTo>
                  <a:lnTo>
                    <a:pt x="318" y="312"/>
                  </a:lnTo>
                  <a:lnTo>
                    <a:pt x="318" y="314"/>
                  </a:lnTo>
                  <a:lnTo>
                    <a:pt x="318" y="314"/>
                  </a:lnTo>
                  <a:lnTo>
                    <a:pt x="312" y="316"/>
                  </a:lnTo>
                  <a:lnTo>
                    <a:pt x="311" y="316"/>
                  </a:lnTo>
                  <a:lnTo>
                    <a:pt x="311" y="318"/>
                  </a:lnTo>
                  <a:lnTo>
                    <a:pt x="311" y="318"/>
                  </a:lnTo>
                  <a:lnTo>
                    <a:pt x="311" y="318"/>
                  </a:lnTo>
                  <a:lnTo>
                    <a:pt x="312" y="318"/>
                  </a:lnTo>
                  <a:lnTo>
                    <a:pt x="311" y="319"/>
                  </a:lnTo>
                  <a:lnTo>
                    <a:pt x="311" y="319"/>
                  </a:lnTo>
                  <a:lnTo>
                    <a:pt x="311" y="319"/>
                  </a:lnTo>
                  <a:lnTo>
                    <a:pt x="309" y="319"/>
                  </a:lnTo>
                  <a:lnTo>
                    <a:pt x="309" y="319"/>
                  </a:lnTo>
                  <a:lnTo>
                    <a:pt x="309" y="319"/>
                  </a:lnTo>
                  <a:lnTo>
                    <a:pt x="309" y="319"/>
                  </a:lnTo>
                  <a:lnTo>
                    <a:pt x="307" y="319"/>
                  </a:lnTo>
                  <a:lnTo>
                    <a:pt x="307" y="319"/>
                  </a:lnTo>
                  <a:lnTo>
                    <a:pt x="307" y="321"/>
                  </a:lnTo>
                  <a:lnTo>
                    <a:pt x="305" y="319"/>
                  </a:lnTo>
                  <a:lnTo>
                    <a:pt x="307" y="321"/>
                  </a:lnTo>
                  <a:lnTo>
                    <a:pt x="309" y="321"/>
                  </a:lnTo>
                  <a:lnTo>
                    <a:pt x="312" y="319"/>
                  </a:lnTo>
                  <a:lnTo>
                    <a:pt x="314" y="319"/>
                  </a:lnTo>
                  <a:close/>
                  <a:moveTo>
                    <a:pt x="271" y="309"/>
                  </a:moveTo>
                  <a:lnTo>
                    <a:pt x="273" y="310"/>
                  </a:lnTo>
                  <a:lnTo>
                    <a:pt x="273" y="310"/>
                  </a:lnTo>
                  <a:lnTo>
                    <a:pt x="273" y="309"/>
                  </a:lnTo>
                  <a:lnTo>
                    <a:pt x="273" y="309"/>
                  </a:lnTo>
                  <a:lnTo>
                    <a:pt x="273" y="309"/>
                  </a:lnTo>
                  <a:lnTo>
                    <a:pt x="273" y="309"/>
                  </a:lnTo>
                  <a:lnTo>
                    <a:pt x="273" y="305"/>
                  </a:lnTo>
                  <a:lnTo>
                    <a:pt x="273" y="305"/>
                  </a:lnTo>
                  <a:lnTo>
                    <a:pt x="271" y="305"/>
                  </a:lnTo>
                  <a:lnTo>
                    <a:pt x="271" y="305"/>
                  </a:lnTo>
                  <a:lnTo>
                    <a:pt x="271" y="307"/>
                  </a:lnTo>
                  <a:lnTo>
                    <a:pt x="271" y="309"/>
                  </a:lnTo>
                  <a:lnTo>
                    <a:pt x="271" y="309"/>
                  </a:lnTo>
                  <a:close/>
                  <a:moveTo>
                    <a:pt x="253" y="309"/>
                  </a:moveTo>
                  <a:lnTo>
                    <a:pt x="253" y="310"/>
                  </a:lnTo>
                  <a:lnTo>
                    <a:pt x="253" y="312"/>
                  </a:lnTo>
                  <a:lnTo>
                    <a:pt x="255" y="314"/>
                  </a:lnTo>
                  <a:lnTo>
                    <a:pt x="256" y="310"/>
                  </a:lnTo>
                  <a:lnTo>
                    <a:pt x="256" y="310"/>
                  </a:lnTo>
                  <a:lnTo>
                    <a:pt x="256" y="310"/>
                  </a:lnTo>
                  <a:lnTo>
                    <a:pt x="256" y="310"/>
                  </a:lnTo>
                  <a:lnTo>
                    <a:pt x="256" y="310"/>
                  </a:lnTo>
                  <a:lnTo>
                    <a:pt x="256" y="309"/>
                  </a:lnTo>
                  <a:lnTo>
                    <a:pt x="255" y="307"/>
                  </a:lnTo>
                  <a:lnTo>
                    <a:pt x="255" y="305"/>
                  </a:lnTo>
                  <a:lnTo>
                    <a:pt x="253" y="305"/>
                  </a:lnTo>
                  <a:lnTo>
                    <a:pt x="253" y="305"/>
                  </a:lnTo>
                  <a:lnTo>
                    <a:pt x="253" y="305"/>
                  </a:lnTo>
                  <a:lnTo>
                    <a:pt x="251" y="305"/>
                  </a:lnTo>
                  <a:lnTo>
                    <a:pt x="251" y="305"/>
                  </a:lnTo>
                  <a:lnTo>
                    <a:pt x="251" y="305"/>
                  </a:lnTo>
                  <a:lnTo>
                    <a:pt x="251" y="305"/>
                  </a:lnTo>
                  <a:lnTo>
                    <a:pt x="251" y="305"/>
                  </a:lnTo>
                  <a:lnTo>
                    <a:pt x="251" y="305"/>
                  </a:lnTo>
                  <a:lnTo>
                    <a:pt x="251" y="305"/>
                  </a:lnTo>
                  <a:lnTo>
                    <a:pt x="251" y="305"/>
                  </a:lnTo>
                  <a:lnTo>
                    <a:pt x="251" y="305"/>
                  </a:lnTo>
                  <a:lnTo>
                    <a:pt x="251" y="305"/>
                  </a:lnTo>
                  <a:lnTo>
                    <a:pt x="253" y="307"/>
                  </a:lnTo>
                  <a:lnTo>
                    <a:pt x="253" y="307"/>
                  </a:lnTo>
                  <a:lnTo>
                    <a:pt x="253" y="307"/>
                  </a:lnTo>
                  <a:lnTo>
                    <a:pt x="253" y="309"/>
                  </a:lnTo>
                  <a:close/>
                  <a:moveTo>
                    <a:pt x="365" y="310"/>
                  </a:moveTo>
                  <a:lnTo>
                    <a:pt x="365" y="310"/>
                  </a:lnTo>
                  <a:lnTo>
                    <a:pt x="365" y="310"/>
                  </a:lnTo>
                  <a:lnTo>
                    <a:pt x="365" y="310"/>
                  </a:lnTo>
                  <a:lnTo>
                    <a:pt x="367" y="310"/>
                  </a:lnTo>
                  <a:lnTo>
                    <a:pt x="367" y="312"/>
                  </a:lnTo>
                  <a:lnTo>
                    <a:pt x="367" y="312"/>
                  </a:lnTo>
                  <a:lnTo>
                    <a:pt x="367" y="312"/>
                  </a:lnTo>
                  <a:lnTo>
                    <a:pt x="367" y="312"/>
                  </a:lnTo>
                  <a:lnTo>
                    <a:pt x="368" y="312"/>
                  </a:lnTo>
                  <a:lnTo>
                    <a:pt x="368" y="312"/>
                  </a:lnTo>
                  <a:lnTo>
                    <a:pt x="368" y="310"/>
                  </a:lnTo>
                  <a:lnTo>
                    <a:pt x="368" y="310"/>
                  </a:lnTo>
                  <a:lnTo>
                    <a:pt x="368" y="310"/>
                  </a:lnTo>
                  <a:lnTo>
                    <a:pt x="370" y="310"/>
                  </a:lnTo>
                  <a:lnTo>
                    <a:pt x="370" y="310"/>
                  </a:lnTo>
                  <a:lnTo>
                    <a:pt x="372" y="310"/>
                  </a:lnTo>
                  <a:lnTo>
                    <a:pt x="370" y="310"/>
                  </a:lnTo>
                  <a:lnTo>
                    <a:pt x="370" y="310"/>
                  </a:lnTo>
                  <a:lnTo>
                    <a:pt x="370" y="310"/>
                  </a:lnTo>
                  <a:lnTo>
                    <a:pt x="370" y="310"/>
                  </a:lnTo>
                  <a:lnTo>
                    <a:pt x="370" y="310"/>
                  </a:lnTo>
                  <a:lnTo>
                    <a:pt x="370" y="309"/>
                  </a:lnTo>
                  <a:lnTo>
                    <a:pt x="370" y="309"/>
                  </a:lnTo>
                  <a:lnTo>
                    <a:pt x="372" y="307"/>
                  </a:lnTo>
                  <a:lnTo>
                    <a:pt x="370" y="307"/>
                  </a:lnTo>
                  <a:lnTo>
                    <a:pt x="370" y="307"/>
                  </a:lnTo>
                  <a:lnTo>
                    <a:pt x="370" y="307"/>
                  </a:lnTo>
                  <a:lnTo>
                    <a:pt x="370" y="307"/>
                  </a:lnTo>
                  <a:lnTo>
                    <a:pt x="368" y="307"/>
                  </a:lnTo>
                  <a:lnTo>
                    <a:pt x="368" y="307"/>
                  </a:lnTo>
                  <a:lnTo>
                    <a:pt x="368" y="305"/>
                  </a:lnTo>
                  <a:lnTo>
                    <a:pt x="368" y="305"/>
                  </a:lnTo>
                  <a:lnTo>
                    <a:pt x="368" y="305"/>
                  </a:lnTo>
                  <a:lnTo>
                    <a:pt x="368" y="305"/>
                  </a:lnTo>
                  <a:lnTo>
                    <a:pt x="368" y="305"/>
                  </a:lnTo>
                  <a:lnTo>
                    <a:pt x="365" y="303"/>
                  </a:lnTo>
                  <a:lnTo>
                    <a:pt x="363" y="301"/>
                  </a:lnTo>
                  <a:lnTo>
                    <a:pt x="363" y="303"/>
                  </a:lnTo>
                  <a:lnTo>
                    <a:pt x="363" y="303"/>
                  </a:lnTo>
                  <a:lnTo>
                    <a:pt x="363" y="303"/>
                  </a:lnTo>
                  <a:lnTo>
                    <a:pt x="365" y="303"/>
                  </a:lnTo>
                  <a:lnTo>
                    <a:pt x="365" y="305"/>
                  </a:lnTo>
                  <a:lnTo>
                    <a:pt x="365" y="305"/>
                  </a:lnTo>
                  <a:lnTo>
                    <a:pt x="365" y="305"/>
                  </a:lnTo>
                  <a:lnTo>
                    <a:pt x="365" y="305"/>
                  </a:lnTo>
                  <a:lnTo>
                    <a:pt x="365" y="305"/>
                  </a:lnTo>
                  <a:lnTo>
                    <a:pt x="367" y="305"/>
                  </a:lnTo>
                  <a:lnTo>
                    <a:pt x="367" y="305"/>
                  </a:lnTo>
                  <a:lnTo>
                    <a:pt x="367" y="305"/>
                  </a:lnTo>
                  <a:lnTo>
                    <a:pt x="367" y="305"/>
                  </a:lnTo>
                  <a:lnTo>
                    <a:pt x="367" y="307"/>
                  </a:lnTo>
                  <a:lnTo>
                    <a:pt x="367" y="307"/>
                  </a:lnTo>
                  <a:lnTo>
                    <a:pt x="367" y="307"/>
                  </a:lnTo>
                  <a:lnTo>
                    <a:pt x="365" y="307"/>
                  </a:lnTo>
                  <a:lnTo>
                    <a:pt x="365" y="309"/>
                  </a:lnTo>
                  <a:lnTo>
                    <a:pt x="365" y="309"/>
                  </a:lnTo>
                  <a:lnTo>
                    <a:pt x="365" y="310"/>
                  </a:lnTo>
                  <a:lnTo>
                    <a:pt x="365" y="310"/>
                  </a:lnTo>
                  <a:close/>
                  <a:moveTo>
                    <a:pt x="311" y="298"/>
                  </a:moveTo>
                  <a:lnTo>
                    <a:pt x="309" y="299"/>
                  </a:lnTo>
                  <a:lnTo>
                    <a:pt x="309" y="299"/>
                  </a:lnTo>
                  <a:lnTo>
                    <a:pt x="307" y="299"/>
                  </a:lnTo>
                  <a:lnTo>
                    <a:pt x="309" y="301"/>
                  </a:lnTo>
                  <a:lnTo>
                    <a:pt x="309" y="301"/>
                  </a:lnTo>
                  <a:lnTo>
                    <a:pt x="309" y="301"/>
                  </a:lnTo>
                  <a:lnTo>
                    <a:pt x="309" y="301"/>
                  </a:lnTo>
                  <a:lnTo>
                    <a:pt x="309" y="301"/>
                  </a:lnTo>
                  <a:lnTo>
                    <a:pt x="311" y="301"/>
                  </a:lnTo>
                  <a:lnTo>
                    <a:pt x="311" y="301"/>
                  </a:lnTo>
                  <a:lnTo>
                    <a:pt x="311" y="301"/>
                  </a:lnTo>
                  <a:lnTo>
                    <a:pt x="311" y="299"/>
                  </a:lnTo>
                  <a:lnTo>
                    <a:pt x="311" y="299"/>
                  </a:lnTo>
                  <a:lnTo>
                    <a:pt x="311" y="299"/>
                  </a:lnTo>
                  <a:lnTo>
                    <a:pt x="311" y="299"/>
                  </a:lnTo>
                  <a:lnTo>
                    <a:pt x="311" y="298"/>
                  </a:lnTo>
                  <a:close/>
                  <a:moveTo>
                    <a:pt x="280" y="309"/>
                  </a:moveTo>
                  <a:lnTo>
                    <a:pt x="280" y="307"/>
                  </a:lnTo>
                  <a:lnTo>
                    <a:pt x="282" y="307"/>
                  </a:lnTo>
                  <a:lnTo>
                    <a:pt x="282" y="305"/>
                  </a:lnTo>
                  <a:lnTo>
                    <a:pt x="282" y="305"/>
                  </a:lnTo>
                  <a:lnTo>
                    <a:pt x="282" y="305"/>
                  </a:lnTo>
                  <a:lnTo>
                    <a:pt x="282" y="305"/>
                  </a:lnTo>
                  <a:lnTo>
                    <a:pt x="283" y="305"/>
                  </a:lnTo>
                  <a:lnTo>
                    <a:pt x="283" y="303"/>
                  </a:lnTo>
                  <a:lnTo>
                    <a:pt x="282" y="303"/>
                  </a:lnTo>
                  <a:lnTo>
                    <a:pt x="282" y="303"/>
                  </a:lnTo>
                  <a:lnTo>
                    <a:pt x="283" y="303"/>
                  </a:lnTo>
                  <a:lnTo>
                    <a:pt x="283" y="303"/>
                  </a:lnTo>
                  <a:lnTo>
                    <a:pt x="282" y="303"/>
                  </a:lnTo>
                  <a:lnTo>
                    <a:pt x="282" y="301"/>
                  </a:lnTo>
                  <a:lnTo>
                    <a:pt x="283" y="299"/>
                  </a:lnTo>
                  <a:lnTo>
                    <a:pt x="283" y="299"/>
                  </a:lnTo>
                  <a:lnTo>
                    <a:pt x="283" y="299"/>
                  </a:lnTo>
                  <a:lnTo>
                    <a:pt x="283" y="298"/>
                  </a:lnTo>
                  <a:lnTo>
                    <a:pt x="283" y="298"/>
                  </a:lnTo>
                  <a:lnTo>
                    <a:pt x="283" y="298"/>
                  </a:lnTo>
                  <a:lnTo>
                    <a:pt x="282" y="298"/>
                  </a:lnTo>
                  <a:lnTo>
                    <a:pt x="282" y="298"/>
                  </a:lnTo>
                  <a:lnTo>
                    <a:pt x="282" y="298"/>
                  </a:lnTo>
                  <a:lnTo>
                    <a:pt x="282" y="299"/>
                  </a:lnTo>
                  <a:lnTo>
                    <a:pt x="280" y="299"/>
                  </a:lnTo>
                  <a:lnTo>
                    <a:pt x="280" y="299"/>
                  </a:lnTo>
                  <a:lnTo>
                    <a:pt x="280" y="298"/>
                  </a:lnTo>
                  <a:lnTo>
                    <a:pt x="280" y="298"/>
                  </a:lnTo>
                  <a:lnTo>
                    <a:pt x="278" y="299"/>
                  </a:lnTo>
                  <a:lnTo>
                    <a:pt x="276" y="299"/>
                  </a:lnTo>
                  <a:lnTo>
                    <a:pt x="276" y="301"/>
                  </a:lnTo>
                  <a:lnTo>
                    <a:pt x="276" y="301"/>
                  </a:lnTo>
                  <a:lnTo>
                    <a:pt x="276" y="301"/>
                  </a:lnTo>
                  <a:lnTo>
                    <a:pt x="276" y="301"/>
                  </a:lnTo>
                  <a:lnTo>
                    <a:pt x="274" y="303"/>
                  </a:lnTo>
                  <a:lnTo>
                    <a:pt x="274" y="303"/>
                  </a:lnTo>
                  <a:lnTo>
                    <a:pt x="274" y="305"/>
                  </a:lnTo>
                  <a:lnTo>
                    <a:pt x="274" y="307"/>
                  </a:lnTo>
                  <a:lnTo>
                    <a:pt x="274" y="307"/>
                  </a:lnTo>
                  <a:lnTo>
                    <a:pt x="274" y="307"/>
                  </a:lnTo>
                  <a:lnTo>
                    <a:pt x="276" y="309"/>
                  </a:lnTo>
                  <a:lnTo>
                    <a:pt x="276" y="309"/>
                  </a:lnTo>
                  <a:lnTo>
                    <a:pt x="278" y="309"/>
                  </a:lnTo>
                  <a:lnTo>
                    <a:pt x="280" y="309"/>
                  </a:lnTo>
                  <a:close/>
                  <a:moveTo>
                    <a:pt x="361" y="299"/>
                  </a:moveTo>
                  <a:lnTo>
                    <a:pt x="361" y="301"/>
                  </a:lnTo>
                  <a:lnTo>
                    <a:pt x="361" y="301"/>
                  </a:lnTo>
                  <a:lnTo>
                    <a:pt x="361" y="301"/>
                  </a:lnTo>
                  <a:lnTo>
                    <a:pt x="363" y="301"/>
                  </a:lnTo>
                  <a:lnTo>
                    <a:pt x="363" y="301"/>
                  </a:lnTo>
                  <a:lnTo>
                    <a:pt x="363" y="301"/>
                  </a:lnTo>
                  <a:lnTo>
                    <a:pt x="363" y="301"/>
                  </a:lnTo>
                  <a:lnTo>
                    <a:pt x="363" y="301"/>
                  </a:lnTo>
                  <a:lnTo>
                    <a:pt x="363" y="299"/>
                  </a:lnTo>
                  <a:lnTo>
                    <a:pt x="363" y="299"/>
                  </a:lnTo>
                  <a:lnTo>
                    <a:pt x="363" y="299"/>
                  </a:lnTo>
                  <a:lnTo>
                    <a:pt x="363" y="298"/>
                  </a:lnTo>
                  <a:lnTo>
                    <a:pt x="363" y="298"/>
                  </a:lnTo>
                  <a:lnTo>
                    <a:pt x="361" y="298"/>
                  </a:lnTo>
                  <a:lnTo>
                    <a:pt x="361" y="298"/>
                  </a:lnTo>
                  <a:lnTo>
                    <a:pt x="361" y="296"/>
                  </a:lnTo>
                  <a:lnTo>
                    <a:pt x="361" y="296"/>
                  </a:lnTo>
                  <a:lnTo>
                    <a:pt x="361" y="296"/>
                  </a:lnTo>
                  <a:lnTo>
                    <a:pt x="361" y="296"/>
                  </a:lnTo>
                  <a:lnTo>
                    <a:pt x="361" y="296"/>
                  </a:lnTo>
                  <a:lnTo>
                    <a:pt x="361" y="296"/>
                  </a:lnTo>
                  <a:lnTo>
                    <a:pt x="359" y="296"/>
                  </a:lnTo>
                  <a:lnTo>
                    <a:pt x="359" y="296"/>
                  </a:lnTo>
                  <a:lnTo>
                    <a:pt x="359" y="294"/>
                  </a:lnTo>
                  <a:lnTo>
                    <a:pt x="359" y="294"/>
                  </a:lnTo>
                  <a:lnTo>
                    <a:pt x="359" y="294"/>
                  </a:lnTo>
                  <a:lnTo>
                    <a:pt x="359" y="296"/>
                  </a:lnTo>
                  <a:lnTo>
                    <a:pt x="359" y="296"/>
                  </a:lnTo>
                  <a:lnTo>
                    <a:pt x="357" y="296"/>
                  </a:lnTo>
                  <a:lnTo>
                    <a:pt x="357" y="296"/>
                  </a:lnTo>
                  <a:lnTo>
                    <a:pt x="357" y="296"/>
                  </a:lnTo>
                  <a:lnTo>
                    <a:pt x="357" y="298"/>
                  </a:lnTo>
                  <a:lnTo>
                    <a:pt x="359" y="298"/>
                  </a:lnTo>
                  <a:lnTo>
                    <a:pt x="359" y="298"/>
                  </a:lnTo>
                  <a:lnTo>
                    <a:pt x="359" y="298"/>
                  </a:lnTo>
                  <a:lnTo>
                    <a:pt x="359" y="298"/>
                  </a:lnTo>
                  <a:lnTo>
                    <a:pt x="359" y="299"/>
                  </a:lnTo>
                  <a:lnTo>
                    <a:pt x="359" y="299"/>
                  </a:lnTo>
                  <a:lnTo>
                    <a:pt x="361" y="299"/>
                  </a:lnTo>
                  <a:lnTo>
                    <a:pt x="361" y="299"/>
                  </a:lnTo>
                  <a:lnTo>
                    <a:pt x="361" y="299"/>
                  </a:lnTo>
                  <a:lnTo>
                    <a:pt x="361" y="299"/>
                  </a:lnTo>
                  <a:lnTo>
                    <a:pt x="361" y="299"/>
                  </a:lnTo>
                  <a:close/>
                  <a:moveTo>
                    <a:pt x="294" y="310"/>
                  </a:moveTo>
                  <a:lnTo>
                    <a:pt x="296" y="309"/>
                  </a:lnTo>
                  <a:lnTo>
                    <a:pt x="296" y="309"/>
                  </a:lnTo>
                  <a:lnTo>
                    <a:pt x="296" y="309"/>
                  </a:lnTo>
                  <a:lnTo>
                    <a:pt x="298" y="307"/>
                  </a:lnTo>
                  <a:lnTo>
                    <a:pt x="298" y="305"/>
                  </a:lnTo>
                  <a:lnTo>
                    <a:pt x="298" y="301"/>
                  </a:lnTo>
                  <a:lnTo>
                    <a:pt x="298" y="301"/>
                  </a:lnTo>
                  <a:lnTo>
                    <a:pt x="298" y="298"/>
                  </a:lnTo>
                  <a:lnTo>
                    <a:pt x="298" y="298"/>
                  </a:lnTo>
                  <a:lnTo>
                    <a:pt x="298" y="296"/>
                  </a:lnTo>
                  <a:lnTo>
                    <a:pt x="296" y="296"/>
                  </a:lnTo>
                  <a:lnTo>
                    <a:pt x="296" y="294"/>
                  </a:lnTo>
                  <a:lnTo>
                    <a:pt x="294" y="294"/>
                  </a:lnTo>
                  <a:lnTo>
                    <a:pt x="294" y="296"/>
                  </a:lnTo>
                  <a:lnTo>
                    <a:pt x="294" y="296"/>
                  </a:lnTo>
                  <a:lnTo>
                    <a:pt x="294" y="296"/>
                  </a:lnTo>
                  <a:lnTo>
                    <a:pt x="292" y="296"/>
                  </a:lnTo>
                  <a:lnTo>
                    <a:pt x="292" y="298"/>
                  </a:lnTo>
                  <a:lnTo>
                    <a:pt x="289" y="299"/>
                  </a:lnTo>
                  <a:lnTo>
                    <a:pt x="287" y="301"/>
                  </a:lnTo>
                  <a:lnTo>
                    <a:pt x="287" y="301"/>
                  </a:lnTo>
                  <a:lnTo>
                    <a:pt x="287" y="301"/>
                  </a:lnTo>
                  <a:lnTo>
                    <a:pt x="287" y="301"/>
                  </a:lnTo>
                  <a:lnTo>
                    <a:pt x="285" y="301"/>
                  </a:lnTo>
                  <a:lnTo>
                    <a:pt x="285" y="301"/>
                  </a:lnTo>
                  <a:lnTo>
                    <a:pt x="285" y="303"/>
                  </a:lnTo>
                  <a:lnTo>
                    <a:pt x="287" y="303"/>
                  </a:lnTo>
                  <a:lnTo>
                    <a:pt x="287" y="303"/>
                  </a:lnTo>
                  <a:lnTo>
                    <a:pt x="287" y="305"/>
                  </a:lnTo>
                  <a:lnTo>
                    <a:pt x="287" y="305"/>
                  </a:lnTo>
                  <a:lnTo>
                    <a:pt x="287" y="305"/>
                  </a:lnTo>
                  <a:lnTo>
                    <a:pt x="287" y="307"/>
                  </a:lnTo>
                  <a:lnTo>
                    <a:pt x="289" y="307"/>
                  </a:lnTo>
                  <a:lnTo>
                    <a:pt x="289" y="307"/>
                  </a:lnTo>
                  <a:lnTo>
                    <a:pt x="289" y="307"/>
                  </a:lnTo>
                  <a:lnTo>
                    <a:pt x="289" y="309"/>
                  </a:lnTo>
                  <a:lnTo>
                    <a:pt x="289" y="309"/>
                  </a:lnTo>
                  <a:lnTo>
                    <a:pt x="289" y="309"/>
                  </a:lnTo>
                  <a:lnTo>
                    <a:pt x="291" y="309"/>
                  </a:lnTo>
                  <a:lnTo>
                    <a:pt x="291" y="310"/>
                  </a:lnTo>
                  <a:lnTo>
                    <a:pt x="291" y="310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2" y="312"/>
                  </a:lnTo>
                  <a:lnTo>
                    <a:pt x="292" y="312"/>
                  </a:lnTo>
                  <a:lnTo>
                    <a:pt x="292" y="312"/>
                  </a:lnTo>
                  <a:lnTo>
                    <a:pt x="294" y="310"/>
                  </a:lnTo>
                  <a:close/>
                  <a:moveTo>
                    <a:pt x="246" y="299"/>
                  </a:moveTo>
                  <a:lnTo>
                    <a:pt x="246" y="298"/>
                  </a:lnTo>
                  <a:lnTo>
                    <a:pt x="246" y="296"/>
                  </a:lnTo>
                  <a:lnTo>
                    <a:pt x="246" y="296"/>
                  </a:lnTo>
                  <a:lnTo>
                    <a:pt x="246" y="294"/>
                  </a:lnTo>
                  <a:lnTo>
                    <a:pt x="246" y="294"/>
                  </a:lnTo>
                  <a:lnTo>
                    <a:pt x="244" y="294"/>
                  </a:lnTo>
                  <a:lnTo>
                    <a:pt x="244" y="294"/>
                  </a:lnTo>
                  <a:lnTo>
                    <a:pt x="244" y="294"/>
                  </a:lnTo>
                  <a:lnTo>
                    <a:pt x="244" y="294"/>
                  </a:lnTo>
                  <a:lnTo>
                    <a:pt x="244" y="294"/>
                  </a:lnTo>
                  <a:lnTo>
                    <a:pt x="242" y="294"/>
                  </a:lnTo>
                  <a:lnTo>
                    <a:pt x="240" y="296"/>
                  </a:lnTo>
                  <a:lnTo>
                    <a:pt x="240" y="296"/>
                  </a:lnTo>
                  <a:lnTo>
                    <a:pt x="240" y="296"/>
                  </a:lnTo>
                  <a:lnTo>
                    <a:pt x="240" y="296"/>
                  </a:lnTo>
                  <a:lnTo>
                    <a:pt x="240" y="298"/>
                  </a:lnTo>
                  <a:lnTo>
                    <a:pt x="240" y="298"/>
                  </a:lnTo>
                  <a:lnTo>
                    <a:pt x="240" y="298"/>
                  </a:lnTo>
                  <a:lnTo>
                    <a:pt x="240" y="298"/>
                  </a:lnTo>
                  <a:lnTo>
                    <a:pt x="240" y="298"/>
                  </a:lnTo>
                  <a:lnTo>
                    <a:pt x="240" y="298"/>
                  </a:lnTo>
                  <a:lnTo>
                    <a:pt x="240" y="299"/>
                  </a:lnTo>
                  <a:lnTo>
                    <a:pt x="240" y="299"/>
                  </a:lnTo>
                  <a:lnTo>
                    <a:pt x="240" y="299"/>
                  </a:lnTo>
                  <a:lnTo>
                    <a:pt x="240" y="299"/>
                  </a:lnTo>
                  <a:lnTo>
                    <a:pt x="240" y="299"/>
                  </a:lnTo>
                  <a:lnTo>
                    <a:pt x="242" y="299"/>
                  </a:lnTo>
                  <a:lnTo>
                    <a:pt x="242" y="299"/>
                  </a:lnTo>
                  <a:lnTo>
                    <a:pt x="242" y="298"/>
                  </a:lnTo>
                  <a:lnTo>
                    <a:pt x="242" y="299"/>
                  </a:lnTo>
                  <a:lnTo>
                    <a:pt x="242" y="299"/>
                  </a:lnTo>
                  <a:lnTo>
                    <a:pt x="242" y="299"/>
                  </a:lnTo>
                  <a:lnTo>
                    <a:pt x="242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4" y="299"/>
                  </a:lnTo>
                  <a:lnTo>
                    <a:pt x="246" y="299"/>
                  </a:lnTo>
                  <a:lnTo>
                    <a:pt x="246" y="298"/>
                  </a:lnTo>
                  <a:lnTo>
                    <a:pt x="246" y="298"/>
                  </a:lnTo>
                  <a:lnTo>
                    <a:pt x="246" y="299"/>
                  </a:lnTo>
                  <a:close/>
                  <a:moveTo>
                    <a:pt x="177" y="290"/>
                  </a:moveTo>
                  <a:lnTo>
                    <a:pt x="175" y="289"/>
                  </a:lnTo>
                  <a:lnTo>
                    <a:pt x="175" y="289"/>
                  </a:lnTo>
                  <a:lnTo>
                    <a:pt x="175" y="289"/>
                  </a:lnTo>
                  <a:lnTo>
                    <a:pt x="173" y="289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5" y="290"/>
                  </a:lnTo>
                  <a:lnTo>
                    <a:pt x="175" y="292"/>
                  </a:lnTo>
                  <a:lnTo>
                    <a:pt x="177" y="292"/>
                  </a:lnTo>
                  <a:lnTo>
                    <a:pt x="177" y="292"/>
                  </a:lnTo>
                  <a:lnTo>
                    <a:pt x="177" y="290"/>
                  </a:lnTo>
                  <a:lnTo>
                    <a:pt x="177" y="290"/>
                  </a:lnTo>
                  <a:lnTo>
                    <a:pt x="177" y="290"/>
                  </a:lnTo>
                  <a:lnTo>
                    <a:pt x="177" y="290"/>
                  </a:lnTo>
                  <a:close/>
                  <a:moveTo>
                    <a:pt x="195" y="285"/>
                  </a:moveTo>
                  <a:lnTo>
                    <a:pt x="197" y="285"/>
                  </a:lnTo>
                  <a:lnTo>
                    <a:pt x="197" y="285"/>
                  </a:lnTo>
                  <a:lnTo>
                    <a:pt x="199" y="283"/>
                  </a:lnTo>
                  <a:lnTo>
                    <a:pt x="197" y="283"/>
                  </a:lnTo>
                  <a:lnTo>
                    <a:pt x="195" y="285"/>
                  </a:lnTo>
                  <a:lnTo>
                    <a:pt x="193" y="285"/>
                  </a:lnTo>
                  <a:lnTo>
                    <a:pt x="191" y="285"/>
                  </a:lnTo>
                  <a:lnTo>
                    <a:pt x="188" y="289"/>
                  </a:lnTo>
                  <a:lnTo>
                    <a:pt x="188" y="289"/>
                  </a:lnTo>
                  <a:lnTo>
                    <a:pt x="188" y="289"/>
                  </a:lnTo>
                  <a:lnTo>
                    <a:pt x="191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5" y="287"/>
                  </a:lnTo>
                  <a:lnTo>
                    <a:pt x="193" y="285"/>
                  </a:lnTo>
                  <a:lnTo>
                    <a:pt x="195" y="285"/>
                  </a:lnTo>
                  <a:close/>
                  <a:moveTo>
                    <a:pt x="348" y="285"/>
                  </a:moveTo>
                  <a:lnTo>
                    <a:pt x="348" y="285"/>
                  </a:lnTo>
                  <a:lnTo>
                    <a:pt x="348" y="285"/>
                  </a:lnTo>
                  <a:lnTo>
                    <a:pt x="348" y="283"/>
                  </a:lnTo>
                  <a:lnTo>
                    <a:pt x="347" y="283"/>
                  </a:lnTo>
                  <a:lnTo>
                    <a:pt x="347" y="283"/>
                  </a:lnTo>
                  <a:lnTo>
                    <a:pt x="347" y="283"/>
                  </a:lnTo>
                  <a:lnTo>
                    <a:pt x="345" y="283"/>
                  </a:lnTo>
                  <a:lnTo>
                    <a:pt x="345" y="285"/>
                  </a:lnTo>
                  <a:lnTo>
                    <a:pt x="345" y="285"/>
                  </a:lnTo>
                  <a:lnTo>
                    <a:pt x="347" y="287"/>
                  </a:lnTo>
                  <a:lnTo>
                    <a:pt x="345" y="287"/>
                  </a:lnTo>
                  <a:lnTo>
                    <a:pt x="345" y="287"/>
                  </a:lnTo>
                  <a:lnTo>
                    <a:pt x="345" y="289"/>
                  </a:lnTo>
                  <a:lnTo>
                    <a:pt x="345" y="289"/>
                  </a:lnTo>
                  <a:lnTo>
                    <a:pt x="347" y="289"/>
                  </a:lnTo>
                  <a:lnTo>
                    <a:pt x="347" y="289"/>
                  </a:lnTo>
                  <a:lnTo>
                    <a:pt x="347" y="290"/>
                  </a:lnTo>
                  <a:lnTo>
                    <a:pt x="347" y="290"/>
                  </a:lnTo>
                  <a:lnTo>
                    <a:pt x="347" y="290"/>
                  </a:lnTo>
                  <a:lnTo>
                    <a:pt x="347" y="289"/>
                  </a:lnTo>
                  <a:lnTo>
                    <a:pt x="347" y="287"/>
                  </a:lnTo>
                  <a:lnTo>
                    <a:pt x="347" y="287"/>
                  </a:lnTo>
                  <a:lnTo>
                    <a:pt x="347" y="287"/>
                  </a:lnTo>
                  <a:lnTo>
                    <a:pt x="347" y="287"/>
                  </a:lnTo>
                  <a:lnTo>
                    <a:pt x="347" y="287"/>
                  </a:lnTo>
                  <a:lnTo>
                    <a:pt x="347" y="285"/>
                  </a:lnTo>
                  <a:lnTo>
                    <a:pt x="347" y="285"/>
                  </a:lnTo>
                  <a:lnTo>
                    <a:pt x="348" y="285"/>
                  </a:lnTo>
                  <a:lnTo>
                    <a:pt x="348" y="285"/>
                  </a:lnTo>
                  <a:lnTo>
                    <a:pt x="348" y="285"/>
                  </a:lnTo>
                  <a:lnTo>
                    <a:pt x="348" y="285"/>
                  </a:lnTo>
                  <a:lnTo>
                    <a:pt x="348" y="287"/>
                  </a:lnTo>
                  <a:lnTo>
                    <a:pt x="348" y="285"/>
                  </a:lnTo>
                  <a:lnTo>
                    <a:pt x="348" y="285"/>
                  </a:lnTo>
                  <a:lnTo>
                    <a:pt x="348" y="285"/>
                  </a:lnTo>
                  <a:close/>
                  <a:moveTo>
                    <a:pt x="238" y="285"/>
                  </a:moveTo>
                  <a:lnTo>
                    <a:pt x="238" y="285"/>
                  </a:lnTo>
                  <a:lnTo>
                    <a:pt x="236" y="289"/>
                  </a:lnTo>
                  <a:lnTo>
                    <a:pt x="238" y="287"/>
                  </a:lnTo>
                  <a:lnTo>
                    <a:pt x="240" y="287"/>
                  </a:lnTo>
                  <a:lnTo>
                    <a:pt x="240" y="285"/>
                  </a:lnTo>
                  <a:lnTo>
                    <a:pt x="240" y="285"/>
                  </a:lnTo>
                  <a:lnTo>
                    <a:pt x="242" y="285"/>
                  </a:lnTo>
                  <a:lnTo>
                    <a:pt x="242" y="283"/>
                  </a:lnTo>
                  <a:lnTo>
                    <a:pt x="242" y="283"/>
                  </a:lnTo>
                  <a:lnTo>
                    <a:pt x="242" y="283"/>
                  </a:lnTo>
                  <a:lnTo>
                    <a:pt x="244" y="281"/>
                  </a:lnTo>
                  <a:lnTo>
                    <a:pt x="242" y="280"/>
                  </a:lnTo>
                  <a:lnTo>
                    <a:pt x="240" y="280"/>
                  </a:lnTo>
                  <a:lnTo>
                    <a:pt x="240" y="280"/>
                  </a:lnTo>
                  <a:lnTo>
                    <a:pt x="240" y="278"/>
                  </a:lnTo>
                  <a:lnTo>
                    <a:pt x="240" y="278"/>
                  </a:lnTo>
                  <a:lnTo>
                    <a:pt x="240" y="276"/>
                  </a:lnTo>
                  <a:lnTo>
                    <a:pt x="240" y="276"/>
                  </a:lnTo>
                  <a:lnTo>
                    <a:pt x="240" y="278"/>
                  </a:lnTo>
                  <a:lnTo>
                    <a:pt x="238" y="278"/>
                  </a:lnTo>
                  <a:lnTo>
                    <a:pt x="238" y="280"/>
                  </a:lnTo>
                  <a:lnTo>
                    <a:pt x="236" y="281"/>
                  </a:lnTo>
                  <a:lnTo>
                    <a:pt x="238" y="281"/>
                  </a:lnTo>
                  <a:lnTo>
                    <a:pt x="238" y="281"/>
                  </a:lnTo>
                  <a:lnTo>
                    <a:pt x="238" y="281"/>
                  </a:lnTo>
                  <a:lnTo>
                    <a:pt x="238" y="283"/>
                  </a:lnTo>
                  <a:lnTo>
                    <a:pt x="238" y="283"/>
                  </a:lnTo>
                  <a:lnTo>
                    <a:pt x="238" y="283"/>
                  </a:lnTo>
                  <a:lnTo>
                    <a:pt x="238" y="283"/>
                  </a:lnTo>
                  <a:lnTo>
                    <a:pt x="238" y="283"/>
                  </a:lnTo>
                  <a:lnTo>
                    <a:pt x="238" y="283"/>
                  </a:lnTo>
                  <a:lnTo>
                    <a:pt x="238" y="285"/>
                  </a:lnTo>
                  <a:close/>
                  <a:moveTo>
                    <a:pt x="287" y="281"/>
                  </a:moveTo>
                  <a:lnTo>
                    <a:pt x="289" y="281"/>
                  </a:lnTo>
                  <a:lnTo>
                    <a:pt x="289" y="281"/>
                  </a:lnTo>
                  <a:lnTo>
                    <a:pt x="289" y="280"/>
                  </a:lnTo>
                  <a:lnTo>
                    <a:pt x="291" y="280"/>
                  </a:lnTo>
                  <a:lnTo>
                    <a:pt x="291" y="280"/>
                  </a:lnTo>
                  <a:lnTo>
                    <a:pt x="292" y="280"/>
                  </a:lnTo>
                  <a:lnTo>
                    <a:pt x="292" y="278"/>
                  </a:lnTo>
                  <a:lnTo>
                    <a:pt x="292" y="278"/>
                  </a:lnTo>
                  <a:lnTo>
                    <a:pt x="292" y="278"/>
                  </a:lnTo>
                  <a:lnTo>
                    <a:pt x="291" y="278"/>
                  </a:lnTo>
                  <a:lnTo>
                    <a:pt x="291" y="278"/>
                  </a:lnTo>
                  <a:lnTo>
                    <a:pt x="291" y="276"/>
                  </a:lnTo>
                  <a:lnTo>
                    <a:pt x="291" y="276"/>
                  </a:lnTo>
                  <a:lnTo>
                    <a:pt x="289" y="276"/>
                  </a:lnTo>
                  <a:lnTo>
                    <a:pt x="289" y="276"/>
                  </a:lnTo>
                  <a:lnTo>
                    <a:pt x="287" y="278"/>
                  </a:lnTo>
                  <a:lnTo>
                    <a:pt x="287" y="278"/>
                  </a:lnTo>
                  <a:lnTo>
                    <a:pt x="287" y="276"/>
                  </a:lnTo>
                  <a:lnTo>
                    <a:pt x="285" y="276"/>
                  </a:lnTo>
                  <a:lnTo>
                    <a:pt x="285" y="276"/>
                  </a:lnTo>
                  <a:lnTo>
                    <a:pt x="285" y="276"/>
                  </a:lnTo>
                  <a:lnTo>
                    <a:pt x="283" y="278"/>
                  </a:lnTo>
                  <a:lnTo>
                    <a:pt x="285" y="278"/>
                  </a:lnTo>
                  <a:lnTo>
                    <a:pt x="285" y="278"/>
                  </a:lnTo>
                  <a:lnTo>
                    <a:pt x="285" y="280"/>
                  </a:lnTo>
                  <a:lnTo>
                    <a:pt x="285" y="280"/>
                  </a:lnTo>
                  <a:lnTo>
                    <a:pt x="285" y="280"/>
                  </a:lnTo>
                  <a:lnTo>
                    <a:pt x="283" y="280"/>
                  </a:lnTo>
                  <a:lnTo>
                    <a:pt x="283" y="280"/>
                  </a:lnTo>
                  <a:lnTo>
                    <a:pt x="283" y="281"/>
                  </a:lnTo>
                  <a:lnTo>
                    <a:pt x="283" y="281"/>
                  </a:lnTo>
                  <a:lnTo>
                    <a:pt x="283" y="281"/>
                  </a:lnTo>
                  <a:lnTo>
                    <a:pt x="283" y="281"/>
                  </a:lnTo>
                  <a:lnTo>
                    <a:pt x="287" y="281"/>
                  </a:lnTo>
                  <a:close/>
                  <a:moveTo>
                    <a:pt x="267" y="281"/>
                  </a:moveTo>
                  <a:lnTo>
                    <a:pt x="267" y="281"/>
                  </a:lnTo>
                  <a:lnTo>
                    <a:pt x="267" y="281"/>
                  </a:lnTo>
                  <a:lnTo>
                    <a:pt x="267" y="280"/>
                  </a:lnTo>
                  <a:lnTo>
                    <a:pt x="265" y="280"/>
                  </a:lnTo>
                  <a:lnTo>
                    <a:pt x="265" y="280"/>
                  </a:lnTo>
                  <a:lnTo>
                    <a:pt x="265" y="280"/>
                  </a:lnTo>
                  <a:lnTo>
                    <a:pt x="267" y="280"/>
                  </a:lnTo>
                  <a:lnTo>
                    <a:pt x="267" y="278"/>
                  </a:lnTo>
                  <a:lnTo>
                    <a:pt x="267" y="278"/>
                  </a:lnTo>
                  <a:lnTo>
                    <a:pt x="265" y="276"/>
                  </a:lnTo>
                  <a:lnTo>
                    <a:pt x="265" y="276"/>
                  </a:lnTo>
                  <a:lnTo>
                    <a:pt x="265" y="276"/>
                  </a:lnTo>
                  <a:lnTo>
                    <a:pt x="264" y="276"/>
                  </a:lnTo>
                  <a:lnTo>
                    <a:pt x="264" y="276"/>
                  </a:lnTo>
                  <a:lnTo>
                    <a:pt x="264" y="276"/>
                  </a:lnTo>
                  <a:lnTo>
                    <a:pt x="264" y="278"/>
                  </a:lnTo>
                  <a:lnTo>
                    <a:pt x="264" y="278"/>
                  </a:lnTo>
                  <a:lnTo>
                    <a:pt x="264" y="280"/>
                  </a:lnTo>
                  <a:lnTo>
                    <a:pt x="264" y="280"/>
                  </a:lnTo>
                  <a:lnTo>
                    <a:pt x="262" y="280"/>
                  </a:lnTo>
                  <a:lnTo>
                    <a:pt x="262" y="280"/>
                  </a:lnTo>
                  <a:lnTo>
                    <a:pt x="264" y="280"/>
                  </a:lnTo>
                  <a:lnTo>
                    <a:pt x="262" y="281"/>
                  </a:lnTo>
                  <a:lnTo>
                    <a:pt x="262" y="281"/>
                  </a:lnTo>
                  <a:lnTo>
                    <a:pt x="262" y="281"/>
                  </a:lnTo>
                  <a:lnTo>
                    <a:pt x="262" y="281"/>
                  </a:lnTo>
                  <a:lnTo>
                    <a:pt x="264" y="281"/>
                  </a:lnTo>
                  <a:lnTo>
                    <a:pt x="264" y="281"/>
                  </a:lnTo>
                  <a:lnTo>
                    <a:pt x="264" y="283"/>
                  </a:lnTo>
                  <a:lnTo>
                    <a:pt x="264" y="283"/>
                  </a:lnTo>
                  <a:lnTo>
                    <a:pt x="264" y="283"/>
                  </a:lnTo>
                  <a:lnTo>
                    <a:pt x="264" y="283"/>
                  </a:lnTo>
                  <a:lnTo>
                    <a:pt x="264" y="285"/>
                  </a:lnTo>
                  <a:lnTo>
                    <a:pt x="264" y="283"/>
                  </a:lnTo>
                  <a:lnTo>
                    <a:pt x="267" y="281"/>
                  </a:lnTo>
                  <a:lnTo>
                    <a:pt x="267" y="281"/>
                  </a:lnTo>
                  <a:lnTo>
                    <a:pt x="267" y="281"/>
                  </a:lnTo>
                  <a:close/>
                  <a:moveTo>
                    <a:pt x="193" y="272"/>
                  </a:moveTo>
                  <a:lnTo>
                    <a:pt x="193" y="272"/>
                  </a:lnTo>
                  <a:lnTo>
                    <a:pt x="193" y="272"/>
                  </a:lnTo>
                  <a:lnTo>
                    <a:pt x="191" y="274"/>
                  </a:lnTo>
                  <a:lnTo>
                    <a:pt x="191" y="274"/>
                  </a:lnTo>
                  <a:lnTo>
                    <a:pt x="191" y="274"/>
                  </a:lnTo>
                  <a:lnTo>
                    <a:pt x="191" y="274"/>
                  </a:lnTo>
                  <a:lnTo>
                    <a:pt x="193" y="276"/>
                  </a:lnTo>
                  <a:lnTo>
                    <a:pt x="193" y="274"/>
                  </a:lnTo>
                  <a:lnTo>
                    <a:pt x="195" y="274"/>
                  </a:lnTo>
                  <a:lnTo>
                    <a:pt x="195" y="274"/>
                  </a:lnTo>
                  <a:lnTo>
                    <a:pt x="195" y="274"/>
                  </a:lnTo>
                  <a:lnTo>
                    <a:pt x="193" y="274"/>
                  </a:lnTo>
                  <a:lnTo>
                    <a:pt x="193" y="274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close/>
                  <a:moveTo>
                    <a:pt x="256" y="269"/>
                  </a:moveTo>
                  <a:lnTo>
                    <a:pt x="255" y="267"/>
                  </a:lnTo>
                  <a:lnTo>
                    <a:pt x="255" y="267"/>
                  </a:lnTo>
                  <a:lnTo>
                    <a:pt x="255" y="269"/>
                  </a:lnTo>
                  <a:lnTo>
                    <a:pt x="253" y="269"/>
                  </a:lnTo>
                  <a:lnTo>
                    <a:pt x="253" y="269"/>
                  </a:lnTo>
                  <a:lnTo>
                    <a:pt x="251" y="269"/>
                  </a:lnTo>
                  <a:lnTo>
                    <a:pt x="253" y="269"/>
                  </a:lnTo>
                  <a:lnTo>
                    <a:pt x="255" y="271"/>
                  </a:lnTo>
                  <a:lnTo>
                    <a:pt x="256" y="271"/>
                  </a:lnTo>
                  <a:lnTo>
                    <a:pt x="256" y="269"/>
                  </a:lnTo>
                  <a:lnTo>
                    <a:pt x="256" y="269"/>
                  </a:lnTo>
                  <a:lnTo>
                    <a:pt x="256" y="269"/>
                  </a:lnTo>
                  <a:close/>
                  <a:moveTo>
                    <a:pt x="269" y="267"/>
                  </a:moveTo>
                  <a:lnTo>
                    <a:pt x="269" y="267"/>
                  </a:lnTo>
                  <a:lnTo>
                    <a:pt x="269" y="267"/>
                  </a:lnTo>
                  <a:lnTo>
                    <a:pt x="271" y="269"/>
                  </a:lnTo>
                  <a:lnTo>
                    <a:pt x="273" y="271"/>
                  </a:lnTo>
                  <a:lnTo>
                    <a:pt x="273" y="271"/>
                  </a:lnTo>
                  <a:lnTo>
                    <a:pt x="274" y="271"/>
                  </a:lnTo>
                  <a:lnTo>
                    <a:pt x="274" y="272"/>
                  </a:lnTo>
                  <a:lnTo>
                    <a:pt x="274" y="272"/>
                  </a:lnTo>
                  <a:lnTo>
                    <a:pt x="276" y="272"/>
                  </a:lnTo>
                  <a:lnTo>
                    <a:pt x="278" y="274"/>
                  </a:lnTo>
                  <a:lnTo>
                    <a:pt x="280" y="274"/>
                  </a:lnTo>
                  <a:lnTo>
                    <a:pt x="280" y="274"/>
                  </a:lnTo>
                  <a:lnTo>
                    <a:pt x="280" y="272"/>
                  </a:lnTo>
                  <a:lnTo>
                    <a:pt x="282" y="271"/>
                  </a:lnTo>
                  <a:lnTo>
                    <a:pt x="282" y="269"/>
                  </a:lnTo>
                  <a:lnTo>
                    <a:pt x="282" y="269"/>
                  </a:lnTo>
                  <a:lnTo>
                    <a:pt x="282" y="269"/>
                  </a:lnTo>
                  <a:lnTo>
                    <a:pt x="280" y="269"/>
                  </a:lnTo>
                  <a:lnTo>
                    <a:pt x="282" y="269"/>
                  </a:lnTo>
                  <a:lnTo>
                    <a:pt x="280" y="267"/>
                  </a:lnTo>
                  <a:lnTo>
                    <a:pt x="278" y="267"/>
                  </a:lnTo>
                  <a:lnTo>
                    <a:pt x="276" y="267"/>
                  </a:lnTo>
                  <a:lnTo>
                    <a:pt x="276" y="267"/>
                  </a:lnTo>
                  <a:lnTo>
                    <a:pt x="276" y="267"/>
                  </a:lnTo>
                  <a:lnTo>
                    <a:pt x="274" y="267"/>
                  </a:lnTo>
                  <a:lnTo>
                    <a:pt x="274" y="267"/>
                  </a:lnTo>
                  <a:lnTo>
                    <a:pt x="273" y="267"/>
                  </a:lnTo>
                  <a:lnTo>
                    <a:pt x="273" y="267"/>
                  </a:lnTo>
                  <a:lnTo>
                    <a:pt x="273" y="265"/>
                  </a:lnTo>
                  <a:lnTo>
                    <a:pt x="273" y="265"/>
                  </a:lnTo>
                  <a:lnTo>
                    <a:pt x="273" y="265"/>
                  </a:lnTo>
                  <a:lnTo>
                    <a:pt x="273" y="265"/>
                  </a:lnTo>
                  <a:lnTo>
                    <a:pt x="273" y="265"/>
                  </a:lnTo>
                  <a:lnTo>
                    <a:pt x="273" y="265"/>
                  </a:lnTo>
                  <a:lnTo>
                    <a:pt x="271" y="265"/>
                  </a:lnTo>
                  <a:lnTo>
                    <a:pt x="271" y="265"/>
                  </a:lnTo>
                  <a:lnTo>
                    <a:pt x="269" y="265"/>
                  </a:lnTo>
                  <a:lnTo>
                    <a:pt x="267" y="265"/>
                  </a:lnTo>
                  <a:lnTo>
                    <a:pt x="267" y="265"/>
                  </a:lnTo>
                  <a:lnTo>
                    <a:pt x="267" y="265"/>
                  </a:lnTo>
                  <a:lnTo>
                    <a:pt x="269" y="267"/>
                  </a:lnTo>
                  <a:close/>
                  <a:moveTo>
                    <a:pt x="233" y="274"/>
                  </a:moveTo>
                  <a:lnTo>
                    <a:pt x="233" y="274"/>
                  </a:lnTo>
                  <a:lnTo>
                    <a:pt x="235" y="274"/>
                  </a:lnTo>
                  <a:lnTo>
                    <a:pt x="236" y="271"/>
                  </a:lnTo>
                  <a:lnTo>
                    <a:pt x="236" y="271"/>
                  </a:lnTo>
                  <a:lnTo>
                    <a:pt x="238" y="269"/>
                  </a:lnTo>
                  <a:lnTo>
                    <a:pt x="238" y="265"/>
                  </a:lnTo>
                  <a:lnTo>
                    <a:pt x="238" y="263"/>
                  </a:lnTo>
                  <a:lnTo>
                    <a:pt x="236" y="263"/>
                  </a:lnTo>
                  <a:lnTo>
                    <a:pt x="236" y="263"/>
                  </a:lnTo>
                  <a:lnTo>
                    <a:pt x="236" y="263"/>
                  </a:lnTo>
                  <a:lnTo>
                    <a:pt x="236" y="265"/>
                  </a:lnTo>
                  <a:lnTo>
                    <a:pt x="236" y="265"/>
                  </a:lnTo>
                  <a:lnTo>
                    <a:pt x="236" y="263"/>
                  </a:lnTo>
                  <a:lnTo>
                    <a:pt x="236" y="263"/>
                  </a:lnTo>
                  <a:lnTo>
                    <a:pt x="235" y="263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3" y="267"/>
                  </a:lnTo>
                  <a:lnTo>
                    <a:pt x="233" y="269"/>
                  </a:lnTo>
                  <a:lnTo>
                    <a:pt x="233" y="269"/>
                  </a:lnTo>
                  <a:lnTo>
                    <a:pt x="233" y="271"/>
                  </a:lnTo>
                  <a:lnTo>
                    <a:pt x="233" y="272"/>
                  </a:lnTo>
                  <a:lnTo>
                    <a:pt x="233" y="274"/>
                  </a:lnTo>
                  <a:close/>
                  <a:moveTo>
                    <a:pt x="323" y="272"/>
                  </a:moveTo>
                  <a:lnTo>
                    <a:pt x="325" y="272"/>
                  </a:lnTo>
                  <a:lnTo>
                    <a:pt x="325" y="272"/>
                  </a:lnTo>
                  <a:lnTo>
                    <a:pt x="330" y="272"/>
                  </a:lnTo>
                  <a:lnTo>
                    <a:pt x="330" y="271"/>
                  </a:lnTo>
                  <a:lnTo>
                    <a:pt x="334" y="267"/>
                  </a:lnTo>
                  <a:lnTo>
                    <a:pt x="336" y="265"/>
                  </a:lnTo>
                  <a:lnTo>
                    <a:pt x="338" y="263"/>
                  </a:lnTo>
                  <a:lnTo>
                    <a:pt x="334" y="265"/>
                  </a:lnTo>
                  <a:lnTo>
                    <a:pt x="332" y="265"/>
                  </a:lnTo>
                  <a:lnTo>
                    <a:pt x="332" y="267"/>
                  </a:lnTo>
                  <a:lnTo>
                    <a:pt x="330" y="267"/>
                  </a:lnTo>
                  <a:lnTo>
                    <a:pt x="329" y="267"/>
                  </a:lnTo>
                  <a:lnTo>
                    <a:pt x="327" y="267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67"/>
                  </a:lnTo>
                  <a:lnTo>
                    <a:pt x="321" y="267"/>
                  </a:lnTo>
                  <a:lnTo>
                    <a:pt x="321" y="269"/>
                  </a:lnTo>
                  <a:lnTo>
                    <a:pt x="320" y="269"/>
                  </a:lnTo>
                  <a:lnTo>
                    <a:pt x="320" y="271"/>
                  </a:lnTo>
                  <a:lnTo>
                    <a:pt x="320" y="271"/>
                  </a:lnTo>
                  <a:lnTo>
                    <a:pt x="318" y="272"/>
                  </a:lnTo>
                  <a:lnTo>
                    <a:pt x="318" y="274"/>
                  </a:lnTo>
                  <a:lnTo>
                    <a:pt x="318" y="274"/>
                  </a:lnTo>
                  <a:lnTo>
                    <a:pt x="318" y="274"/>
                  </a:lnTo>
                  <a:lnTo>
                    <a:pt x="320" y="274"/>
                  </a:lnTo>
                  <a:lnTo>
                    <a:pt x="321" y="274"/>
                  </a:lnTo>
                  <a:lnTo>
                    <a:pt x="321" y="274"/>
                  </a:lnTo>
                  <a:lnTo>
                    <a:pt x="321" y="274"/>
                  </a:lnTo>
                  <a:lnTo>
                    <a:pt x="321" y="274"/>
                  </a:lnTo>
                  <a:lnTo>
                    <a:pt x="323" y="274"/>
                  </a:lnTo>
                  <a:lnTo>
                    <a:pt x="323" y="272"/>
                  </a:lnTo>
                  <a:close/>
                  <a:moveTo>
                    <a:pt x="197" y="260"/>
                  </a:moveTo>
                  <a:lnTo>
                    <a:pt x="197" y="258"/>
                  </a:lnTo>
                  <a:lnTo>
                    <a:pt x="190" y="260"/>
                  </a:lnTo>
                  <a:lnTo>
                    <a:pt x="190" y="260"/>
                  </a:lnTo>
                  <a:lnTo>
                    <a:pt x="190" y="260"/>
                  </a:lnTo>
                  <a:lnTo>
                    <a:pt x="190" y="262"/>
                  </a:lnTo>
                  <a:lnTo>
                    <a:pt x="191" y="262"/>
                  </a:lnTo>
                  <a:lnTo>
                    <a:pt x="191" y="262"/>
                  </a:lnTo>
                  <a:lnTo>
                    <a:pt x="191" y="262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3" y="263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5" y="263"/>
                  </a:lnTo>
                  <a:lnTo>
                    <a:pt x="195" y="263"/>
                  </a:lnTo>
                  <a:lnTo>
                    <a:pt x="195" y="263"/>
                  </a:lnTo>
                  <a:lnTo>
                    <a:pt x="195" y="262"/>
                  </a:lnTo>
                  <a:lnTo>
                    <a:pt x="195" y="262"/>
                  </a:lnTo>
                  <a:lnTo>
                    <a:pt x="197" y="262"/>
                  </a:lnTo>
                  <a:lnTo>
                    <a:pt x="197" y="260"/>
                  </a:lnTo>
                  <a:lnTo>
                    <a:pt x="197" y="260"/>
                  </a:lnTo>
                  <a:lnTo>
                    <a:pt x="197" y="260"/>
                  </a:lnTo>
                  <a:close/>
                  <a:moveTo>
                    <a:pt x="357" y="265"/>
                  </a:moveTo>
                  <a:lnTo>
                    <a:pt x="357" y="267"/>
                  </a:lnTo>
                  <a:lnTo>
                    <a:pt x="357" y="267"/>
                  </a:lnTo>
                  <a:lnTo>
                    <a:pt x="359" y="267"/>
                  </a:lnTo>
                  <a:lnTo>
                    <a:pt x="361" y="267"/>
                  </a:lnTo>
                  <a:lnTo>
                    <a:pt x="363" y="267"/>
                  </a:lnTo>
                  <a:lnTo>
                    <a:pt x="363" y="267"/>
                  </a:lnTo>
                  <a:lnTo>
                    <a:pt x="363" y="267"/>
                  </a:lnTo>
                  <a:lnTo>
                    <a:pt x="363" y="265"/>
                  </a:lnTo>
                  <a:lnTo>
                    <a:pt x="363" y="265"/>
                  </a:lnTo>
                  <a:lnTo>
                    <a:pt x="365" y="265"/>
                  </a:lnTo>
                  <a:lnTo>
                    <a:pt x="365" y="265"/>
                  </a:lnTo>
                  <a:lnTo>
                    <a:pt x="368" y="263"/>
                  </a:lnTo>
                  <a:lnTo>
                    <a:pt x="370" y="262"/>
                  </a:lnTo>
                  <a:lnTo>
                    <a:pt x="372" y="263"/>
                  </a:lnTo>
                  <a:lnTo>
                    <a:pt x="372" y="262"/>
                  </a:lnTo>
                  <a:lnTo>
                    <a:pt x="372" y="262"/>
                  </a:lnTo>
                  <a:lnTo>
                    <a:pt x="372" y="262"/>
                  </a:lnTo>
                  <a:lnTo>
                    <a:pt x="372" y="262"/>
                  </a:lnTo>
                  <a:lnTo>
                    <a:pt x="370" y="262"/>
                  </a:lnTo>
                  <a:lnTo>
                    <a:pt x="370" y="260"/>
                  </a:lnTo>
                  <a:lnTo>
                    <a:pt x="370" y="260"/>
                  </a:lnTo>
                  <a:lnTo>
                    <a:pt x="370" y="260"/>
                  </a:lnTo>
                  <a:lnTo>
                    <a:pt x="370" y="260"/>
                  </a:lnTo>
                  <a:lnTo>
                    <a:pt x="372" y="258"/>
                  </a:lnTo>
                  <a:lnTo>
                    <a:pt x="370" y="258"/>
                  </a:lnTo>
                  <a:lnTo>
                    <a:pt x="368" y="258"/>
                  </a:lnTo>
                  <a:lnTo>
                    <a:pt x="368" y="258"/>
                  </a:lnTo>
                  <a:lnTo>
                    <a:pt x="368" y="258"/>
                  </a:lnTo>
                  <a:lnTo>
                    <a:pt x="368" y="258"/>
                  </a:lnTo>
                  <a:lnTo>
                    <a:pt x="367" y="258"/>
                  </a:lnTo>
                  <a:lnTo>
                    <a:pt x="367" y="258"/>
                  </a:lnTo>
                  <a:lnTo>
                    <a:pt x="367" y="258"/>
                  </a:lnTo>
                  <a:lnTo>
                    <a:pt x="367" y="260"/>
                  </a:lnTo>
                  <a:lnTo>
                    <a:pt x="367" y="260"/>
                  </a:lnTo>
                  <a:lnTo>
                    <a:pt x="367" y="260"/>
                  </a:lnTo>
                  <a:lnTo>
                    <a:pt x="367" y="260"/>
                  </a:lnTo>
                  <a:lnTo>
                    <a:pt x="365" y="258"/>
                  </a:lnTo>
                  <a:lnTo>
                    <a:pt x="363" y="258"/>
                  </a:lnTo>
                  <a:lnTo>
                    <a:pt x="361" y="256"/>
                  </a:lnTo>
                  <a:lnTo>
                    <a:pt x="361" y="256"/>
                  </a:lnTo>
                  <a:lnTo>
                    <a:pt x="359" y="256"/>
                  </a:lnTo>
                  <a:lnTo>
                    <a:pt x="357" y="256"/>
                  </a:lnTo>
                  <a:lnTo>
                    <a:pt x="352" y="258"/>
                  </a:lnTo>
                  <a:lnTo>
                    <a:pt x="352" y="258"/>
                  </a:lnTo>
                  <a:lnTo>
                    <a:pt x="350" y="258"/>
                  </a:lnTo>
                  <a:lnTo>
                    <a:pt x="350" y="260"/>
                  </a:lnTo>
                  <a:lnTo>
                    <a:pt x="350" y="260"/>
                  </a:lnTo>
                  <a:lnTo>
                    <a:pt x="348" y="260"/>
                  </a:lnTo>
                  <a:lnTo>
                    <a:pt x="348" y="260"/>
                  </a:lnTo>
                  <a:lnTo>
                    <a:pt x="348" y="262"/>
                  </a:lnTo>
                  <a:lnTo>
                    <a:pt x="348" y="262"/>
                  </a:lnTo>
                  <a:lnTo>
                    <a:pt x="348" y="263"/>
                  </a:lnTo>
                  <a:lnTo>
                    <a:pt x="348" y="263"/>
                  </a:lnTo>
                  <a:lnTo>
                    <a:pt x="348" y="265"/>
                  </a:lnTo>
                  <a:lnTo>
                    <a:pt x="348" y="263"/>
                  </a:lnTo>
                  <a:lnTo>
                    <a:pt x="350" y="263"/>
                  </a:lnTo>
                  <a:lnTo>
                    <a:pt x="350" y="265"/>
                  </a:lnTo>
                  <a:lnTo>
                    <a:pt x="350" y="265"/>
                  </a:lnTo>
                  <a:lnTo>
                    <a:pt x="350" y="263"/>
                  </a:lnTo>
                  <a:lnTo>
                    <a:pt x="350" y="263"/>
                  </a:lnTo>
                  <a:lnTo>
                    <a:pt x="352" y="263"/>
                  </a:lnTo>
                  <a:lnTo>
                    <a:pt x="354" y="263"/>
                  </a:lnTo>
                  <a:lnTo>
                    <a:pt x="354" y="262"/>
                  </a:lnTo>
                  <a:lnTo>
                    <a:pt x="354" y="262"/>
                  </a:lnTo>
                  <a:lnTo>
                    <a:pt x="354" y="263"/>
                  </a:lnTo>
                  <a:lnTo>
                    <a:pt x="356" y="263"/>
                  </a:lnTo>
                  <a:lnTo>
                    <a:pt x="356" y="263"/>
                  </a:lnTo>
                  <a:lnTo>
                    <a:pt x="357" y="263"/>
                  </a:lnTo>
                  <a:lnTo>
                    <a:pt x="357" y="265"/>
                  </a:lnTo>
                  <a:lnTo>
                    <a:pt x="357" y="265"/>
                  </a:lnTo>
                  <a:close/>
                  <a:moveTo>
                    <a:pt x="65" y="260"/>
                  </a:moveTo>
                  <a:lnTo>
                    <a:pt x="63" y="258"/>
                  </a:lnTo>
                  <a:lnTo>
                    <a:pt x="63" y="256"/>
                  </a:lnTo>
                  <a:lnTo>
                    <a:pt x="61" y="254"/>
                  </a:lnTo>
                  <a:lnTo>
                    <a:pt x="60" y="254"/>
                  </a:lnTo>
                  <a:lnTo>
                    <a:pt x="58" y="254"/>
                  </a:lnTo>
                  <a:lnTo>
                    <a:pt x="56" y="254"/>
                  </a:lnTo>
                  <a:lnTo>
                    <a:pt x="56" y="253"/>
                  </a:lnTo>
                  <a:lnTo>
                    <a:pt x="56" y="253"/>
                  </a:lnTo>
                  <a:lnTo>
                    <a:pt x="54" y="249"/>
                  </a:lnTo>
                  <a:lnTo>
                    <a:pt x="54" y="249"/>
                  </a:lnTo>
                  <a:lnTo>
                    <a:pt x="54" y="249"/>
                  </a:lnTo>
                  <a:lnTo>
                    <a:pt x="54" y="249"/>
                  </a:lnTo>
                  <a:lnTo>
                    <a:pt x="54" y="249"/>
                  </a:lnTo>
                  <a:lnTo>
                    <a:pt x="52" y="249"/>
                  </a:lnTo>
                  <a:lnTo>
                    <a:pt x="52" y="251"/>
                  </a:lnTo>
                  <a:lnTo>
                    <a:pt x="49" y="253"/>
                  </a:lnTo>
                  <a:lnTo>
                    <a:pt x="50" y="253"/>
                  </a:lnTo>
                  <a:lnTo>
                    <a:pt x="50" y="254"/>
                  </a:lnTo>
                  <a:lnTo>
                    <a:pt x="50" y="254"/>
                  </a:lnTo>
                  <a:lnTo>
                    <a:pt x="49" y="256"/>
                  </a:lnTo>
                  <a:lnTo>
                    <a:pt x="50" y="256"/>
                  </a:lnTo>
                  <a:lnTo>
                    <a:pt x="52" y="258"/>
                  </a:lnTo>
                  <a:lnTo>
                    <a:pt x="54" y="260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8" y="263"/>
                  </a:lnTo>
                  <a:lnTo>
                    <a:pt x="60" y="265"/>
                  </a:lnTo>
                  <a:lnTo>
                    <a:pt x="60" y="267"/>
                  </a:lnTo>
                  <a:lnTo>
                    <a:pt x="60" y="267"/>
                  </a:lnTo>
                  <a:lnTo>
                    <a:pt x="61" y="267"/>
                  </a:lnTo>
                  <a:lnTo>
                    <a:pt x="61" y="265"/>
                  </a:lnTo>
                  <a:lnTo>
                    <a:pt x="61" y="265"/>
                  </a:lnTo>
                  <a:lnTo>
                    <a:pt x="61" y="265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2"/>
                  </a:lnTo>
                  <a:lnTo>
                    <a:pt x="63" y="262"/>
                  </a:lnTo>
                  <a:lnTo>
                    <a:pt x="63" y="262"/>
                  </a:lnTo>
                  <a:lnTo>
                    <a:pt x="65" y="262"/>
                  </a:lnTo>
                  <a:lnTo>
                    <a:pt x="67" y="262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5" y="260"/>
                  </a:lnTo>
                  <a:close/>
                  <a:moveTo>
                    <a:pt x="267" y="262"/>
                  </a:moveTo>
                  <a:lnTo>
                    <a:pt x="269" y="260"/>
                  </a:lnTo>
                  <a:lnTo>
                    <a:pt x="269" y="260"/>
                  </a:lnTo>
                  <a:lnTo>
                    <a:pt x="267" y="258"/>
                  </a:lnTo>
                  <a:lnTo>
                    <a:pt x="267" y="260"/>
                  </a:lnTo>
                  <a:lnTo>
                    <a:pt x="267" y="258"/>
                  </a:lnTo>
                  <a:lnTo>
                    <a:pt x="267" y="258"/>
                  </a:lnTo>
                  <a:lnTo>
                    <a:pt x="267" y="258"/>
                  </a:lnTo>
                  <a:lnTo>
                    <a:pt x="267" y="258"/>
                  </a:lnTo>
                  <a:lnTo>
                    <a:pt x="267" y="256"/>
                  </a:lnTo>
                  <a:lnTo>
                    <a:pt x="267" y="256"/>
                  </a:lnTo>
                  <a:lnTo>
                    <a:pt x="267" y="256"/>
                  </a:lnTo>
                  <a:lnTo>
                    <a:pt x="267" y="256"/>
                  </a:lnTo>
                  <a:lnTo>
                    <a:pt x="265" y="254"/>
                  </a:lnTo>
                  <a:lnTo>
                    <a:pt x="267" y="253"/>
                  </a:lnTo>
                  <a:lnTo>
                    <a:pt x="267" y="251"/>
                  </a:lnTo>
                  <a:lnTo>
                    <a:pt x="267" y="251"/>
                  </a:lnTo>
                  <a:lnTo>
                    <a:pt x="262" y="251"/>
                  </a:lnTo>
                  <a:lnTo>
                    <a:pt x="262" y="249"/>
                  </a:lnTo>
                  <a:lnTo>
                    <a:pt x="260" y="249"/>
                  </a:lnTo>
                  <a:lnTo>
                    <a:pt x="260" y="249"/>
                  </a:lnTo>
                  <a:lnTo>
                    <a:pt x="260" y="247"/>
                  </a:lnTo>
                  <a:lnTo>
                    <a:pt x="260" y="247"/>
                  </a:lnTo>
                  <a:lnTo>
                    <a:pt x="260" y="247"/>
                  </a:lnTo>
                  <a:lnTo>
                    <a:pt x="260" y="247"/>
                  </a:lnTo>
                  <a:lnTo>
                    <a:pt x="260" y="245"/>
                  </a:lnTo>
                  <a:lnTo>
                    <a:pt x="260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3"/>
                  </a:lnTo>
                  <a:lnTo>
                    <a:pt x="256" y="245"/>
                  </a:lnTo>
                  <a:lnTo>
                    <a:pt x="255" y="245"/>
                  </a:lnTo>
                  <a:lnTo>
                    <a:pt x="253" y="247"/>
                  </a:lnTo>
                  <a:lnTo>
                    <a:pt x="253" y="247"/>
                  </a:lnTo>
                  <a:lnTo>
                    <a:pt x="253" y="247"/>
                  </a:lnTo>
                  <a:lnTo>
                    <a:pt x="253" y="249"/>
                  </a:lnTo>
                  <a:lnTo>
                    <a:pt x="253" y="249"/>
                  </a:lnTo>
                  <a:lnTo>
                    <a:pt x="253" y="249"/>
                  </a:lnTo>
                  <a:lnTo>
                    <a:pt x="253" y="249"/>
                  </a:lnTo>
                  <a:lnTo>
                    <a:pt x="255" y="251"/>
                  </a:lnTo>
                  <a:lnTo>
                    <a:pt x="255" y="251"/>
                  </a:lnTo>
                  <a:lnTo>
                    <a:pt x="255" y="251"/>
                  </a:lnTo>
                  <a:lnTo>
                    <a:pt x="255" y="253"/>
                  </a:lnTo>
                  <a:lnTo>
                    <a:pt x="255" y="253"/>
                  </a:lnTo>
                  <a:lnTo>
                    <a:pt x="255" y="251"/>
                  </a:lnTo>
                  <a:lnTo>
                    <a:pt x="256" y="251"/>
                  </a:lnTo>
                  <a:lnTo>
                    <a:pt x="256" y="253"/>
                  </a:lnTo>
                  <a:lnTo>
                    <a:pt x="258" y="253"/>
                  </a:lnTo>
                  <a:lnTo>
                    <a:pt x="258" y="254"/>
                  </a:lnTo>
                  <a:lnTo>
                    <a:pt x="258" y="256"/>
                  </a:lnTo>
                  <a:lnTo>
                    <a:pt x="260" y="256"/>
                  </a:lnTo>
                  <a:lnTo>
                    <a:pt x="260" y="256"/>
                  </a:lnTo>
                  <a:lnTo>
                    <a:pt x="262" y="258"/>
                  </a:lnTo>
                  <a:lnTo>
                    <a:pt x="262" y="258"/>
                  </a:lnTo>
                  <a:lnTo>
                    <a:pt x="262" y="258"/>
                  </a:lnTo>
                  <a:lnTo>
                    <a:pt x="262" y="260"/>
                  </a:lnTo>
                  <a:lnTo>
                    <a:pt x="264" y="260"/>
                  </a:lnTo>
                  <a:lnTo>
                    <a:pt x="264" y="260"/>
                  </a:lnTo>
                  <a:lnTo>
                    <a:pt x="265" y="262"/>
                  </a:lnTo>
                  <a:lnTo>
                    <a:pt x="265" y="263"/>
                  </a:lnTo>
                  <a:lnTo>
                    <a:pt x="265" y="263"/>
                  </a:lnTo>
                  <a:lnTo>
                    <a:pt x="267" y="263"/>
                  </a:lnTo>
                  <a:lnTo>
                    <a:pt x="267" y="263"/>
                  </a:lnTo>
                  <a:lnTo>
                    <a:pt x="267" y="263"/>
                  </a:lnTo>
                  <a:lnTo>
                    <a:pt x="267" y="263"/>
                  </a:lnTo>
                  <a:lnTo>
                    <a:pt x="267" y="262"/>
                  </a:lnTo>
                  <a:lnTo>
                    <a:pt x="267" y="262"/>
                  </a:lnTo>
                  <a:close/>
                  <a:moveTo>
                    <a:pt x="197" y="247"/>
                  </a:moveTo>
                  <a:lnTo>
                    <a:pt x="197" y="247"/>
                  </a:lnTo>
                  <a:lnTo>
                    <a:pt x="197" y="247"/>
                  </a:lnTo>
                  <a:lnTo>
                    <a:pt x="195" y="247"/>
                  </a:lnTo>
                  <a:lnTo>
                    <a:pt x="195" y="247"/>
                  </a:lnTo>
                  <a:lnTo>
                    <a:pt x="195" y="245"/>
                  </a:lnTo>
                  <a:lnTo>
                    <a:pt x="195" y="245"/>
                  </a:lnTo>
                  <a:lnTo>
                    <a:pt x="195" y="245"/>
                  </a:lnTo>
                  <a:lnTo>
                    <a:pt x="195" y="245"/>
                  </a:lnTo>
                  <a:lnTo>
                    <a:pt x="195" y="243"/>
                  </a:lnTo>
                  <a:lnTo>
                    <a:pt x="193" y="243"/>
                  </a:lnTo>
                  <a:lnTo>
                    <a:pt x="193" y="243"/>
                  </a:lnTo>
                  <a:lnTo>
                    <a:pt x="193" y="243"/>
                  </a:lnTo>
                  <a:lnTo>
                    <a:pt x="191" y="245"/>
                  </a:lnTo>
                  <a:lnTo>
                    <a:pt x="193" y="245"/>
                  </a:lnTo>
                  <a:lnTo>
                    <a:pt x="193" y="245"/>
                  </a:lnTo>
                  <a:lnTo>
                    <a:pt x="193" y="245"/>
                  </a:lnTo>
                  <a:lnTo>
                    <a:pt x="191" y="245"/>
                  </a:lnTo>
                  <a:lnTo>
                    <a:pt x="191" y="245"/>
                  </a:lnTo>
                  <a:lnTo>
                    <a:pt x="191" y="245"/>
                  </a:lnTo>
                  <a:lnTo>
                    <a:pt x="191" y="245"/>
                  </a:lnTo>
                  <a:lnTo>
                    <a:pt x="190" y="245"/>
                  </a:lnTo>
                  <a:lnTo>
                    <a:pt x="191" y="245"/>
                  </a:lnTo>
                  <a:lnTo>
                    <a:pt x="191" y="245"/>
                  </a:lnTo>
                  <a:lnTo>
                    <a:pt x="190" y="247"/>
                  </a:lnTo>
                  <a:lnTo>
                    <a:pt x="190" y="247"/>
                  </a:lnTo>
                  <a:lnTo>
                    <a:pt x="191" y="247"/>
                  </a:lnTo>
                  <a:lnTo>
                    <a:pt x="191" y="247"/>
                  </a:lnTo>
                  <a:lnTo>
                    <a:pt x="191" y="247"/>
                  </a:lnTo>
                  <a:lnTo>
                    <a:pt x="193" y="247"/>
                  </a:lnTo>
                  <a:lnTo>
                    <a:pt x="193" y="247"/>
                  </a:lnTo>
                  <a:lnTo>
                    <a:pt x="193" y="247"/>
                  </a:lnTo>
                  <a:lnTo>
                    <a:pt x="193" y="247"/>
                  </a:lnTo>
                  <a:lnTo>
                    <a:pt x="193" y="247"/>
                  </a:lnTo>
                  <a:lnTo>
                    <a:pt x="191" y="249"/>
                  </a:lnTo>
                  <a:lnTo>
                    <a:pt x="191" y="249"/>
                  </a:lnTo>
                  <a:lnTo>
                    <a:pt x="190" y="249"/>
                  </a:lnTo>
                  <a:lnTo>
                    <a:pt x="190" y="249"/>
                  </a:lnTo>
                  <a:lnTo>
                    <a:pt x="190" y="251"/>
                  </a:lnTo>
                  <a:lnTo>
                    <a:pt x="190" y="251"/>
                  </a:lnTo>
                  <a:lnTo>
                    <a:pt x="190" y="251"/>
                  </a:lnTo>
                  <a:lnTo>
                    <a:pt x="190" y="251"/>
                  </a:lnTo>
                  <a:lnTo>
                    <a:pt x="191" y="251"/>
                  </a:lnTo>
                  <a:lnTo>
                    <a:pt x="191" y="251"/>
                  </a:lnTo>
                  <a:lnTo>
                    <a:pt x="193" y="251"/>
                  </a:lnTo>
                  <a:lnTo>
                    <a:pt x="193" y="251"/>
                  </a:lnTo>
                  <a:lnTo>
                    <a:pt x="193" y="251"/>
                  </a:lnTo>
                  <a:lnTo>
                    <a:pt x="195" y="251"/>
                  </a:lnTo>
                  <a:lnTo>
                    <a:pt x="195" y="251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7" y="247"/>
                  </a:lnTo>
                  <a:lnTo>
                    <a:pt x="197" y="247"/>
                  </a:lnTo>
                  <a:close/>
                  <a:moveTo>
                    <a:pt x="52" y="238"/>
                  </a:moveTo>
                  <a:lnTo>
                    <a:pt x="54" y="240"/>
                  </a:lnTo>
                  <a:lnTo>
                    <a:pt x="54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8" y="240"/>
                  </a:lnTo>
                  <a:lnTo>
                    <a:pt x="58" y="240"/>
                  </a:lnTo>
                  <a:lnTo>
                    <a:pt x="60" y="240"/>
                  </a:lnTo>
                  <a:lnTo>
                    <a:pt x="60" y="238"/>
                  </a:lnTo>
                  <a:lnTo>
                    <a:pt x="60" y="236"/>
                  </a:lnTo>
                  <a:lnTo>
                    <a:pt x="58" y="236"/>
                  </a:lnTo>
                  <a:lnTo>
                    <a:pt x="56" y="233"/>
                  </a:lnTo>
                  <a:lnTo>
                    <a:pt x="56" y="233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0" y="227"/>
                  </a:lnTo>
                  <a:lnTo>
                    <a:pt x="50" y="229"/>
                  </a:lnTo>
                  <a:lnTo>
                    <a:pt x="50" y="227"/>
                  </a:lnTo>
                  <a:lnTo>
                    <a:pt x="49" y="225"/>
                  </a:lnTo>
                  <a:lnTo>
                    <a:pt x="49" y="225"/>
                  </a:lnTo>
                  <a:lnTo>
                    <a:pt x="49" y="224"/>
                  </a:lnTo>
                  <a:lnTo>
                    <a:pt x="49" y="224"/>
                  </a:lnTo>
                  <a:lnTo>
                    <a:pt x="50" y="224"/>
                  </a:lnTo>
                  <a:lnTo>
                    <a:pt x="50" y="222"/>
                  </a:lnTo>
                  <a:lnTo>
                    <a:pt x="50" y="222"/>
                  </a:lnTo>
                  <a:lnTo>
                    <a:pt x="47" y="215"/>
                  </a:lnTo>
                  <a:lnTo>
                    <a:pt x="45" y="215"/>
                  </a:lnTo>
                  <a:lnTo>
                    <a:pt x="45" y="215"/>
                  </a:lnTo>
                  <a:lnTo>
                    <a:pt x="45" y="215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5" y="218"/>
                  </a:lnTo>
                  <a:lnTo>
                    <a:pt x="47" y="220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45" y="222"/>
                  </a:lnTo>
                  <a:lnTo>
                    <a:pt x="45" y="224"/>
                  </a:lnTo>
                  <a:lnTo>
                    <a:pt x="43" y="224"/>
                  </a:lnTo>
                  <a:lnTo>
                    <a:pt x="43" y="224"/>
                  </a:lnTo>
                  <a:lnTo>
                    <a:pt x="43" y="225"/>
                  </a:lnTo>
                  <a:lnTo>
                    <a:pt x="41" y="224"/>
                  </a:lnTo>
                  <a:lnTo>
                    <a:pt x="41" y="224"/>
                  </a:lnTo>
                  <a:lnTo>
                    <a:pt x="41" y="224"/>
                  </a:lnTo>
                  <a:lnTo>
                    <a:pt x="41" y="224"/>
                  </a:lnTo>
                  <a:lnTo>
                    <a:pt x="41" y="224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38" y="222"/>
                  </a:lnTo>
                  <a:lnTo>
                    <a:pt x="38" y="222"/>
                  </a:lnTo>
                  <a:lnTo>
                    <a:pt x="38" y="224"/>
                  </a:lnTo>
                  <a:lnTo>
                    <a:pt x="38" y="225"/>
                  </a:lnTo>
                  <a:lnTo>
                    <a:pt x="38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6" y="229"/>
                  </a:lnTo>
                  <a:lnTo>
                    <a:pt x="36" y="229"/>
                  </a:lnTo>
                  <a:lnTo>
                    <a:pt x="36" y="229"/>
                  </a:lnTo>
                  <a:lnTo>
                    <a:pt x="36" y="229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6" y="233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40" y="234"/>
                  </a:lnTo>
                  <a:lnTo>
                    <a:pt x="40" y="233"/>
                  </a:lnTo>
                  <a:lnTo>
                    <a:pt x="40" y="233"/>
                  </a:lnTo>
                  <a:lnTo>
                    <a:pt x="40" y="231"/>
                  </a:lnTo>
                  <a:lnTo>
                    <a:pt x="40" y="229"/>
                  </a:lnTo>
                  <a:lnTo>
                    <a:pt x="40" y="227"/>
                  </a:lnTo>
                  <a:lnTo>
                    <a:pt x="40" y="227"/>
                  </a:lnTo>
                  <a:lnTo>
                    <a:pt x="41" y="227"/>
                  </a:lnTo>
                  <a:lnTo>
                    <a:pt x="41" y="227"/>
                  </a:lnTo>
                  <a:lnTo>
                    <a:pt x="43" y="231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1" y="233"/>
                  </a:lnTo>
                  <a:lnTo>
                    <a:pt x="41" y="233"/>
                  </a:lnTo>
                  <a:lnTo>
                    <a:pt x="43" y="234"/>
                  </a:lnTo>
                  <a:lnTo>
                    <a:pt x="43" y="234"/>
                  </a:lnTo>
                  <a:lnTo>
                    <a:pt x="43" y="236"/>
                  </a:lnTo>
                  <a:lnTo>
                    <a:pt x="43" y="236"/>
                  </a:lnTo>
                  <a:lnTo>
                    <a:pt x="43" y="238"/>
                  </a:lnTo>
                  <a:lnTo>
                    <a:pt x="45" y="238"/>
                  </a:lnTo>
                  <a:lnTo>
                    <a:pt x="47" y="238"/>
                  </a:lnTo>
                  <a:lnTo>
                    <a:pt x="47" y="236"/>
                  </a:lnTo>
                  <a:lnTo>
                    <a:pt x="49" y="236"/>
                  </a:lnTo>
                  <a:lnTo>
                    <a:pt x="50" y="238"/>
                  </a:lnTo>
                  <a:lnTo>
                    <a:pt x="52" y="238"/>
                  </a:lnTo>
                  <a:close/>
                  <a:moveTo>
                    <a:pt x="54" y="220"/>
                  </a:moveTo>
                  <a:lnTo>
                    <a:pt x="54" y="220"/>
                  </a:lnTo>
                  <a:lnTo>
                    <a:pt x="54" y="220"/>
                  </a:lnTo>
                  <a:lnTo>
                    <a:pt x="54" y="220"/>
                  </a:lnTo>
                  <a:lnTo>
                    <a:pt x="54" y="220"/>
                  </a:lnTo>
                  <a:lnTo>
                    <a:pt x="54" y="220"/>
                  </a:lnTo>
                  <a:lnTo>
                    <a:pt x="52" y="220"/>
                  </a:lnTo>
                  <a:lnTo>
                    <a:pt x="52" y="220"/>
                  </a:lnTo>
                  <a:lnTo>
                    <a:pt x="52" y="220"/>
                  </a:lnTo>
                  <a:lnTo>
                    <a:pt x="54" y="218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3"/>
                  </a:lnTo>
                  <a:lnTo>
                    <a:pt x="52" y="213"/>
                  </a:lnTo>
                  <a:lnTo>
                    <a:pt x="50" y="213"/>
                  </a:lnTo>
                  <a:lnTo>
                    <a:pt x="50" y="215"/>
                  </a:lnTo>
                  <a:lnTo>
                    <a:pt x="50" y="215"/>
                  </a:lnTo>
                  <a:lnTo>
                    <a:pt x="49" y="215"/>
                  </a:lnTo>
                  <a:lnTo>
                    <a:pt x="49" y="215"/>
                  </a:lnTo>
                  <a:lnTo>
                    <a:pt x="49" y="215"/>
                  </a:lnTo>
                  <a:lnTo>
                    <a:pt x="50" y="216"/>
                  </a:lnTo>
                  <a:lnTo>
                    <a:pt x="50" y="216"/>
                  </a:lnTo>
                  <a:lnTo>
                    <a:pt x="50" y="216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2" y="220"/>
                  </a:lnTo>
                  <a:lnTo>
                    <a:pt x="52" y="222"/>
                  </a:lnTo>
                  <a:lnTo>
                    <a:pt x="54" y="222"/>
                  </a:lnTo>
                  <a:lnTo>
                    <a:pt x="52" y="224"/>
                  </a:lnTo>
                  <a:lnTo>
                    <a:pt x="54" y="224"/>
                  </a:lnTo>
                  <a:lnTo>
                    <a:pt x="54" y="224"/>
                  </a:lnTo>
                  <a:lnTo>
                    <a:pt x="56" y="224"/>
                  </a:lnTo>
                  <a:lnTo>
                    <a:pt x="56" y="224"/>
                  </a:lnTo>
                  <a:lnTo>
                    <a:pt x="56" y="224"/>
                  </a:lnTo>
                  <a:lnTo>
                    <a:pt x="56" y="224"/>
                  </a:lnTo>
                  <a:lnTo>
                    <a:pt x="56" y="222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4" y="220"/>
                  </a:lnTo>
                  <a:lnTo>
                    <a:pt x="54" y="220"/>
                  </a:lnTo>
                  <a:close/>
                  <a:moveTo>
                    <a:pt x="63" y="209"/>
                  </a:moveTo>
                  <a:lnTo>
                    <a:pt x="63" y="209"/>
                  </a:lnTo>
                  <a:lnTo>
                    <a:pt x="63" y="209"/>
                  </a:lnTo>
                  <a:lnTo>
                    <a:pt x="65" y="207"/>
                  </a:lnTo>
                  <a:lnTo>
                    <a:pt x="65" y="206"/>
                  </a:lnTo>
                  <a:lnTo>
                    <a:pt x="65" y="206"/>
                  </a:lnTo>
                  <a:lnTo>
                    <a:pt x="63" y="209"/>
                  </a:lnTo>
                  <a:lnTo>
                    <a:pt x="63" y="209"/>
                  </a:lnTo>
                  <a:close/>
                  <a:moveTo>
                    <a:pt x="325" y="209"/>
                  </a:moveTo>
                  <a:lnTo>
                    <a:pt x="325" y="209"/>
                  </a:lnTo>
                  <a:lnTo>
                    <a:pt x="325" y="209"/>
                  </a:lnTo>
                  <a:lnTo>
                    <a:pt x="325" y="209"/>
                  </a:lnTo>
                  <a:lnTo>
                    <a:pt x="321" y="207"/>
                  </a:lnTo>
                  <a:lnTo>
                    <a:pt x="321" y="207"/>
                  </a:lnTo>
                  <a:lnTo>
                    <a:pt x="320" y="206"/>
                  </a:lnTo>
                  <a:lnTo>
                    <a:pt x="318" y="206"/>
                  </a:lnTo>
                  <a:lnTo>
                    <a:pt x="311" y="207"/>
                  </a:lnTo>
                  <a:lnTo>
                    <a:pt x="311" y="209"/>
                  </a:lnTo>
                  <a:lnTo>
                    <a:pt x="311" y="209"/>
                  </a:lnTo>
                  <a:lnTo>
                    <a:pt x="311" y="209"/>
                  </a:lnTo>
                  <a:lnTo>
                    <a:pt x="311" y="211"/>
                  </a:lnTo>
                  <a:lnTo>
                    <a:pt x="311" y="211"/>
                  </a:lnTo>
                  <a:lnTo>
                    <a:pt x="312" y="213"/>
                  </a:lnTo>
                  <a:lnTo>
                    <a:pt x="314" y="215"/>
                  </a:lnTo>
                  <a:lnTo>
                    <a:pt x="314" y="215"/>
                  </a:lnTo>
                  <a:lnTo>
                    <a:pt x="314" y="215"/>
                  </a:lnTo>
                  <a:lnTo>
                    <a:pt x="316" y="215"/>
                  </a:lnTo>
                  <a:lnTo>
                    <a:pt x="316" y="216"/>
                  </a:lnTo>
                  <a:lnTo>
                    <a:pt x="316" y="216"/>
                  </a:lnTo>
                  <a:lnTo>
                    <a:pt x="316" y="216"/>
                  </a:lnTo>
                  <a:lnTo>
                    <a:pt x="316" y="218"/>
                  </a:lnTo>
                  <a:lnTo>
                    <a:pt x="316" y="218"/>
                  </a:lnTo>
                  <a:lnTo>
                    <a:pt x="316" y="218"/>
                  </a:lnTo>
                  <a:lnTo>
                    <a:pt x="318" y="218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0"/>
                  </a:lnTo>
                  <a:lnTo>
                    <a:pt x="318" y="222"/>
                  </a:lnTo>
                  <a:lnTo>
                    <a:pt x="318" y="222"/>
                  </a:lnTo>
                  <a:lnTo>
                    <a:pt x="318" y="224"/>
                  </a:lnTo>
                  <a:lnTo>
                    <a:pt x="318" y="224"/>
                  </a:lnTo>
                  <a:lnTo>
                    <a:pt x="318" y="224"/>
                  </a:lnTo>
                  <a:lnTo>
                    <a:pt x="318" y="225"/>
                  </a:lnTo>
                  <a:lnTo>
                    <a:pt x="316" y="225"/>
                  </a:lnTo>
                  <a:lnTo>
                    <a:pt x="316" y="225"/>
                  </a:lnTo>
                  <a:lnTo>
                    <a:pt x="314" y="225"/>
                  </a:lnTo>
                  <a:lnTo>
                    <a:pt x="314" y="225"/>
                  </a:lnTo>
                  <a:lnTo>
                    <a:pt x="314" y="225"/>
                  </a:lnTo>
                  <a:lnTo>
                    <a:pt x="312" y="227"/>
                  </a:lnTo>
                  <a:lnTo>
                    <a:pt x="312" y="227"/>
                  </a:lnTo>
                  <a:lnTo>
                    <a:pt x="312" y="227"/>
                  </a:lnTo>
                  <a:lnTo>
                    <a:pt x="312" y="229"/>
                  </a:lnTo>
                  <a:lnTo>
                    <a:pt x="312" y="229"/>
                  </a:lnTo>
                  <a:lnTo>
                    <a:pt x="314" y="229"/>
                  </a:lnTo>
                  <a:lnTo>
                    <a:pt x="314" y="229"/>
                  </a:lnTo>
                  <a:lnTo>
                    <a:pt x="314" y="229"/>
                  </a:lnTo>
                  <a:lnTo>
                    <a:pt x="314" y="231"/>
                  </a:lnTo>
                  <a:lnTo>
                    <a:pt x="314" y="231"/>
                  </a:lnTo>
                  <a:lnTo>
                    <a:pt x="314" y="231"/>
                  </a:lnTo>
                  <a:lnTo>
                    <a:pt x="314" y="229"/>
                  </a:lnTo>
                  <a:lnTo>
                    <a:pt x="314" y="231"/>
                  </a:lnTo>
                  <a:lnTo>
                    <a:pt x="314" y="231"/>
                  </a:lnTo>
                  <a:lnTo>
                    <a:pt x="316" y="233"/>
                  </a:lnTo>
                  <a:lnTo>
                    <a:pt x="316" y="233"/>
                  </a:lnTo>
                  <a:lnTo>
                    <a:pt x="316" y="233"/>
                  </a:lnTo>
                  <a:lnTo>
                    <a:pt x="318" y="233"/>
                  </a:lnTo>
                  <a:lnTo>
                    <a:pt x="318" y="234"/>
                  </a:lnTo>
                  <a:lnTo>
                    <a:pt x="318" y="234"/>
                  </a:lnTo>
                  <a:lnTo>
                    <a:pt x="320" y="234"/>
                  </a:lnTo>
                  <a:lnTo>
                    <a:pt x="320" y="234"/>
                  </a:lnTo>
                  <a:lnTo>
                    <a:pt x="320" y="234"/>
                  </a:lnTo>
                  <a:lnTo>
                    <a:pt x="320" y="233"/>
                  </a:lnTo>
                  <a:lnTo>
                    <a:pt x="321" y="231"/>
                  </a:lnTo>
                  <a:lnTo>
                    <a:pt x="323" y="231"/>
                  </a:lnTo>
                  <a:lnTo>
                    <a:pt x="325" y="231"/>
                  </a:lnTo>
                  <a:lnTo>
                    <a:pt x="325" y="229"/>
                  </a:lnTo>
                  <a:lnTo>
                    <a:pt x="323" y="227"/>
                  </a:lnTo>
                  <a:lnTo>
                    <a:pt x="325" y="225"/>
                  </a:lnTo>
                  <a:lnTo>
                    <a:pt x="325" y="225"/>
                  </a:lnTo>
                  <a:lnTo>
                    <a:pt x="327" y="225"/>
                  </a:lnTo>
                  <a:lnTo>
                    <a:pt x="327" y="222"/>
                  </a:lnTo>
                  <a:lnTo>
                    <a:pt x="325" y="218"/>
                  </a:lnTo>
                  <a:lnTo>
                    <a:pt x="325" y="216"/>
                  </a:lnTo>
                  <a:lnTo>
                    <a:pt x="327" y="216"/>
                  </a:lnTo>
                  <a:lnTo>
                    <a:pt x="327" y="215"/>
                  </a:lnTo>
                  <a:lnTo>
                    <a:pt x="327" y="215"/>
                  </a:lnTo>
                  <a:lnTo>
                    <a:pt x="325" y="215"/>
                  </a:lnTo>
                  <a:lnTo>
                    <a:pt x="327" y="215"/>
                  </a:lnTo>
                  <a:lnTo>
                    <a:pt x="325" y="215"/>
                  </a:lnTo>
                  <a:lnTo>
                    <a:pt x="325" y="215"/>
                  </a:lnTo>
                  <a:lnTo>
                    <a:pt x="325" y="213"/>
                  </a:lnTo>
                  <a:lnTo>
                    <a:pt x="327" y="213"/>
                  </a:lnTo>
                  <a:lnTo>
                    <a:pt x="327" y="211"/>
                  </a:lnTo>
                  <a:lnTo>
                    <a:pt x="327" y="211"/>
                  </a:lnTo>
                  <a:lnTo>
                    <a:pt x="327" y="209"/>
                  </a:lnTo>
                  <a:lnTo>
                    <a:pt x="327" y="209"/>
                  </a:lnTo>
                  <a:lnTo>
                    <a:pt x="327" y="209"/>
                  </a:lnTo>
                  <a:lnTo>
                    <a:pt x="325" y="207"/>
                  </a:lnTo>
                  <a:lnTo>
                    <a:pt x="325" y="209"/>
                  </a:lnTo>
                  <a:lnTo>
                    <a:pt x="325" y="209"/>
                  </a:lnTo>
                  <a:lnTo>
                    <a:pt x="325" y="209"/>
                  </a:lnTo>
                  <a:lnTo>
                    <a:pt x="325" y="209"/>
                  </a:lnTo>
                  <a:lnTo>
                    <a:pt x="325" y="209"/>
                  </a:lnTo>
                  <a:lnTo>
                    <a:pt x="325" y="209"/>
                  </a:lnTo>
                  <a:close/>
                  <a:moveTo>
                    <a:pt x="300" y="209"/>
                  </a:moveTo>
                  <a:lnTo>
                    <a:pt x="300" y="207"/>
                  </a:lnTo>
                  <a:lnTo>
                    <a:pt x="300" y="207"/>
                  </a:lnTo>
                  <a:lnTo>
                    <a:pt x="300" y="207"/>
                  </a:lnTo>
                  <a:lnTo>
                    <a:pt x="300" y="207"/>
                  </a:lnTo>
                  <a:lnTo>
                    <a:pt x="300" y="207"/>
                  </a:lnTo>
                  <a:lnTo>
                    <a:pt x="298" y="206"/>
                  </a:lnTo>
                  <a:lnTo>
                    <a:pt x="298" y="206"/>
                  </a:lnTo>
                  <a:lnTo>
                    <a:pt x="298" y="206"/>
                  </a:lnTo>
                  <a:lnTo>
                    <a:pt x="298" y="206"/>
                  </a:lnTo>
                  <a:lnTo>
                    <a:pt x="298" y="206"/>
                  </a:lnTo>
                  <a:lnTo>
                    <a:pt x="298" y="206"/>
                  </a:lnTo>
                  <a:lnTo>
                    <a:pt x="296" y="206"/>
                  </a:lnTo>
                  <a:lnTo>
                    <a:pt x="296" y="206"/>
                  </a:lnTo>
                  <a:lnTo>
                    <a:pt x="296" y="206"/>
                  </a:lnTo>
                  <a:lnTo>
                    <a:pt x="296" y="206"/>
                  </a:lnTo>
                  <a:lnTo>
                    <a:pt x="296" y="206"/>
                  </a:lnTo>
                  <a:lnTo>
                    <a:pt x="296" y="206"/>
                  </a:lnTo>
                  <a:lnTo>
                    <a:pt x="294" y="206"/>
                  </a:lnTo>
                  <a:lnTo>
                    <a:pt x="294" y="206"/>
                  </a:lnTo>
                  <a:lnTo>
                    <a:pt x="294" y="207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6" y="209"/>
                  </a:lnTo>
                  <a:lnTo>
                    <a:pt x="296" y="209"/>
                  </a:lnTo>
                  <a:lnTo>
                    <a:pt x="296" y="209"/>
                  </a:lnTo>
                  <a:lnTo>
                    <a:pt x="296" y="209"/>
                  </a:lnTo>
                  <a:lnTo>
                    <a:pt x="296" y="211"/>
                  </a:lnTo>
                  <a:lnTo>
                    <a:pt x="298" y="209"/>
                  </a:lnTo>
                  <a:lnTo>
                    <a:pt x="298" y="209"/>
                  </a:lnTo>
                  <a:lnTo>
                    <a:pt x="298" y="211"/>
                  </a:lnTo>
                  <a:lnTo>
                    <a:pt x="300" y="211"/>
                  </a:lnTo>
                  <a:lnTo>
                    <a:pt x="300" y="209"/>
                  </a:lnTo>
                  <a:close/>
                  <a:moveTo>
                    <a:pt x="67" y="204"/>
                  </a:moveTo>
                  <a:lnTo>
                    <a:pt x="67" y="204"/>
                  </a:lnTo>
                  <a:lnTo>
                    <a:pt x="65" y="202"/>
                  </a:lnTo>
                  <a:lnTo>
                    <a:pt x="65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1" y="206"/>
                  </a:lnTo>
                  <a:lnTo>
                    <a:pt x="61" y="207"/>
                  </a:lnTo>
                  <a:lnTo>
                    <a:pt x="61" y="207"/>
                  </a:lnTo>
                  <a:lnTo>
                    <a:pt x="63" y="207"/>
                  </a:lnTo>
                  <a:lnTo>
                    <a:pt x="63" y="206"/>
                  </a:lnTo>
                  <a:lnTo>
                    <a:pt x="63" y="206"/>
                  </a:lnTo>
                  <a:lnTo>
                    <a:pt x="63" y="206"/>
                  </a:lnTo>
                  <a:lnTo>
                    <a:pt x="65" y="206"/>
                  </a:lnTo>
                  <a:lnTo>
                    <a:pt x="65" y="206"/>
                  </a:lnTo>
                  <a:lnTo>
                    <a:pt x="65" y="204"/>
                  </a:lnTo>
                  <a:lnTo>
                    <a:pt x="67" y="204"/>
                  </a:lnTo>
                  <a:close/>
                  <a:moveTo>
                    <a:pt x="58" y="202"/>
                  </a:moveTo>
                  <a:lnTo>
                    <a:pt x="58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4"/>
                  </a:lnTo>
                  <a:lnTo>
                    <a:pt x="58" y="206"/>
                  </a:lnTo>
                  <a:lnTo>
                    <a:pt x="58" y="206"/>
                  </a:lnTo>
                  <a:lnTo>
                    <a:pt x="58" y="206"/>
                  </a:lnTo>
                  <a:lnTo>
                    <a:pt x="58" y="206"/>
                  </a:lnTo>
                  <a:lnTo>
                    <a:pt x="58" y="206"/>
                  </a:lnTo>
                  <a:lnTo>
                    <a:pt x="58" y="206"/>
                  </a:lnTo>
                  <a:lnTo>
                    <a:pt x="56" y="204"/>
                  </a:lnTo>
                  <a:lnTo>
                    <a:pt x="56" y="20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60" y="202"/>
                  </a:lnTo>
                  <a:lnTo>
                    <a:pt x="60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8" y="202"/>
                  </a:lnTo>
                  <a:close/>
                  <a:moveTo>
                    <a:pt x="54" y="195"/>
                  </a:moveTo>
                  <a:lnTo>
                    <a:pt x="54" y="193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2" y="191"/>
                  </a:lnTo>
                  <a:lnTo>
                    <a:pt x="52" y="191"/>
                  </a:lnTo>
                  <a:lnTo>
                    <a:pt x="52" y="189"/>
                  </a:lnTo>
                  <a:lnTo>
                    <a:pt x="52" y="191"/>
                  </a:lnTo>
                  <a:lnTo>
                    <a:pt x="50" y="191"/>
                  </a:lnTo>
                  <a:lnTo>
                    <a:pt x="50" y="193"/>
                  </a:lnTo>
                  <a:lnTo>
                    <a:pt x="49" y="193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7" y="197"/>
                  </a:lnTo>
                  <a:lnTo>
                    <a:pt x="47" y="198"/>
                  </a:lnTo>
                  <a:lnTo>
                    <a:pt x="47" y="200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7" y="207"/>
                  </a:lnTo>
                  <a:lnTo>
                    <a:pt x="47" y="207"/>
                  </a:lnTo>
                  <a:lnTo>
                    <a:pt x="47" y="206"/>
                  </a:lnTo>
                  <a:lnTo>
                    <a:pt x="47" y="206"/>
                  </a:lnTo>
                  <a:lnTo>
                    <a:pt x="49" y="204"/>
                  </a:lnTo>
                  <a:lnTo>
                    <a:pt x="49" y="206"/>
                  </a:lnTo>
                  <a:lnTo>
                    <a:pt x="50" y="206"/>
                  </a:lnTo>
                  <a:lnTo>
                    <a:pt x="50" y="207"/>
                  </a:lnTo>
                  <a:lnTo>
                    <a:pt x="50" y="207"/>
                  </a:lnTo>
                  <a:lnTo>
                    <a:pt x="50" y="207"/>
                  </a:lnTo>
                  <a:lnTo>
                    <a:pt x="50" y="207"/>
                  </a:lnTo>
                  <a:lnTo>
                    <a:pt x="50" y="207"/>
                  </a:lnTo>
                  <a:lnTo>
                    <a:pt x="50" y="206"/>
                  </a:lnTo>
                  <a:lnTo>
                    <a:pt x="50" y="206"/>
                  </a:lnTo>
                  <a:lnTo>
                    <a:pt x="52" y="206"/>
                  </a:lnTo>
                  <a:lnTo>
                    <a:pt x="52" y="206"/>
                  </a:lnTo>
                  <a:lnTo>
                    <a:pt x="52" y="206"/>
                  </a:lnTo>
                  <a:lnTo>
                    <a:pt x="52" y="206"/>
                  </a:lnTo>
                  <a:lnTo>
                    <a:pt x="52" y="206"/>
                  </a:lnTo>
                  <a:lnTo>
                    <a:pt x="52" y="204"/>
                  </a:lnTo>
                  <a:lnTo>
                    <a:pt x="54" y="206"/>
                  </a:lnTo>
                  <a:lnTo>
                    <a:pt x="54" y="206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4" y="197"/>
                  </a:lnTo>
                  <a:lnTo>
                    <a:pt x="54" y="197"/>
                  </a:lnTo>
                  <a:lnTo>
                    <a:pt x="54" y="197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close/>
                  <a:moveTo>
                    <a:pt x="242" y="187"/>
                  </a:moveTo>
                  <a:lnTo>
                    <a:pt x="240" y="187"/>
                  </a:lnTo>
                  <a:lnTo>
                    <a:pt x="240" y="187"/>
                  </a:lnTo>
                  <a:lnTo>
                    <a:pt x="240" y="187"/>
                  </a:lnTo>
                  <a:lnTo>
                    <a:pt x="240" y="187"/>
                  </a:lnTo>
                  <a:lnTo>
                    <a:pt x="240" y="187"/>
                  </a:lnTo>
                  <a:lnTo>
                    <a:pt x="242" y="187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2" y="189"/>
                  </a:lnTo>
                  <a:lnTo>
                    <a:pt x="242" y="187"/>
                  </a:lnTo>
                  <a:lnTo>
                    <a:pt x="244" y="189"/>
                  </a:lnTo>
                  <a:lnTo>
                    <a:pt x="244" y="189"/>
                  </a:lnTo>
                  <a:lnTo>
                    <a:pt x="244" y="191"/>
                  </a:lnTo>
                  <a:lnTo>
                    <a:pt x="244" y="191"/>
                  </a:lnTo>
                  <a:lnTo>
                    <a:pt x="246" y="189"/>
                  </a:lnTo>
                  <a:lnTo>
                    <a:pt x="246" y="191"/>
                  </a:lnTo>
                  <a:lnTo>
                    <a:pt x="246" y="191"/>
                  </a:lnTo>
                  <a:lnTo>
                    <a:pt x="246" y="191"/>
                  </a:lnTo>
                  <a:lnTo>
                    <a:pt x="247" y="191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6" y="193"/>
                  </a:lnTo>
                  <a:lnTo>
                    <a:pt x="247" y="197"/>
                  </a:lnTo>
                  <a:lnTo>
                    <a:pt x="247" y="195"/>
                  </a:lnTo>
                  <a:lnTo>
                    <a:pt x="247" y="195"/>
                  </a:lnTo>
                  <a:lnTo>
                    <a:pt x="249" y="195"/>
                  </a:lnTo>
                  <a:lnTo>
                    <a:pt x="249" y="195"/>
                  </a:lnTo>
                  <a:lnTo>
                    <a:pt x="249" y="195"/>
                  </a:lnTo>
                  <a:lnTo>
                    <a:pt x="249" y="195"/>
                  </a:lnTo>
                  <a:lnTo>
                    <a:pt x="249" y="195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3" y="195"/>
                  </a:lnTo>
                  <a:lnTo>
                    <a:pt x="253" y="195"/>
                  </a:lnTo>
                  <a:lnTo>
                    <a:pt x="253" y="195"/>
                  </a:lnTo>
                  <a:lnTo>
                    <a:pt x="253" y="195"/>
                  </a:lnTo>
                  <a:lnTo>
                    <a:pt x="253" y="195"/>
                  </a:lnTo>
                  <a:lnTo>
                    <a:pt x="253" y="195"/>
                  </a:lnTo>
                  <a:lnTo>
                    <a:pt x="253" y="193"/>
                  </a:lnTo>
                  <a:lnTo>
                    <a:pt x="253" y="193"/>
                  </a:lnTo>
                  <a:lnTo>
                    <a:pt x="253" y="193"/>
                  </a:lnTo>
                  <a:lnTo>
                    <a:pt x="253" y="193"/>
                  </a:lnTo>
                  <a:lnTo>
                    <a:pt x="253" y="191"/>
                  </a:lnTo>
                  <a:lnTo>
                    <a:pt x="251" y="191"/>
                  </a:lnTo>
                  <a:lnTo>
                    <a:pt x="249" y="189"/>
                  </a:lnTo>
                  <a:lnTo>
                    <a:pt x="247" y="189"/>
                  </a:lnTo>
                  <a:lnTo>
                    <a:pt x="247" y="189"/>
                  </a:lnTo>
                  <a:lnTo>
                    <a:pt x="247" y="187"/>
                  </a:lnTo>
                  <a:lnTo>
                    <a:pt x="247" y="187"/>
                  </a:lnTo>
                  <a:lnTo>
                    <a:pt x="247" y="186"/>
                  </a:lnTo>
                  <a:lnTo>
                    <a:pt x="247" y="186"/>
                  </a:lnTo>
                  <a:lnTo>
                    <a:pt x="247" y="184"/>
                  </a:lnTo>
                  <a:lnTo>
                    <a:pt x="244" y="182"/>
                  </a:lnTo>
                  <a:lnTo>
                    <a:pt x="242" y="182"/>
                  </a:lnTo>
                  <a:lnTo>
                    <a:pt x="242" y="182"/>
                  </a:lnTo>
                  <a:lnTo>
                    <a:pt x="242" y="184"/>
                  </a:lnTo>
                  <a:lnTo>
                    <a:pt x="242" y="184"/>
                  </a:lnTo>
                  <a:lnTo>
                    <a:pt x="242" y="186"/>
                  </a:lnTo>
                  <a:lnTo>
                    <a:pt x="242" y="186"/>
                  </a:lnTo>
                  <a:lnTo>
                    <a:pt x="242" y="187"/>
                  </a:lnTo>
                  <a:close/>
                  <a:moveTo>
                    <a:pt x="229" y="238"/>
                  </a:moveTo>
                  <a:lnTo>
                    <a:pt x="229" y="238"/>
                  </a:lnTo>
                  <a:lnTo>
                    <a:pt x="229" y="238"/>
                  </a:lnTo>
                  <a:lnTo>
                    <a:pt x="229" y="238"/>
                  </a:lnTo>
                  <a:lnTo>
                    <a:pt x="229" y="238"/>
                  </a:lnTo>
                  <a:lnTo>
                    <a:pt x="229" y="238"/>
                  </a:lnTo>
                  <a:lnTo>
                    <a:pt x="231" y="238"/>
                  </a:lnTo>
                  <a:lnTo>
                    <a:pt x="231" y="238"/>
                  </a:lnTo>
                  <a:lnTo>
                    <a:pt x="233" y="238"/>
                  </a:lnTo>
                  <a:lnTo>
                    <a:pt x="233" y="238"/>
                  </a:lnTo>
                  <a:lnTo>
                    <a:pt x="233" y="240"/>
                  </a:lnTo>
                  <a:lnTo>
                    <a:pt x="235" y="240"/>
                  </a:lnTo>
                  <a:lnTo>
                    <a:pt x="235" y="240"/>
                  </a:lnTo>
                  <a:lnTo>
                    <a:pt x="235" y="242"/>
                  </a:lnTo>
                  <a:lnTo>
                    <a:pt x="235" y="242"/>
                  </a:lnTo>
                  <a:lnTo>
                    <a:pt x="235" y="242"/>
                  </a:lnTo>
                  <a:lnTo>
                    <a:pt x="235" y="243"/>
                  </a:lnTo>
                  <a:lnTo>
                    <a:pt x="235" y="243"/>
                  </a:lnTo>
                  <a:lnTo>
                    <a:pt x="235" y="243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8" y="245"/>
                  </a:lnTo>
                  <a:lnTo>
                    <a:pt x="238" y="245"/>
                  </a:lnTo>
                  <a:lnTo>
                    <a:pt x="238" y="245"/>
                  </a:lnTo>
                  <a:lnTo>
                    <a:pt x="238" y="245"/>
                  </a:lnTo>
                  <a:lnTo>
                    <a:pt x="238" y="243"/>
                  </a:lnTo>
                  <a:lnTo>
                    <a:pt x="240" y="243"/>
                  </a:lnTo>
                  <a:lnTo>
                    <a:pt x="240" y="243"/>
                  </a:lnTo>
                  <a:lnTo>
                    <a:pt x="242" y="243"/>
                  </a:lnTo>
                  <a:lnTo>
                    <a:pt x="242" y="245"/>
                  </a:lnTo>
                  <a:lnTo>
                    <a:pt x="242" y="247"/>
                  </a:lnTo>
                  <a:lnTo>
                    <a:pt x="242" y="247"/>
                  </a:lnTo>
                  <a:lnTo>
                    <a:pt x="244" y="247"/>
                  </a:lnTo>
                  <a:lnTo>
                    <a:pt x="244" y="247"/>
                  </a:lnTo>
                  <a:lnTo>
                    <a:pt x="246" y="247"/>
                  </a:lnTo>
                  <a:lnTo>
                    <a:pt x="246" y="245"/>
                  </a:lnTo>
                  <a:lnTo>
                    <a:pt x="247" y="245"/>
                  </a:lnTo>
                  <a:lnTo>
                    <a:pt x="247" y="243"/>
                  </a:lnTo>
                  <a:lnTo>
                    <a:pt x="247" y="242"/>
                  </a:lnTo>
                  <a:lnTo>
                    <a:pt x="249" y="240"/>
                  </a:lnTo>
                  <a:lnTo>
                    <a:pt x="247" y="238"/>
                  </a:lnTo>
                  <a:lnTo>
                    <a:pt x="247" y="238"/>
                  </a:lnTo>
                  <a:lnTo>
                    <a:pt x="247" y="234"/>
                  </a:lnTo>
                  <a:lnTo>
                    <a:pt x="244" y="234"/>
                  </a:lnTo>
                  <a:lnTo>
                    <a:pt x="242" y="236"/>
                  </a:lnTo>
                  <a:lnTo>
                    <a:pt x="242" y="234"/>
                  </a:lnTo>
                  <a:lnTo>
                    <a:pt x="240" y="234"/>
                  </a:lnTo>
                  <a:lnTo>
                    <a:pt x="238" y="234"/>
                  </a:lnTo>
                  <a:lnTo>
                    <a:pt x="238" y="234"/>
                  </a:lnTo>
                  <a:lnTo>
                    <a:pt x="236" y="234"/>
                  </a:lnTo>
                  <a:lnTo>
                    <a:pt x="235" y="234"/>
                  </a:lnTo>
                  <a:lnTo>
                    <a:pt x="235" y="233"/>
                  </a:lnTo>
                  <a:lnTo>
                    <a:pt x="235" y="233"/>
                  </a:lnTo>
                  <a:lnTo>
                    <a:pt x="235" y="233"/>
                  </a:lnTo>
                  <a:lnTo>
                    <a:pt x="233" y="231"/>
                  </a:lnTo>
                  <a:lnTo>
                    <a:pt x="231" y="231"/>
                  </a:lnTo>
                  <a:lnTo>
                    <a:pt x="231" y="229"/>
                  </a:lnTo>
                  <a:lnTo>
                    <a:pt x="231" y="229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5"/>
                  </a:lnTo>
                  <a:lnTo>
                    <a:pt x="231" y="225"/>
                  </a:lnTo>
                  <a:lnTo>
                    <a:pt x="231" y="225"/>
                  </a:lnTo>
                  <a:lnTo>
                    <a:pt x="231" y="225"/>
                  </a:lnTo>
                  <a:lnTo>
                    <a:pt x="231" y="224"/>
                  </a:lnTo>
                  <a:lnTo>
                    <a:pt x="229" y="224"/>
                  </a:lnTo>
                  <a:lnTo>
                    <a:pt x="229" y="222"/>
                  </a:lnTo>
                  <a:lnTo>
                    <a:pt x="229" y="222"/>
                  </a:lnTo>
                  <a:lnTo>
                    <a:pt x="229" y="220"/>
                  </a:lnTo>
                  <a:lnTo>
                    <a:pt x="227" y="218"/>
                  </a:lnTo>
                  <a:lnTo>
                    <a:pt x="227" y="218"/>
                  </a:lnTo>
                  <a:lnTo>
                    <a:pt x="229" y="218"/>
                  </a:lnTo>
                  <a:lnTo>
                    <a:pt x="229" y="218"/>
                  </a:lnTo>
                  <a:lnTo>
                    <a:pt x="227" y="216"/>
                  </a:lnTo>
                  <a:lnTo>
                    <a:pt x="227" y="215"/>
                  </a:lnTo>
                  <a:lnTo>
                    <a:pt x="229" y="213"/>
                  </a:lnTo>
                  <a:lnTo>
                    <a:pt x="231" y="211"/>
                  </a:lnTo>
                  <a:lnTo>
                    <a:pt x="229" y="209"/>
                  </a:lnTo>
                  <a:lnTo>
                    <a:pt x="226" y="206"/>
                  </a:lnTo>
                  <a:lnTo>
                    <a:pt x="224" y="206"/>
                  </a:lnTo>
                  <a:lnTo>
                    <a:pt x="226" y="204"/>
                  </a:lnTo>
                  <a:lnTo>
                    <a:pt x="226" y="204"/>
                  </a:lnTo>
                  <a:lnTo>
                    <a:pt x="226" y="204"/>
                  </a:lnTo>
                  <a:lnTo>
                    <a:pt x="226" y="204"/>
                  </a:lnTo>
                  <a:lnTo>
                    <a:pt x="226" y="202"/>
                  </a:lnTo>
                  <a:lnTo>
                    <a:pt x="226" y="202"/>
                  </a:lnTo>
                  <a:lnTo>
                    <a:pt x="222" y="202"/>
                  </a:lnTo>
                  <a:lnTo>
                    <a:pt x="222" y="202"/>
                  </a:lnTo>
                  <a:lnTo>
                    <a:pt x="220" y="202"/>
                  </a:lnTo>
                  <a:lnTo>
                    <a:pt x="218" y="202"/>
                  </a:lnTo>
                  <a:lnTo>
                    <a:pt x="218" y="200"/>
                  </a:lnTo>
                  <a:lnTo>
                    <a:pt x="217" y="202"/>
                  </a:lnTo>
                  <a:lnTo>
                    <a:pt x="217" y="202"/>
                  </a:lnTo>
                  <a:lnTo>
                    <a:pt x="215" y="202"/>
                  </a:lnTo>
                  <a:lnTo>
                    <a:pt x="215" y="202"/>
                  </a:lnTo>
                  <a:lnTo>
                    <a:pt x="211" y="200"/>
                  </a:lnTo>
                  <a:lnTo>
                    <a:pt x="209" y="200"/>
                  </a:lnTo>
                  <a:lnTo>
                    <a:pt x="208" y="200"/>
                  </a:lnTo>
                  <a:lnTo>
                    <a:pt x="206" y="198"/>
                  </a:lnTo>
                  <a:lnTo>
                    <a:pt x="206" y="198"/>
                  </a:lnTo>
                  <a:lnTo>
                    <a:pt x="206" y="197"/>
                  </a:lnTo>
                  <a:lnTo>
                    <a:pt x="204" y="197"/>
                  </a:lnTo>
                  <a:lnTo>
                    <a:pt x="204" y="195"/>
                  </a:lnTo>
                  <a:lnTo>
                    <a:pt x="202" y="197"/>
                  </a:lnTo>
                  <a:lnTo>
                    <a:pt x="202" y="197"/>
                  </a:lnTo>
                  <a:lnTo>
                    <a:pt x="202" y="197"/>
                  </a:lnTo>
                  <a:lnTo>
                    <a:pt x="200" y="197"/>
                  </a:lnTo>
                  <a:lnTo>
                    <a:pt x="200" y="195"/>
                  </a:lnTo>
                  <a:lnTo>
                    <a:pt x="199" y="195"/>
                  </a:lnTo>
                  <a:lnTo>
                    <a:pt x="199" y="195"/>
                  </a:lnTo>
                  <a:lnTo>
                    <a:pt x="199" y="195"/>
                  </a:lnTo>
                  <a:lnTo>
                    <a:pt x="199" y="195"/>
                  </a:lnTo>
                  <a:lnTo>
                    <a:pt x="199" y="195"/>
                  </a:lnTo>
                  <a:lnTo>
                    <a:pt x="199" y="195"/>
                  </a:lnTo>
                  <a:lnTo>
                    <a:pt x="197" y="193"/>
                  </a:lnTo>
                  <a:lnTo>
                    <a:pt x="195" y="191"/>
                  </a:lnTo>
                  <a:lnTo>
                    <a:pt x="193" y="191"/>
                  </a:lnTo>
                  <a:lnTo>
                    <a:pt x="191" y="189"/>
                  </a:lnTo>
                  <a:lnTo>
                    <a:pt x="191" y="189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88" y="182"/>
                  </a:lnTo>
                  <a:lnTo>
                    <a:pt x="188" y="182"/>
                  </a:lnTo>
                  <a:lnTo>
                    <a:pt x="188" y="180"/>
                  </a:lnTo>
                  <a:lnTo>
                    <a:pt x="188" y="180"/>
                  </a:lnTo>
                  <a:lnTo>
                    <a:pt x="186" y="180"/>
                  </a:lnTo>
                  <a:lnTo>
                    <a:pt x="186" y="178"/>
                  </a:lnTo>
                  <a:lnTo>
                    <a:pt x="186" y="178"/>
                  </a:lnTo>
                  <a:lnTo>
                    <a:pt x="184" y="178"/>
                  </a:lnTo>
                  <a:lnTo>
                    <a:pt x="184" y="178"/>
                  </a:lnTo>
                  <a:lnTo>
                    <a:pt x="184" y="178"/>
                  </a:lnTo>
                  <a:lnTo>
                    <a:pt x="182" y="178"/>
                  </a:lnTo>
                  <a:lnTo>
                    <a:pt x="180" y="180"/>
                  </a:lnTo>
                  <a:lnTo>
                    <a:pt x="179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3" y="180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6"/>
                  </a:lnTo>
                  <a:lnTo>
                    <a:pt x="170" y="186"/>
                  </a:lnTo>
                  <a:lnTo>
                    <a:pt x="170" y="186"/>
                  </a:lnTo>
                  <a:lnTo>
                    <a:pt x="168" y="186"/>
                  </a:lnTo>
                  <a:lnTo>
                    <a:pt x="166" y="187"/>
                  </a:lnTo>
                  <a:lnTo>
                    <a:pt x="164" y="187"/>
                  </a:lnTo>
                  <a:lnTo>
                    <a:pt x="162" y="187"/>
                  </a:lnTo>
                  <a:lnTo>
                    <a:pt x="162" y="189"/>
                  </a:lnTo>
                  <a:lnTo>
                    <a:pt x="161" y="189"/>
                  </a:lnTo>
                  <a:lnTo>
                    <a:pt x="161" y="189"/>
                  </a:lnTo>
                  <a:lnTo>
                    <a:pt x="161" y="189"/>
                  </a:lnTo>
                  <a:lnTo>
                    <a:pt x="161" y="191"/>
                  </a:lnTo>
                  <a:lnTo>
                    <a:pt x="161" y="191"/>
                  </a:lnTo>
                  <a:lnTo>
                    <a:pt x="161" y="191"/>
                  </a:lnTo>
                  <a:lnTo>
                    <a:pt x="161" y="191"/>
                  </a:lnTo>
                  <a:lnTo>
                    <a:pt x="166" y="191"/>
                  </a:lnTo>
                  <a:lnTo>
                    <a:pt x="168" y="191"/>
                  </a:lnTo>
                  <a:lnTo>
                    <a:pt x="168" y="189"/>
                  </a:lnTo>
                  <a:lnTo>
                    <a:pt x="168" y="189"/>
                  </a:lnTo>
                  <a:lnTo>
                    <a:pt x="168" y="189"/>
                  </a:lnTo>
                  <a:lnTo>
                    <a:pt x="168" y="189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8" y="187"/>
                  </a:lnTo>
                  <a:lnTo>
                    <a:pt x="168" y="187"/>
                  </a:lnTo>
                  <a:lnTo>
                    <a:pt x="168" y="187"/>
                  </a:lnTo>
                  <a:lnTo>
                    <a:pt x="170" y="187"/>
                  </a:lnTo>
                  <a:lnTo>
                    <a:pt x="170" y="189"/>
                  </a:lnTo>
                  <a:lnTo>
                    <a:pt x="170" y="189"/>
                  </a:lnTo>
                  <a:lnTo>
                    <a:pt x="171" y="189"/>
                  </a:lnTo>
                  <a:lnTo>
                    <a:pt x="171" y="191"/>
                  </a:lnTo>
                  <a:lnTo>
                    <a:pt x="173" y="191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1"/>
                  </a:lnTo>
                  <a:lnTo>
                    <a:pt x="179" y="191"/>
                  </a:lnTo>
                  <a:lnTo>
                    <a:pt x="184" y="195"/>
                  </a:lnTo>
                  <a:lnTo>
                    <a:pt x="184" y="197"/>
                  </a:lnTo>
                  <a:lnTo>
                    <a:pt x="186" y="197"/>
                  </a:lnTo>
                  <a:lnTo>
                    <a:pt x="186" y="197"/>
                  </a:lnTo>
                  <a:lnTo>
                    <a:pt x="186" y="198"/>
                  </a:lnTo>
                  <a:lnTo>
                    <a:pt x="186" y="198"/>
                  </a:lnTo>
                  <a:lnTo>
                    <a:pt x="188" y="200"/>
                  </a:lnTo>
                  <a:lnTo>
                    <a:pt x="190" y="200"/>
                  </a:lnTo>
                  <a:lnTo>
                    <a:pt x="191" y="200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1" y="204"/>
                  </a:lnTo>
                  <a:lnTo>
                    <a:pt x="193" y="204"/>
                  </a:lnTo>
                  <a:lnTo>
                    <a:pt x="193" y="204"/>
                  </a:lnTo>
                  <a:lnTo>
                    <a:pt x="193" y="206"/>
                  </a:lnTo>
                  <a:lnTo>
                    <a:pt x="193" y="206"/>
                  </a:lnTo>
                  <a:lnTo>
                    <a:pt x="193" y="206"/>
                  </a:lnTo>
                  <a:lnTo>
                    <a:pt x="195" y="207"/>
                  </a:lnTo>
                  <a:lnTo>
                    <a:pt x="195" y="207"/>
                  </a:lnTo>
                  <a:lnTo>
                    <a:pt x="199" y="207"/>
                  </a:lnTo>
                  <a:lnTo>
                    <a:pt x="199" y="207"/>
                  </a:lnTo>
                  <a:lnTo>
                    <a:pt x="199" y="209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3"/>
                  </a:lnTo>
                  <a:lnTo>
                    <a:pt x="200" y="213"/>
                  </a:lnTo>
                  <a:lnTo>
                    <a:pt x="199" y="215"/>
                  </a:lnTo>
                  <a:lnTo>
                    <a:pt x="199" y="216"/>
                  </a:lnTo>
                  <a:lnTo>
                    <a:pt x="199" y="216"/>
                  </a:lnTo>
                  <a:lnTo>
                    <a:pt x="199" y="215"/>
                  </a:lnTo>
                  <a:lnTo>
                    <a:pt x="199" y="215"/>
                  </a:lnTo>
                  <a:lnTo>
                    <a:pt x="199" y="215"/>
                  </a:lnTo>
                  <a:lnTo>
                    <a:pt x="200" y="218"/>
                  </a:lnTo>
                  <a:lnTo>
                    <a:pt x="200" y="218"/>
                  </a:lnTo>
                  <a:lnTo>
                    <a:pt x="202" y="218"/>
                  </a:lnTo>
                  <a:lnTo>
                    <a:pt x="204" y="218"/>
                  </a:lnTo>
                  <a:lnTo>
                    <a:pt x="204" y="218"/>
                  </a:lnTo>
                  <a:lnTo>
                    <a:pt x="208" y="218"/>
                  </a:lnTo>
                  <a:lnTo>
                    <a:pt x="208" y="218"/>
                  </a:lnTo>
                  <a:lnTo>
                    <a:pt x="209" y="218"/>
                  </a:lnTo>
                  <a:lnTo>
                    <a:pt x="211" y="218"/>
                  </a:lnTo>
                  <a:lnTo>
                    <a:pt x="211" y="218"/>
                  </a:lnTo>
                  <a:lnTo>
                    <a:pt x="213" y="220"/>
                  </a:lnTo>
                  <a:lnTo>
                    <a:pt x="215" y="220"/>
                  </a:lnTo>
                  <a:lnTo>
                    <a:pt x="218" y="218"/>
                  </a:lnTo>
                  <a:lnTo>
                    <a:pt x="220" y="220"/>
                  </a:lnTo>
                  <a:lnTo>
                    <a:pt x="220" y="218"/>
                  </a:lnTo>
                  <a:lnTo>
                    <a:pt x="220" y="220"/>
                  </a:lnTo>
                  <a:lnTo>
                    <a:pt x="222" y="220"/>
                  </a:lnTo>
                  <a:lnTo>
                    <a:pt x="222" y="220"/>
                  </a:lnTo>
                  <a:lnTo>
                    <a:pt x="222" y="220"/>
                  </a:lnTo>
                  <a:lnTo>
                    <a:pt x="222" y="222"/>
                  </a:lnTo>
                  <a:lnTo>
                    <a:pt x="222" y="222"/>
                  </a:lnTo>
                  <a:lnTo>
                    <a:pt x="222" y="222"/>
                  </a:lnTo>
                  <a:lnTo>
                    <a:pt x="222" y="224"/>
                  </a:lnTo>
                  <a:lnTo>
                    <a:pt x="220" y="224"/>
                  </a:lnTo>
                  <a:lnTo>
                    <a:pt x="222" y="224"/>
                  </a:lnTo>
                  <a:lnTo>
                    <a:pt x="222" y="224"/>
                  </a:lnTo>
                  <a:lnTo>
                    <a:pt x="224" y="224"/>
                  </a:lnTo>
                  <a:lnTo>
                    <a:pt x="226" y="225"/>
                  </a:lnTo>
                  <a:lnTo>
                    <a:pt x="224" y="227"/>
                  </a:lnTo>
                  <a:lnTo>
                    <a:pt x="224" y="227"/>
                  </a:lnTo>
                  <a:lnTo>
                    <a:pt x="224" y="227"/>
                  </a:lnTo>
                  <a:lnTo>
                    <a:pt x="224" y="227"/>
                  </a:lnTo>
                  <a:lnTo>
                    <a:pt x="224" y="227"/>
                  </a:lnTo>
                  <a:lnTo>
                    <a:pt x="224" y="227"/>
                  </a:lnTo>
                  <a:lnTo>
                    <a:pt x="224" y="229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7" y="227"/>
                  </a:lnTo>
                  <a:lnTo>
                    <a:pt x="226" y="227"/>
                  </a:lnTo>
                  <a:lnTo>
                    <a:pt x="226" y="229"/>
                  </a:lnTo>
                  <a:lnTo>
                    <a:pt x="226" y="231"/>
                  </a:lnTo>
                  <a:lnTo>
                    <a:pt x="226" y="231"/>
                  </a:lnTo>
                  <a:lnTo>
                    <a:pt x="226" y="229"/>
                  </a:lnTo>
                  <a:lnTo>
                    <a:pt x="226" y="229"/>
                  </a:lnTo>
                  <a:lnTo>
                    <a:pt x="227" y="229"/>
                  </a:lnTo>
                  <a:lnTo>
                    <a:pt x="227" y="231"/>
                  </a:lnTo>
                  <a:lnTo>
                    <a:pt x="229" y="233"/>
                  </a:lnTo>
                  <a:lnTo>
                    <a:pt x="229" y="233"/>
                  </a:lnTo>
                  <a:lnTo>
                    <a:pt x="229" y="234"/>
                  </a:lnTo>
                  <a:lnTo>
                    <a:pt x="229" y="234"/>
                  </a:lnTo>
                  <a:lnTo>
                    <a:pt x="227" y="234"/>
                  </a:lnTo>
                  <a:lnTo>
                    <a:pt x="227" y="236"/>
                  </a:lnTo>
                  <a:lnTo>
                    <a:pt x="227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9" y="238"/>
                  </a:lnTo>
                  <a:lnTo>
                    <a:pt x="229" y="238"/>
                  </a:lnTo>
                  <a:close/>
                  <a:moveTo>
                    <a:pt x="190" y="171"/>
                  </a:move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3" y="171"/>
                  </a:lnTo>
                  <a:lnTo>
                    <a:pt x="193" y="169"/>
                  </a:lnTo>
                  <a:lnTo>
                    <a:pt x="193" y="171"/>
                  </a:lnTo>
                  <a:lnTo>
                    <a:pt x="195" y="169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0" y="169"/>
                  </a:lnTo>
                  <a:lnTo>
                    <a:pt x="190" y="169"/>
                  </a:lnTo>
                  <a:lnTo>
                    <a:pt x="190" y="169"/>
                  </a:lnTo>
                  <a:lnTo>
                    <a:pt x="190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90" y="171"/>
                  </a:lnTo>
                  <a:lnTo>
                    <a:pt x="190" y="171"/>
                  </a:lnTo>
                  <a:lnTo>
                    <a:pt x="190" y="171"/>
                  </a:lnTo>
                  <a:close/>
                  <a:moveTo>
                    <a:pt x="204" y="171"/>
                  </a:moveTo>
                  <a:lnTo>
                    <a:pt x="202" y="169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200" y="169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5"/>
                  </a:lnTo>
                  <a:lnTo>
                    <a:pt x="204" y="175"/>
                  </a:lnTo>
                  <a:lnTo>
                    <a:pt x="206" y="175"/>
                  </a:lnTo>
                  <a:lnTo>
                    <a:pt x="206" y="175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4" y="171"/>
                  </a:lnTo>
                  <a:close/>
                  <a:moveTo>
                    <a:pt x="27" y="166"/>
                  </a:moveTo>
                  <a:lnTo>
                    <a:pt x="27" y="166"/>
                  </a:lnTo>
                  <a:lnTo>
                    <a:pt x="25" y="166"/>
                  </a:lnTo>
                  <a:lnTo>
                    <a:pt x="25" y="166"/>
                  </a:lnTo>
                  <a:lnTo>
                    <a:pt x="25" y="166"/>
                  </a:lnTo>
                  <a:lnTo>
                    <a:pt x="25" y="168"/>
                  </a:lnTo>
                  <a:lnTo>
                    <a:pt x="27" y="168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9" y="169"/>
                  </a:lnTo>
                  <a:lnTo>
                    <a:pt x="29" y="168"/>
                  </a:lnTo>
                  <a:lnTo>
                    <a:pt x="27" y="166"/>
                  </a:lnTo>
                  <a:close/>
                  <a:moveTo>
                    <a:pt x="217" y="162"/>
                  </a:moveTo>
                  <a:lnTo>
                    <a:pt x="217" y="162"/>
                  </a:lnTo>
                  <a:lnTo>
                    <a:pt x="217" y="162"/>
                  </a:lnTo>
                  <a:lnTo>
                    <a:pt x="215" y="162"/>
                  </a:lnTo>
                  <a:lnTo>
                    <a:pt x="213" y="166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11" y="169"/>
                  </a:lnTo>
                  <a:lnTo>
                    <a:pt x="211" y="171"/>
                  </a:lnTo>
                  <a:lnTo>
                    <a:pt x="211" y="171"/>
                  </a:lnTo>
                  <a:lnTo>
                    <a:pt x="213" y="169"/>
                  </a:lnTo>
                  <a:lnTo>
                    <a:pt x="215" y="168"/>
                  </a:lnTo>
                  <a:lnTo>
                    <a:pt x="215" y="166"/>
                  </a:lnTo>
                  <a:lnTo>
                    <a:pt x="217" y="166"/>
                  </a:lnTo>
                  <a:lnTo>
                    <a:pt x="217" y="164"/>
                  </a:lnTo>
                  <a:lnTo>
                    <a:pt x="217" y="162"/>
                  </a:lnTo>
                  <a:lnTo>
                    <a:pt x="217" y="162"/>
                  </a:lnTo>
                  <a:lnTo>
                    <a:pt x="217" y="162"/>
                  </a:lnTo>
                  <a:lnTo>
                    <a:pt x="217" y="162"/>
                  </a:lnTo>
                  <a:close/>
                  <a:moveTo>
                    <a:pt x="222" y="160"/>
                  </a:moveTo>
                  <a:lnTo>
                    <a:pt x="222" y="162"/>
                  </a:lnTo>
                  <a:lnTo>
                    <a:pt x="222" y="160"/>
                  </a:lnTo>
                  <a:lnTo>
                    <a:pt x="224" y="159"/>
                  </a:lnTo>
                  <a:lnTo>
                    <a:pt x="224" y="159"/>
                  </a:lnTo>
                  <a:lnTo>
                    <a:pt x="224" y="159"/>
                  </a:lnTo>
                  <a:lnTo>
                    <a:pt x="222" y="159"/>
                  </a:lnTo>
                  <a:lnTo>
                    <a:pt x="222" y="159"/>
                  </a:lnTo>
                  <a:lnTo>
                    <a:pt x="222" y="159"/>
                  </a:lnTo>
                  <a:lnTo>
                    <a:pt x="222" y="159"/>
                  </a:lnTo>
                  <a:lnTo>
                    <a:pt x="222" y="157"/>
                  </a:lnTo>
                  <a:lnTo>
                    <a:pt x="222" y="157"/>
                  </a:lnTo>
                  <a:lnTo>
                    <a:pt x="222" y="159"/>
                  </a:lnTo>
                  <a:lnTo>
                    <a:pt x="220" y="159"/>
                  </a:lnTo>
                  <a:lnTo>
                    <a:pt x="220" y="159"/>
                  </a:lnTo>
                  <a:lnTo>
                    <a:pt x="220" y="160"/>
                  </a:lnTo>
                  <a:lnTo>
                    <a:pt x="222" y="160"/>
                  </a:lnTo>
                  <a:lnTo>
                    <a:pt x="222" y="160"/>
                  </a:lnTo>
                  <a:lnTo>
                    <a:pt x="222" y="160"/>
                  </a:lnTo>
                  <a:lnTo>
                    <a:pt x="222" y="160"/>
                  </a:lnTo>
                  <a:close/>
                  <a:moveTo>
                    <a:pt x="347" y="180"/>
                  </a:moveTo>
                  <a:lnTo>
                    <a:pt x="347" y="180"/>
                  </a:lnTo>
                  <a:lnTo>
                    <a:pt x="347" y="180"/>
                  </a:lnTo>
                  <a:lnTo>
                    <a:pt x="347" y="180"/>
                  </a:lnTo>
                  <a:lnTo>
                    <a:pt x="347" y="180"/>
                  </a:lnTo>
                  <a:lnTo>
                    <a:pt x="345" y="178"/>
                  </a:lnTo>
                  <a:lnTo>
                    <a:pt x="343" y="177"/>
                  </a:lnTo>
                  <a:lnTo>
                    <a:pt x="341" y="175"/>
                  </a:lnTo>
                  <a:lnTo>
                    <a:pt x="341" y="173"/>
                  </a:lnTo>
                  <a:lnTo>
                    <a:pt x="341" y="173"/>
                  </a:lnTo>
                  <a:lnTo>
                    <a:pt x="343" y="173"/>
                  </a:lnTo>
                  <a:lnTo>
                    <a:pt x="345" y="173"/>
                  </a:lnTo>
                  <a:lnTo>
                    <a:pt x="345" y="175"/>
                  </a:lnTo>
                  <a:lnTo>
                    <a:pt x="345" y="175"/>
                  </a:lnTo>
                  <a:lnTo>
                    <a:pt x="345" y="175"/>
                  </a:lnTo>
                  <a:lnTo>
                    <a:pt x="345" y="175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8"/>
                  </a:lnTo>
                  <a:lnTo>
                    <a:pt x="345" y="178"/>
                  </a:lnTo>
                  <a:lnTo>
                    <a:pt x="345" y="178"/>
                  </a:lnTo>
                  <a:lnTo>
                    <a:pt x="347" y="178"/>
                  </a:lnTo>
                  <a:lnTo>
                    <a:pt x="347" y="180"/>
                  </a:lnTo>
                  <a:lnTo>
                    <a:pt x="347" y="178"/>
                  </a:lnTo>
                  <a:lnTo>
                    <a:pt x="348" y="180"/>
                  </a:lnTo>
                  <a:lnTo>
                    <a:pt x="348" y="178"/>
                  </a:lnTo>
                  <a:lnTo>
                    <a:pt x="350" y="178"/>
                  </a:lnTo>
                  <a:lnTo>
                    <a:pt x="350" y="177"/>
                  </a:lnTo>
                  <a:lnTo>
                    <a:pt x="348" y="177"/>
                  </a:lnTo>
                  <a:lnTo>
                    <a:pt x="348" y="175"/>
                  </a:lnTo>
                  <a:lnTo>
                    <a:pt x="347" y="175"/>
                  </a:lnTo>
                  <a:lnTo>
                    <a:pt x="347" y="173"/>
                  </a:lnTo>
                  <a:lnTo>
                    <a:pt x="347" y="173"/>
                  </a:lnTo>
                  <a:lnTo>
                    <a:pt x="347" y="173"/>
                  </a:lnTo>
                  <a:lnTo>
                    <a:pt x="347" y="173"/>
                  </a:lnTo>
                  <a:lnTo>
                    <a:pt x="347" y="171"/>
                  </a:lnTo>
                  <a:lnTo>
                    <a:pt x="345" y="171"/>
                  </a:lnTo>
                  <a:lnTo>
                    <a:pt x="345" y="171"/>
                  </a:lnTo>
                  <a:lnTo>
                    <a:pt x="345" y="171"/>
                  </a:lnTo>
                  <a:lnTo>
                    <a:pt x="347" y="169"/>
                  </a:lnTo>
                  <a:lnTo>
                    <a:pt x="345" y="169"/>
                  </a:lnTo>
                  <a:lnTo>
                    <a:pt x="345" y="169"/>
                  </a:lnTo>
                  <a:lnTo>
                    <a:pt x="343" y="166"/>
                  </a:lnTo>
                  <a:lnTo>
                    <a:pt x="341" y="166"/>
                  </a:lnTo>
                  <a:lnTo>
                    <a:pt x="341" y="166"/>
                  </a:lnTo>
                  <a:lnTo>
                    <a:pt x="339" y="164"/>
                  </a:lnTo>
                  <a:lnTo>
                    <a:pt x="338" y="162"/>
                  </a:lnTo>
                  <a:lnTo>
                    <a:pt x="338" y="162"/>
                  </a:lnTo>
                  <a:lnTo>
                    <a:pt x="339" y="160"/>
                  </a:lnTo>
                  <a:lnTo>
                    <a:pt x="339" y="159"/>
                  </a:lnTo>
                  <a:lnTo>
                    <a:pt x="339" y="159"/>
                  </a:lnTo>
                  <a:lnTo>
                    <a:pt x="338" y="159"/>
                  </a:lnTo>
                  <a:lnTo>
                    <a:pt x="336" y="157"/>
                  </a:lnTo>
                  <a:lnTo>
                    <a:pt x="338" y="157"/>
                  </a:lnTo>
                  <a:lnTo>
                    <a:pt x="336" y="157"/>
                  </a:lnTo>
                  <a:lnTo>
                    <a:pt x="327" y="157"/>
                  </a:lnTo>
                  <a:lnTo>
                    <a:pt x="327" y="159"/>
                  </a:lnTo>
                  <a:lnTo>
                    <a:pt x="327" y="159"/>
                  </a:lnTo>
                  <a:lnTo>
                    <a:pt x="327" y="160"/>
                  </a:lnTo>
                  <a:lnTo>
                    <a:pt x="325" y="160"/>
                  </a:lnTo>
                  <a:lnTo>
                    <a:pt x="323" y="160"/>
                  </a:lnTo>
                  <a:lnTo>
                    <a:pt x="323" y="160"/>
                  </a:lnTo>
                  <a:lnTo>
                    <a:pt x="321" y="162"/>
                  </a:lnTo>
                  <a:lnTo>
                    <a:pt x="321" y="162"/>
                  </a:lnTo>
                  <a:lnTo>
                    <a:pt x="321" y="162"/>
                  </a:lnTo>
                  <a:lnTo>
                    <a:pt x="321" y="160"/>
                  </a:lnTo>
                  <a:lnTo>
                    <a:pt x="321" y="162"/>
                  </a:lnTo>
                  <a:lnTo>
                    <a:pt x="321" y="162"/>
                  </a:lnTo>
                  <a:lnTo>
                    <a:pt x="321" y="162"/>
                  </a:lnTo>
                  <a:lnTo>
                    <a:pt x="320" y="162"/>
                  </a:lnTo>
                  <a:lnTo>
                    <a:pt x="320" y="162"/>
                  </a:lnTo>
                  <a:lnTo>
                    <a:pt x="318" y="162"/>
                  </a:lnTo>
                  <a:lnTo>
                    <a:pt x="316" y="162"/>
                  </a:lnTo>
                  <a:lnTo>
                    <a:pt x="314" y="162"/>
                  </a:lnTo>
                  <a:lnTo>
                    <a:pt x="314" y="162"/>
                  </a:lnTo>
                  <a:lnTo>
                    <a:pt x="314" y="162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2" y="166"/>
                  </a:lnTo>
                  <a:lnTo>
                    <a:pt x="312" y="166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1" y="166"/>
                  </a:lnTo>
                  <a:lnTo>
                    <a:pt x="312" y="166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9"/>
                  </a:lnTo>
                  <a:lnTo>
                    <a:pt x="311" y="169"/>
                  </a:lnTo>
                  <a:lnTo>
                    <a:pt x="312" y="169"/>
                  </a:lnTo>
                  <a:lnTo>
                    <a:pt x="312" y="171"/>
                  </a:lnTo>
                  <a:lnTo>
                    <a:pt x="314" y="171"/>
                  </a:lnTo>
                  <a:lnTo>
                    <a:pt x="314" y="171"/>
                  </a:lnTo>
                  <a:lnTo>
                    <a:pt x="316" y="171"/>
                  </a:lnTo>
                  <a:lnTo>
                    <a:pt x="316" y="173"/>
                  </a:lnTo>
                  <a:lnTo>
                    <a:pt x="316" y="173"/>
                  </a:lnTo>
                  <a:lnTo>
                    <a:pt x="321" y="175"/>
                  </a:lnTo>
                  <a:lnTo>
                    <a:pt x="321" y="175"/>
                  </a:lnTo>
                  <a:lnTo>
                    <a:pt x="323" y="175"/>
                  </a:lnTo>
                  <a:lnTo>
                    <a:pt x="323" y="173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7" y="169"/>
                  </a:lnTo>
                  <a:lnTo>
                    <a:pt x="327" y="168"/>
                  </a:lnTo>
                  <a:lnTo>
                    <a:pt x="329" y="168"/>
                  </a:lnTo>
                  <a:lnTo>
                    <a:pt x="329" y="168"/>
                  </a:lnTo>
                  <a:lnTo>
                    <a:pt x="330" y="168"/>
                  </a:lnTo>
                  <a:lnTo>
                    <a:pt x="330" y="168"/>
                  </a:lnTo>
                  <a:lnTo>
                    <a:pt x="332" y="168"/>
                  </a:lnTo>
                  <a:lnTo>
                    <a:pt x="332" y="168"/>
                  </a:lnTo>
                  <a:lnTo>
                    <a:pt x="334" y="169"/>
                  </a:lnTo>
                  <a:lnTo>
                    <a:pt x="334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32" y="171"/>
                  </a:lnTo>
                  <a:lnTo>
                    <a:pt x="330" y="171"/>
                  </a:lnTo>
                  <a:lnTo>
                    <a:pt x="329" y="173"/>
                  </a:lnTo>
                  <a:lnTo>
                    <a:pt x="329" y="173"/>
                  </a:lnTo>
                  <a:lnTo>
                    <a:pt x="329" y="173"/>
                  </a:lnTo>
                  <a:lnTo>
                    <a:pt x="329" y="173"/>
                  </a:lnTo>
                  <a:lnTo>
                    <a:pt x="327" y="175"/>
                  </a:lnTo>
                  <a:lnTo>
                    <a:pt x="327" y="175"/>
                  </a:lnTo>
                  <a:lnTo>
                    <a:pt x="325" y="175"/>
                  </a:lnTo>
                  <a:lnTo>
                    <a:pt x="325" y="175"/>
                  </a:lnTo>
                  <a:lnTo>
                    <a:pt x="325" y="175"/>
                  </a:lnTo>
                  <a:lnTo>
                    <a:pt x="325" y="175"/>
                  </a:lnTo>
                  <a:lnTo>
                    <a:pt x="323" y="175"/>
                  </a:lnTo>
                  <a:lnTo>
                    <a:pt x="323" y="175"/>
                  </a:lnTo>
                  <a:lnTo>
                    <a:pt x="323" y="175"/>
                  </a:lnTo>
                  <a:lnTo>
                    <a:pt x="323" y="175"/>
                  </a:lnTo>
                  <a:lnTo>
                    <a:pt x="323" y="177"/>
                  </a:lnTo>
                  <a:lnTo>
                    <a:pt x="325" y="177"/>
                  </a:lnTo>
                  <a:lnTo>
                    <a:pt x="327" y="178"/>
                  </a:lnTo>
                  <a:lnTo>
                    <a:pt x="327" y="178"/>
                  </a:lnTo>
                  <a:lnTo>
                    <a:pt x="327" y="178"/>
                  </a:lnTo>
                  <a:lnTo>
                    <a:pt x="330" y="178"/>
                  </a:lnTo>
                  <a:lnTo>
                    <a:pt x="332" y="180"/>
                  </a:lnTo>
                  <a:lnTo>
                    <a:pt x="334" y="180"/>
                  </a:lnTo>
                  <a:lnTo>
                    <a:pt x="336" y="182"/>
                  </a:lnTo>
                  <a:lnTo>
                    <a:pt x="336" y="182"/>
                  </a:lnTo>
                  <a:lnTo>
                    <a:pt x="338" y="182"/>
                  </a:lnTo>
                  <a:lnTo>
                    <a:pt x="339" y="182"/>
                  </a:lnTo>
                  <a:lnTo>
                    <a:pt x="339" y="182"/>
                  </a:lnTo>
                  <a:lnTo>
                    <a:pt x="343" y="182"/>
                  </a:lnTo>
                  <a:lnTo>
                    <a:pt x="345" y="182"/>
                  </a:lnTo>
                  <a:lnTo>
                    <a:pt x="347" y="182"/>
                  </a:lnTo>
                  <a:lnTo>
                    <a:pt x="347" y="180"/>
                  </a:lnTo>
                  <a:close/>
                  <a:moveTo>
                    <a:pt x="267" y="148"/>
                  </a:moveTo>
                  <a:lnTo>
                    <a:pt x="267" y="151"/>
                  </a:lnTo>
                  <a:lnTo>
                    <a:pt x="269" y="151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69" y="144"/>
                  </a:lnTo>
                  <a:lnTo>
                    <a:pt x="269" y="144"/>
                  </a:lnTo>
                  <a:lnTo>
                    <a:pt x="269" y="144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7" y="148"/>
                  </a:lnTo>
                  <a:close/>
                  <a:moveTo>
                    <a:pt x="23" y="155"/>
                  </a:moveTo>
                  <a:lnTo>
                    <a:pt x="23" y="153"/>
                  </a:lnTo>
                  <a:lnTo>
                    <a:pt x="23" y="153"/>
                  </a:lnTo>
                  <a:lnTo>
                    <a:pt x="23" y="151"/>
                  </a:lnTo>
                  <a:lnTo>
                    <a:pt x="22" y="151"/>
                  </a:lnTo>
                  <a:lnTo>
                    <a:pt x="22" y="151"/>
                  </a:lnTo>
                  <a:lnTo>
                    <a:pt x="22" y="151"/>
                  </a:lnTo>
                  <a:lnTo>
                    <a:pt x="20" y="153"/>
                  </a:lnTo>
                  <a:lnTo>
                    <a:pt x="20" y="151"/>
                  </a:lnTo>
                  <a:lnTo>
                    <a:pt x="18" y="151"/>
                  </a:lnTo>
                  <a:lnTo>
                    <a:pt x="18" y="151"/>
                  </a:lnTo>
                  <a:lnTo>
                    <a:pt x="16" y="151"/>
                  </a:lnTo>
                  <a:lnTo>
                    <a:pt x="16" y="151"/>
                  </a:lnTo>
                  <a:lnTo>
                    <a:pt x="16" y="150"/>
                  </a:lnTo>
                  <a:lnTo>
                    <a:pt x="14" y="150"/>
                  </a:lnTo>
                  <a:lnTo>
                    <a:pt x="14" y="142"/>
                  </a:lnTo>
                  <a:lnTo>
                    <a:pt x="13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1"/>
                  </a:lnTo>
                  <a:lnTo>
                    <a:pt x="14" y="141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6" y="131"/>
                  </a:lnTo>
                  <a:lnTo>
                    <a:pt x="16" y="130"/>
                  </a:lnTo>
                  <a:lnTo>
                    <a:pt x="16" y="130"/>
                  </a:lnTo>
                  <a:lnTo>
                    <a:pt x="16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1" y="128"/>
                  </a:lnTo>
                  <a:lnTo>
                    <a:pt x="9" y="128"/>
                  </a:lnTo>
                  <a:lnTo>
                    <a:pt x="9" y="128"/>
                  </a:lnTo>
                  <a:lnTo>
                    <a:pt x="7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5"/>
                  </a:lnTo>
                  <a:lnTo>
                    <a:pt x="2" y="133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5" y="141"/>
                  </a:lnTo>
                  <a:lnTo>
                    <a:pt x="7" y="141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1" y="148"/>
                  </a:lnTo>
                  <a:lnTo>
                    <a:pt x="11" y="150"/>
                  </a:lnTo>
                  <a:lnTo>
                    <a:pt x="13" y="150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4" y="151"/>
                  </a:lnTo>
                  <a:lnTo>
                    <a:pt x="14" y="153"/>
                  </a:lnTo>
                  <a:lnTo>
                    <a:pt x="14" y="153"/>
                  </a:lnTo>
                  <a:lnTo>
                    <a:pt x="14" y="153"/>
                  </a:lnTo>
                  <a:lnTo>
                    <a:pt x="14" y="153"/>
                  </a:lnTo>
                  <a:lnTo>
                    <a:pt x="14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8" y="155"/>
                  </a:lnTo>
                  <a:lnTo>
                    <a:pt x="18" y="155"/>
                  </a:lnTo>
                  <a:lnTo>
                    <a:pt x="20" y="155"/>
                  </a:lnTo>
                  <a:lnTo>
                    <a:pt x="20" y="155"/>
                  </a:lnTo>
                  <a:lnTo>
                    <a:pt x="22" y="155"/>
                  </a:lnTo>
                  <a:lnTo>
                    <a:pt x="22" y="157"/>
                  </a:lnTo>
                  <a:lnTo>
                    <a:pt x="23" y="157"/>
                  </a:lnTo>
                  <a:lnTo>
                    <a:pt x="23" y="157"/>
                  </a:lnTo>
                  <a:lnTo>
                    <a:pt x="25" y="157"/>
                  </a:lnTo>
                  <a:lnTo>
                    <a:pt x="25" y="157"/>
                  </a:lnTo>
                  <a:lnTo>
                    <a:pt x="23" y="155"/>
                  </a:lnTo>
                  <a:close/>
                  <a:moveTo>
                    <a:pt x="282" y="117"/>
                  </a:moveTo>
                  <a:lnTo>
                    <a:pt x="282" y="117"/>
                  </a:lnTo>
                  <a:lnTo>
                    <a:pt x="282" y="115"/>
                  </a:lnTo>
                  <a:lnTo>
                    <a:pt x="280" y="115"/>
                  </a:lnTo>
                  <a:lnTo>
                    <a:pt x="278" y="115"/>
                  </a:lnTo>
                  <a:lnTo>
                    <a:pt x="276" y="117"/>
                  </a:lnTo>
                  <a:lnTo>
                    <a:pt x="276" y="115"/>
                  </a:lnTo>
                  <a:lnTo>
                    <a:pt x="276" y="115"/>
                  </a:lnTo>
                  <a:lnTo>
                    <a:pt x="276" y="115"/>
                  </a:lnTo>
                  <a:lnTo>
                    <a:pt x="276" y="115"/>
                  </a:lnTo>
                  <a:lnTo>
                    <a:pt x="273" y="115"/>
                  </a:lnTo>
                  <a:lnTo>
                    <a:pt x="271" y="117"/>
                  </a:lnTo>
                  <a:lnTo>
                    <a:pt x="271" y="117"/>
                  </a:lnTo>
                  <a:lnTo>
                    <a:pt x="271" y="117"/>
                  </a:lnTo>
                  <a:lnTo>
                    <a:pt x="271" y="117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1" y="121"/>
                  </a:lnTo>
                  <a:lnTo>
                    <a:pt x="273" y="121"/>
                  </a:lnTo>
                  <a:lnTo>
                    <a:pt x="273" y="121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1" y="122"/>
                  </a:lnTo>
                  <a:lnTo>
                    <a:pt x="271" y="122"/>
                  </a:lnTo>
                  <a:lnTo>
                    <a:pt x="271" y="122"/>
                  </a:lnTo>
                  <a:lnTo>
                    <a:pt x="273" y="122"/>
                  </a:lnTo>
                  <a:lnTo>
                    <a:pt x="273" y="124"/>
                  </a:lnTo>
                  <a:lnTo>
                    <a:pt x="271" y="124"/>
                  </a:lnTo>
                  <a:lnTo>
                    <a:pt x="271" y="124"/>
                  </a:lnTo>
                  <a:lnTo>
                    <a:pt x="271" y="124"/>
                  </a:lnTo>
                  <a:lnTo>
                    <a:pt x="271" y="124"/>
                  </a:lnTo>
                  <a:lnTo>
                    <a:pt x="271" y="124"/>
                  </a:lnTo>
                  <a:lnTo>
                    <a:pt x="273" y="124"/>
                  </a:lnTo>
                  <a:lnTo>
                    <a:pt x="273" y="124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1" y="126"/>
                  </a:lnTo>
                  <a:lnTo>
                    <a:pt x="273" y="126"/>
                  </a:lnTo>
                  <a:lnTo>
                    <a:pt x="274" y="124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6" y="126"/>
                  </a:lnTo>
                  <a:lnTo>
                    <a:pt x="276" y="126"/>
                  </a:lnTo>
                  <a:lnTo>
                    <a:pt x="276" y="126"/>
                  </a:lnTo>
                  <a:lnTo>
                    <a:pt x="276" y="124"/>
                  </a:lnTo>
                  <a:lnTo>
                    <a:pt x="278" y="126"/>
                  </a:lnTo>
                  <a:lnTo>
                    <a:pt x="276" y="126"/>
                  </a:lnTo>
                  <a:lnTo>
                    <a:pt x="276" y="128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80" y="128"/>
                  </a:lnTo>
                  <a:lnTo>
                    <a:pt x="280" y="128"/>
                  </a:lnTo>
                  <a:lnTo>
                    <a:pt x="280" y="128"/>
                  </a:lnTo>
                  <a:lnTo>
                    <a:pt x="278" y="126"/>
                  </a:lnTo>
                  <a:lnTo>
                    <a:pt x="278" y="126"/>
                  </a:lnTo>
                  <a:lnTo>
                    <a:pt x="278" y="126"/>
                  </a:lnTo>
                  <a:lnTo>
                    <a:pt x="278" y="126"/>
                  </a:lnTo>
                  <a:lnTo>
                    <a:pt x="278" y="126"/>
                  </a:lnTo>
                  <a:lnTo>
                    <a:pt x="278" y="124"/>
                  </a:lnTo>
                  <a:lnTo>
                    <a:pt x="278" y="124"/>
                  </a:lnTo>
                  <a:lnTo>
                    <a:pt x="280" y="124"/>
                  </a:lnTo>
                  <a:lnTo>
                    <a:pt x="280" y="124"/>
                  </a:lnTo>
                  <a:lnTo>
                    <a:pt x="280" y="122"/>
                  </a:lnTo>
                  <a:lnTo>
                    <a:pt x="280" y="122"/>
                  </a:lnTo>
                  <a:lnTo>
                    <a:pt x="280" y="122"/>
                  </a:lnTo>
                  <a:lnTo>
                    <a:pt x="278" y="122"/>
                  </a:lnTo>
                  <a:lnTo>
                    <a:pt x="280" y="121"/>
                  </a:lnTo>
                  <a:lnTo>
                    <a:pt x="282" y="121"/>
                  </a:lnTo>
                  <a:lnTo>
                    <a:pt x="282" y="122"/>
                  </a:lnTo>
                  <a:lnTo>
                    <a:pt x="282" y="122"/>
                  </a:lnTo>
                  <a:lnTo>
                    <a:pt x="283" y="122"/>
                  </a:lnTo>
                  <a:lnTo>
                    <a:pt x="282" y="124"/>
                  </a:lnTo>
                  <a:lnTo>
                    <a:pt x="282" y="124"/>
                  </a:lnTo>
                  <a:lnTo>
                    <a:pt x="280" y="124"/>
                  </a:lnTo>
                  <a:lnTo>
                    <a:pt x="282" y="126"/>
                  </a:lnTo>
                  <a:lnTo>
                    <a:pt x="282" y="126"/>
                  </a:lnTo>
                  <a:lnTo>
                    <a:pt x="283" y="126"/>
                  </a:lnTo>
                  <a:lnTo>
                    <a:pt x="283" y="128"/>
                  </a:lnTo>
                  <a:lnTo>
                    <a:pt x="283" y="128"/>
                  </a:lnTo>
                  <a:lnTo>
                    <a:pt x="283" y="128"/>
                  </a:lnTo>
                  <a:lnTo>
                    <a:pt x="283" y="128"/>
                  </a:lnTo>
                  <a:lnTo>
                    <a:pt x="285" y="130"/>
                  </a:lnTo>
                  <a:lnTo>
                    <a:pt x="285" y="130"/>
                  </a:lnTo>
                  <a:lnTo>
                    <a:pt x="287" y="130"/>
                  </a:lnTo>
                  <a:lnTo>
                    <a:pt x="287" y="130"/>
                  </a:lnTo>
                  <a:lnTo>
                    <a:pt x="287" y="128"/>
                  </a:lnTo>
                  <a:lnTo>
                    <a:pt x="287" y="128"/>
                  </a:lnTo>
                  <a:lnTo>
                    <a:pt x="287" y="128"/>
                  </a:lnTo>
                  <a:lnTo>
                    <a:pt x="287" y="128"/>
                  </a:lnTo>
                  <a:lnTo>
                    <a:pt x="287" y="128"/>
                  </a:lnTo>
                  <a:lnTo>
                    <a:pt x="287" y="128"/>
                  </a:lnTo>
                  <a:lnTo>
                    <a:pt x="287" y="126"/>
                  </a:lnTo>
                  <a:lnTo>
                    <a:pt x="287" y="126"/>
                  </a:lnTo>
                  <a:lnTo>
                    <a:pt x="285" y="126"/>
                  </a:lnTo>
                  <a:lnTo>
                    <a:pt x="287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7" y="122"/>
                  </a:lnTo>
                  <a:lnTo>
                    <a:pt x="287" y="122"/>
                  </a:lnTo>
                  <a:lnTo>
                    <a:pt x="287" y="122"/>
                  </a:lnTo>
                  <a:lnTo>
                    <a:pt x="287" y="122"/>
                  </a:lnTo>
                  <a:lnTo>
                    <a:pt x="287" y="122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9" y="121"/>
                  </a:lnTo>
                  <a:lnTo>
                    <a:pt x="289" y="119"/>
                  </a:lnTo>
                  <a:lnTo>
                    <a:pt x="289" y="119"/>
                  </a:lnTo>
                  <a:lnTo>
                    <a:pt x="291" y="117"/>
                  </a:lnTo>
                  <a:lnTo>
                    <a:pt x="291" y="117"/>
                  </a:lnTo>
                  <a:lnTo>
                    <a:pt x="291" y="117"/>
                  </a:lnTo>
                  <a:lnTo>
                    <a:pt x="291" y="115"/>
                  </a:lnTo>
                  <a:lnTo>
                    <a:pt x="291" y="115"/>
                  </a:lnTo>
                  <a:lnTo>
                    <a:pt x="291" y="115"/>
                  </a:lnTo>
                  <a:lnTo>
                    <a:pt x="291" y="115"/>
                  </a:lnTo>
                  <a:lnTo>
                    <a:pt x="291" y="115"/>
                  </a:lnTo>
                  <a:lnTo>
                    <a:pt x="291" y="115"/>
                  </a:lnTo>
                  <a:lnTo>
                    <a:pt x="291" y="113"/>
                  </a:lnTo>
                  <a:lnTo>
                    <a:pt x="291" y="113"/>
                  </a:lnTo>
                  <a:lnTo>
                    <a:pt x="291" y="115"/>
                  </a:lnTo>
                  <a:lnTo>
                    <a:pt x="289" y="115"/>
                  </a:lnTo>
                  <a:lnTo>
                    <a:pt x="289" y="115"/>
                  </a:lnTo>
                  <a:lnTo>
                    <a:pt x="287" y="115"/>
                  </a:lnTo>
                  <a:lnTo>
                    <a:pt x="287" y="115"/>
                  </a:lnTo>
                  <a:lnTo>
                    <a:pt x="287" y="117"/>
                  </a:lnTo>
                  <a:lnTo>
                    <a:pt x="287" y="117"/>
                  </a:lnTo>
                  <a:lnTo>
                    <a:pt x="285" y="117"/>
                  </a:lnTo>
                  <a:lnTo>
                    <a:pt x="283" y="119"/>
                  </a:lnTo>
                  <a:lnTo>
                    <a:pt x="283" y="119"/>
                  </a:lnTo>
                  <a:lnTo>
                    <a:pt x="283" y="119"/>
                  </a:lnTo>
                  <a:lnTo>
                    <a:pt x="282" y="117"/>
                  </a:lnTo>
                  <a:close/>
                  <a:moveTo>
                    <a:pt x="303" y="85"/>
                  </a:moveTo>
                  <a:lnTo>
                    <a:pt x="301" y="85"/>
                  </a:lnTo>
                  <a:lnTo>
                    <a:pt x="301" y="83"/>
                  </a:lnTo>
                  <a:lnTo>
                    <a:pt x="298" y="83"/>
                  </a:lnTo>
                  <a:lnTo>
                    <a:pt x="296" y="83"/>
                  </a:lnTo>
                  <a:lnTo>
                    <a:pt x="294" y="83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1" y="85"/>
                  </a:lnTo>
                  <a:lnTo>
                    <a:pt x="292" y="86"/>
                  </a:lnTo>
                  <a:lnTo>
                    <a:pt x="296" y="88"/>
                  </a:lnTo>
                  <a:lnTo>
                    <a:pt x="298" y="90"/>
                  </a:lnTo>
                  <a:lnTo>
                    <a:pt x="298" y="90"/>
                  </a:lnTo>
                  <a:lnTo>
                    <a:pt x="303" y="88"/>
                  </a:lnTo>
                  <a:lnTo>
                    <a:pt x="303" y="88"/>
                  </a:lnTo>
                  <a:lnTo>
                    <a:pt x="303" y="86"/>
                  </a:lnTo>
                  <a:lnTo>
                    <a:pt x="303" y="86"/>
                  </a:lnTo>
                  <a:lnTo>
                    <a:pt x="303" y="85"/>
                  </a:lnTo>
                  <a:close/>
                  <a:moveTo>
                    <a:pt x="258" y="68"/>
                  </a:moveTo>
                  <a:lnTo>
                    <a:pt x="258" y="66"/>
                  </a:lnTo>
                  <a:lnTo>
                    <a:pt x="258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5"/>
                  </a:lnTo>
                  <a:lnTo>
                    <a:pt x="255" y="65"/>
                  </a:lnTo>
                  <a:lnTo>
                    <a:pt x="255" y="65"/>
                  </a:lnTo>
                  <a:lnTo>
                    <a:pt x="253" y="65"/>
                  </a:lnTo>
                  <a:lnTo>
                    <a:pt x="251" y="63"/>
                  </a:lnTo>
                  <a:lnTo>
                    <a:pt x="247" y="66"/>
                  </a:lnTo>
                  <a:lnTo>
                    <a:pt x="246" y="68"/>
                  </a:lnTo>
                  <a:lnTo>
                    <a:pt x="246" y="70"/>
                  </a:lnTo>
                  <a:lnTo>
                    <a:pt x="244" y="72"/>
                  </a:lnTo>
                  <a:lnTo>
                    <a:pt x="244" y="74"/>
                  </a:lnTo>
                  <a:lnTo>
                    <a:pt x="246" y="76"/>
                  </a:lnTo>
                  <a:lnTo>
                    <a:pt x="246" y="76"/>
                  </a:lnTo>
                  <a:lnTo>
                    <a:pt x="247" y="76"/>
                  </a:lnTo>
                  <a:lnTo>
                    <a:pt x="247" y="76"/>
                  </a:lnTo>
                  <a:lnTo>
                    <a:pt x="249" y="76"/>
                  </a:lnTo>
                  <a:lnTo>
                    <a:pt x="249" y="76"/>
                  </a:lnTo>
                  <a:lnTo>
                    <a:pt x="249" y="77"/>
                  </a:lnTo>
                  <a:lnTo>
                    <a:pt x="249" y="77"/>
                  </a:lnTo>
                  <a:lnTo>
                    <a:pt x="249" y="77"/>
                  </a:lnTo>
                  <a:lnTo>
                    <a:pt x="249" y="77"/>
                  </a:lnTo>
                  <a:lnTo>
                    <a:pt x="249" y="77"/>
                  </a:lnTo>
                  <a:lnTo>
                    <a:pt x="251" y="77"/>
                  </a:lnTo>
                  <a:lnTo>
                    <a:pt x="251" y="77"/>
                  </a:lnTo>
                  <a:lnTo>
                    <a:pt x="251" y="79"/>
                  </a:lnTo>
                  <a:lnTo>
                    <a:pt x="251" y="77"/>
                  </a:lnTo>
                  <a:lnTo>
                    <a:pt x="253" y="77"/>
                  </a:lnTo>
                  <a:lnTo>
                    <a:pt x="253" y="77"/>
                  </a:lnTo>
                  <a:lnTo>
                    <a:pt x="255" y="77"/>
                  </a:lnTo>
                  <a:lnTo>
                    <a:pt x="256" y="76"/>
                  </a:lnTo>
                  <a:lnTo>
                    <a:pt x="256" y="76"/>
                  </a:lnTo>
                  <a:lnTo>
                    <a:pt x="256" y="76"/>
                  </a:lnTo>
                  <a:lnTo>
                    <a:pt x="258" y="76"/>
                  </a:lnTo>
                  <a:lnTo>
                    <a:pt x="258" y="76"/>
                  </a:lnTo>
                  <a:lnTo>
                    <a:pt x="258" y="76"/>
                  </a:lnTo>
                  <a:lnTo>
                    <a:pt x="258" y="76"/>
                  </a:lnTo>
                  <a:lnTo>
                    <a:pt x="258" y="74"/>
                  </a:lnTo>
                  <a:lnTo>
                    <a:pt x="256" y="72"/>
                  </a:lnTo>
                  <a:lnTo>
                    <a:pt x="256" y="72"/>
                  </a:lnTo>
                  <a:lnTo>
                    <a:pt x="258" y="70"/>
                  </a:lnTo>
                  <a:lnTo>
                    <a:pt x="258" y="70"/>
                  </a:lnTo>
                  <a:lnTo>
                    <a:pt x="256" y="70"/>
                  </a:lnTo>
                  <a:lnTo>
                    <a:pt x="256" y="68"/>
                  </a:lnTo>
                  <a:lnTo>
                    <a:pt x="256" y="68"/>
                  </a:lnTo>
                  <a:lnTo>
                    <a:pt x="258" y="68"/>
                  </a:lnTo>
                  <a:close/>
                  <a:moveTo>
                    <a:pt x="182" y="285"/>
                  </a:moveTo>
                  <a:lnTo>
                    <a:pt x="180" y="285"/>
                  </a:lnTo>
                  <a:lnTo>
                    <a:pt x="180" y="285"/>
                  </a:lnTo>
                  <a:lnTo>
                    <a:pt x="182" y="283"/>
                  </a:lnTo>
                  <a:lnTo>
                    <a:pt x="180" y="283"/>
                  </a:lnTo>
                  <a:lnTo>
                    <a:pt x="180" y="283"/>
                  </a:lnTo>
                  <a:lnTo>
                    <a:pt x="180" y="283"/>
                  </a:lnTo>
                  <a:lnTo>
                    <a:pt x="180" y="283"/>
                  </a:lnTo>
                  <a:lnTo>
                    <a:pt x="182" y="283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4" y="281"/>
                  </a:lnTo>
                  <a:lnTo>
                    <a:pt x="184" y="281"/>
                  </a:lnTo>
                  <a:lnTo>
                    <a:pt x="184" y="281"/>
                  </a:lnTo>
                  <a:lnTo>
                    <a:pt x="184" y="281"/>
                  </a:lnTo>
                  <a:lnTo>
                    <a:pt x="184" y="281"/>
                  </a:lnTo>
                  <a:lnTo>
                    <a:pt x="184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3" y="280"/>
                  </a:lnTo>
                  <a:lnTo>
                    <a:pt x="195" y="280"/>
                  </a:lnTo>
                  <a:lnTo>
                    <a:pt x="195" y="280"/>
                  </a:lnTo>
                  <a:lnTo>
                    <a:pt x="195" y="280"/>
                  </a:lnTo>
                  <a:lnTo>
                    <a:pt x="195" y="280"/>
                  </a:lnTo>
                  <a:lnTo>
                    <a:pt x="195" y="278"/>
                  </a:lnTo>
                  <a:lnTo>
                    <a:pt x="195" y="278"/>
                  </a:lnTo>
                  <a:lnTo>
                    <a:pt x="193" y="276"/>
                  </a:lnTo>
                  <a:lnTo>
                    <a:pt x="191" y="276"/>
                  </a:lnTo>
                  <a:lnTo>
                    <a:pt x="191" y="276"/>
                  </a:lnTo>
                  <a:lnTo>
                    <a:pt x="190" y="274"/>
                  </a:lnTo>
                  <a:lnTo>
                    <a:pt x="190" y="274"/>
                  </a:lnTo>
                  <a:lnTo>
                    <a:pt x="188" y="274"/>
                  </a:lnTo>
                  <a:lnTo>
                    <a:pt x="188" y="274"/>
                  </a:lnTo>
                  <a:lnTo>
                    <a:pt x="190" y="274"/>
                  </a:lnTo>
                  <a:lnTo>
                    <a:pt x="190" y="274"/>
                  </a:lnTo>
                  <a:lnTo>
                    <a:pt x="190" y="274"/>
                  </a:lnTo>
                  <a:lnTo>
                    <a:pt x="190" y="274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88" y="271"/>
                  </a:lnTo>
                  <a:lnTo>
                    <a:pt x="190" y="269"/>
                  </a:lnTo>
                  <a:lnTo>
                    <a:pt x="190" y="269"/>
                  </a:lnTo>
                  <a:lnTo>
                    <a:pt x="188" y="267"/>
                  </a:lnTo>
                  <a:lnTo>
                    <a:pt x="186" y="267"/>
                  </a:lnTo>
                  <a:lnTo>
                    <a:pt x="186" y="267"/>
                  </a:lnTo>
                  <a:lnTo>
                    <a:pt x="184" y="269"/>
                  </a:lnTo>
                  <a:lnTo>
                    <a:pt x="184" y="269"/>
                  </a:lnTo>
                  <a:lnTo>
                    <a:pt x="186" y="269"/>
                  </a:lnTo>
                  <a:lnTo>
                    <a:pt x="186" y="271"/>
                  </a:lnTo>
                  <a:lnTo>
                    <a:pt x="186" y="272"/>
                  </a:lnTo>
                  <a:lnTo>
                    <a:pt x="186" y="274"/>
                  </a:lnTo>
                  <a:lnTo>
                    <a:pt x="184" y="274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0" y="271"/>
                  </a:lnTo>
                  <a:lnTo>
                    <a:pt x="180" y="271"/>
                  </a:lnTo>
                  <a:lnTo>
                    <a:pt x="179" y="269"/>
                  </a:lnTo>
                  <a:lnTo>
                    <a:pt x="177" y="269"/>
                  </a:lnTo>
                  <a:lnTo>
                    <a:pt x="177" y="269"/>
                  </a:lnTo>
                  <a:lnTo>
                    <a:pt x="177" y="267"/>
                  </a:lnTo>
                  <a:lnTo>
                    <a:pt x="177" y="267"/>
                  </a:lnTo>
                  <a:lnTo>
                    <a:pt x="177" y="265"/>
                  </a:lnTo>
                  <a:lnTo>
                    <a:pt x="177" y="265"/>
                  </a:lnTo>
                  <a:lnTo>
                    <a:pt x="177" y="263"/>
                  </a:lnTo>
                  <a:lnTo>
                    <a:pt x="177" y="262"/>
                  </a:lnTo>
                  <a:lnTo>
                    <a:pt x="177" y="262"/>
                  </a:lnTo>
                  <a:lnTo>
                    <a:pt x="175" y="262"/>
                  </a:lnTo>
                  <a:lnTo>
                    <a:pt x="175" y="260"/>
                  </a:lnTo>
                  <a:lnTo>
                    <a:pt x="175" y="260"/>
                  </a:lnTo>
                  <a:lnTo>
                    <a:pt x="175" y="260"/>
                  </a:lnTo>
                  <a:lnTo>
                    <a:pt x="175" y="260"/>
                  </a:lnTo>
                  <a:lnTo>
                    <a:pt x="177" y="260"/>
                  </a:lnTo>
                  <a:lnTo>
                    <a:pt x="177" y="258"/>
                  </a:lnTo>
                  <a:lnTo>
                    <a:pt x="177" y="258"/>
                  </a:lnTo>
                  <a:lnTo>
                    <a:pt x="177" y="258"/>
                  </a:lnTo>
                  <a:lnTo>
                    <a:pt x="177" y="258"/>
                  </a:lnTo>
                  <a:lnTo>
                    <a:pt x="177" y="256"/>
                  </a:lnTo>
                  <a:lnTo>
                    <a:pt x="177" y="256"/>
                  </a:lnTo>
                  <a:lnTo>
                    <a:pt x="177" y="256"/>
                  </a:lnTo>
                  <a:lnTo>
                    <a:pt x="175" y="256"/>
                  </a:lnTo>
                  <a:lnTo>
                    <a:pt x="175" y="254"/>
                  </a:lnTo>
                  <a:lnTo>
                    <a:pt x="173" y="254"/>
                  </a:lnTo>
                  <a:lnTo>
                    <a:pt x="171" y="254"/>
                  </a:lnTo>
                  <a:lnTo>
                    <a:pt x="171" y="254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68" y="253"/>
                  </a:lnTo>
                  <a:lnTo>
                    <a:pt x="168" y="253"/>
                  </a:lnTo>
                  <a:lnTo>
                    <a:pt x="168" y="251"/>
                  </a:lnTo>
                  <a:lnTo>
                    <a:pt x="170" y="251"/>
                  </a:lnTo>
                  <a:lnTo>
                    <a:pt x="170" y="251"/>
                  </a:lnTo>
                  <a:lnTo>
                    <a:pt x="170" y="249"/>
                  </a:lnTo>
                  <a:lnTo>
                    <a:pt x="170" y="249"/>
                  </a:lnTo>
                  <a:lnTo>
                    <a:pt x="170" y="249"/>
                  </a:lnTo>
                  <a:lnTo>
                    <a:pt x="170" y="249"/>
                  </a:lnTo>
                  <a:lnTo>
                    <a:pt x="171" y="249"/>
                  </a:lnTo>
                  <a:lnTo>
                    <a:pt x="171" y="249"/>
                  </a:lnTo>
                  <a:lnTo>
                    <a:pt x="173" y="251"/>
                  </a:lnTo>
                  <a:lnTo>
                    <a:pt x="175" y="249"/>
                  </a:lnTo>
                  <a:lnTo>
                    <a:pt x="177" y="249"/>
                  </a:lnTo>
                  <a:lnTo>
                    <a:pt x="179" y="247"/>
                  </a:lnTo>
                  <a:lnTo>
                    <a:pt x="180" y="245"/>
                  </a:lnTo>
                  <a:lnTo>
                    <a:pt x="186" y="245"/>
                  </a:lnTo>
                  <a:lnTo>
                    <a:pt x="190" y="245"/>
                  </a:lnTo>
                  <a:lnTo>
                    <a:pt x="190" y="245"/>
                  </a:lnTo>
                  <a:lnTo>
                    <a:pt x="188" y="245"/>
                  </a:lnTo>
                  <a:lnTo>
                    <a:pt x="190" y="245"/>
                  </a:lnTo>
                  <a:lnTo>
                    <a:pt x="191" y="243"/>
                  </a:lnTo>
                  <a:lnTo>
                    <a:pt x="191" y="243"/>
                  </a:lnTo>
                  <a:lnTo>
                    <a:pt x="191" y="242"/>
                  </a:lnTo>
                  <a:lnTo>
                    <a:pt x="193" y="242"/>
                  </a:lnTo>
                  <a:lnTo>
                    <a:pt x="193" y="242"/>
                  </a:lnTo>
                  <a:lnTo>
                    <a:pt x="193" y="242"/>
                  </a:lnTo>
                  <a:lnTo>
                    <a:pt x="195" y="242"/>
                  </a:lnTo>
                  <a:lnTo>
                    <a:pt x="195" y="242"/>
                  </a:lnTo>
                  <a:lnTo>
                    <a:pt x="197" y="242"/>
                  </a:lnTo>
                  <a:lnTo>
                    <a:pt x="197" y="242"/>
                  </a:lnTo>
                  <a:lnTo>
                    <a:pt x="197" y="242"/>
                  </a:lnTo>
                  <a:lnTo>
                    <a:pt x="199" y="242"/>
                  </a:lnTo>
                  <a:lnTo>
                    <a:pt x="199" y="242"/>
                  </a:lnTo>
                  <a:lnTo>
                    <a:pt x="199" y="243"/>
                  </a:lnTo>
                  <a:lnTo>
                    <a:pt x="199" y="243"/>
                  </a:lnTo>
                  <a:lnTo>
                    <a:pt x="197" y="245"/>
                  </a:lnTo>
                  <a:lnTo>
                    <a:pt x="197" y="245"/>
                  </a:lnTo>
                  <a:lnTo>
                    <a:pt x="197" y="247"/>
                  </a:lnTo>
                  <a:lnTo>
                    <a:pt x="199" y="247"/>
                  </a:lnTo>
                  <a:lnTo>
                    <a:pt x="199" y="247"/>
                  </a:lnTo>
                  <a:lnTo>
                    <a:pt x="199" y="247"/>
                  </a:lnTo>
                  <a:lnTo>
                    <a:pt x="200" y="247"/>
                  </a:lnTo>
                  <a:lnTo>
                    <a:pt x="200" y="247"/>
                  </a:lnTo>
                  <a:lnTo>
                    <a:pt x="200" y="247"/>
                  </a:lnTo>
                  <a:lnTo>
                    <a:pt x="200" y="247"/>
                  </a:lnTo>
                  <a:lnTo>
                    <a:pt x="200" y="247"/>
                  </a:lnTo>
                  <a:lnTo>
                    <a:pt x="200" y="249"/>
                  </a:lnTo>
                  <a:lnTo>
                    <a:pt x="200" y="249"/>
                  </a:lnTo>
                  <a:lnTo>
                    <a:pt x="200" y="249"/>
                  </a:lnTo>
                  <a:lnTo>
                    <a:pt x="200" y="249"/>
                  </a:lnTo>
                  <a:lnTo>
                    <a:pt x="202" y="247"/>
                  </a:lnTo>
                  <a:lnTo>
                    <a:pt x="202" y="247"/>
                  </a:lnTo>
                  <a:lnTo>
                    <a:pt x="204" y="249"/>
                  </a:lnTo>
                  <a:lnTo>
                    <a:pt x="204" y="249"/>
                  </a:lnTo>
                  <a:lnTo>
                    <a:pt x="206" y="253"/>
                  </a:lnTo>
                  <a:lnTo>
                    <a:pt x="206" y="253"/>
                  </a:lnTo>
                  <a:lnTo>
                    <a:pt x="208" y="254"/>
                  </a:lnTo>
                  <a:lnTo>
                    <a:pt x="208" y="254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9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09" y="254"/>
                  </a:lnTo>
                  <a:lnTo>
                    <a:pt x="209" y="256"/>
                  </a:lnTo>
                  <a:lnTo>
                    <a:pt x="209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11" y="256"/>
                  </a:lnTo>
                  <a:lnTo>
                    <a:pt x="211" y="256"/>
                  </a:lnTo>
                  <a:lnTo>
                    <a:pt x="213" y="258"/>
                  </a:lnTo>
                  <a:lnTo>
                    <a:pt x="213" y="258"/>
                  </a:lnTo>
                  <a:lnTo>
                    <a:pt x="213" y="258"/>
                  </a:lnTo>
                  <a:lnTo>
                    <a:pt x="213" y="258"/>
                  </a:lnTo>
                  <a:lnTo>
                    <a:pt x="215" y="262"/>
                  </a:lnTo>
                  <a:lnTo>
                    <a:pt x="215" y="262"/>
                  </a:lnTo>
                  <a:lnTo>
                    <a:pt x="215" y="262"/>
                  </a:lnTo>
                  <a:lnTo>
                    <a:pt x="217" y="262"/>
                  </a:lnTo>
                  <a:lnTo>
                    <a:pt x="217" y="263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18" y="265"/>
                  </a:lnTo>
                  <a:lnTo>
                    <a:pt x="220" y="265"/>
                  </a:lnTo>
                  <a:lnTo>
                    <a:pt x="220" y="267"/>
                  </a:lnTo>
                  <a:lnTo>
                    <a:pt x="220" y="265"/>
                  </a:lnTo>
                  <a:lnTo>
                    <a:pt x="222" y="265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22" y="262"/>
                  </a:lnTo>
                  <a:lnTo>
                    <a:pt x="222" y="262"/>
                  </a:lnTo>
                  <a:lnTo>
                    <a:pt x="222" y="262"/>
                  </a:lnTo>
                  <a:lnTo>
                    <a:pt x="222" y="262"/>
                  </a:lnTo>
                  <a:lnTo>
                    <a:pt x="222" y="262"/>
                  </a:lnTo>
                  <a:lnTo>
                    <a:pt x="222" y="262"/>
                  </a:lnTo>
                  <a:lnTo>
                    <a:pt x="222" y="260"/>
                  </a:lnTo>
                  <a:lnTo>
                    <a:pt x="224" y="260"/>
                  </a:lnTo>
                  <a:lnTo>
                    <a:pt x="224" y="258"/>
                  </a:lnTo>
                  <a:lnTo>
                    <a:pt x="222" y="256"/>
                  </a:lnTo>
                  <a:lnTo>
                    <a:pt x="222" y="256"/>
                  </a:lnTo>
                  <a:lnTo>
                    <a:pt x="222" y="256"/>
                  </a:lnTo>
                  <a:lnTo>
                    <a:pt x="222" y="254"/>
                  </a:lnTo>
                  <a:lnTo>
                    <a:pt x="222" y="254"/>
                  </a:lnTo>
                  <a:lnTo>
                    <a:pt x="222" y="254"/>
                  </a:lnTo>
                  <a:lnTo>
                    <a:pt x="222" y="254"/>
                  </a:lnTo>
                  <a:lnTo>
                    <a:pt x="222" y="254"/>
                  </a:lnTo>
                  <a:lnTo>
                    <a:pt x="222" y="254"/>
                  </a:lnTo>
                  <a:lnTo>
                    <a:pt x="222" y="253"/>
                  </a:lnTo>
                  <a:lnTo>
                    <a:pt x="222" y="253"/>
                  </a:lnTo>
                  <a:lnTo>
                    <a:pt x="222" y="253"/>
                  </a:lnTo>
                  <a:lnTo>
                    <a:pt x="220" y="253"/>
                  </a:lnTo>
                  <a:lnTo>
                    <a:pt x="222" y="253"/>
                  </a:lnTo>
                  <a:lnTo>
                    <a:pt x="220" y="253"/>
                  </a:lnTo>
                  <a:lnTo>
                    <a:pt x="220" y="253"/>
                  </a:lnTo>
                  <a:lnTo>
                    <a:pt x="220" y="251"/>
                  </a:lnTo>
                  <a:lnTo>
                    <a:pt x="218" y="251"/>
                  </a:lnTo>
                  <a:lnTo>
                    <a:pt x="220" y="251"/>
                  </a:lnTo>
                  <a:lnTo>
                    <a:pt x="220" y="251"/>
                  </a:lnTo>
                  <a:lnTo>
                    <a:pt x="220" y="249"/>
                  </a:lnTo>
                  <a:lnTo>
                    <a:pt x="220" y="249"/>
                  </a:lnTo>
                  <a:lnTo>
                    <a:pt x="220" y="249"/>
                  </a:lnTo>
                  <a:lnTo>
                    <a:pt x="218" y="249"/>
                  </a:lnTo>
                  <a:lnTo>
                    <a:pt x="220" y="249"/>
                  </a:lnTo>
                  <a:lnTo>
                    <a:pt x="220" y="247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20" y="245"/>
                  </a:lnTo>
                  <a:lnTo>
                    <a:pt x="220" y="243"/>
                  </a:lnTo>
                  <a:lnTo>
                    <a:pt x="220" y="243"/>
                  </a:lnTo>
                  <a:lnTo>
                    <a:pt x="220" y="243"/>
                  </a:lnTo>
                  <a:lnTo>
                    <a:pt x="220" y="243"/>
                  </a:lnTo>
                  <a:lnTo>
                    <a:pt x="218" y="242"/>
                  </a:lnTo>
                  <a:lnTo>
                    <a:pt x="218" y="240"/>
                  </a:lnTo>
                  <a:lnTo>
                    <a:pt x="218" y="238"/>
                  </a:lnTo>
                  <a:lnTo>
                    <a:pt x="218" y="236"/>
                  </a:lnTo>
                  <a:lnTo>
                    <a:pt x="220" y="234"/>
                  </a:lnTo>
                  <a:lnTo>
                    <a:pt x="222" y="234"/>
                  </a:lnTo>
                  <a:lnTo>
                    <a:pt x="222" y="236"/>
                  </a:lnTo>
                  <a:lnTo>
                    <a:pt x="222" y="234"/>
                  </a:lnTo>
                  <a:lnTo>
                    <a:pt x="222" y="234"/>
                  </a:lnTo>
                  <a:lnTo>
                    <a:pt x="222" y="234"/>
                  </a:lnTo>
                  <a:lnTo>
                    <a:pt x="222" y="234"/>
                  </a:lnTo>
                  <a:lnTo>
                    <a:pt x="222" y="233"/>
                  </a:lnTo>
                  <a:lnTo>
                    <a:pt x="222" y="233"/>
                  </a:lnTo>
                  <a:lnTo>
                    <a:pt x="222" y="233"/>
                  </a:lnTo>
                  <a:lnTo>
                    <a:pt x="222" y="233"/>
                  </a:lnTo>
                  <a:lnTo>
                    <a:pt x="222" y="231"/>
                  </a:lnTo>
                  <a:lnTo>
                    <a:pt x="222" y="231"/>
                  </a:lnTo>
                  <a:lnTo>
                    <a:pt x="220" y="231"/>
                  </a:lnTo>
                  <a:lnTo>
                    <a:pt x="220" y="231"/>
                  </a:lnTo>
                  <a:lnTo>
                    <a:pt x="218" y="229"/>
                  </a:lnTo>
                  <a:lnTo>
                    <a:pt x="217" y="227"/>
                  </a:lnTo>
                  <a:lnTo>
                    <a:pt x="217" y="225"/>
                  </a:lnTo>
                  <a:lnTo>
                    <a:pt x="215" y="225"/>
                  </a:lnTo>
                  <a:lnTo>
                    <a:pt x="215" y="225"/>
                  </a:lnTo>
                  <a:lnTo>
                    <a:pt x="209" y="224"/>
                  </a:lnTo>
                  <a:lnTo>
                    <a:pt x="209" y="224"/>
                  </a:lnTo>
                  <a:lnTo>
                    <a:pt x="208" y="222"/>
                  </a:lnTo>
                  <a:lnTo>
                    <a:pt x="206" y="224"/>
                  </a:lnTo>
                  <a:lnTo>
                    <a:pt x="204" y="224"/>
                  </a:lnTo>
                  <a:lnTo>
                    <a:pt x="202" y="222"/>
                  </a:lnTo>
                  <a:lnTo>
                    <a:pt x="200" y="218"/>
                  </a:lnTo>
                  <a:lnTo>
                    <a:pt x="199" y="216"/>
                  </a:lnTo>
                  <a:lnTo>
                    <a:pt x="199" y="216"/>
                  </a:lnTo>
                  <a:lnTo>
                    <a:pt x="199" y="216"/>
                  </a:lnTo>
                  <a:lnTo>
                    <a:pt x="199" y="216"/>
                  </a:lnTo>
                  <a:lnTo>
                    <a:pt x="199" y="216"/>
                  </a:lnTo>
                  <a:lnTo>
                    <a:pt x="197" y="216"/>
                  </a:lnTo>
                  <a:lnTo>
                    <a:pt x="197" y="215"/>
                  </a:lnTo>
                  <a:lnTo>
                    <a:pt x="199" y="215"/>
                  </a:lnTo>
                  <a:lnTo>
                    <a:pt x="199" y="215"/>
                  </a:lnTo>
                  <a:lnTo>
                    <a:pt x="197" y="213"/>
                  </a:lnTo>
                  <a:lnTo>
                    <a:pt x="195" y="211"/>
                  </a:lnTo>
                  <a:lnTo>
                    <a:pt x="195" y="213"/>
                  </a:lnTo>
                  <a:lnTo>
                    <a:pt x="195" y="213"/>
                  </a:lnTo>
                  <a:lnTo>
                    <a:pt x="190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1"/>
                  </a:lnTo>
                  <a:lnTo>
                    <a:pt x="186" y="211"/>
                  </a:lnTo>
                  <a:lnTo>
                    <a:pt x="186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09"/>
                  </a:lnTo>
                  <a:lnTo>
                    <a:pt x="186" y="209"/>
                  </a:lnTo>
                  <a:lnTo>
                    <a:pt x="186" y="209"/>
                  </a:lnTo>
                  <a:lnTo>
                    <a:pt x="184" y="209"/>
                  </a:lnTo>
                  <a:lnTo>
                    <a:pt x="184" y="207"/>
                  </a:lnTo>
                  <a:lnTo>
                    <a:pt x="184" y="207"/>
                  </a:lnTo>
                  <a:lnTo>
                    <a:pt x="182" y="209"/>
                  </a:lnTo>
                  <a:lnTo>
                    <a:pt x="184" y="207"/>
                  </a:lnTo>
                  <a:lnTo>
                    <a:pt x="184" y="207"/>
                  </a:lnTo>
                  <a:lnTo>
                    <a:pt x="184" y="207"/>
                  </a:lnTo>
                  <a:lnTo>
                    <a:pt x="186" y="206"/>
                  </a:lnTo>
                  <a:lnTo>
                    <a:pt x="186" y="206"/>
                  </a:lnTo>
                  <a:lnTo>
                    <a:pt x="186" y="204"/>
                  </a:lnTo>
                  <a:lnTo>
                    <a:pt x="184" y="204"/>
                  </a:lnTo>
                  <a:lnTo>
                    <a:pt x="184" y="202"/>
                  </a:lnTo>
                  <a:lnTo>
                    <a:pt x="182" y="202"/>
                  </a:lnTo>
                  <a:lnTo>
                    <a:pt x="180" y="202"/>
                  </a:lnTo>
                  <a:lnTo>
                    <a:pt x="180" y="202"/>
                  </a:lnTo>
                  <a:lnTo>
                    <a:pt x="179" y="200"/>
                  </a:lnTo>
                  <a:lnTo>
                    <a:pt x="179" y="200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3" y="204"/>
                  </a:lnTo>
                  <a:lnTo>
                    <a:pt x="173" y="204"/>
                  </a:lnTo>
                  <a:lnTo>
                    <a:pt x="171" y="198"/>
                  </a:lnTo>
                  <a:lnTo>
                    <a:pt x="171" y="197"/>
                  </a:lnTo>
                  <a:lnTo>
                    <a:pt x="170" y="197"/>
                  </a:lnTo>
                  <a:lnTo>
                    <a:pt x="166" y="197"/>
                  </a:lnTo>
                  <a:lnTo>
                    <a:pt x="166" y="197"/>
                  </a:lnTo>
                  <a:lnTo>
                    <a:pt x="164" y="195"/>
                  </a:lnTo>
                  <a:lnTo>
                    <a:pt x="164" y="195"/>
                  </a:lnTo>
                  <a:lnTo>
                    <a:pt x="164" y="195"/>
                  </a:lnTo>
                  <a:lnTo>
                    <a:pt x="162" y="195"/>
                  </a:lnTo>
                  <a:lnTo>
                    <a:pt x="162" y="197"/>
                  </a:lnTo>
                  <a:lnTo>
                    <a:pt x="162" y="195"/>
                  </a:lnTo>
                  <a:lnTo>
                    <a:pt x="161" y="195"/>
                  </a:lnTo>
                  <a:lnTo>
                    <a:pt x="161" y="195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3"/>
                  </a:lnTo>
                  <a:lnTo>
                    <a:pt x="155" y="193"/>
                  </a:lnTo>
                  <a:lnTo>
                    <a:pt x="155" y="193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4" y="189"/>
                  </a:lnTo>
                  <a:lnTo>
                    <a:pt x="144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50" y="186"/>
                  </a:lnTo>
                  <a:lnTo>
                    <a:pt x="150" y="186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3" y="187"/>
                  </a:lnTo>
                  <a:lnTo>
                    <a:pt x="153" y="187"/>
                  </a:lnTo>
                  <a:lnTo>
                    <a:pt x="153" y="187"/>
                  </a:lnTo>
                  <a:lnTo>
                    <a:pt x="155" y="187"/>
                  </a:lnTo>
                  <a:lnTo>
                    <a:pt x="155" y="187"/>
                  </a:lnTo>
                  <a:lnTo>
                    <a:pt x="155" y="189"/>
                  </a:lnTo>
                  <a:lnTo>
                    <a:pt x="157" y="189"/>
                  </a:lnTo>
                  <a:lnTo>
                    <a:pt x="157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61" y="187"/>
                  </a:lnTo>
                  <a:lnTo>
                    <a:pt x="161" y="187"/>
                  </a:lnTo>
                  <a:lnTo>
                    <a:pt x="161" y="186"/>
                  </a:lnTo>
                  <a:lnTo>
                    <a:pt x="161" y="186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6" y="186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6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0"/>
                  </a:lnTo>
                  <a:lnTo>
                    <a:pt x="170" y="180"/>
                  </a:lnTo>
                  <a:lnTo>
                    <a:pt x="170" y="180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70" y="178"/>
                  </a:lnTo>
                  <a:lnTo>
                    <a:pt x="166" y="180"/>
                  </a:lnTo>
                  <a:lnTo>
                    <a:pt x="166" y="178"/>
                  </a:lnTo>
                  <a:lnTo>
                    <a:pt x="166" y="178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68" y="175"/>
                  </a:lnTo>
                  <a:lnTo>
                    <a:pt x="168" y="175"/>
                  </a:lnTo>
                  <a:lnTo>
                    <a:pt x="166" y="173"/>
                  </a:lnTo>
                  <a:lnTo>
                    <a:pt x="166" y="171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4" y="173"/>
                  </a:lnTo>
                  <a:lnTo>
                    <a:pt x="164" y="171"/>
                  </a:lnTo>
                  <a:lnTo>
                    <a:pt x="164" y="169"/>
                  </a:lnTo>
                  <a:lnTo>
                    <a:pt x="164" y="169"/>
                  </a:lnTo>
                  <a:lnTo>
                    <a:pt x="164" y="169"/>
                  </a:lnTo>
                  <a:lnTo>
                    <a:pt x="162" y="169"/>
                  </a:lnTo>
                  <a:lnTo>
                    <a:pt x="162" y="168"/>
                  </a:lnTo>
                  <a:lnTo>
                    <a:pt x="162" y="168"/>
                  </a:lnTo>
                  <a:lnTo>
                    <a:pt x="162" y="169"/>
                  </a:lnTo>
                  <a:lnTo>
                    <a:pt x="162" y="169"/>
                  </a:lnTo>
                  <a:lnTo>
                    <a:pt x="162" y="171"/>
                  </a:lnTo>
                  <a:lnTo>
                    <a:pt x="161" y="171"/>
                  </a:lnTo>
                  <a:lnTo>
                    <a:pt x="161" y="166"/>
                  </a:lnTo>
                  <a:lnTo>
                    <a:pt x="161" y="166"/>
                  </a:lnTo>
                  <a:lnTo>
                    <a:pt x="161" y="162"/>
                  </a:lnTo>
                  <a:lnTo>
                    <a:pt x="161" y="162"/>
                  </a:lnTo>
                  <a:lnTo>
                    <a:pt x="162" y="162"/>
                  </a:lnTo>
                  <a:lnTo>
                    <a:pt x="164" y="162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4" y="160"/>
                  </a:lnTo>
                  <a:lnTo>
                    <a:pt x="166" y="159"/>
                  </a:lnTo>
                  <a:lnTo>
                    <a:pt x="166" y="159"/>
                  </a:lnTo>
                  <a:lnTo>
                    <a:pt x="166" y="159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8" y="157"/>
                  </a:lnTo>
                  <a:lnTo>
                    <a:pt x="168" y="157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3" y="160"/>
                  </a:lnTo>
                  <a:lnTo>
                    <a:pt x="175" y="160"/>
                  </a:lnTo>
                  <a:lnTo>
                    <a:pt x="175" y="162"/>
                  </a:lnTo>
                  <a:lnTo>
                    <a:pt x="177" y="162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6"/>
                  </a:lnTo>
                  <a:lnTo>
                    <a:pt x="179" y="166"/>
                  </a:lnTo>
                  <a:lnTo>
                    <a:pt x="179" y="168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77" y="171"/>
                  </a:lnTo>
                  <a:lnTo>
                    <a:pt x="177" y="171"/>
                  </a:lnTo>
                  <a:lnTo>
                    <a:pt x="177" y="171"/>
                  </a:lnTo>
                  <a:lnTo>
                    <a:pt x="177" y="171"/>
                  </a:lnTo>
                  <a:lnTo>
                    <a:pt x="173" y="173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3" y="171"/>
                  </a:lnTo>
                  <a:lnTo>
                    <a:pt x="171" y="171"/>
                  </a:lnTo>
                  <a:lnTo>
                    <a:pt x="171" y="173"/>
                  </a:lnTo>
                  <a:lnTo>
                    <a:pt x="171" y="173"/>
                  </a:lnTo>
                  <a:lnTo>
                    <a:pt x="171" y="175"/>
                  </a:lnTo>
                  <a:lnTo>
                    <a:pt x="173" y="175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7" y="173"/>
                  </a:lnTo>
                  <a:lnTo>
                    <a:pt x="179" y="173"/>
                  </a:lnTo>
                  <a:lnTo>
                    <a:pt x="179" y="173"/>
                  </a:lnTo>
                  <a:lnTo>
                    <a:pt x="179" y="173"/>
                  </a:lnTo>
                  <a:lnTo>
                    <a:pt x="179" y="173"/>
                  </a:lnTo>
                  <a:lnTo>
                    <a:pt x="180" y="173"/>
                  </a:lnTo>
                  <a:lnTo>
                    <a:pt x="180" y="173"/>
                  </a:lnTo>
                  <a:lnTo>
                    <a:pt x="180" y="173"/>
                  </a:lnTo>
                  <a:lnTo>
                    <a:pt x="180" y="173"/>
                  </a:lnTo>
                  <a:lnTo>
                    <a:pt x="179" y="173"/>
                  </a:lnTo>
                  <a:lnTo>
                    <a:pt x="179" y="173"/>
                  </a:lnTo>
                  <a:lnTo>
                    <a:pt x="179" y="171"/>
                  </a:lnTo>
                  <a:lnTo>
                    <a:pt x="180" y="171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6" y="169"/>
                  </a:lnTo>
                  <a:lnTo>
                    <a:pt x="186" y="169"/>
                  </a:lnTo>
                  <a:lnTo>
                    <a:pt x="186" y="168"/>
                  </a:lnTo>
                  <a:lnTo>
                    <a:pt x="184" y="164"/>
                  </a:lnTo>
                  <a:lnTo>
                    <a:pt x="182" y="160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5" y="151"/>
                  </a:lnTo>
                  <a:lnTo>
                    <a:pt x="175" y="151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1" y="146"/>
                  </a:lnTo>
                  <a:lnTo>
                    <a:pt x="170" y="146"/>
                  </a:lnTo>
                  <a:lnTo>
                    <a:pt x="166" y="144"/>
                  </a:lnTo>
                  <a:lnTo>
                    <a:pt x="166" y="142"/>
                  </a:lnTo>
                  <a:lnTo>
                    <a:pt x="164" y="142"/>
                  </a:lnTo>
                  <a:lnTo>
                    <a:pt x="164" y="139"/>
                  </a:lnTo>
                  <a:lnTo>
                    <a:pt x="162" y="135"/>
                  </a:lnTo>
                  <a:lnTo>
                    <a:pt x="162" y="133"/>
                  </a:lnTo>
                  <a:lnTo>
                    <a:pt x="162" y="131"/>
                  </a:lnTo>
                  <a:lnTo>
                    <a:pt x="161" y="131"/>
                  </a:lnTo>
                  <a:lnTo>
                    <a:pt x="161" y="130"/>
                  </a:lnTo>
                  <a:lnTo>
                    <a:pt x="161" y="128"/>
                  </a:lnTo>
                  <a:lnTo>
                    <a:pt x="159" y="128"/>
                  </a:lnTo>
                  <a:lnTo>
                    <a:pt x="159" y="126"/>
                  </a:lnTo>
                  <a:lnTo>
                    <a:pt x="157" y="126"/>
                  </a:lnTo>
                  <a:lnTo>
                    <a:pt x="155" y="124"/>
                  </a:lnTo>
                  <a:lnTo>
                    <a:pt x="155" y="124"/>
                  </a:lnTo>
                  <a:lnTo>
                    <a:pt x="155" y="122"/>
                  </a:lnTo>
                  <a:lnTo>
                    <a:pt x="153" y="121"/>
                  </a:lnTo>
                  <a:lnTo>
                    <a:pt x="153" y="121"/>
                  </a:lnTo>
                  <a:lnTo>
                    <a:pt x="153" y="121"/>
                  </a:lnTo>
                  <a:lnTo>
                    <a:pt x="153" y="119"/>
                  </a:lnTo>
                  <a:lnTo>
                    <a:pt x="153" y="119"/>
                  </a:lnTo>
                  <a:lnTo>
                    <a:pt x="153" y="119"/>
                  </a:lnTo>
                  <a:lnTo>
                    <a:pt x="153" y="119"/>
                  </a:lnTo>
                  <a:lnTo>
                    <a:pt x="153" y="119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48" y="115"/>
                  </a:lnTo>
                  <a:lnTo>
                    <a:pt x="148" y="113"/>
                  </a:lnTo>
                  <a:lnTo>
                    <a:pt x="148" y="113"/>
                  </a:lnTo>
                  <a:lnTo>
                    <a:pt x="148" y="112"/>
                  </a:lnTo>
                  <a:lnTo>
                    <a:pt x="146" y="112"/>
                  </a:lnTo>
                  <a:lnTo>
                    <a:pt x="148" y="110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6"/>
                  </a:lnTo>
                  <a:lnTo>
                    <a:pt x="146" y="104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50" y="95"/>
                  </a:lnTo>
                  <a:lnTo>
                    <a:pt x="152" y="94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0" y="92"/>
                  </a:lnTo>
                  <a:lnTo>
                    <a:pt x="150" y="90"/>
                  </a:lnTo>
                  <a:lnTo>
                    <a:pt x="150" y="90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5"/>
                  </a:lnTo>
                  <a:lnTo>
                    <a:pt x="148" y="85"/>
                  </a:lnTo>
                  <a:lnTo>
                    <a:pt x="148" y="85"/>
                  </a:lnTo>
                  <a:lnTo>
                    <a:pt x="150" y="85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5"/>
                  </a:lnTo>
                  <a:lnTo>
                    <a:pt x="152" y="85"/>
                  </a:lnTo>
                  <a:lnTo>
                    <a:pt x="152" y="85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3"/>
                  </a:lnTo>
                  <a:lnTo>
                    <a:pt x="153" y="83"/>
                  </a:lnTo>
                  <a:lnTo>
                    <a:pt x="155" y="83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79"/>
                  </a:lnTo>
                  <a:lnTo>
                    <a:pt x="157" y="79"/>
                  </a:lnTo>
                  <a:lnTo>
                    <a:pt x="157" y="77"/>
                  </a:lnTo>
                  <a:lnTo>
                    <a:pt x="159" y="79"/>
                  </a:lnTo>
                  <a:lnTo>
                    <a:pt x="159" y="79"/>
                  </a:lnTo>
                  <a:lnTo>
                    <a:pt x="159" y="79"/>
                  </a:lnTo>
                  <a:lnTo>
                    <a:pt x="159" y="79"/>
                  </a:lnTo>
                  <a:lnTo>
                    <a:pt x="161" y="77"/>
                  </a:lnTo>
                  <a:lnTo>
                    <a:pt x="161" y="77"/>
                  </a:lnTo>
                  <a:lnTo>
                    <a:pt x="161" y="77"/>
                  </a:lnTo>
                  <a:lnTo>
                    <a:pt x="161" y="76"/>
                  </a:lnTo>
                  <a:lnTo>
                    <a:pt x="162" y="76"/>
                  </a:lnTo>
                  <a:lnTo>
                    <a:pt x="161" y="74"/>
                  </a:lnTo>
                  <a:lnTo>
                    <a:pt x="162" y="74"/>
                  </a:lnTo>
                  <a:lnTo>
                    <a:pt x="164" y="74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3"/>
                  </a:lnTo>
                  <a:lnTo>
                    <a:pt x="164" y="83"/>
                  </a:lnTo>
                  <a:lnTo>
                    <a:pt x="161" y="83"/>
                  </a:lnTo>
                  <a:lnTo>
                    <a:pt x="159" y="83"/>
                  </a:lnTo>
                  <a:lnTo>
                    <a:pt x="161" y="85"/>
                  </a:lnTo>
                  <a:lnTo>
                    <a:pt x="162" y="86"/>
                  </a:lnTo>
                  <a:lnTo>
                    <a:pt x="162" y="86"/>
                  </a:lnTo>
                  <a:lnTo>
                    <a:pt x="162" y="86"/>
                  </a:lnTo>
                  <a:lnTo>
                    <a:pt x="162" y="86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4" y="90"/>
                  </a:lnTo>
                  <a:lnTo>
                    <a:pt x="162" y="90"/>
                  </a:lnTo>
                  <a:lnTo>
                    <a:pt x="164" y="90"/>
                  </a:lnTo>
                  <a:lnTo>
                    <a:pt x="166" y="90"/>
                  </a:lnTo>
                  <a:lnTo>
                    <a:pt x="166" y="92"/>
                  </a:lnTo>
                  <a:lnTo>
                    <a:pt x="170" y="94"/>
                  </a:lnTo>
                  <a:lnTo>
                    <a:pt x="170" y="95"/>
                  </a:lnTo>
                  <a:lnTo>
                    <a:pt x="171" y="95"/>
                  </a:lnTo>
                  <a:lnTo>
                    <a:pt x="173" y="95"/>
                  </a:lnTo>
                  <a:lnTo>
                    <a:pt x="173" y="95"/>
                  </a:lnTo>
                  <a:lnTo>
                    <a:pt x="173" y="95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9" y="99"/>
                  </a:lnTo>
                  <a:lnTo>
                    <a:pt x="180" y="99"/>
                  </a:lnTo>
                  <a:lnTo>
                    <a:pt x="182" y="99"/>
                  </a:lnTo>
                  <a:lnTo>
                    <a:pt x="184" y="101"/>
                  </a:lnTo>
                  <a:lnTo>
                    <a:pt x="184" y="103"/>
                  </a:lnTo>
                  <a:lnTo>
                    <a:pt x="184" y="104"/>
                  </a:lnTo>
                  <a:lnTo>
                    <a:pt x="184" y="106"/>
                  </a:lnTo>
                  <a:lnTo>
                    <a:pt x="184" y="110"/>
                  </a:lnTo>
                  <a:lnTo>
                    <a:pt x="184" y="110"/>
                  </a:lnTo>
                  <a:lnTo>
                    <a:pt x="186" y="112"/>
                  </a:lnTo>
                  <a:lnTo>
                    <a:pt x="186" y="112"/>
                  </a:lnTo>
                  <a:lnTo>
                    <a:pt x="186" y="113"/>
                  </a:lnTo>
                  <a:lnTo>
                    <a:pt x="188" y="113"/>
                  </a:lnTo>
                  <a:lnTo>
                    <a:pt x="188" y="115"/>
                  </a:lnTo>
                  <a:lnTo>
                    <a:pt x="188" y="115"/>
                  </a:lnTo>
                  <a:lnTo>
                    <a:pt x="188" y="117"/>
                  </a:lnTo>
                  <a:lnTo>
                    <a:pt x="188" y="117"/>
                  </a:lnTo>
                  <a:lnTo>
                    <a:pt x="186" y="119"/>
                  </a:lnTo>
                  <a:lnTo>
                    <a:pt x="188" y="119"/>
                  </a:lnTo>
                  <a:lnTo>
                    <a:pt x="191" y="117"/>
                  </a:lnTo>
                  <a:lnTo>
                    <a:pt x="191" y="117"/>
                  </a:lnTo>
                  <a:lnTo>
                    <a:pt x="200" y="121"/>
                  </a:lnTo>
                  <a:lnTo>
                    <a:pt x="204" y="122"/>
                  </a:lnTo>
                  <a:lnTo>
                    <a:pt x="204" y="121"/>
                  </a:lnTo>
                  <a:lnTo>
                    <a:pt x="206" y="121"/>
                  </a:lnTo>
                  <a:lnTo>
                    <a:pt x="206" y="121"/>
                  </a:lnTo>
                  <a:lnTo>
                    <a:pt x="206" y="121"/>
                  </a:lnTo>
                  <a:lnTo>
                    <a:pt x="204" y="121"/>
                  </a:lnTo>
                  <a:lnTo>
                    <a:pt x="204" y="121"/>
                  </a:lnTo>
                  <a:lnTo>
                    <a:pt x="202" y="119"/>
                  </a:lnTo>
                  <a:lnTo>
                    <a:pt x="202" y="119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199" y="115"/>
                  </a:lnTo>
                  <a:lnTo>
                    <a:pt x="193" y="113"/>
                  </a:lnTo>
                  <a:lnTo>
                    <a:pt x="191" y="112"/>
                  </a:lnTo>
                  <a:lnTo>
                    <a:pt x="190" y="108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88" y="106"/>
                  </a:lnTo>
                  <a:lnTo>
                    <a:pt x="188" y="106"/>
                  </a:lnTo>
                  <a:lnTo>
                    <a:pt x="186" y="106"/>
                  </a:lnTo>
                  <a:lnTo>
                    <a:pt x="186" y="106"/>
                  </a:lnTo>
                  <a:lnTo>
                    <a:pt x="186" y="104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6" y="101"/>
                  </a:lnTo>
                  <a:lnTo>
                    <a:pt x="188" y="99"/>
                  </a:lnTo>
                  <a:lnTo>
                    <a:pt x="188" y="97"/>
                  </a:lnTo>
                  <a:lnTo>
                    <a:pt x="191" y="97"/>
                  </a:lnTo>
                  <a:lnTo>
                    <a:pt x="193" y="99"/>
                  </a:lnTo>
                  <a:lnTo>
                    <a:pt x="195" y="101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2" y="103"/>
                  </a:lnTo>
                  <a:lnTo>
                    <a:pt x="208" y="108"/>
                  </a:lnTo>
                  <a:lnTo>
                    <a:pt x="208" y="108"/>
                  </a:lnTo>
                  <a:lnTo>
                    <a:pt x="208" y="108"/>
                  </a:lnTo>
                  <a:lnTo>
                    <a:pt x="208" y="110"/>
                  </a:lnTo>
                  <a:lnTo>
                    <a:pt x="208" y="110"/>
                  </a:lnTo>
                  <a:lnTo>
                    <a:pt x="208" y="110"/>
                  </a:lnTo>
                  <a:lnTo>
                    <a:pt x="208" y="110"/>
                  </a:lnTo>
                  <a:lnTo>
                    <a:pt x="208" y="112"/>
                  </a:lnTo>
                  <a:lnTo>
                    <a:pt x="208" y="112"/>
                  </a:lnTo>
                  <a:lnTo>
                    <a:pt x="209" y="115"/>
                  </a:lnTo>
                  <a:lnTo>
                    <a:pt x="209" y="115"/>
                  </a:lnTo>
                  <a:lnTo>
                    <a:pt x="209" y="115"/>
                  </a:lnTo>
                  <a:lnTo>
                    <a:pt x="209" y="113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3" y="117"/>
                  </a:lnTo>
                  <a:lnTo>
                    <a:pt x="213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5" y="117"/>
                  </a:lnTo>
                  <a:lnTo>
                    <a:pt x="215" y="117"/>
                  </a:lnTo>
                  <a:lnTo>
                    <a:pt x="215" y="119"/>
                  </a:lnTo>
                  <a:lnTo>
                    <a:pt x="215" y="119"/>
                  </a:lnTo>
                  <a:lnTo>
                    <a:pt x="215" y="119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17" y="119"/>
                  </a:lnTo>
                  <a:lnTo>
                    <a:pt x="217" y="119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18" y="110"/>
                  </a:lnTo>
                  <a:lnTo>
                    <a:pt x="218" y="110"/>
                  </a:lnTo>
                  <a:lnTo>
                    <a:pt x="218" y="110"/>
                  </a:lnTo>
                  <a:lnTo>
                    <a:pt x="218" y="108"/>
                  </a:lnTo>
                  <a:lnTo>
                    <a:pt x="218" y="108"/>
                  </a:lnTo>
                  <a:lnTo>
                    <a:pt x="218" y="108"/>
                  </a:lnTo>
                  <a:lnTo>
                    <a:pt x="215" y="106"/>
                  </a:lnTo>
                  <a:lnTo>
                    <a:pt x="215" y="106"/>
                  </a:lnTo>
                  <a:lnTo>
                    <a:pt x="215" y="106"/>
                  </a:lnTo>
                  <a:lnTo>
                    <a:pt x="213" y="104"/>
                  </a:lnTo>
                  <a:lnTo>
                    <a:pt x="213" y="104"/>
                  </a:lnTo>
                  <a:lnTo>
                    <a:pt x="211" y="104"/>
                  </a:lnTo>
                  <a:lnTo>
                    <a:pt x="209" y="103"/>
                  </a:lnTo>
                  <a:lnTo>
                    <a:pt x="208" y="103"/>
                  </a:lnTo>
                  <a:lnTo>
                    <a:pt x="208" y="103"/>
                  </a:lnTo>
                  <a:lnTo>
                    <a:pt x="208" y="103"/>
                  </a:lnTo>
                  <a:lnTo>
                    <a:pt x="206" y="101"/>
                  </a:lnTo>
                  <a:lnTo>
                    <a:pt x="204" y="99"/>
                  </a:lnTo>
                  <a:lnTo>
                    <a:pt x="204" y="99"/>
                  </a:lnTo>
                  <a:lnTo>
                    <a:pt x="204" y="99"/>
                  </a:lnTo>
                  <a:lnTo>
                    <a:pt x="204" y="97"/>
                  </a:lnTo>
                  <a:lnTo>
                    <a:pt x="204" y="95"/>
                  </a:lnTo>
                  <a:lnTo>
                    <a:pt x="204" y="95"/>
                  </a:lnTo>
                  <a:lnTo>
                    <a:pt x="204" y="94"/>
                  </a:lnTo>
                  <a:lnTo>
                    <a:pt x="204" y="94"/>
                  </a:lnTo>
                  <a:lnTo>
                    <a:pt x="206" y="94"/>
                  </a:lnTo>
                  <a:lnTo>
                    <a:pt x="206" y="92"/>
                  </a:lnTo>
                  <a:lnTo>
                    <a:pt x="206" y="94"/>
                  </a:lnTo>
                  <a:lnTo>
                    <a:pt x="208" y="94"/>
                  </a:lnTo>
                  <a:lnTo>
                    <a:pt x="211" y="92"/>
                  </a:lnTo>
                  <a:lnTo>
                    <a:pt x="211" y="92"/>
                  </a:lnTo>
                  <a:lnTo>
                    <a:pt x="213" y="92"/>
                  </a:lnTo>
                  <a:lnTo>
                    <a:pt x="215" y="92"/>
                  </a:lnTo>
                  <a:lnTo>
                    <a:pt x="215" y="92"/>
                  </a:lnTo>
                  <a:lnTo>
                    <a:pt x="217" y="94"/>
                  </a:lnTo>
                  <a:lnTo>
                    <a:pt x="218" y="95"/>
                  </a:lnTo>
                  <a:lnTo>
                    <a:pt x="220" y="95"/>
                  </a:lnTo>
                  <a:lnTo>
                    <a:pt x="220" y="97"/>
                  </a:lnTo>
                  <a:lnTo>
                    <a:pt x="226" y="97"/>
                  </a:lnTo>
                  <a:lnTo>
                    <a:pt x="227" y="97"/>
                  </a:lnTo>
                  <a:lnTo>
                    <a:pt x="227" y="99"/>
                  </a:lnTo>
                  <a:lnTo>
                    <a:pt x="229" y="103"/>
                  </a:lnTo>
                  <a:lnTo>
                    <a:pt x="231" y="104"/>
                  </a:lnTo>
                  <a:lnTo>
                    <a:pt x="231" y="104"/>
                  </a:lnTo>
                  <a:lnTo>
                    <a:pt x="233" y="104"/>
                  </a:lnTo>
                  <a:lnTo>
                    <a:pt x="233" y="106"/>
                  </a:lnTo>
                  <a:lnTo>
                    <a:pt x="233" y="106"/>
                  </a:lnTo>
                  <a:lnTo>
                    <a:pt x="233" y="108"/>
                  </a:lnTo>
                  <a:lnTo>
                    <a:pt x="235" y="108"/>
                  </a:lnTo>
                  <a:lnTo>
                    <a:pt x="236" y="108"/>
                  </a:lnTo>
                  <a:lnTo>
                    <a:pt x="238" y="106"/>
                  </a:lnTo>
                  <a:lnTo>
                    <a:pt x="238" y="104"/>
                  </a:lnTo>
                  <a:lnTo>
                    <a:pt x="235" y="101"/>
                  </a:lnTo>
                  <a:lnTo>
                    <a:pt x="233" y="97"/>
                  </a:lnTo>
                  <a:lnTo>
                    <a:pt x="231" y="95"/>
                  </a:lnTo>
                  <a:lnTo>
                    <a:pt x="229" y="95"/>
                  </a:lnTo>
                  <a:lnTo>
                    <a:pt x="229" y="95"/>
                  </a:lnTo>
                  <a:lnTo>
                    <a:pt x="227" y="94"/>
                  </a:lnTo>
                  <a:lnTo>
                    <a:pt x="227" y="94"/>
                  </a:lnTo>
                  <a:lnTo>
                    <a:pt x="227" y="94"/>
                  </a:lnTo>
                  <a:lnTo>
                    <a:pt x="226" y="92"/>
                  </a:lnTo>
                  <a:lnTo>
                    <a:pt x="226" y="92"/>
                  </a:lnTo>
                  <a:lnTo>
                    <a:pt x="224" y="92"/>
                  </a:lnTo>
                  <a:lnTo>
                    <a:pt x="224" y="92"/>
                  </a:lnTo>
                  <a:lnTo>
                    <a:pt x="222" y="92"/>
                  </a:lnTo>
                  <a:lnTo>
                    <a:pt x="222" y="90"/>
                  </a:lnTo>
                  <a:lnTo>
                    <a:pt x="220" y="88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90"/>
                  </a:lnTo>
                  <a:lnTo>
                    <a:pt x="218" y="90"/>
                  </a:lnTo>
                  <a:lnTo>
                    <a:pt x="218" y="90"/>
                  </a:lnTo>
                  <a:lnTo>
                    <a:pt x="217" y="92"/>
                  </a:lnTo>
                  <a:lnTo>
                    <a:pt x="217" y="92"/>
                  </a:lnTo>
                  <a:lnTo>
                    <a:pt x="217" y="92"/>
                  </a:lnTo>
                  <a:lnTo>
                    <a:pt x="215" y="90"/>
                  </a:lnTo>
                  <a:lnTo>
                    <a:pt x="215" y="90"/>
                  </a:lnTo>
                  <a:lnTo>
                    <a:pt x="213" y="90"/>
                  </a:lnTo>
                  <a:lnTo>
                    <a:pt x="211" y="88"/>
                  </a:lnTo>
                  <a:lnTo>
                    <a:pt x="209" y="86"/>
                  </a:lnTo>
                  <a:lnTo>
                    <a:pt x="209" y="85"/>
                  </a:lnTo>
                  <a:lnTo>
                    <a:pt x="209" y="83"/>
                  </a:lnTo>
                  <a:lnTo>
                    <a:pt x="211" y="83"/>
                  </a:lnTo>
                  <a:lnTo>
                    <a:pt x="215" y="81"/>
                  </a:lnTo>
                  <a:lnTo>
                    <a:pt x="215" y="81"/>
                  </a:lnTo>
                  <a:lnTo>
                    <a:pt x="215" y="81"/>
                  </a:lnTo>
                  <a:lnTo>
                    <a:pt x="213" y="79"/>
                  </a:lnTo>
                  <a:lnTo>
                    <a:pt x="213" y="79"/>
                  </a:lnTo>
                  <a:lnTo>
                    <a:pt x="213" y="79"/>
                  </a:lnTo>
                  <a:lnTo>
                    <a:pt x="211" y="79"/>
                  </a:lnTo>
                  <a:lnTo>
                    <a:pt x="211" y="79"/>
                  </a:lnTo>
                  <a:lnTo>
                    <a:pt x="211" y="79"/>
                  </a:lnTo>
                  <a:lnTo>
                    <a:pt x="209" y="77"/>
                  </a:lnTo>
                  <a:lnTo>
                    <a:pt x="208" y="77"/>
                  </a:lnTo>
                  <a:lnTo>
                    <a:pt x="208" y="76"/>
                  </a:lnTo>
                  <a:lnTo>
                    <a:pt x="208" y="76"/>
                  </a:lnTo>
                  <a:lnTo>
                    <a:pt x="206" y="74"/>
                  </a:lnTo>
                  <a:lnTo>
                    <a:pt x="206" y="74"/>
                  </a:lnTo>
                  <a:lnTo>
                    <a:pt x="204" y="74"/>
                  </a:lnTo>
                  <a:lnTo>
                    <a:pt x="204" y="72"/>
                  </a:lnTo>
                  <a:lnTo>
                    <a:pt x="204" y="70"/>
                  </a:lnTo>
                  <a:lnTo>
                    <a:pt x="204" y="68"/>
                  </a:lnTo>
                  <a:lnTo>
                    <a:pt x="204" y="68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9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3" y="65"/>
                  </a:lnTo>
                  <a:lnTo>
                    <a:pt x="218" y="68"/>
                  </a:lnTo>
                  <a:lnTo>
                    <a:pt x="220" y="68"/>
                  </a:lnTo>
                  <a:lnTo>
                    <a:pt x="222" y="68"/>
                  </a:lnTo>
                  <a:lnTo>
                    <a:pt x="224" y="68"/>
                  </a:lnTo>
                  <a:lnTo>
                    <a:pt x="229" y="65"/>
                  </a:lnTo>
                  <a:lnTo>
                    <a:pt x="236" y="61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59"/>
                  </a:lnTo>
                  <a:lnTo>
                    <a:pt x="235" y="59"/>
                  </a:lnTo>
                  <a:lnTo>
                    <a:pt x="235" y="59"/>
                  </a:lnTo>
                  <a:lnTo>
                    <a:pt x="235" y="57"/>
                  </a:lnTo>
                  <a:lnTo>
                    <a:pt x="235" y="57"/>
                  </a:lnTo>
                  <a:lnTo>
                    <a:pt x="236" y="56"/>
                  </a:lnTo>
                  <a:lnTo>
                    <a:pt x="238" y="54"/>
                  </a:lnTo>
                  <a:lnTo>
                    <a:pt x="240" y="54"/>
                  </a:lnTo>
                  <a:lnTo>
                    <a:pt x="240" y="54"/>
                  </a:lnTo>
                  <a:lnTo>
                    <a:pt x="242" y="54"/>
                  </a:lnTo>
                  <a:lnTo>
                    <a:pt x="242" y="54"/>
                  </a:lnTo>
                  <a:lnTo>
                    <a:pt x="244" y="54"/>
                  </a:lnTo>
                  <a:lnTo>
                    <a:pt x="244" y="54"/>
                  </a:lnTo>
                  <a:lnTo>
                    <a:pt x="244" y="52"/>
                  </a:lnTo>
                  <a:lnTo>
                    <a:pt x="244" y="54"/>
                  </a:lnTo>
                  <a:lnTo>
                    <a:pt x="247" y="54"/>
                  </a:lnTo>
                  <a:lnTo>
                    <a:pt x="247" y="54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9" y="56"/>
                  </a:lnTo>
                  <a:lnTo>
                    <a:pt x="249" y="57"/>
                  </a:lnTo>
                  <a:lnTo>
                    <a:pt x="249" y="57"/>
                  </a:lnTo>
                  <a:lnTo>
                    <a:pt x="249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3" y="57"/>
                  </a:lnTo>
                  <a:lnTo>
                    <a:pt x="253" y="59"/>
                  </a:lnTo>
                  <a:lnTo>
                    <a:pt x="253" y="59"/>
                  </a:lnTo>
                  <a:lnTo>
                    <a:pt x="253" y="59"/>
                  </a:lnTo>
                  <a:lnTo>
                    <a:pt x="253" y="59"/>
                  </a:lnTo>
                  <a:lnTo>
                    <a:pt x="255" y="59"/>
                  </a:lnTo>
                  <a:lnTo>
                    <a:pt x="255" y="59"/>
                  </a:lnTo>
                  <a:lnTo>
                    <a:pt x="256" y="59"/>
                  </a:lnTo>
                  <a:lnTo>
                    <a:pt x="258" y="59"/>
                  </a:lnTo>
                  <a:lnTo>
                    <a:pt x="260" y="59"/>
                  </a:lnTo>
                  <a:lnTo>
                    <a:pt x="262" y="57"/>
                  </a:lnTo>
                  <a:lnTo>
                    <a:pt x="264" y="56"/>
                  </a:lnTo>
                  <a:lnTo>
                    <a:pt x="264" y="56"/>
                  </a:lnTo>
                  <a:lnTo>
                    <a:pt x="265" y="54"/>
                  </a:lnTo>
                  <a:lnTo>
                    <a:pt x="267" y="54"/>
                  </a:lnTo>
                  <a:lnTo>
                    <a:pt x="267" y="54"/>
                  </a:lnTo>
                  <a:lnTo>
                    <a:pt x="269" y="54"/>
                  </a:lnTo>
                  <a:lnTo>
                    <a:pt x="269" y="54"/>
                  </a:lnTo>
                  <a:lnTo>
                    <a:pt x="269" y="52"/>
                  </a:lnTo>
                  <a:lnTo>
                    <a:pt x="269" y="52"/>
                  </a:lnTo>
                  <a:lnTo>
                    <a:pt x="269" y="52"/>
                  </a:lnTo>
                  <a:lnTo>
                    <a:pt x="271" y="50"/>
                  </a:lnTo>
                  <a:lnTo>
                    <a:pt x="271" y="50"/>
                  </a:lnTo>
                  <a:lnTo>
                    <a:pt x="271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8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6" y="54"/>
                  </a:lnTo>
                  <a:lnTo>
                    <a:pt x="276" y="54"/>
                  </a:lnTo>
                  <a:lnTo>
                    <a:pt x="276" y="54"/>
                  </a:lnTo>
                  <a:lnTo>
                    <a:pt x="278" y="54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7" y="56"/>
                  </a:lnTo>
                  <a:lnTo>
                    <a:pt x="289" y="56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4" y="57"/>
                  </a:lnTo>
                  <a:lnTo>
                    <a:pt x="294" y="57"/>
                  </a:lnTo>
                  <a:lnTo>
                    <a:pt x="296" y="59"/>
                  </a:lnTo>
                  <a:lnTo>
                    <a:pt x="296" y="59"/>
                  </a:lnTo>
                  <a:lnTo>
                    <a:pt x="298" y="59"/>
                  </a:lnTo>
                  <a:lnTo>
                    <a:pt x="300" y="59"/>
                  </a:lnTo>
                  <a:lnTo>
                    <a:pt x="301" y="59"/>
                  </a:lnTo>
                  <a:lnTo>
                    <a:pt x="303" y="59"/>
                  </a:lnTo>
                  <a:lnTo>
                    <a:pt x="305" y="59"/>
                  </a:lnTo>
                  <a:lnTo>
                    <a:pt x="309" y="59"/>
                  </a:lnTo>
                  <a:lnTo>
                    <a:pt x="309" y="59"/>
                  </a:lnTo>
                  <a:lnTo>
                    <a:pt x="311" y="61"/>
                  </a:lnTo>
                  <a:lnTo>
                    <a:pt x="312" y="61"/>
                  </a:lnTo>
                  <a:lnTo>
                    <a:pt x="314" y="61"/>
                  </a:lnTo>
                  <a:lnTo>
                    <a:pt x="314" y="59"/>
                  </a:lnTo>
                  <a:lnTo>
                    <a:pt x="316" y="61"/>
                  </a:lnTo>
                  <a:lnTo>
                    <a:pt x="318" y="61"/>
                  </a:lnTo>
                  <a:lnTo>
                    <a:pt x="320" y="63"/>
                  </a:lnTo>
                  <a:lnTo>
                    <a:pt x="320" y="63"/>
                  </a:lnTo>
                  <a:lnTo>
                    <a:pt x="320" y="61"/>
                  </a:lnTo>
                  <a:lnTo>
                    <a:pt x="320" y="61"/>
                  </a:lnTo>
                  <a:lnTo>
                    <a:pt x="320" y="61"/>
                  </a:lnTo>
                  <a:lnTo>
                    <a:pt x="320" y="61"/>
                  </a:lnTo>
                  <a:lnTo>
                    <a:pt x="320" y="61"/>
                  </a:lnTo>
                  <a:lnTo>
                    <a:pt x="320" y="61"/>
                  </a:lnTo>
                  <a:lnTo>
                    <a:pt x="320" y="61"/>
                  </a:lnTo>
                  <a:lnTo>
                    <a:pt x="321" y="61"/>
                  </a:lnTo>
                  <a:lnTo>
                    <a:pt x="321" y="61"/>
                  </a:lnTo>
                  <a:lnTo>
                    <a:pt x="321" y="63"/>
                  </a:lnTo>
                  <a:lnTo>
                    <a:pt x="321" y="63"/>
                  </a:lnTo>
                  <a:lnTo>
                    <a:pt x="321" y="63"/>
                  </a:lnTo>
                  <a:lnTo>
                    <a:pt x="320" y="63"/>
                  </a:lnTo>
                  <a:lnTo>
                    <a:pt x="320" y="63"/>
                  </a:lnTo>
                  <a:lnTo>
                    <a:pt x="320" y="63"/>
                  </a:lnTo>
                  <a:lnTo>
                    <a:pt x="320" y="65"/>
                  </a:lnTo>
                  <a:lnTo>
                    <a:pt x="321" y="65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8"/>
                  </a:lnTo>
                  <a:lnTo>
                    <a:pt x="323" y="68"/>
                  </a:lnTo>
                  <a:lnTo>
                    <a:pt x="325" y="66"/>
                  </a:lnTo>
                  <a:lnTo>
                    <a:pt x="325" y="66"/>
                  </a:lnTo>
                  <a:lnTo>
                    <a:pt x="327" y="65"/>
                  </a:lnTo>
                  <a:lnTo>
                    <a:pt x="327" y="63"/>
                  </a:lnTo>
                  <a:lnTo>
                    <a:pt x="329" y="61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30" y="59"/>
                  </a:lnTo>
                  <a:lnTo>
                    <a:pt x="330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7"/>
                  </a:lnTo>
                  <a:lnTo>
                    <a:pt x="330" y="57"/>
                  </a:lnTo>
                  <a:lnTo>
                    <a:pt x="330" y="57"/>
                  </a:lnTo>
                  <a:lnTo>
                    <a:pt x="330" y="57"/>
                  </a:lnTo>
                  <a:lnTo>
                    <a:pt x="330" y="57"/>
                  </a:lnTo>
                  <a:lnTo>
                    <a:pt x="330" y="57"/>
                  </a:lnTo>
                  <a:lnTo>
                    <a:pt x="330" y="57"/>
                  </a:lnTo>
                  <a:lnTo>
                    <a:pt x="330" y="57"/>
                  </a:lnTo>
                  <a:lnTo>
                    <a:pt x="330" y="57"/>
                  </a:lnTo>
                  <a:lnTo>
                    <a:pt x="332" y="57"/>
                  </a:lnTo>
                  <a:lnTo>
                    <a:pt x="332" y="56"/>
                  </a:lnTo>
                  <a:lnTo>
                    <a:pt x="332" y="56"/>
                  </a:lnTo>
                  <a:lnTo>
                    <a:pt x="332" y="56"/>
                  </a:lnTo>
                  <a:lnTo>
                    <a:pt x="332" y="56"/>
                  </a:lnTo>
                  <a:lnTo>
                    <a:pt x="332" y="56"/>
                  </a:lnTo>
                  <a:lnTo>
                    <a:pt x="334" y="57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4" y="54"/>
                  </a:lnTo>
                  <a:lnTo>
                    <a:pt x="336" y="54"/>
                  </a:lnTo>
                  <a:lnTo>
                    <a:pt x="336" y="54"/>
                  </a:lnTo>
                  <a:lnTo>
                    <a:pt x="338" y="52"/>
                  </a:lnTo>
                  <a:lnTo>
                    <a:pt x="336" y="52"/>
                  </a:lnTo>
                  <a:lnTo>
                    <a:pt x="336" y="52"/>
                  </a:lnTo>
                  <a:lnTo>
                    <a:pt x="336" y="52"/>
                  </a:lnTo>
                  <a:lnTo>
                    <a:pt x="336" y="50"/>
                  </a:lnTo>
                  <a:lnTo>
                    <a:pt x="336" y="50"/>
                  </a:lnTo>
                  <a:lnTo>
                    <a:pt x="336" y="50"/>
                  </a:lnTo>
                  <a:lnTo>
                    <a:pt x="338" y="50"/>
                  </a:lnTo>
                  <a:lnTo>
                    <a:pt x="338" y="50"/>
                  </a:lnTo>
                  <a:lnTo>
                    <a:pt x="338" y="48"/>
                  </a:lnTo>
                  <a:lnTo>
                    <a:pt x="338" y="48"/>
                  </a:lnTo>
                  <a:lnTo>
                    <a:pt x="336" y="48"/>
                  </a:lnTo>
                  <a:lnTo>
                    <a:pt x="336" y="47"/>
                  </a:lnTo>
                  <a:lnTo>
                    <a:pt x="336" y="45"/>
                  </a:lnTo>
                  <a:lnTo>
                    <a:pt x="336" y="45"/>
                  </a:lnTo>
                  <a:lnTo>
                    <a:pt x="336" y="43"/>
                  </a:lnTo>
                  <a:lnTo>
                    <a:pt x="336" y="43"/>
                  </a:lnTo>
                  <a:lnTo>
                    <a:pt x="334" y="43"/>
                  </a:lnTo>
                  <a:lnTo>
                    <a:pt x="334" y="41"/>
                  </a:lnTo>
                  <a:lnTo>
                    <a:pt x="336" y="39"/>
                  </a:lnTo>
                  <a:lnTo>
                    <a:pt x="336" y="39"/>
                  </a:lnTo>
                  <a:lnTo>
                    <a:pt x="334" y="38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4" y="34"/>
                  </a:lnTo>
                  <a:lnTo>
                    <a:pt x="336" y="34"/>
                  </a:lnTo>
                  <a:lnTo>
                    <a:pt x="339" y="34"/>
                  </a:lnTo>
                  <a:lnTo>
                    <a:pt x="339" y="32"/>
                  </a:lnTo>
                  <a:lnTo>
                    <a:pt x="341" y="32"/>
                  </a:lnTo>
                  <a:lnTo>
                    <a:pt x="341" y="30"/>
                  </a:lnTo>
                  <a:lnTo>
                    <a:pt x="343" y="30"/>
                  </a:lnTo>
                  <a:lnTo>
                    <a:pt x="343" y="30"/>
                  </a:lnTo>
                  <a:lnTo>
                    <a:pt x="343" y="30"/>
                  </a:lnTo>
                  <a:lnTo>
                    <a:pt x="343" y="30"/>
                  </a:lnTo>
                  <a:lnTo>
                    <a:pt x="347" y="27"/>
                  </a:lnTo>
                  <a:lnTo>
                    <a:pt x="347" y="29"/>
                  </a:lnTo>
                  <a:lnTo>
                    <a:pt x="347" y="29"/>
                  </a:lnTo>
                  <a:lnTo>
                    <a:pt x="348" y="29"/>
                  </a:lnTo>
                  <a:lnTo>
                    <a:pt x="348" y="29"/>
                  </a:lnTo>
                  <a:lnTo>
                    <a:pt x="350" y="29"/>
                  </a:lnTo>
                  <a:lnTo>
                    <a:pt x="350" y="27"/>
                  </a:lnTo>
                  <a:lnTo>
                    <a:pt x="350" y="25"/>
                  </a:lnTo>
                  <a:lnTo>
                    <a:pt x="350" y="23"/>
                  </a:lnTo>
                  <a:lnTo>
                    <a:pt x="350" y="23"/>
                  </a:lnTo>
                  <a:lnTo>
                    <a:pt x="350" y="20"/>
                  </a:lnTo>
                  <a:lnTo>
                    <a:pt x="350" y="16"/>
                  </a:lnTo>
                  <a:lnTo>
                    <a:pt x="348" y="16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8" y="10"/>
                  </a:lnTo>
                  <a:lnTo>
                    <a:pt x="348" y="10"/>
                  </a:lnTo>
                  <a:lnTo>
                    <a:pt x="348" y="10"/>
                  </a:lnTo>
                  <a:lnTo>
                    <a:pt x="348" y="10"/>
                  </a:lnTo>
                  <a:lnTo>
                    <a:pt x="348" y="10"/>
                  </a:lnTo>
                  <a:lnTo>
                    <a:pt x="347" y="10"/>
                  </a:lnTo>
                  <a:lnTo>
                    <a:pt x="345" y="9"/>
                  </a:lnTo>
                  <a:lnTo>
                    <a:pt x="341" y="7"/>
                  </a:lnTo>
                  <a:lnTo>
                    <a:pt x="343" y="7"/>
                  </a:lnTo>
                  <a:lnTo>
                    <a:pt x="343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39" y="5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36" y="3"/>
                  </a:lnTo>
                  <a:lnTo>
                    <a:pt x="334" y="3"/>
                  </a:lnTo>
                  <a:lnTo>
                    <a:pt x="332" y="3"/>
                  </a:lnTo>
                  <a:lnTo>
                    <a:pt x="332" y="1"/>
                  </a:lnTo>
                  <a:lnTo>
                    <a:pt x="330" y="1"/>
                  </a:lnTo>
                  <a:lnTo>
                    <a:pt x="330" y="0"/>
                  </a:lnTo>
                  <a:lnTo>
                    <a:pt x="329" y="0"/>
                  </a:lnTo>
                  <a:lnTo>
                    <a:pt x="329" y="1"/>
                  </a:lnTo>
                  <a:lnTo>
                    <a:pt x="325" y="1"/>
                  </a:lnTo>
                  <a:lnTo>
                    <a:pt x="325" y="1"/>
                  </a:lnTo>
                  <a:lnTo>
                    <a:pt x="323" y="3"/>
                  </a:lnTo>
                  <a:lnTo>
                    <a:pt x="323" y="3"/>
                  </a:lnTo>
                  <a:lnTo>
                    <a:pt x="321" y="3"/>
                  </a:lnTo>
                  <a:lnTo>
                    <a:pt x="321" y="3"/>
                  </a:lnTo>
                  <a:lnTo>
                    <a:pt x="321" y="3"/>
                  </a:lnTo>
                  <a:lnTo>
                    <a:pt x="321" y="5"/>
                  </a:lnTo>
                  <a:lnTo>
                    <a:pt x="321" y="5"/>
                  </a:lnTo>
                  <a:lnTo>
                    <a:pt x="321" y="7"/>
                  </a:lnTo>
                  <a:lnTo>
                    <a:pt x="321" y="7"/>
                  </a:lnTo>
                  <a:lnTo>
                    <a:pt x="321" y="7"/>
                  </a:lnTo>
                  <a:lnTo>
                    <a:pt x="321" y="9"/>
                  </a:lnTo>
                  <a:lnTo>
                    <a:pt x="323" y="9"/>
                  </a:lnTo>
                  <a:lnTo>
                    <a:pt x="323" y="9"/>
                  </a:lnTo>
                  <a:lnTo>
                    <a:pt x="325" y="9"/>
                  </a:lnTo>
                  <a:lnTo>
                    <a:pt x="325" y="9"/>
                  </a:lnTo>
                  <a:lnTo>
                    <a:pt x="325" y="10"/>
                  </a:lnTo>
                  <a:lnTo>
                    <a:pt x="325" y="12"/>
                  </a:lnTo>
                  <a:lnTo>
                    <a:pt x="325" y="12"/>
                  </a:lnTo>
                  <a:lnTo>
                    <a:pt x="325" y="14"/>
                  </a:lnTo>
                  <a:lnTo>
                    <a:pt x="325" y="14"/>
                  </a:lnTo>
                  <a:lnTo>
                    <a:pt x="325" y="14"/>
                  </a:lnTo>
                  <a:lnTo>
                    <a:pt x="327" y="14"/>
                  </a:lnTo>
                  <a:lnTo>
                    <a:pt x="327" y="14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7" y="18"/>
                  </a:lnTo>
                  <a:lnTo>
                    <a:pt x="327" y="18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7" y="21"/>
                  </a:lnTo>
                  <a:lnTo>
                    <a:pt x="327" y="21"/>
                  </a:lnTo>
                  <a:lnTo>
                    <a:pt x="327" y="21"/>
                  </a:lnTo>
                  <a:lnTo>
                    <a:pt x="327" y="21"/>
                  </a:lnTo>
                  <a:lnTo>
                    <a:pt x="327" y="21"/>
                  </a:lnTo>
                  <a:lnTo>
                    <a:pt x="327" y="23"/>
                  </a:lnTo>
                  <a:lnTo>
                    <a:pt x="327" y="25"/>
                  </a:lnTo>
                  <a:lnTo>
                    <a:pt x="325" y="25"/>
                  </a:lnTo>
                  <a:lnTo>
                    <a:pt x="325" y="27"/>
                  </a:lnTo>
                  <a:lnTo>
                    <a:pt x="325" y="27"/>
                  </a:lnTo>
                  <a:lnTo>
                    <a:pt x="325" y="27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18" y="29"/>
                  </a:lnTo>
                  <a:lnTo>
                    <a:pt x="316" y="30"/>
                  </a:lnTo>
                  <a:lnTo>
                    <a:pt x="316" y="30"/>
                  </a:lnTo>
                  <a:lnTo>
                    <a:pt x="316" y="29"/>
                  </a:lnTo>
                  <a:lnTo>
                    <a:pt x="314" y="29"/>
                  </a:lnTo>
                  <a:lnTo>
                    <a:pt x="314" y="30"/>
                  </a:lnTo>
                  <a:lnTo>
                    <a:pt x="312" y="30"/>
                  </a:lnTo>
                  <a:lnTo>
                    <a:pt x="312" y="30"/>
                  </a:lnTo>
                  <a:lnTo>
                    <a:pt x="311" y="29"/>
                  </a:lnTo>
                  <a:lnTo>
                    <a:pt x="309" y="29"/>
                  </a:lnTo>
                  <a:lnTo>
                    <a:pt x="309" y="29"/>
                  </a:lnTo>
                  <a:lnTo>
                    <a:pt x="307" y="29"/>
                  </a:lnTo>
                  <a:lnTo>
                    <a:pt x="305" y="29"/>
                  </a:lnTo>
                  <a:lnTo>
                    <a:pt x="305" y="30"/>
                  </a:lnTo>
                  <a:lnTo>
                    <a:pt x="303" y="30"/>
                  </a:lnTo>
                  <a:lnTo>
                    <a:pt x="303" y="30"/>
                  </a:lnTo>
                  <a:lnTo>
                    <a:pt x="303" y="30"/>
                  </a:lnTo>
                  <a:lnTo>
                    <a:pt x="303" y="30"/>
                  </a:lnTo>
                  <a:lnTo>
                    <a:pt x="301" y="30"/>
                  </a:lnTo>
                  <a:lnTo>
                    <a:pt x="301" y="30"/>
                  </a:lnTo>
                  <a:lnTo>
                    <a:pt x="301" y="30"/>
                  </a:lnTo>
                  <a:lnTo>
                    <a:pt x="296" y="29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4" y="30"/>
                  </a:lnTo>
                  <a:lnTo>
                    <a:pt x="294" y="32"/>
                  </a:lnTo>
                  <a:lnTo>
                    <a:pt x="294" y="32"/>
                  </a:lnTo>
                  <a:lnTo>
                    <a:pt x="294" y="32"/>
                  </a:lnTo>
                  <a:lnTo>
                    <a:pt x="292" y="32"/>
                  </a:lnTo>
                  <a:lnTo>
                    <a:pt x="292" y="32"/>
                  </a:lnTo>
                  <a:lnTo>
                    <a:pt x="291" y="32"/>
                  </a:lnTo>
                  <a:lnTo>
                    <a:pt x="283" y="34"/>
                  </a:lnTo>
                  <a:lnTo>
                    <a:pt x="282" y="34"/>
                  </a:lnTo>
                  <a:lnTo>
                    <a:pt x="280" y="34"/>
                  </a:lnTo>
                  <a:lnTo>
                    <a:pt x="280" y="34"/>
                  </a:lnTo>
                  <a:lnTo>
                    <a:pt x="278" y="30"/>
                  </a:lnTo>
                  <a:lnTo>
                    <a:pt x="276" y="30"/>
                  </a:lnTo>
                  <a:lnTo>
                    <a:pt x="276" y="30"/>
                  </a:lnTo>
                  <a:lnTo>
                    <a:pt x="274" y="29"/>
                  </a:lnTo>
                  <a:lnTo>
                    <a:pt x="274" y="29"/>
                  </a:lnTo>
                  <a:lnTo>
                    <a:pt x="274" y="29"/>
                  </a:lnTo>
                  <a:lnTo>
                    <a:pt x="274" y="29"/>
                  </a:lnTo>
                  <a:lnTo>
                    <a:pt x="274" y="29"/>
                  </a:lnTo>
                  <a:lnTo>
                    <a:pt x="273" y="29"/>
                  </a:lnTo>
                  <a:lnTo>
                    <a:pt x="265" y="25"/>
                  </a:lnTo>
                  <a:lnTo>
                    <a:pt x="264" y="23"/>
                  </a:lnTo>
                  <a:lnTo>
                    <a:pt x="262" y="23"/>
                  </a:lnTo>
                  <a:lnTo>
                    <a:pt x="262" y="23"/>
                  </a:lnTo>
                  <a:lnTo>
                    <a:pt x="260" y="25"/>
                  </a:lnTo>
                  <a:lnTo>
                    <a:pt x="258" y="25"/>
                  </a:lnTo>
                  <a:lnTo>
                    <a:pt x="258" y="25"/>
                  </a:lnTo>
                  <a:lnTo>
                    <a:pt x="258" y="27"/>
                  </a:lnTo>
                  <a:lnTo>
                    <a:pt x="258" y="27"/>
                  </a:lnTo>
                  <a:lnTo>
                    <a:pt x="258" y="27"/>
                  </a:lnTo>
                  <a:lnTo>
                    <a:pt x="256" y="27"/>
                  </a:lnTo>
                  <a:lnTo>
                    <a:pt x="255" y="25"/>
                  </a:lnTo>
                  <a:lnTo>
                    <a:pt x="255" y="23"/>
                  </a:lnTo>
                  <a:lnTo>
                    <a:pt x="253" y="23"/>
                  </a:lnTo>
                  <a:lnTo>
                    <a:pt x="251" y="23"/>
                  </a:lnTo>
                  <a:lnTo>
                    <a:pt x="251" y="23"/>
                  </a:lnTo>
                  <a:lnTo>
                    <a:pt x="251" y="21"/>
                  </a:lnTo>
                  <a:lnTo>
                    <a:pt x="249" y="21"/>
                  </a:lnTo>
                  <a:lnTo>
                    <a:pt x="249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7" y="20"/>
                  </a:lnTo>
                  <a:lnTo>
                    <a:pt x="247" y="20"/>
                  </a:lnTo>
                  <a:lnTo>
                    <a:pt x="247" y="20"/>
                  </a:lnTo>
                  <a:lnTo>
                    <a:pt x="247" y="20"/>
                  </a:lnTo>
                  <a:lnTo>
                    <a:pt x="247" y="20"/>
                  </a:lnTo>
                  <a:lnTo>
                    <a:pt x="247" y="20"/>
                  </a:lnTo>
                  <a:lnTo>
                    <a:pt x="246" y="18"/>
                  </a:lnTo>
                  <a:lnTo>
                    <a:pt x="246" y="18"/>
                  </a:lnTo>
                  <a:lnTo>
                    <a:pt x="246" y="18"/>
                  </a:lnTo>
                  <a:lnTo>
                    <a:pt x="246" y="16"/>
                  </a:lnTo>
                  <a:lnTo>
                    <a:pt x="246" y="14"/>
                  </a:lnTo>
                  <a:lnTo>
                    <a:pt x="244" y="12"/>
                  </a:lnTo>
                  <a:lnTo>
                    <a:pt x="242" y="14"/>
                  </a:lnTo>
                  <a:lnTo>
                    <a:pt x="242" y="14"/>
                  </a:lnTo>
                  <a:lnTo>
                    <a:pt x="240" y="16"/>
                  </a:lnTo>
                  <a:lnTo>
                    <a:pt x="240" y="16"/>
                  </a:lnTo>
                  <a:lnTo>
                    <a:pt x="238" y="16"/>
                  </a:lnTo>
                  <a:lnTo>
                    <a:pt x="238" y="16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3" y="16"/>
                  </a:lnTo>
                  <a:lnTo>
                    <a:pt x="233" y="16"/>
                  </a:lnTo>
                  <a:lnTo>
                    <a:pt x="233" y="16"/>
                  </a:lnTo>
                  <a:lnTo>
                    <a:pt x="233" y="16"/>
                  </a:lnTo>
                  <a:lnTo>
                    <a:pt x="233" y="14"/>
                  </a:lnTo>
                  <a:lnTo>
                    <a:pt x="233" y="14"/>
                  </a:lnTo>
                  <a:lnTo>
                    <a:pt x="231" y="12"/>
                  </a:lnTo>
                  <a:lnTo>
                    <a:pt x="231" y="12"/>
                  </a:lnTo>
                  <a:lnTo>
                    <a:pt x="229" y="14"/>
                  </a:lnTo>
                  <a:lnTo>
                    <a:pt x="229" y="14"/>
                  </a:lnTo>
                  <a:lnTo>
                    <a:pt x="229" y="14"/>
                  </a:lnTo>
                  <a:lnTo>
                    <a:pt x="227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6" y="16"/>
                  </a:lnTo>
                  <a:lnTo>
                    <a:pt x="226" y="16"/>
                  </a:lnTo>
                  <a:lnTo>
                    <a:pt x="224" y="14"/>
                  </a:lnTo>
                  <a:lnTo>
                    <a:pt x="222" y="14"/>
                  </a:lnTo>
                  <a:lnTo>
                    <a:pt x="220" y="16"/>
                  </a:lnTo>
                  <a:lnTo>
                    <a:pt x="222" y="18"/>
                  </a:lnTo>
                  <a:lnTo>
                    <a:pt x="222" y="20"/>
                  </a:lnTo>
                  <a:lnTo>
                    <a:pt x="222" y="20"/>
                  </a:lnTo>
                  <a:lnTo>
                    <a:pt x="220" y="20"/>
                  </a:lnTo>
                  <a:lnTo>
                    <a:pt x="220" y="21"/>
                  </a:lnTo>
                  <a:lnTo>
                    <a:pt x="220" y="20"/>
                  </a:lnTo>
                  <a:lnTo>
                    <a:pt x="218" y="20"/>
                  </a:lnTo>
                  <a:lnTo>
                    <a:pt x="218" y="20"/>
                  </a:lnTo>
                  <a:lnTo>
                    <a:pt x="218" y="20"/>
                  </a:lnTo>
                  <a:lnTo>
                    <a:pt x="218" y="20"/>
                  </a:lnTo>
                  <a:lnTo>
                    <a:pt x="218" y="21"/>
                  </a:lnTo>
                  <a:lnTo>
                    <a:pt x="217" y="21"/>
                  </a:lnTo>
                  <a:lnTo>
                    <a:pt x="217" y="21"/>
                  </a:lnTo>
                  <a:lnTo>
                    <a:pt x="213" y="20"/>
                  </a:lnTo>
                  <a:lnTo>
                    <a:pt x="213" y="20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8" y="21"/>
                  </a:lnTo>
                  <a:lnTo>
                    <a:pt x="208" y="21"/>
                  </a:lnTo>
                  <a:lnTo>
                    <a:pt x="206" y="23"/>
                  </a:lnTo>
                  <a:lnTo>
                    <a:pt x="206" y="23"/>
                  </a:lnTo>
                  <a:lnTo>
                    <a:pt x="204" y="23"/>
                  </a:lnTo>
                  <a:lnTo>
                    <a:pt x="202" y="23"/>
                  </a:lnTo>
                  <a:lnTo>
                    <a:pt x="202" y="23"/>
                  </a:lnTo>
                  <a:lnTo>
                    <a:pt x="200" y="25"/>
                  </a:lnTo>
                  <a:lnTo>
                    <a:pt x="200" y="25"/>
                  </a:lnTo>
                  <a:lnTo>
                    <a:pt x="199" y="25"/>
                  </a:lnTo>
                  <a:lnTo>
                    <a:pt x="197" y="25"/>
                  </a:lnTo>
                  <a:lnTo>
                    <a:pt x="195" y="23"/>
                  </a:lnTo>
                  <a:lnTo>
                    <a:pt x="190" y="23"/>
                  </a:lnTo>
                  <a:lnTo>
                    <a:pt x="188" y="25"/>
                  </a:lnTo>
                  <a:lnTo>
                    <a:pt x="188" y="25"/>
                  </a:lnTo>
                  <a:lnTo>
                    <a:pt x="186" y="25"/>
                  </a:lnTo>
                  <a:lnTo>
                    <a:pt x="184" y="27"/>
                  </a:lnTo>
                  <a:lnTo>
                    <a:pt x="184" y="25"/>
                  </a:lnTo>
                  <a:lnTo>
                    <a:pt x="184" y="25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0" y="25"/>
                  </a:lnTo>
                  <a:lnTo>
                    <a:pt x="180" y="25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77" y="29"/>
                  </a:lnTo>
                  <a:lnTo>
                    <a:pt x="177" y="29"/>
                  </a:lnTo>
                  <a:lnTo>
                    <a:pt x="175" y="30"/>
                  </a:lnTo>
                  <a:lnTo>
                    <a:pt x="164" y="29"/>
                  </a:lnTo>
                  <a:lnTo>
                    <a:pt x="161" y="29"/>
                  </a:lnTo>
                  <a:lnTo>
                    <a:pt x="159" y="29"/>
                  </a:lnTo>
                  <a:lnTo>
                    <a:pt x="157" y="29"/>
                  </a:lnTo>
                  <a:lnTo>
                    <a:pt x="157" y="29"/>
                  </a:lnTo>
                  <a:lnTo>
                    <a:pt x="157" y="30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5" y="38"/>
                  </a:lnTo>
                  <a:lnTo>
                    <a:pt x="155" y="39"/>
                  </a:lnTo>
                  <a:lnTo>
                    <a:pt x="155" y="41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2" y="38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41"/>
                  </a:lnTo>
                  <a:lnTo>
                    <a:pt x="148" y="41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6" y="43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3" y="43"/>
                  </a:lnTo>
                  <a:lnTo>
                    <a:pt x="143" y="43"/>
                  </a:lnTo>
                  <a:lnTo>
                    <a:pt x="141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5" y="41"/>
                  </a:lnTo>
                  <a:lnTo>
                    <a:pt x="135" y="41"/>
                  </a:lnTo>
                  <a:lnTo>
                    <a:pt x="134" y="43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2" y="41"/>
                  </a:lnTo>
                  <a:lnTo>
                    <a:pt x="130" y="39"/>
                  </a:lnTo>
                  <a:lnTo>
                    <a:pt x="130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6" y="41"/>
                  </a:lnTo>
                  <a:lnTo>
                    <a:pt x="125" y="41"/>
                  </a:lnTo>
                  <a:lnTo>
                    <a:pt x="125" y="43"/>
                  </a:lnTo>
                  <a:lnTo>
                    <a:pt x="123" y="43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17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4" y="45"/>
                  </a:lnTo>
                  <a:lnTo>
                    <a:pt x="114" y="45"/>
                  </a:lnTo>
                  <a:lnTo>
                    <a:pt x="114" y="45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2" y="48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105" y="56"/>
                  </a:lnTo>
                  <a:lnTo>
                    <a:pt x="103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6" y="59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0" y="56"/>
                  </a:lnTo>
                  <a:lnTo>
                    <a:pt x="88" y="56"/>
                  </a:lnTo>
                  <a:lnTo>
                    <a:pt x="88" y="57"/>
                  </a:lnTo>
                  <a:lnTo>
                    <a:pt x="87" y="59"/>
                  </a:lnTo>
                  <a:lnTo>
                    <a:pt x="85" y="59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79" y="59"/>
                  </a:lnTo>
                  <a:lnTo>
                    <a:pt x="78" y="59"/>
                  </a:lnTo>
                  <a:lnTo>
                    <a:pt x="74" y="59"/>
                  </a:lnTo>
                  <a:lnTo>
                    <a:pt x="67" y="61"/>
                  </a:lnTo>
                  <a:lnTo>
                    <a:pt x="67" y="63"/>
                  </a:lnTo>
                  <a:lnTo>
                    <a:pt x="67" y="65"/>
                  </a:lnTo>
                  <a:lnTo>
                    <a:pt x="65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8"/>
                  </a:lnTo>
                  <a:lnTo>
                    <a:pt x="69" y="68"/>
                  </a:lnTo>
                  <a:lnTo>
                    <a:pt x="69" y="70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0" y="76"/>
                  </a:lnTo>
                  <a:lnTo>
                    <a:pt x="70" y="77"/>
                  </a:lnTo>
                  <a:lnTo>
                    <a:pt x="70" y="79"/>
                  </a:lnTo>
                  <a:lnTo>
                    <a:pt x="70" y="79"/>
                  </a:lnTo>
                  <a:lnTo>
                    <a:pt x="70" y="79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7" y="81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6"/>
                  </a:lnTo>
                  <a:lnTo>
                    <a:pt x="63" y="86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9"/>
                  </a:lnTo>
                  <a:lnTo>
                    <a:pt x="54" y="101"/>
                  </a:lnTo>
                  <a:lnTo>
                    <a:pt x="54" y="103"/>
                  </a:lnTo>
                  <a:lnTo>
                    <a:pt x="52" y="103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49" y="110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1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8" y="113"/>
                  </a:lnTo>
                  <a:lnTo>
                    <a:pt x="38" y="113"/>
                  </a:lnTo>
                  <a:lnTo>
                    <a:pt x="38" y="115"/>
                  </a:lnTo>
                  <a:lnTo>
                    <a:pt x="38" y="117"/>
                  </a:lnTo>
                  <a:lnTo>
                    <a:pt x="36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21"/>
                  </a:lnTo>
                  <a:lnTo>
                    <a:pt x="34" y="122"/>
                  </a:lnTo>
                  <a:lnTo>
                    <a:pt x="36" y="122"/>
                  </a:lnTo>
                  <a:lnTo>
                    <a:pt x="38" y="126"/>
                  </a:lnTo>
                  <a:lnTo>
                    <a:pt x="38" y="128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2" y="128"/>
                  </a:lnTo>
                  <a:lnTo>
                    <a:pt x="32" y="128"/>
                  </a:lnTo>
                  <a:lnTo>
                    <a:pt x="32" y="130"/>
                  </a:lnTo>
                  <a:lnTo>
                    <a:pt x="32" y="130"/>
                  </a:lnTo>
                  <a:lnTo>
                    <a:pt x="32" y="130"/>
                  </a:lnTo>
                  <a:lnTo>
                    <a:pt x="32" y="130"/>
                  </a:lnTo>
                  <a:lnTo>
                    <a:pt x="32" y="130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4" y="133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1" y="137"/>
                  </a:lnTo>
                  <a:lnTo>
                    <a:pt x="31" y="139"/>
                  </a:lnTo>
                  <a:lnTo>
                    <a:pt x="31" y="137"/>
                  </a:lnTo>
                  <a:lnTo>
                    <a:pt x="31" y="137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7" y="139"/>
                  </a:lnTo>
                  <a:lnTo>
                    <a:pt x="27" y="139"/>
                  </a:lnTo>
                  <a:lnTo>
                    <a:pt x="25" y="137"/>
                  </a:lnTo>
                  <a:lnTo>
                    <a:pt x="23" y="137"/>
                  </a:lnTo>
                  <a:lnTo>
                    <a:pt x="22" y="135"/>
                  </a:lnTo>
                  <a:lnTo>
                    <a:pt x="20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20" y="135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3" y="137"/>
                  </a:lnTo>
                  <a:lnTo>
                    <a:pt x="23" y="137"/>
                  </a:lnTo>
                  <a:lnTo>
                    <a:pt x="23" y="139"/>
                  </a:lnTo>
                  <a:lnTo>
                    <a:pt x="23" y="139"/>
                  </a:lnTo>
                  <a:lnTo>
                    <a:pt x="25" y="139"/>
                  </a:lnTo>
                  <a:lnTo>
                    <a:pt x="25" y="139"/>
                  </a:lnTo>
                  <a:lnTo>
                    <a:pt x="25" y="139"/>
                  </a:lnTo>
                  <a:lnTo>
                    <a:pt x="25" y="139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5" y="144"/>
                  </a:lnTo>
                  <a:lnTo>
                    <a:pt x="25" y="144"/>
                  </a:lnTo>
                  <a:lnTo>
                    <a:pt x="25" y="146"/>
                  </a:lnTo>
                  <a:lnTo>
                    <a:pt x="25" y="146"/>
                  </a:lnTo>
                  <a:lnTo>
                    <a:pt x="25" y="146"/>
                  </a:lnTo>
                  <a:lnTo>
                    <a:pt x="25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9" y="146"/>
                  </a:lnTo>
                  <a:lnTo>
                    <a:pt x="29" y="148"/>
                  </a:lnTo>
                  <a:lnTo>
                    <a:pt x="29" y="148"/>
                  </a:lnTo>
                  <a:lnTo>
                    <a:pt x="29" y="148"/>
                  </a:lnTo>
                  <a:lnTo>
                    <a:pt x="29" y="148"/>
                  </a:lnTo>
                  <a:lnTo>
                    <a:pt x="29" y="148"/>
                  </a:lnTo>
                  <a:lnTo>
                    <a:pt x="31" y="148"/>
                  </a:lnTo>
                  <a:lnTo>
                    <a:pt x="31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1" y="150"/>
                  </a:lnTo>
                  <a:lnTo>
                    <a:pt x="31" y="150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31" y="150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29" y="151"/>
                  </a:lnTo>
                  <a:lnTo>
                    <a:pt x="29" y="153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2" y="155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59"/>
                  </a:lnTo>
                  <a:lnTo>
                    <a:pt x="34" y="160"/>
                  </a:lnTo>
                  <a:lnTo>
                    <a:pt x="36" y="162"/>
                  </a:lnTo>
                  <a:lnTo>
                    <a:pt x="38" y="162"/>
                  </a:lnTo>
                  <a:lnTo>
                    <a:pt x="40" y="162"/>
                  </a:lnTo>
                  <a:lnTo>
                    <a:pt x="40" y="162"/>
                  </a:lnTo>
                  <a:lnTo>
                    <a:pt x="40" y="162"/>
                  </a:lnTo>
                  <a:lnTo>
                    <a:pt x="41" y="162"/>
                  </a:lnTo>
                  <a:lnTo>
                    <a:pt x="41" y="162"/>
                  </a:lnTo>
                  <a:lnTo>
                    <a:pt x="41" y="162"/>
                  </a:lnTo>
                  <a:lnTo>
                    <a:pt x="41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1" y="166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5" y="168"/>
                  </a:lnTo>
                  <a:lnTo>
                    <a:pt x="49" y="173"/>
                  </a:lnTo>
                  <a:lnTo>
                    <a:pt x="50" y="173"/>
                  </a:lnTo>
                  <a:lnTo>
                    <a:pt x="52" y="175"/>
                  </a:lnTo>
                  <a:lnTo>
                    <a:pt x="52" y="177"/>
                  </a:lnTo>
                  <a:lnTo>
                    <a:pt x="54" y="177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56" y="180"/>
                  </a:lnTo>
                  <a:lnTo>
                    <a:pt x="56" y="180"/>
                  </a:lnTo>
                  <a:lnTo>
                    <a:pt x="56" y="180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7"/>
                  </a:lnTo>
                  <a:lnTo>
                    <a:pt x="58" y="177"/>
                  </a:lnTo>
                  <a:lnTo>
                    <a:pt x="58" y="177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3"/>
                  </a:lnTo>
                  <a:lnTo>
                    <a:pt x="60" y="173"/>
                  </a:lnTo>
                  <a:lnTo>
                    <a:pt x="60" y="173"/>
                  </a:lnTo>
                  <a:lnTo>
                    <a:pt x="60" y="173"/>
                  </a:lnTo>
                  <a:lnTo>
                    <a:pt x="60" y="173"/>
                  </a:lnTo>
                  <a:lnTo>
                    <a:pt x="60" y="175"/>
                  </a:lnTo>
                  <a:lnTo>
                    <a:pt x="60" y="177"/>
                  </a:lnTo>
                  <a:lnTo>
                    <a:pt x="60" y="177"/>
                  </a:lnTo>
                  <a:lnTo>
                    <a:pt x="60" y="175"/>
                  </a:lnTo>
                  <a:lnTo>
                    <a:pt x="60" y="175"/>
                  </a:lnTo>
                  <a:lnTo>
                    <a:pt x="61" y="175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8"/>
                  </a:lnTo>
                  <a:lnTo>
                    <a:pt x="61" y="178"/>
                  </a:lnTo>
                  <a:lnTo>
                    <a:pt x="63" y="178"/>
                  </a:lnTo>
                  <a:lnTo>
                    <a:pt x="63" y="178"/>
                  </a:lnTo>
                  <a:lnTo>
                    <a:pt x="61" y="178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3" y="177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3" y="177"/>
                  </a:lnTo>
                  <a:lnTo>
                    <a:pt x="65" y="177"/>
                  </a:lnTo>
                  <a:lnTo>
                    <a:pt x="65" y="177"/>
                  </a:lnTo>
                  <a:lnTo>
                    <a:pt x="65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5" y="177"/>
                  </a:lnTo>
                  <a:lnTo>
                    <a:pt x="65" y="177"/>
                  </a:lnTo>
                  <a:lnTo>
                    <a:pt x="65" y="177"/>
                  </a:lnTo>
                  <a:lnTo>
                    <a:pt x="65" y="177"/>
                  </a:lnTo>
                  <a:lnTo>
                    <a:pt x="65" y="178"/>
                  </a:lnTo>
                  <a:lnTo>
                    <a:pt x="67" y="178"/>
                  </a:lnTo>
                  <a:lnTo>
                    <a:pt x="67" y="178"/>
                  </a:lnTo>
                  <a:lnTo>
                    <a:pt x="67" y="178"/>
                  </a:lnTo>
                  <a:lnTo>
                    <a:pt x="67" y="178"/>
                  </a:lnTo>
                  <a:lnTo>
                    <a:pt x="69" y="178"/>
                  </a:lnTo>
                  <a:lnTo>
                    <a:pt x="69" y="178"/>
                  </a:lnTo>
                  <a:lnTo>
                    <a:pt x="69" y="180"/>
                  </a:lnTo>
                  <a:lnTo>
                    <a:pt x="72" y="180"/>
                  </a:lnTo>
                  <a:lnTo>
                    <a:pt x="70" y="178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2" y="177"/>
                  </a:lnTo>
                  <a:lnTo>
                    <a:pt x="72" y="177"/>
                  </a:lnTo>
                  <a:lnTo>
                    <a:pt x="72" y="177"/>
                  </a:lnTo>
                  <a:lnTo>
                    <a:pt x="76" y="178"/>
                  </a:lnTo>
                  <a:lnTo>
                    <a:pt x="76" y="180"/>
                  </a:lnTo>
                  <a:lnTo>
                    <a:pt x="76" y="182"/>
                  </a:lnTo>
                  <a:lnTo>
                    <a:pt x="76" y="182"/>
                  </a:lnTo>
                  <a:lnTo>
                    <a:pt x="76" y="182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6" y="186"/>
                  </a:lnTo>
                  <a:lnTo>
                    <a:pt x="76" y="186"/>
                  </a:lnTo>
                  <a:lnTo>
                    <a:pt x="76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7"/>
                  </a:lnTo>
                  <a:lnTo>
                    <a:pt x="78" y="187"/>
                  </a:lnTo>
                  <a:lnTo>
                    <a:pt x="78" y="187"/>
                  </a:lnTo>
                  <a:lnTo>
                    <a:pt x="78" y="189"/>
                  </a:lnTo>
                  <a:lnTo>
                    <a:pt x="78" y="189"/>
                  </a:lnTo>
                  <a:lnTo>
                    <a:pt x="78" y="189"/>
                  </a:ln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lnTo>
                    <a:pt x="74" y="186"/>
                  </a:lnTo>
                  <a:lnTo>
                    <a:pt x="74" y="186"/>
                  </a:lnTo>
                  <a:lnTo>
                    <a:pt x="74" y="187"/>
                  </a:lnTo>
                  <a:lnTo>
                    <a:pt x="74" y="187"/>
                  </a:lnTo>
                  <a:lnTo>
                    <a:pt x="74" y="187"/>
                  </a:lnTo>
                  <a:lnTo>
                    <a:pt x="74" y="187"/>
                  </a:lnTo>
                  <a:lnTo>
                    <a:pt x="72" y="187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87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0" y="186"/>
                  </a:lnTo>
                  <a:lnTo>
                    <a:pt x="70" y="186"/>
                  </a:lnTo>
                  <a:lnTo>
                    <a:pt x="70" y="186"/>
                  </a:lnTo>
                  <a:lnTo>
                    <a:pt x="69" y="186"/>
                  </a:lnTo>
                  <a:lnTo>
                    <a:pt x="69" y="184"/>
                  </a:lnTo>
                  <a:lnTo>
                    <a:pt x="69" y="184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5" y="184"/>
                  </a:lnTo>
                  <a:lnTo>
                    <a:pt x="65" y="184"/>
                  </a:lnTo>
                  <a:lnTo>
                    <a:pt x="65" y="184"/>
                  </a:lnTo>
                  <a:lnTo>
                    <a:pt x="65" y="184"/>
                  </a:lnTo>
                  <a:lnTo>
                    <a:pt x="63" y="186"/>
                  </a:lnTo>
                  <a:lnTo>
                    <a:pt x="63" y="186"/>
                  </a:lnTo>
                  <a:lnTo>
                    <a:pt x="61" y="186"/>
                  </a:lnTo>
                  <a:lnTo>
                    <a:pt x="61" y="186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0" y="186"/>
                  </a:lnTo>
                  <a:lnTo>
                    <a:pt x="60" y="186"/>
                  </a:lnTo>
                  <a:lnTo>
                    <a:pt x="58" y="186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7"/>
                  </a:lnTo>
                  <a:lnTo>
                    <a:pt x="58" y="187"/>
                  </a:lnTo>
                  <a:lnTo>
                    <a:pt x="58" y="187"/>
                  </a:lnTo>
                  <a:lnTo>
                    <a:pt x="58" y="189"/>
                  </a:lnTo>
                  <a:lnTo>
                    <a:pt x="60" y="189"/>
                  </a:lnTo>
                  <a:lnTo>
                    <a:pt x="58" y="189"/>
                  </a:lnTo>
                  <a:lnTo>
                    <a:pt x="58" y="189"/>
                  </a:lnTo>
                  <a:lnTo>
                    <a:pt x="58" y="189"/>
                  </a:lnTo>
                  <a:lnTo>
                    <a:pt x="56" y="189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6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7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60" y="195"/>
                  </a:lnTo>
                  <a:lnTo>
                    <a:pt x="60" y="197"/>
                  </a:lnTo>
                  <a:lnTo>
                    <a:pt x="60" y="195"/>
                  </a:lnTo>
                  <a:lnTo>
                    <a:pt x="60" y="195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3" y="195"/>
                  </a:lnTo>
                  <a:lnTo>
                    <a:pt x="63" y="200"/>
                  </a:lnTo>
                  <a:lnTo>
                    <a:pt x="65" y="200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7" y="202"/>
                  </a:lnTo>
                  <a:lnTo>
                    <a:pt x="69" y="202"/>
                  </a:lnTo>
                  <a:lnTo>
                    <a:pt x="69" y="204"/>
                  </a:lnTo>
                  <a:lnTo>
                    <a:pt x="70" y="206"/>
                  </a:lnTo>
                  <a:lnTo>
                    <a:pt x="70" y="207"/>
                  </a:lnTo>
                  <a:lnTo>
                    <a:pt x="69" y="209"/>
                  </a:lnTo>
                  <a:lnTo>
                    <a:pt x="70" y="211"/>
                  </a:lnTo>
                  <a:lnTo>
                    <a:pt x="70" y="211"/>
                  </a:lnTo>
                  <a:lnTo>
                    <a:pt x="70" y="211"/>
                  </a:lnTo>
                  <a:lnTo>
                    <a:pt x="70" y="213"/>
                  </a:lnTo>
                  <a:lnTo>
                    <a:pt x="70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4" y="211"/>
                  </a:lnTo>
                  <a:lnTo>
                    <a:pt x="74" y="211"/>
                  </a:lnTo>
                  <a:lnTo>
                    <a:pt x="74" y="211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4" y="216"/>
                  </a:lnTo>
                  <a:lnTo>
                    <a:pt x="74" y="216"/>
                  </a:lnTo>
                  <a:lnTo>
                    <a:pt x="74" y="216"/>
                  </a:lnTo>
                  <a:lnTo>
                    <a:pt x="74" y="216"/>
                  </a:lnTo>
                  <a:lnTo>
                    <a:pt x="74" y="216"/>
                  </a:lnTo>
                  <a:lnTo>
                    <a:pt x="74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6" y="218"/>
                  </a:lnTo>
                  <a:lnTo>
                    <a:pt x="76" y="220"/>
                  </a:lnTo>
                  <a:lnTo>
                    <a:pt x="74" y="220"/>
                  </a:lnTo>
                  <a:lnTo>
                    <a:pt x="74" y="220"/>
                  </a:lnTo>
                  <a:lnTo>
                    <a:pt x="74" y="220"/>
                  </a:lnTo>
                  <a:lnTo>
                    <a:pt x="74" y="220"/>
                  </a:lnTo>
                  <a:lnTo>
                    <a:pt x="74" y="220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74" y="220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72" y="222"/>
                  </a:lnTo>
                  <a:lnTo>
                    <a:pt x="74" y="222"/>
                  </a:lnTo>
                  <a:lnTo>
                    <a:pt x="76" y="222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6" y="225"/>
                  </a:lnTo>
                  <a:lnTo>
                    <a:pt x="78" y="225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79" y="224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78" y="222"/>
                  </a:lnTo>
                  <a:lnTo>
                    <a:pt x="78" y="222"/>
                  </a:lnTo>
                  <a:lnTo>
                    <a:pt x="79" y="224"/>
                  </a:lnTo>
                  <a:lnTo>
                    <a:pt x="79" y="224"/>
                  </a:lnTo>
                  <a:lnTo>
                    <a:pt x="79" y="224"/>
                  </a:lnTo>
                  <a:lnTo>
                    <a:pt x="81" y="224"/>
                  </a:lnTo>
                  <a:lnTo>
                    <a:pt x="81" y="224"/>
                  </a:lnTo>
                  <a:lnTo>
                    <a:pt x="81" y="222"/>
                  </a:lnTo>
                  <a:lnTo>
                    <a:pt x="83" y="222"/>
                  </a:lnTo>
                  <a:lnTo>
                    <a:pt x="81" y="222"/>
                  </a:lnTo>
                  <a:lnTo>
                    <a:pt x="81" y="222"/>
                  </a:lnTo>
                  <a:lnTo>
                    <a:pt x="81" y="222"/>
                  </a:lnTo>
                  <a:lnTo>
                    <a:pt x="83" y="220"/>
                  </a:lnTo>
                  <a:lnTo>
                    <a:pt x="83" y="222"/>
                  </a:lnTo>
                  <a:lnTo>
                    <a:pt x="83" y="220"/>
                  </a:lnTo>
                  <a:lnTo>
                    <a:pt x="83" y="220"/>
                  </a:lnTo>
                  <a:lnTo>
                    <a:pt x="83" y="220"/>
                  </a:lnTo>
                  <a:lnTo>
                    <a:pt x="83" y="220"/>
                  </a:lnTo>
                  <a:lnTo>
                    <a:pt x="83" y="220"/>
                  </a:lnTo>
                  <a:lnTo>
                    <a:pt x="85" y="220"/>
                  </a:lnTo>
                  <a:lnTo>
                    <a:pt x="85" y="220"/>
                  </a:lnTo>
                  <a:lnTo>
                    <a:pt x="85" y="220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7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7" y="216"/>
                  </a:lnTo>
                  <a:lnTo>
                    <a:pt x="85" y="213"/>
                  </a:lnTo>
                  <a:lnTo>
                    <a:pt x="85" y="213"/>
                  </a:lnTo>
                  <a:lnTo>
                    <a:pt x="85" y="213"/>
                  </a:lnTo>
                  <a:lnTo>
                    <a:pt x="85" y="213"/>
                  </a:lnTo>
                  <a:lnTo>
                    <a:pt x="85" y="213"/>
                  </a:lnTo>
                  <a:lnTo>
                    <a:pt x="85" y="213"/>
                  </a:lnTo>
                  <a:lnTo>
                    <a:pt x="87" y="215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8" y="218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0" y="222"/>
                  </a:lnTo>
                  <a:lnTo>
                    <a:pt x="90" y="222"/>
                  </a:lnTo>
                  <a:lnTo>
                    <a:pt x="90" y="222"/>
                  </a:lnTo>
                  <a:lnTo>
                    <a:pt x="90" y="220"/>
                  </a:lnTo>
                  <a:lnTo>
                    <a:pt x="90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0"/>
                  </a:lnTo>
                  <a:lnTo>
                    <a:pt x="92" y="222"/>
                  </a:lnTo>
                  <a:lnTo>
                    <a:pt x="94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4" y="224"/>
                  </a:lnTo>
                  <a:lnTo>
                    <a:pt x="92" y="224"/>
                  </a:lnTo>
                  <a:lnTo>
                    <a:pt x="92" y="224"/>
                  </a:lnTo>
                  <a:lnTo>
                    <a:pt x="92" y="224"/>
                  </a:lnTo>
                  <a:lnTo>
                    <a:pt x="94" y="224"/>
                  </a:lnTo>
                  <a:lnTo>
                    <a:pt x="94" y="225"/>
                  </a:lnTo>
                  <a:lnTo>
                    <a:pt x="92" y="224"/>
                  </a:lnTo>
                  <a:lnTo>
                    <a:pt x="92" y="224"/>
                  </a:lnTo>
                  <a:lnTo>
                    <a:pt x="90" y="224"/>
                  </a:lnTo>
                  <a:lnTo>
                    <a:pt x="90" y="224"/>
                  </a:lnTo>
                  <a:lnTo>
                    <a:pt x="92" y="224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4" y="225"/>
                  </a:lnTo>
                  <a:lnTo>
                    <a:pt x="94" y="225"/>
                  </a:lnTo>
                  <a:lnTo>
                    <a:pt x="94" y="225"/>
                  </a:lnTo>
                  <a:lnTo>
                    <a:pt x="96" y="225"/>
                  </a:lnTo>
                  <a:lnTo>
                    <a:pt x="96" y="224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101" y="222"/>
                  </a:lnTo>
                  <a:lnTo>
                    <a:pt x="101" y="222"/>
                  </a:lnTo>
                  <a:lnTo>
                    <a:pt x="105" y="222"/>
                  </a:lnTo>
                  <a:lnTo>
                    <a:pt x="106" y="224"/>
                  </a:lnTo>
                  <a:lnTo>
                    <a:pt x="106" y="224"/>
                  </a:lnTo>
                  <a:lnTo>
                    <a:pt x="106" y="224"/>
                  </a:lnTo>
                  <a:lnTo>
                    <a:pt x="106" y="222"/>
                  </a:lnTo>
                  <a:lnTo>
                    <a:pt x="108" y="222"/>
                  </a:lnTo>
                  <a:lnTo>
                    <a:pt x="110" y="220"/>
                  </a:lnTo>
                  <a:lnTo>
                    <a:pt x="110" y="218"/>
                  </a:lnTo>
                  <a:lnTo>
                    <a:pt x="110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2" y="220"/>
                  </a:lnTo>
                  <a:lnTo>
                    <a:pt x="114" y="220"/>
                  </a:lnTo>
                  <a:lnTo>
                    <a:pt x="115" y="218"/>
                  </a:lnTo>
                  <a:lnTo>
                    <a:pt x="117" y="218"/>
                  </a:lnTo>
                  <a:lnTo>
                    <a:pt x="117" y="218"/>
                  </a:lnTo>
                  <a:lnTo>
                    <a:pt x="119" y="220"/>
                  </a:lnTo>
                  <a:lnTo>
                    <a:pt x="121" y="218"/>
                  </a:lnTo>
                  <a:lnTo>
                    <a:pt x="121" y="218"/>
                  </a:lnTo>
                  <a:lnTo>
                    <a:pt x="123" y="220"/>
                  </a:lnTo>
                  <a:lnTo>
                    <a:pt x="125" y="220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26" y="222"/>
                  </a:lnTo>
                  <a:lnTo>
                    <a:pt x="128" y="222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4" y="222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7" y="220"/>
                  </a:lnTo>
                  <a:lnTo>
                    <a:pt x="137" y="220"/>
                  </a:lnTo>
                  <a:lnTo>
                    <a:pt x="137" y="220"/>
                  </a:lnTo>
                  <a:lnTo>
                    <a:pt x="137" y="218"/>
                  </a:lnTo>
                  <a:lnTo>
                    <a:pt x="139" y="218"/>
                  </a:lnTo>
                  <a:lnTo>
                    <a:pt x="139" y="218"/>
                  </a:lnTo>
                  <a:lnTo>
                    <a:pt x="139" y="216"/>
                  </a:lnTo>
                  <a:lnTo>
                    <a:pt x="139" y="216"/>
                  </a:lnTo>
                  <a:lnTo>
                    <a:pt x="141" y="216"/>
                  </a:lnTo>
                  <a:lnTo>
                    <a:pt x="141" y="216"/>
                  </a:lnTo>
                  <a:lnTo>
                    <a:pt x="143" y="216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4" y="222"/>
                  </a:lnTo>
                  <a:lnTo>
                    <a:pt x="146" y="224"/>
                  </a:lnTo>
                  <a:lnTo>
                    <a:pt x="144" y="224"/>
                  </a:lnTo>
                  <a:lnTo>
                    <a:pt x="144" y="224"/>
                  </a:lnTo>
                  <a:lnTo>
                    <a:pt x="144" y="224"/>
                  </a:lnTo>
                  <a:lnTo>
                    <a:pt x="144" y="224"/>
                  </a:lnTo>
                  <a:lnTo>
                    <a:pt x="144" y="224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8" y="225"/>
                  </a:lnTo>
                  <a:lnTo>
                    <a:pt x="148" y="225"/>
                  </a:lnTo>
                  <a:lnTo>
                    <a:pt x="148" y="225"/>
                  </a:lnTo>
                  <a:lnTo>
                    <a:pt x="148" y="225"/>
                  </a:lnTo>
                  <a:lnTo>
                    <a:pt x="148" y="225"/>
                  </a:lnTo>
                  <a:lnTo>
                    <a:pt x="148" y="224"/>
                  </a:lnTo>
                  <a:lnTo>
                    <a:pt x="150" y="224"/>
                  </a:lnTo>
                  <a:lnTo>
                    <a:pt x="150" y="224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8" y="222"/>
                  </a:lnTo>
                  <a:lnTo>
                    <a:pt x="148" y="222"/>
                  </a:lnTo>
                  <a:lnTo>
                    <a:pt x="150" y="222"/>
                  </a:lnTo>
                  <a:lnTo>
                    <a:pt x="150" y="222"/>
                  </a:lnTo>
                  <a:lnTo>
                    <a:pt x="150" y="222"/>
                  </a:lnTo>
                  <a:lnTo>
                    <a:pt x="152" y="222"/>
                  </a:lnTo>
                  <a:lnTo>
                    <a:pt x="152" y="220"/>
                  </a:lnTo>
                  <a:lnTo>
                    <a:pt x="150" y="220"/>
                  </a:lnTo>
                  <a:lnTo>
                    <a:pt x="152" y="220"/>
                  </a:lnTo>
                  <a:lnTo>
                    <a:pt x="152" y="220"/>
                  </a:lnTo>
                  <a:lnTo>
                    <a:pt x="153" y="222"/>
                  </a:lnTo>
                  <a:lnTo>
                    <a:pt x="152" y="222"/>
                  </a:lnTo>
                  <a:lnTo>
                    <a:pt x="153" y="224"/>
                  </a:lnTo>
                  <a:lnTo>
                    <a:pt x="153" y="224"/>
                  </a:lnTo>
                  <a:lnTo>
                    <a:pt x="153" y="224"/>
                  </a:lnTo>
                  <a:lnTo>
                    <a:pt x="155" y="225"/>
                  </a:lnTo>
                  <a:lnTo>
                    <a:pt x="155" y="225"/>
                  </a:lnTo>
                  <a:lnTo>
                    <a:pt x="157" y="225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7" y="227"/>
                  </a:lnTo>
                  <a:lnTo>
                    <a:pt x="157" y="229"/>
                  </a:lnTo>
                  <a:lnTo>
                    <a:pt x="159" y="229"/>
                  </a:lnTo>
                  <a:lnTo>
                    <a:pt x="159" y="229"/>
                  </a:lnTo>
                  <a:lnTo>
                    <a:pt x="161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4" y="229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6" y="233"/>
                  </a:lnTo>
                  <a:lnTo>
                    <a:pt x="168" y="233"/>
                  </a:lnTo>
                  <a:lnTo>
                    <a:pt x="166" y="231"/>
                  </a:lnTo>
                  <a:lnTo>
                    <a:pt x="166" y="231"/>
                  </a:lnTo>
                  <a:lnTo>
                    <a:pt x="166" y="231"/>
                  </a:lnTo>
                  <a:lnTo>
                    <a:pt x="164" y="231"/>
                  </a:lnTo>
                  <a:lnTo>
                    <a:pt x="166" y="231"/>
                  </a:lnTo>
                  <a:lnTo>
                    <a:pt x="166" y="231"/>
                  </a:lnTo>
                  <a:lnTo>
                    <a:pt x="170" y="231"/>
                  </a:lnTo>
                  <a:lnTo>
                    <a:pt x="170" y="231"/>
                  </a:lnTo>
                  <a:lnTo>
                    <a:pt x="170" y="231"/>
                  </a:lnTo>
                  <a:lnTo>
                    <a:pt x="171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1" y="233"/>
                  </a:lnTo>
                  <a:lnTo>
                    <a:pt x="173" y="233"/>
                  </a:lnTo>
                  <a:lnTo>
                    <a:pt x="173" y="231"/>
                  </a:lnTo>
                  <a:lnTo>
                    <a:pt x="175" y="231"/>
                  </a:lnTo>
                  <a:lnTo>
                    <a:pt x="177" y="233"/>
                  </a:lnTo>
                  <a:lnTo>
                    <a:pt x="175" y="233"/>
                  </a:lnTo>
                  <a:lnTo>
                    <a:pt x="175" y="234"/>
                  </a:lnTo>
                  <a:lnTo>
                    <a:pt x="179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77" y="234"/>
                  </a:lnTo>
                  <a:lnTo>
                    <a:pt x="177" y="236"/>
                  </a:lnTo>
                  <a:lnTo>
                    <a:pt x="177" y="236"/>
                  </a:lnTo>
                  <a:lnTo>
                    <a:pt x="179" y="236"/>
                  </a:lnTo>
                  <a:lnTo>
                    <a:pt x="179" y="236"/>
                  </a:lnTo>
                  <a:lnTo>
                    <a:pt x="179" y="238"/>
                  </a:lnTo>
                  <a:lnTo>
                    <a:pt x="179" y="238"/>
                  </a:lnTo>
                  <a:lnTo>
                    <a:pt x="179" y="238"/>
                  </a:lnTo>
                  <a:lnTo>
                    <a:pt x="177" y="240"/>
                  </a:lnTo>
                  <a:lnTo>
                    <a:pt x="173" y="240"/>
                  </a:lnTo>
                  <a:lnTo>
                    <a:pt x="171" y="240"/>
                  </a:lnTo>
                  <a:lnTo>
                    <a:pt x="170" y="240"/>
                  </a:lnTo>
                  <a:lnTo>
                    <a:pt x="170" y="240"/>
                  </a:lnTo>
                  <a:lnTo>
                    <a:pt x="168" y="240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4" y="240"/>
                  </a:lnTo>
                  <a:lnTo>
                    <a:pt x="164" y="240"/>
                  </a:lnTo>
                  <a:lnTo>
                    <a:pt x="162" y="242"/>
                  </a:lnTo>
                  <a:lnTo>
                    <a:pt x="162" y="242"/>
                  </a:lnTo>
                  <a:lnTo>
                    <a:pt x="161" y="242"/>
                  </a:lnTo>
                  <a:lnTo>
                    <a:pt x="162" y="242"/>
                  </a:lnTo>
                  <a:lnTo>
                    <a:pt x="162" y="242"/>
                  </a:lnTo>
                  <a:lnTo>
                    <a:pt x="162" y="242"/>
                  </a:lnTo>
                  <a:lnTo>
                    <a:pt x="164" y="242"/>
                  </a:lnTo>
                  <a:lnTo>
                    <a:pt x="164" y="243"/>
                  </a:lnTo>
                  <a:lnTo>
                    <a:pt x="166" y="243"/>
                  </a:lnTo>
                  <a:lnTo>
                    <a:pt x="166" y="243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4" y="247"/>
                  </a:lnTo>
                  <a:lnTo>
                    <a:pt x="164" y="247"/>
                  </a:lnTo>
                  <a:lnTo>
                    <a:pt x="164" y="249"/>
                  </a:lnTo>
                  <a:lnTo>
                    <a:pt x="162" y="249"/>
                  </a:lnTo>
                  <a:lnTo>
                    <a:pt x="162" y="249"/>
                  </a:lnTo>
                  <a:lnTo>
                    <a:pt x="161" y="247"/>
                  </a:lnTo>
                  <a:lnTo>
                    <a:pt x="159" y="247"/>
                  </a:lnTo>
                  <a:lnTo>
                    <a:pt x="159" y="245"/>
                  </a:lnTo>
                  <a:lnTo>
                    <a:pt x="159" y="245"/>
                  </a:lnTo>
                  <a:lnTo>
                    <a:pt x="157" y="243"/>
                  </a:lnTo>
                  <a:lnTo>
                    <a:pt x="153" y="240"/>
                  </a:lnTo>
                  <a:lnTo>
                    <a:pt x="153" y="240"/>
                  </a:lnTo>
                  <a:lnTo>
                    <a:pt x="153" y="240"/>
                  </a:lnTo>
                  <a:lnTo>
                    <a:pt x="150" y="240"/>
                  </a:lnTo>
                  <a:lnTo>
                    <a:pt x="144" y="236"/>
                  </a:lnTo>
                  <a:lnTo>
                    <a:pt x="141" y="234"/>
                  </a:lnTo>
                  <a:lnTo>
                    <a:pt x="139" y="234"/>
                  </a:lnTo>
                  <a:lnTo>
                    <a:pt x="139" y="236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7" y="234"/>
                  </a:lnTo>
                  <a:lnTo>
                    <a:pt x="135" y="233"/>
                  </a:lnTo>
                  <a:lnTo>
                    <a:pt x="135" y="233"/>
                  </a:lnTo>
                  <a:lnTo>
                    <a:pt x="134" y="233"/>
                  </a:lnTo>
                  <a:lnTo>
                    <a:pt x="134" y="233"/>
                  </a:lnTo>
                  <a:lnTo>
                    <a:pt x="132" y="233"/>
                  </a:lnTo>
                  <a:lnTo>
                    <a:pt x="130" y="233"/>
                  </a:lnTo>
                  <a:lnTo>
                    <a:pt x="130" y="233"/>
                  </a:lnTo>
                  <a:lnTo>
                    <a:pt x="130" y="233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6" y="231"/>
                  </a:lnTo>
                  <a:lnTo>
                    <a:pt x="126" y="231"/>
                  </a:lnTo>
                  <a:lnTo>
                    <a:pt x="126" y="231"/>
                  </a:lnTo>
                  <a:lnTo>
                    <a:pt x="126" y="229"/>
                  </a:lnTo>
                  <a:lnTo>
                    <a:pt x="126" y="229"/>
                  </a:lnTo>
                  <a:lnTo>
                    <a:pt x="125" y="227"/>
                  </a:lnTo>
                  <a:lnTo>
                    <a:pt x="125" y="227"/>
                  </a:lnTo>
                  <a:lnTo>
                    <a:pt x="125" y="227"/>
                  </a:lnTo>
                  <a:lnTo>
                    <a:pt x="125" y="227"/>
                  </a:lnTo>
                  <a:lnTo>
                    <a:pt x="123" y="227"/>
                  </a:lnTo>
                  <a:lnTo>
                    <a:pt x="123" y="227"/>
                  </a:lnTo>
                  <a:lnTo>
                    <a:pt x="123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5"/>
                  </a:lnTo>
                  <a:lnTo>
                    <a:pt x="119" y="225"/>
                  </a:lnTo>
                  <a:lnTo>
                    <a:pt x="119" y="224"/>
                  </a:lnTo>
                  <a:lnTo>
                    <a:pt x="119" y="224"/>
                  </a:lnTo>
                  <a:lnTo>
                    <a:pt x="117" y="224"/>
                  </a:lnTo>
                  <a:lnTo>
                    <a:pt x="117" y="224"/>
                  </a:lnTo>
                  <a:lnTo>
                    <a:pt x="117" y="224"/>
                  </a:lnTo>
                  <a:lnTo>
                    <a:pt x="115" y="224"/>
                  </a:lnTo>
                  <a:lnTo>
                    <a:pt x="115" y="224"/>
                  </a:lnTo>
                  <a:lnTo>
                    <a:pt x="115" y="224"/>
                  </a:lnTo>
                  <a:lnTo>
                    <a:pt x="114" y="224"/>
                  </a:lnTo>
                  <a:lnTo>
                    <a:pt x="112" y="222"/>
                  </a:lnTo>
                  <a:lnTo>
                    <a:pt x="110" y="224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3" y="231"/>
                  </a:lnTo>
                  <a:lnTo>
                    <a:pt x="103" y="233"/>
                  </a:lnTo>
                  <a:lnTo>
                    <a:pt x="101" y="234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96" y="234"/>
                  </a:lnTo>
                  <a:lnTo>
                    <a:pt x="92" y="233"/>
                  </a:lnTo>
                  <a:lnTo>
                    <a:pt x="92" y="231"/>
                  </a:lnTo>
                  <a:lnTo>
                    <a:pt x="90" y="231"/>
                  </a:lnTo>
                  <a:lnTo>
                    <a:pt x="90" y="231"/>
                  </a:lnTo>
                  <a:lnTo>
                    <a:pt x="88" y="231"/>
                  </a:lnTo>
                  <a:lnTo>
                    <a:pt x="88" y="231"/>
                  </a:lnTo>
                  <a:lnTo>
                    <a:pt x="88" y="231"/>
                  </a:lnTo>
                  <a:lnTo>
                    <a:pt x="88" y="231"/>
                  </a:lnTo>
                  <a:lnTo>
                    <a:pt x="88" y="233"/>
                  </a:lnTo>
                  <a:lnTo>
                    <a:pt x="88" y="233"/>
                  </a:lnTo>
                  <a:lnTo>
                    <a:pt x="88" y="231"/>
                  </a:lnTo>
                  <a:lnTo>
                    <a:pt x="87" y="231"/>
                  </a:lnTo>
                  <a:lnTo>
                    <a:pt x="87" y="231"/>
                  </a:lnTo>
                  <a:lnTo>
                    <a:pt x="87" y="234"/>
                  </a:lnTo>
                  <a:lnTo>
                    <a:pt x="87" y="236"/>
                  </a:lnTo>
                  <a:lnTo>
                    <a:pt x="87" y="236"/>
                  </a:lnTo>
                  <a:lnTo>
                    <a:pt x="85" y="240"/>
                  </a:lnTo>
                  <a:lnTo>
                    <a:pt x="85" y="240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85" y="242"/>
                  </a:lnTo>
                  <a:lnTo>
                    <a:pt x="85" y="242"/>
                  </a:lnTo>
                  <a:lnTo>
                    <a:pt x="85" y="242"/>
                  </a:lnTo>
                  <a:lnTo>
                    <a:pt x="85" y="242"/>
                  </a:lnTo>
                  <a:lnTo>
                    <a:pt x="85" y="242"/>
                  </a:lnTo>
                  <a:lnTo>
                    <a:pt x="85" y="242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3" y="243"/>
                  </a:lnTo>
                  <a:lnTo>
                    <a:pt x="83" y="245"/>
                  </a:lnTo>
                  <a:lnTo>
                    <a:pt x="83" y="243"/>
                  </a:lnTo>
                  <a:lnTo>
                    <a:pt x="81" y="245"/>
                  </a:lnTo>
                  <a:lnTo>
                    <a:pt x="79" y="247"/>
                  </a:lnTo>
                  <a:lnTo>
                    <a:pt x="78" y="249"/>
                  </a:lnTo>
                  <a:lnTo>
                    <a:pt x="76" y="247"/>
                  </a:lnTo>
                  <a:lnTo>
                    <a:pt x="76" y="247"/>
                  </a:lnTo>
                  <a:lnTo>
                    <a:pt x="74" y="253"/>
                  </a:lnTo>
                  <a:lnTo>
                    <a:pt x="74" y="253"/>
                  </a:lnTo>
                  <a:lnTo>
                    <a:pt x="74" y="253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9" y="256"/>
                  </a:lnTo>
                  <a:lnTo>
                    <a:pt x="81" y="258"/>
                  </a:lnTo>
                  <a:lnTo>
                    <a:pt x="83" y="258"/>
                  </a:lnTo>
                  <a:lnTo>
                    <a:pt x="83" y="258"/>
                  </a:lnTo>
                  <a:lnTo>
                    <a:pt x="85" y="262"/>
                  </a:lnTo>
                  <a:lnTo>
                    <a:pt x="85" y="263"/>
                  </a:lnTo>
                  <a:lnTo>
                    <a:pt x="85" y="263"/>
                  </a:lnTo>
                  <a:lnTo>
                    <a:pt x="83" y="265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5" y="267"/>
                  </a:lnTo>
                  <a:lnTo>
                    <a:pt x="85" y="267"/>
                  </a:lnTo>
                  <a:lnTo>
                    <a:pt x="85" y="267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8" y="265"/>
                  </a:lnTo>
                  <a:lnTo>
                    <a:pt x="88" y="267"/>
                  </a:lnTo>
                  <a:lnTo>
                    <a:pt x="90" y="267"/>
                  </a:lnTo>
                  <a:lnTo>
                    <a:pt x="90" y="269"/>
                  </a:lnTo>
                  <a:lnTo>
                    <a:pt x="92" y="269"/>
                  </a:lnTo>
                  <a:lnTo>
                    <a:pt x="96" y="272"/>
                  </a:lnTo>
                  <a:lnTo>
                    <a:pt x="97" y="272"/>
                  </a:lnTo>
                  <a:lnTo>
                    <a:pt x="99" y="276"/>
                  </a:lnTo>
                  <a:lnTo>
                    <a:pt x="103" y="283"/>
                  </a:lnTo>
                  <a:lnTo>
                    <a:pt x="103" y="283"/>
                  </a:lnTo>
                  <a:lnTo>
                    <a:pt x="103" y="285"/>
                  </a:lnTo>
                  <a:lnTo>
                    <a:pt x="103" y="287"/>
                  </a:lnTo>
                  <a:lnTo>
                    <a:pt x="103" y="289"/>
                  </a:lnTo>
                  <a:lnTo>
                    <a:pt x="101" y="290"/>
                  </a:lnTo>
                  <a:lnTo>
                    <a:pt x="97" y="294"/>
                  </a:lnTo>
                  <a:lnTo>
                    <a:pt x="97" y="296"/>
                  </a:lnTo>
                  <a:lnTo>
                    <a:pt x="97" y="298"/>
                  </a:lnTo>
                  <a:lnTo>
                    <a:pt x="97" y="299"/>
                  </a:lnTo>
                  <a:lnTo>
                    <a:pt x="97" y="303"/>
                  </a:lnTo>
                  <a:lnTo>
                    <a:pt x="99" y="305"/>
                  </a:lnTo>
                  <a:lnTo>
                    <a:pt x="99" y="307"/>
                  </a:lnTo>
                  <a:lnTo>
                    <a:pt x="101" y="307"/>
                  </a:lnTo>
                  <a:lnTo>
                    <a:pt x="101" y="310"/>
                  </a:lnTo>
                  <a:lnTo>
                    <a:pt x="101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10"/>
                  </a:lnTo>
                  <a:lnTo>
                    <a:pt x="101" y="310"/>
                  </a:lnTo>
                  <a:lnTo>
                    <a:pt x="103" y="309"/>
                  </a:lnTo>
                  <a:lnTo>
                    <a:pt x="103" y="310"/>
                  </a:lnTo>
                  <a:lnTo>
                    <a:pt x="105" y="310"/>
                  </a:lnTo>
                  <a:lnTo>
                    <a:pt x="105" y="312"/>
                  </a:lnTo>
                  <a:lnTo>
                    <a:pt x="105" y="312"/>
                  </a:lnTo>
                  <a:lnTo>
                    <a:pt x="103" y="314"/>
                  </a:lnTo>
                  <a:lnTo>
                    <a:pt x="103" y="314"/>
                  </a:lnTo>
                  <a:lnTo>
                    <a:pt x="103" y="314"/>
                  </a:lnTo>
                  <a:lnTo>
                    <a:pt x="103" y="316"/>
                  </a:lnTo>
                  <a:lnTo>
                    <a:pt x="103" y="316"/>
                  </a:lnTo>
                  <a:lnTo>
                    <a:pt x="103" y="316"/>
                  </a:lnTo>
                  <a:lnTo>
                    <a:pt x="103" y="318"/>
                  </a:lnTo>
                  <a:lnTo>
                    <a:pt x="103" y="318"/>
                  </a:lnTo>
                  <a:lnTo>
                    <a:pt x="105" y="319"/>
                  </a:lnTo>
                  <a:lnTo>
                    <a:pt x="105" y="318"/>
                  </a:lnTo>
                  <a:lnTo>
                    <a:pt x="105" y="318"/>
                  </a:lnTo>
                  <a:lnTo>
                    <a:pt x="105" y="319"/>
                  </a:lnTo>
                  <a:lnTo>
                    <a:pt x="106" y="319"/>
                  </a:lnTo>
                  <a:lnTo>
                    <a:pt x="106" y="319"/>
                  </a:lnTo>
                  <a:lnTo>
                    <a:pt x="108" y="319"/>
                  </a:lnTo>
                  <a:lnTo>
                    <a:pt x="108" y="319"/>
                  </a:lnTo>
                  <a:lnTo>
                    <a:pt x="110" y="319"/>
                  </a:lnTo>
                  <a:lnTo>
                    <a:pt x="112" y="323"/>
                  </a:lnTo>
                  <a:lnTo>
                    <a:pt x="112" y="323"/>
                  </a:lnTo>
                  <a:lnTo>
                    <a:pt x="112" y="325"/>
                  </a:lnTo>
                  <a:lnTo>
                    <a:pt x="112" y="325"/>
                  </a:lnTo>
                  <a:lnTo>
                    <a:pt x="114" y="325"/>
                  </a:lnTo>
                  <a:lnTo>
                    <a:pt x="114" y="323"/>
                  </a:lnTo>
                  <a:lnTo>
                    <a:pt x="115" y="321"/>
                  </a:lnTo>
                  <a:lnTo>
                    <a:pt x="115" y="321"/>
                  </a:lnTo>
                  <a:lnTo>
                    <a:pt x="115" y="321"/>
                  </a:lnTo>
                  <a:lnTo>
                    <a:pt x="115" y="319"/>
                  </a:lnTo>
                  <a:lnTo>
                    <a:pt x="117" y="319"/>
                  </a:lnTo>
                  <a:lnTo>
                    <a:pt x="117" y="319"/>
                  </a:lnTo>
                  <a:lnTo>
                    <a:pt x="117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5" y="318"/>
                  </a:lnTo>
                  <a:lnTo>
                    <a:pt x="115" y="318"/>
                  </a:lnTo>
                  <a:lnTo>
                    <a:pt x="115" y="318"/>
                  </a:lnTo>
                  <a:lnTo>
                    <a:pt x="115" y="316"/>
                  </a:lnTo>
                  <a:lnTo>
                    <a:pt x="115" y="316"/>
                  </a:lnTo>
                  <a:lnTo>
                    <a:pt x="115" y="316"/>
                  </a:lnTo>
                  <a:lnTo>
                    <a:pt x="115" y="314"/>
                  </a:lnTo>
                  <a:lnTo>
                    <a:pt x="115" y="309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7" y="307"/>
                  </a:lnTo>
                  <a:lnTo>
                    <a:pt x="121" y="305"/>
                  </a:lnTo>
                  <a:lnTo>
                    <a:pt x="121" y="305"/>
                  </a:lnTo>
                  <a:lnTo>
                    <a:pt x="123" y="305"/>
                  </a:lnTo>
                  <a:lnTo>
                    <a:pt x="126" y="305"/>
                  </a:lnTo>
                  <a:lnTo>
                    <a:pt x="126" y="307"/>
                  </a:lnTo>
                  <a:lnTo>
                    <a:pt x="126" y="309"/>
                  </a:lnTo>
                  <a:lnTo>
                    <a:pt x="126" y="309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5" y="312"/>
                  </a:lnTo>
                  <a:lnTo>
                    <a:pt x="125" y="312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8" y="314"/>
                  </a:lnTo>
                  <a:lnTo>
                    <a:pt x="128" y="312"/>
                  </a:lnTo>
                  <a:lnTo>
                    <a:pt x="130" y="314"/>
                  </a:lnTo>
                  <a:lnTo>
                    <a:pt x="134" y="318"/>
                  </a:lnTo>
                  <a:lnTo>
                    <a:pt x="134" y="319"/>
                  </a:lnTo>
                  <a:lnTo>
                    <a:pt x="134" y="321"/>
                  </a:lnTo>
                  <a:lnTo>
                    <a:pt x="135" y="323"/>
                  </a:lnTo>
                  <a:lnTo>
                    <a:pt x="135" y="325"/>
                  </a:lnTo>
                  <a:lnTo>
                    <a:pt x="137" y="327"/>
                  </a:lnTo>
                  <a:lnTo>
                    <a:pt x="137" y="325"/>
                  </a:lnTo>
                  <a:lnTo>
                    <a:pt x="137" y="327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37" y="330"/>
                  </a:lnTo>
                  <a:lnTo>
                    <a:pt x="137" y="330"/>
                  </a:lnTo>
                  <a:lnTo>
                    <a:pt x="137" y="330"/>
                  </a:lnTo>
                  <a:lnTo>
                    <a:pt x="137" y="330"/>
                  </a:lnTo>
                  <a:lnTo>
                    <a:pt x="137" y="332"/>
                  </a:lnTo>
                  <a:lnTo>
                    <a:pt x="137" y="332"/>
                  </a:lnTo>
                  <a:lnTo>
                    <a:pt x="137" y="332"/>
                  </a:lnTo>
                  <a:lnTo>
                    <a:pt x="137" y="334"/>
                  </a:lnTo>
                  <a:lnTo>
                    <a:pt x="137" y="334"/>
                  </a:lnTo>
                  <a:lnTo>
                    <a:pt x="137" y="336"/>
                  </a:lnTo>
                  <a:lnTo>
                    <a:pt x="137" y="336"/>
                  </a:lnTo>
                  <a:lnTo>
                    <a:pt x="137" y="336"/>
                  </a:lnTo>
                  <a:lnTo>
                    <a:pt x="137" y="336"/>
                  </a:lnTo>
                  <a:lnTo>
                    <a:pt x="137" y="337"/>
                  </a:lnTo>
                  <a:lnTo>
                    <a:pt x="137" y="337"/>
                  </a:lnTo>
                  <a:lnTo>
                    <a:pt x="137" y="339"/>
                  </a:lnTo>
                  <a:lnTo>
                    <a:pt x="137" y="339"/>
                  </a:lnTo>
                  <a:lnTo>
                    <a:pt x="137" y="339"/>
                  </a:lnTo>
                  <a:lnTo>
                    <a:pt x="139" y="339"/>
                  </a:lnTo>
                  <a:lnTo>
                    <a:pt x="139" y="339"/>
                  </a:lnTo>
                  <a:lnTo>
                    <a:pt x="139" y="339"/>
                  </a:lnTo>
                  <a:lnTo>
                    <a:pt x="139" y="339"/>
                  </a:lnTo>
                  <a:lnTo>
                    <a:pt x="141" y="341"/>
                  </a:lnTo>
                  <a:lnTo>
                    <a:pt x="143" y="341"/>
                  </a:lnTo>
                  <a:lnTo>
                    <a:pt x="143" y="343"/>
                  </a:lnTo>
                  <a:lnTo>
                    <a:pt x="143" y="343"/>
                  </a:lnTo>
                  <a:lnTo>
                    <a:pt x="143" y="345"/>
                  </a:lnTo>
                  <a:lnTo>
                    <a:pt x="143" y="345"/>
                  </a:lnTo>
                  <a:lnTo>
                    <a:pt x="143" y="345"/>
                  </a:lnTo>
                  <a:lnTo>
                    <a:pt x="143" y="345"/>
                  </a:lnTo>
                  <a:lnTo>
                    <a:pt x="143" y="345"/>
                  </a:lnTo>
                  <a:lnTo>
                    <a:pt x="144" y="345"/>
                  </a:lnTo>
                  <a:lnTo>
                    <a:pt x="144" y="343"/>
                  </a:lnTo>
                  <a:lnTo>
                    <a:pt x="143" y="343"/>
                  </a:lnTo>
                  <a:lnTo>
                    <a:pt x="143" y="343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3" y="337"/>
                  </a:lnTo>
                  <a:lnTo>
                    <a:pt x="143" y="337"/>
                  </a:lnTo>
                  <a:lnTo>
                    <a:pt x="143" y="336"/>
                  </a:lnTo>
                  <a:lnTo>
                    <a:pt x="143" y="332"/>
                  </a:lnTo>
                  <a:lnTo>
                    <a:pt x="143" y="330"/>
                  </a:lnTo>
                  <a:lnTo>
                    <a:pt x="144" y="330"/>
                  </a:lnTo>
                  <a:lnTo>
                    <a:pt x="144" y="332"/>
                  </a:lnTo>
                  <a:lnTo>
                    <a:pt x="144" y="332"/>
                  </a:lnTo>
                  <a:lnTo>
                    <a:pt x="144" y="330"/>
                  </a:lnTo>
                  <a:lnTo>
                    <a:pt x="144" y="330"/>
                  </a:lnTo>
                  <a:lnTo>
                    <a:pt x="144" y="328"/>
                  </a:lnTo>
                  <a:lnTo>
                    <a:pt x="144" y="328"/>
                  </a:lnTo>
                  <a:lnTo>
                    <a:pt x="144" y="328"/>
                  </a:lnTo>
                  <a:lnTo>
                    <a:pt x="144" y="328"/>
                  </a:lnTo>
                  <a:lnTo>
                    <a:pt x="144" y="328"/>
                  </a:lnTo>
                  <a:lnTo>
                    <a:pt x="146" y="328"/>
                  </a:lnTo>
                  <a:lnTo>
                    <a:pt x="146" y="328"/>
                  </a:lnTo>
                  <a:lnTo>
                    <a:pt x="146" y="328"/>
                  </a:lnTo>
                  <a:lnTo>
                    <a:pt x="146" y="328"/>
                  </a:lnTo>
                  <a:lnTo>
                    <a:pt x="146" y="328"/>
                  </a:lnTo>
                  <a:lnTo>
                    <a:pt x="146" y="327"/>
                  </a:lnTo>
                  <a:lnTo>
                    <a:pt x="146" y="327"/>
                  </a:lnTo>
                  <a:lnTo>
                    <a:pt x="144" y="327"/>
                  </a:lnTo>
                  <a:lnTo>
                    <a:pt x="144" y="325"/>
                  </a:lnTo>
                  <a:lnTo>
                    <a:pt x="146" y="325"/>
                  </a:lnTo>
                  <a:lnTo>
                    <a:pt x="148" y="323"/>
                  </a:lnTo>
                  <a:lnTo>
                    <a:pt x="148" y="321"/>
                  </a:lnTo>
                  <a:lnTo>
                    <a:pt x="150" y="319"/>
                  </a:lnTo>
                  <a:lnTo>
                    <a:pt x="153" y="319"/>
                  </a:lnTo>
                  <a:lnTo>
                    <a:pt x="155" y="319"/>
                  </a:lnTo>
                  <a:lnTo>
                    <a:pt x="157" y="319"/>
                  </a:lnTo>
                  <a:lnTo>
                    <a:pt x="159" y="319"/>
                  </a:lnTo>
                  <a:lnTo>
                    <a:pt x="159" y="321"/>
                  </a:lnTo>
                  <a:lnTo>
                    <a:pt x="159" y="323"/>
                  </a:lnTo>
                  <a:lnTo>
                    <a:pt x="159" y="325"/>
                  </a:lnTo>
                  <a:lnTo>
                    <a:pt x="159" y="325"/>
                  </a:lnTo>
                  <a:lnTo>
                    <a:pt x="159" y="327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1" y="327"/>
                  </a:lnTo>
                  <a:lnTo>
                    <a:pt x="162" y="328"/>
                  </a:lnTo>
                  <a:lnTo>
                    <a:pt x="162" y="330"/>
                  </a:lnTo>
                  <a:lnTo>
                    <a:pt x="162" y="330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6" y="332"/>
                  </a:lnTo>
                  <a:lnTo>
                    <a:pt x="166" y="336"/>
                  </a:lnTo>
                  <a:lnTo>
                    <a:pt x="166" y="336"/>
                  </a:lnTo>
                  <a:lnTo>
                    <a:pt x="168" y="337"/>
                  </a:lnTo>
                  <a:lnTo>
                    <a:pt x="168" y="337"/>
                  </a:lnTo>
                  <a:lnTo>
                    <a:pt x="170" y="336"/>
                  </a:lnTo>
                  <a:lnTo>
                    <a:pt x="171" y="337"/>
                  </a:lnTo>
                  <a:lnTo>
                    <a:pt x="171" y="337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73" y="341"/>
                  </a:lnTo>
                  <a:lnTo>
                    <a:pt x="173" y="341"/>
                  </a:lnTo>
                  <a:lnTo>
                    <a:pt x="173" y="341"/>
                  </a:lnTo>
                  <a:lnTo>
                    <a:pt x="175" y="343"/>
                  </a:lnTo>
                  <a:lnTo>
                    <a:pt x="177" y="343"/>
                  </a:lnTo>
                  <a:lnTo>
                    <a:pt x="177" y="341"/>
                  </a:lnTo>
                  <a:lnTo>
                    <a:pt x="179" y="343"/>
                  </a:lnTo>
                  <a:lnTo>
                    <a:pt x="179" y="341"/>
                  </a:lnTo>
                  <a:lnTo>
                    <a:pt x="177" y="339"/>
                  </a:lnTo>
                  <a:lnTo>
                    <a:pt x="177" y="339"/>
                  </a:lnTo>
                  <a:lnTo>
                    <a:pt x="175" y="337"/>
                  </a:lnTo>
                  <a:lnTo>
                    <a:pt x="175" y="337"/>
                  </a:lnTo>
                  <a:lnTo>
                    <a:pt x="177" y="337"/>
                  </a:lnTo>
                  <a:lnTo>
                    <a:pt x="177" y="337"/>
                  </a:lnTo>
                  <a:lnTo>
                    <a:pt x="175" y="336"/>
                  </a:lnTo>
                  <a:lnTo>
                    <a:pt x="175" y="336"/>
                  </a:lnTo>
                  <a:lnTo>
                    <a:pt x="175" y="336"/>
                  </a:lnTo>
                  <a:lnTo>
                    <a:pt x="177" y="336"/>
                  </a:lnTo>
                  <a:lnTo>
                    <a:pt x="175" y="336"/>
                  </a:lnTo>
                  <a:lnTo>
                    <a:pt x="175" y="336"/>
                  </a:lnTo>
                  <a:lnTo>
                    <a:pt x="175" y="336"/>
                  </a:lnTo>
                  <a:lnTo>
                    <a:pt x="175" y="336"/>
                  </a:lnTo>
                  <a:lnTo>
                    <a:pt x="175" y="334"/>
                  </a:lnTo>
                  <a:lnTo>
                    <a:pt x="173" y="334"/>
                  </a:lnTo>
                  <a:lnTo>
                    <a:pt x="173" y="334"/>
                  </a:lnTo>
                  <a:lnTo>
                    <a:pt x="173" y="334"/>
                  </a:lnTo>
                  <a:lnTo>
                    <a:pt x="171" y="332"/>
                  </a:lnTo>
                  <a:lnTo>
                    <a:pt x="171" y="330"/>
                  </a:lnTo>
                  <a:lnTo>
                    <a:pt x="170" y="328"/>
                  </a:lnTo>
                  <a:lnTo>
                    <a:pt x="170" y="327"/>
                  </a:lnTo>
                  <a:lnTo>
                    <a:pt x="171" y="327"/>
                  </a:lnTo>
                  <a:lnTo>
                    <a:pt x="170" y="327"/>
                  </a:lnTo>
                  <a:lnTo>
                    <a:pt x="170" y="327"/>
                  </a:lnTo>
                  <a:lnTo>
                    <a:pt x="170" y="325"/>
                  </a:lnTo>
                  <a:lnTo>
                    <a:pt x="170" y="325"/>
                  </a:lnTo>
                  <a:lnTo>
                    <a:pt x="170" y="325"/>
                  </a:lnTo>
                  <a:lnTo>
                    <a:pt x="170" y="325"/>
                  </a:lnTo>
                  <a:lnTo>
                    <a:pt x="171" y="323"/>
                  </a:lnTo>
                  <a:lnTo>
                    <a:pt x="171" y="323"/>
                  </a:lnTo>
                  <a:lnTo>
                    <a:pt x="171" y="323"/>
                  </a:lnTo>
                  <a:lnTo>
                    <a:pt x="173" y="323"/>
                  </a:lnTo>
                  <a:lnTo>
                    <a:pt x="173" y="323"/>
                  </a:lnTo>
                  <a:lnTo>
                    <a:pt x="173" y="323"/>
                  </a:lnTo>
                  <a:lnTo>
                    <a:pt x="173" y="323"/>
                  </a:lnTo>
                  <a:lnTo>
                    <a:pt x="173" y="323"/>
                  </a:lnTo>
                  <a:lnTo>
                    <a:pt x="173" y="323"/>
                  </a:lnTo>
                  <a:lnTo>
                    <a:pt x="173" y="321"/>
                  </a:lnTo>
                  <a:lnTo>
                    <a:pt x="173" y="321"/>
                  </a:lnTo>
                  <a:lnTo>
                    <a:pt x="173" y="321"/>
                  </a:lnTo>
                  <a:lnTo>
                    <a:pt x="175" y="321"/>
                  </a:lnTo>
                  <a:lnTo>
                    <a:pt x="173" y="321"/>
                  </a:lnTo>
                  <a:lnTo>
                    <a:pt x="173" y="321"/>
                  </a:lnTo>
                  <a:lnTo>
                    <a:pt x="173" y="321"/>
                  </a:lnTo>
                  <a:lnTo>
                    <a:pt x="173" y="319"/>
                  </a:lnTo>
                  <a:lnTo>
                    <a:pt x="173" y="319"/>
                  </a:lnTo>
                  <a:lnTo>
                    <a:pt x="173" y="319"/>
                  </a:lnTo>
                  <a:lnTo>
                    <a:pt x="173" y="319"/>
                  </a:lnTo>
                  <a:lnTo>
                    <a:pt x="173" y="318"/>
                  </a:lnTo>
                  <a:lnTo>
                    <a:pt x="171" y="316"/>
                  </a:lnTo>
                  <a:lnTo>
                    <a:pt x="171" y="316"/>
                  </a:lnTo>
                  <a:lnTo>
                    <a:pt x="171" y="314"/>
                  </a:lnTo>
                  <a:lnTo>
                    <a:pt x="171" y="314"/>
                  </a:lnTo>
                  <a:lnTo>
                    <a:pt x="170" y="312"/>
                  </a:lnTo>
                  <a:lnTo>
                    <a:pt x="170" y="310"/>
                  </a:lnTo>
                  <a:lnTo>
                    <a:pt x="170" y="310"/>
                  </a:lnTo>
                  <a:lnTo>
                    <a:pt x="170" y="310"/>
                  </a:lnTo>
                  <a:lnTo>
                    <a:pt x="170" y="309"/>
                  </a:lnTo>
                  <a:lnTo>
                    <a:pt x="170" y="309"/>
                  </a:lnTo>
                  <a:lnTo>
                    <a:pt x="170" y="309"/>
                  </a:lnTo>
                  <a:lnTo>
                    <a:pt x="170" y="309"/>
                  </a:lnTo>
                  <a:lnTo>
                    <a:pt x="170" y="309"/>
                  </a:lnTo>
                  <a:lnTo>
                    <a:pt x="170" y="309"/>
                  </a:lnTo>
                  <a:lnTo>
                    <a:pt x="168" y="309"/>
                  </a:lnTo>
                  <a:lnTo>
                    <a:pt x="168" y="309"/>
                  </a:lnTo>
                  <a:lnTo>
                    <a:pt x="168" y="309"/>
                  </a:lnTo>
                  <a:lnTo>
                    <a:pt x="168" y="309"/>
                  </a:lnTo>
                  <a:lnTo>
                    <a:pt x="170" y="309"/>
                  </a:lnTo>
                  <a:lnTo>
                    <a:pt x="170" y="309"/>
                  </a:lnTo>
                  <a:lnTo>
                    <a:pt x="170" y="307"/>
                  </a:lnTo>
                  <a:lnTo>
                    <a:pt x="168" y="305"/>
                  </a:lnTo>
                  <a:lnTo>
                    <a:pt x="168" y="305"/>
                  </a:lnTo>
                  <a:lnTo>
                    <a:pt x="168" y="303"/>
                  </a:lnTo>
                  <a:lnTo>
                    <a:pt x="166" y="301"/>
                  </a:lnTo>
                  <a:lnTo>
                    <a:pt x="168" y="303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4" y="299"/>
                  </a:lnTo>
                  <a:lnTo>
                    <a:pt x="164" y="299"/>
                  </a:lnTo>
                  <a:lnTo>
                    <a:pt x="164" y="299"/>
                  </a:lnTo>
                  <a:lnTo>
                    <a:pt x="164" y="298"/>
                  </a:lnTo>
                  <a:lnTo>
                    <a:pt x="164" y="296"/>
                  </a:lnTo>
                  <a:lnTo>
                    <a:pt x="164" y="296"/>
                  </a:lnTo>
                  <a:lnTo>
                    <a:pt x="164" y="296"/>
                  </a:lnTo>
                  <a:lnTo>
                    <a:pt x="164" y="296"/>
                  </a:lnTo>
                  <a:lnTo>
                    <a:pt x="164" y="294"/>
                  </a:lnTo>
                  <a:lnTo>
                    <a:pt x="164" y="294"/>
                  </a:lnTo>
                  <a:lnTo>
                    <a:pt x="162" y="290"/>
                  </a:lnTo>
                  <a:lnTo>
                    <a:pt x="161" y="290"/>
                  </a:lnTo>
                  <a:lnTo>
                    <a:pt x="161" y="289"/>
                  </a:lnTo>
                  <a:lnTo>
                    <a:pt x="159" y="287"/>
                  </a:lnTo>
                  <a:lnTo>
                    <a:pt x="159" y="287"/>
                  </a:lnTo>
                  <a:lnTo>
                    <a:pt x="161" y="287"/>
                  </a:lnTo>
                  <a:lnTo>
                    <a:pt x="161" y="287"/>
                  </a:lnTo>
                  <a:lnTo>
                    <a:pt x="159" y="287"/>
                  </a:lnTo>
                  <a:lnTo>
                    <a:pt x="159" y="285"/>
                  </a:lnTo>
                  <a:lnTo>
                    <a:pt x="159" y="285"/>
                  </a:lnTo>
                  <a:lnTo>
                    <a:pt x="157" y="281"/>
                  </a:lnTo>
                  <a:lnTo>
                    <a:pt x="157" y="281"/>
                  </a:lnTo>
                  <a:lnTo>
                    <a:pt x="157" y="281"/>
                  </a:lnTo>
                  <a:lnTo>
                    <a:pt x="157" y="280"/>
                  </a:lnTo>
                  <a:lnTo>
                    <a:pt x="157" y="280"/>
                  </a:lnTo>
                  <a:lnTo>
                    <a:pt x="155" y="280"/>
                  </a:lnTo>
                  <a:lnTo>
                    <a:pt x="157" y="278"/>
                  </a:lnTo>
                  <a:lnTo>
                    <a:pt x="155" y="278"/>
                  </a:lnTo>
                  <a:lnTo>
                    <a:pt x="155" y="278"/>
                  </a:lnTo>
                  <a:lnTo>
                    <a:pt x="155" y="278"/>
                  </a:lnTo>
                  <a:lnTo>
                    <a:pt x="155" y="276"/>
                  </a:lnTo>
                  <a:lnTo>
                    <a:pt x="155" y="276"/>
                  </a:lnTo>
                  <a:lnTo>
                    <a:pt x="155" y="276"/>
                  </a:lnTo>
                  <a:lnTo>
                    <a:pt x="155" y="274"/>
                  </a:lnTo>
                  <a:lnTo>
                    <a:pt x="155" y="274"/>
                  </a:lnTo>
                  <a:lnTo>
                    <a:pt x="155" y="274"/>
                  </a:lnTo>
                  <a:lnTo>
                    <a:pt x="155" y="274"/>
                  </a:lnTo>
                  <a:lnTo>
                    <a:pt x="155" y="272"/>
                  </a:lnTo>
                  <a:lnTo>
                    <a:pt x="155" y="272"/>
                  </a:lnTo>
                  <a:lnTo>
                    <a:pt x="155" y="271"/>
                  </a:lnTo>
                  <a:lnTo>
                    <a:pt x="157" y="271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59" y="271"/>
                  </a:lnTo>
                  <a:lnTo>
                    <a:pt x="159" y="271"/>
                  </a:lnTo>
                  <a:lnTo>
                    <a:pt x="159" y="272"/>
                  </a:lnTo>
                  <a:lnTo>
                    <a:pt x="159" y="272"/>
                  </a:lnTo>
                  <a:lnTo>
                    <a:pt x="161" y="272"/>
                  </a:lnTo>
                  <a:lnTo>
                    <a:pt x="159" y="274"/>
                  </a:lnTo>
                  <a:lnTo>
                    <a:pt x="159" y="274"/>
                  </a:lnTo>
                  <a:lnTo>
                    <a:pt x="161" y="274"/>
                  </a:lnTo>
                  <a:lnTo>
                    <a:pt x="161" y="274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64" y="274"/>
                  </a:lnTo>
                  <a:lnTo>
                    <a:pt x="164" y="274"/>
                  </a:lnTo>
                  <a:lnTo>
                    <a:pt x="164" y="274"/>
                  </a:lnTo>
                  <a:lnTo>
                    <a:pt x="164" y="274"/>
                  </a:lnTo>
                  <a:lnTo>
                    <a:pt x="164" y="272"/>
                  </a:lnTo>
                  <a:lnTo>
                    <a:pt x="164" y="272"/>
                  </a:lnTo>
                  <a:lnTo>
                    <a:pt x="164" y="272"/>
                  </a:lnTo>
                  <a:lnTo>
                    <a:pt x="166" y="274"/>
                  </a:lnTo>
                  <a:lnTo>
                    <a:pt x="166" y="274"/>
                  </a:lnTo>
                  <a:lnTo>
                    <a:pt x="166" y="274"/>
                  </a:lnTo>
                  <a:lnTo>
                    <a:pt x="166" y="274"/>
                  </a:lnTo>
                  <a:lnTo>
                    <a:pt x="166" y="274"/>
                  </a:lnTo>
                  <a:lnTo>
                    <a:pt x="166" y="274"/>
                  </a:lnTo>
                  <a:lnTo>
                    <a:pt x="166" y="274"/>
                  </a:lnTo>
                  <a:lnTo>
                    <a:pt x="166" y="274"/>
                  </a:lnTo>
                  <a:lnTo>
                    <a:pt x="168" y="276"/>
                  </a:lnTo>
                  <a:lnTo>
                    <a:pt x="168" y="276"/>
                  </a:lnTo>
                  <a:lnTo>
                    <a:pt x="170" y="278"/>
                  </a:lnTo>
                  <a:lnTo>
                    <a:pt x="170" y="278"/>
                  </a:lnTo>
                  <a:lnTo>
                    <a:pt x="170" y="278"/>
                  </a:lnTo>
                  <a:lnTo>
                    <a:pt x="171" y="276"/>
                  </a:lnTo>
                  <a:lnTo>
                    <a:pt x="171" y="278"/>
                  </a:lnTo>
                  <a:lnTo>
                    <a:pt x="171" y="278"/>
                  </a:lnTo>
                  <a:lnTo>
                    <a:pt x="171" y="278"/>
                  </a:lnTo>
                  <a:lnTo>
                    <a:pt x="173" y="278"/>
                  </a:lnTo>
                  <a:lnTo>
                    <a:pt x="175" y="278"/>
                  </a:lnTo>
                  <a:lnTo>
                    <a:pt x="175" y="280"/>
                  </a:lnTo>
                  <a:lnTo>
                    <a:pt x="175" y="280"/>
                  </a:lnTo>
                  <a:lnTo>
                    <a:pt x="175" y="280"/>
                  </a:lnTo>
                  <a:lnTo>
                    <a:pt x="175" y="280"/>
                  </a:lnTo>
                  <a:lnTo>
                    <a:pt x="175" y="280"/>
                  </a:lnTo>
                  <a:lnTo>
                    <a:pt x="175" y="280"/>
                  </a:lnTo>
                  <a:lnTo>
                    <a:pt x="175" y="281"/>
                  </a:lnTo>
                  <a:lnTo>
                    <a:pt x="175" y="281"/>
                  </a:lnTo>
                  <a:lnTo>
                    <a:pt x="175" y="281"/>
                  </a:lnTo>
                  <a:lnTo>
                    <a:pt x="175" y="280"/>
                  </a:lnTo>
                  <a:lnTo>
                    <a:pt x="175" y="281"/>
                  </a:lnTo>
                  <a:lnTo>
                    <a:pt x="173" y="281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1" y="281"/>
                  </a:lnTo>
                  <a:lnTo>
                    <a:pt x="171" y="283"/>
                  </a:lnTo>
                  <a:lnTo>
                    <a:pt x="171" y="285"/>
                  </a:lnTo>
                  <a:lnTo>
                    <a:pt x="171" y="285"/>
                  </a:lnTo>
                  <a:lnTo>
                    <a:pt x="173" y="285"/>
                  </a:lnTo>
                  <a:lnTo>
                    <a:pt x="173" y="285"/>
                  </a:lnTo>
                  <a:lnTo>
                    <a:pt x="173" y="285"/>
                  </a:lnTo>
                  <a:lnTo>
                    <a:pt x="175" y="285"/>
                  </a:lnTo>
                  <a:lnTo>
                    <a:pt x="175" y="285"/>
                  </a:lnTo>
                  <a:lnTo>
                    <a:pt x="175" y="287"/>
                  </a:lnTo>
                  <a:lnTo>
                    <a:pt x="175" y="287"/>
                  </a:lnTo>
                  <a:lnTo>
                    <a:pt x="175" y="287"/>
                  </a:lnTo>
                  <a:lnTo>
                    <a:pt x="175" y="287"/>
                  </a:lnTo>
                  <a:lnTo>
                    <a:pt x="177" y="287"/>
                  </a:lnTo>
                  <a:lnTo>
                    <a:pt x="177" y="287"/>
                  </a:lnTo>
                  <a:lnTo>
                    <a:pt x="177" y="287"/>
                  </a:lnTo>
                  <a:lnTo>
                    <a:pt x="175" y="287"/>
                  </a:lnTo>
                  <a:lnTo>
                    <a:pt x="175" y="289"/>
                  </a:lnTo>
                  <a:lnTo>
                    <a:pt x="177" y="289"/>
                  </a:lnTo>
                  <a:lnTo>
                    <a:pt x="177" y="289"/>
                  </a:lnTo>
                  <a:lnTo>
                    <a:pt x="177" y="289"/>
                  </a:lnTo>
                  <a:lnTo>
                    <a:pt x="179" y="289"/>
                  </a:lnTo>
                  <a:lnTo>
                    <a:pt x="179" y="287"/>
                  </a:lnTo>
                  <a:lnTo>
                    <a:pt x="179" y="287"/>
                  </a:lnTo>
                  <a:lnTo>
                    <a:pt x="179" y="285"/>
                  </a:lnTo>
                  <a:lnTo>
                    <a:pt x="179" y="285"/>
                  </a:lnTo>
                  <a:lnTo>
                    <a:pt x="180" y="285"/>
                  </a:lnTo>
                  <a:lnTo>
                    <a:pt x="182" y="285"/>
                  </a:lnTo>
                  <a:lnTo>
                    <a:pt x="182" y="285"/>
                  </a:lnTo>
                  <a:lnTo>
                    <a:pt x="182" y="285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CD582F7E-A6D8-F709-7083-60A88E49FB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0088" y="2476501"/>
              <a:ext cx="1230313" cy="1631950"/>
            </a:xfrm>
            <a:custGeom>
              <a:avLst/>
              <a:gdLst>
                <a:gd name="T0" fmla="*/ 452 w 775"/>
                <a:gd name="T1" fmla="*/ 698 h 1028"/>
                <a:gd name="T2" fmla="*/ 405 w 775"/>
                <a:gd name="T3" fmla="*/ 616 h 1028"/>
                <a:gd name="T4" fmla="*/ 398 w 775"/>
                <a:gd name="T5" fmla="*/ 566 h 1028"/>
                <a:gd name="T6" fmla="*/ 304 w 775"/>
                <a:gd name="T7" fmla="*/ 575 h 1028"/>
                <a:gd name="T8" fmla="*/ 329 w 775"/>
                <a:gd name="T9" fmla="*/ 618 h 1028"/>
                <a:gd name="T10" fmla="*/ 392 w 775"/>
                <a:gd name="T11" fmla="*/ 620 h 1028"/>
                <a:gd name="T12" fmla="*/ 383 w 775"/>
                <a:gd name="T13" fmla="*/ 494 h 1028"/>
                <a:gd name="T14" fmla="*/ 378 w 775"/>
                <a:gd name="T15" fmla="*/ 456 h 1028"/>
                <a:gd name="T16" fmla="*/ 338 w 775"/>
                <a:gd name="T17" fmla="*/ 419 h 1028"/>
                <a:gd name="T18" fmla="*/ 394 w 775"/>
                <a:gd name="T19" fmla="*/ 432 h 1028"/>
                <a:gd name="T20" fmla="*/ 315 w 775"/>
                <a:gd name="T21" fmla="*/ 369 h 1028"/>
                <a:gd name="T22" fmla="*/ 315 w 775"/>
                <a:gd name="T23" fmla="*/ 354 h 1028"/>
                <a:gd name="T24" fmla="*/ 387 w 775"/>
                <a:gd name="T25" fmla="*/ 326 h 1028"/>
                <a:gd name="T26" fmla="*/ 378 w 775"/>
                <a:gd name="T27" fmla="*/ 318 h 1028"/>
                <a:gd name="T28" fmla="*/ 360 w 775"/>
                <a:gd name="T29" fmla="*/ 336 h 1028"/>
                <a:gd name="T30" fmla="*/ 390 w 775"/>
                <a:gd name="T31" fmla="*/ 369 h 1028"/>
                <a:gd name="T32" fmla="*/ 342 w 775"/>
                <a:gd name="T33" fmla="*/ 257 h 1028"/>
                <a:gd name="T34" fmla="*/ 351 w 775"/>
                <a:gd name="T35" fmla="*/ 288 h 1028"/>
                <a:gd name="T36" fmla="*/ 378 w 775"/>
                <a:gd name="T37" fmla="*/ 261 h 1028"/>
                <a:gd name="T38" fmla="*/ 334 w 775"/>
                <a:gd name="T39" fmla="*/ 259 h 1028"/>
                <a:gd name="T40" fmla="*/ 679 w 775"/>
                <a:gd name="T41" fmla="*/ 672 h 1028"/>
                <a:gd name="T42" fmla="*/ 627 w 775"/>
                <a:gd name="T43" fmla="*/ 582 h 1028"/>
                <a:gd name="T44" fmla="*/ 564 w 775"/>
                <a:gd name="T45" fmla="*/ 466 h 1028"/>
                <a:gd name="T46" fmla="*/ 529 w 775"/>
                <a:gd name="T47" fmla="*/ 430 h 1028"/>
                <a:gd name="T48" fmla="*/ 566 w 775"/>
                <a:gd name="T49" fmla="*/ 311 h 1028"/>
                <a:gd name="T50" fmla="*/ 470 w 775"/>
                <a:gd name="T51" fmla="*/ 315 h 1028"/>
                <a:gd name="T52" fmla="*/ 529 w 775"/>
                <a:gd name="T53" fmla="*/ 230 h 1028"/>
                <a:gd name="T54" fmla="*/ 452 w 775"/>
                <a:gd name="T55" fmla="*/ 228 h 1028"/>
                <a:gd name="T56" fmla="*/ 419 w 775"/>
                <a:gd name="T57" fmla="*/ 262 h 1028"/>
                <a:gd name="T58" fmla="*/ 407 w 775"/>
                <a:gd name="T59" fmla="*/ 297 h 1028"/>
                <a:gd name="T60" fmla="*/ 405 w 775"/>
                <a:gd name="T61" fmla="*/ 336 h 1028"/>
                <a:gd name="T62" fmla="*/ 399 w 775"/>
                <a:gd name="T63" fmla="*/ 373 h 1028"/>
                <a:gd name="T64" fmla="*/ 401 w 775"/>
                <a:gd name="T65" fmla="*/ 418 h 1028"/>
                <a:gd name="T66" fmla="*/ 412 w 775"/>
                <a:gd name="T67" fmla="*/ 427 h 1028"/>
                <a:gd name="T68" fmla="*/ 405 w 775"/>
                <a:gd name="T69" fmla="*/ 488 h 1028"/>
                <a:gd name="T70" fmla="*/ 419 w 775"/>
                <a:gd name="T71" fmla="*/ 459 h 1028"/>
                <a:gd name="T72" fmla="*/ 443 w 775"/>
                <a:gd name="T73" fmla="*/ 466 h 1028"/>
                <a:gd name="T74" fmla="*/ 428 w 775"/>
                <a:gd name="T75" fmla="*/ 551 h 1028"/>
                <a:gd name="T76" fmla="*/ 484 w 775"/>
                <a:gd name="T77" fmla="*/ 571 h 1028"/>
                <a:gd name="T78" fmla="*/ 517 w 775"/>
                <a:gd name="T79" fmla="*/ 616 h 1028"/>
                <a:gd name="T80" fmla="*/ 546 w 775"/>
                <a:gd name="T81" fmla="*/ 696 h 1028"/>
                <a:gd name="T82" fmla="*/ 454 w 775"/>
                <a:gd name="T83" fmla="*/ 739 h 1028"/>
                <a:gd name="T84" fmla="*/ 445 w 775"/>
                <a:gd name="T85" fmla="*/ 804 h 1028"/>
                <a:gd name="T86" fmla="*/ 448 w 775"/>
                <a:gd name="T87" fmla="*/ 833 h 1028"/>
                <a:gd name="T88" fmla="*/ 495 w 775"/>
                <a:gd name="T89" fmla="*/ 837 h 1028"/>
                <a:gd name="T90" fmla="*/ 535 w 775"/>
                <a:gd name="T91" fmla="*/ 867 h 1028"/>
                <a:gd name="T92" fmla="*/ 416 w 775"/>
                <a:gd name="T93" fmla="*/ 947 h 1028"/>
                <a:gd name="T94" fmla="*/ 452 w 775"/>
                <a:gd name="T95" fmla="*/ 936 h 1028"/>
                <a:gd name="T96" fmla="*/ 513 w 775"/>
                <a:gd name="T97" fmla="*/ 913 h 1028"/>
                <a:gd name="T98" fmla="*/ 620 w 775"/>
                <a:gd name="T99" fmla="*/ 900 h 1028"/>
                <a:gd name="T100" fmla="*/ 752 w 775"/>
                <a:gd name="T101" fmla="*/ 876 h 1028"/>
                <a:gd name="T102" fmla="*/ 730 w 775"/>
                <a:gd name="T103" fmla="*/ 824 h 1028"/>
                <a:gd name="T104" fmla="*/ 517 w 775"/>
                <a:gd name="T105" fmla="*/ 197 h 1028"/>
                <a:gd name="T106" fmla="*/ 544 w 775"/>
                <a:gd name="T107" fmla="*/ 186 h 1028"/>
                <a:gd name="T108" fmla="*/ 533 w 775"/>
                <a:gd name="T109" fmla="*/ 167 h 1028"/>
                <a:gd name="T110" fmla="*/ 538 w 775"/>
                <a:gd name="T111" fmla="*/ 158 h 1028"/>
                <a:gd name="T112" fmla="*/ 632 w 775"/>
                <a:gd name="T113" fmla="*/ 69 h 1028"/>
                <a:gd name="T114" fmla="*/ 622 w 775"/>
                <a:gd name="T115" fmla="*/ 65 h 1028"/>
                <a:gd name="T116" fmla="*/ 629 w 775"/>
                <a:gd name="T117" fmla="*/ 62 h 1028"/>
                <a:gd name="T118" fmla="*/ 620 w 775"/>
                <a:gd name="T119" fmla="*/ 33 h 1028"/>
                <a:gd name="T120" fmla="*/ 611 w 775"/>
                <a:gd name="T121" fmla="*/ 55 h 1028"/>
                <a:gd name="T122" fmla="*/ 647 w 775"/>
                <a:gd name="T123" fmla="*/ 9 h 1028"/>
                <a:gd name="T124" fmla="*/ 455 w 775"/>
                <a:gd name="T125" fmla="*/ 634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5" h="1028">
                  <a:moveTo>
                    <a:pt x="371" y="969"/>
                  </a:moveTo>
                  <a:lnTo>
                    <a:pt x="371" y="969"/>
                  </a:lnTo>
                  <a:lnTo>
                    <a:pt x="371" y="970"/>
                  </a:lnTo>
                  <a:lnTo>
                    <a:pt x="371" y="970"/>
                  </a:lnTo>
                  <a:lnTo>
                    <a:pt x="372" y="970"/>
                  </a:lnTo>
                  <a:lnTo>
                    <a:pt x="372" y="970"/>
                  </a:lnTo>
                  <a:lnTo>
                    <a:pt x="371" y="969"/>
                  </a:lnTo>
                  <a:lnTo>
                    <a:pt x="371" y="969"/>
                  </a:lnTo>
                  <a:close/>
                  <a:moveTo>
                    <a:pt x="369" y="967"/>
                  </a:moveTo>
                  <a:lnTo>
                    <a:pt x="369" y="967"/>
                  </a:lnTo>
                  <a:lnTo>
                    <a:pt x="369" y="967"/>
                  </a:lnTo>
                  <a:lnTo>
                    <a:pt x="369" y="967"/>
                  </a:lnTo>
                  <a:lnTo>
                    <a:pt x="369" y="967"/>
                  </a:lnTo>
                  <a:lnTo>
                    <a:pt x="369" y="969"/>
                  </a:lnTo>
                  <a:lnTo>
                    <a:pt x="369" y="969"/>
                  </a:lnTo>
                  <a:lnTo>
                    <a:pt x="371" y="967"/>
                  </a:lnTo>
                  <a:lnTo>
                    <a:pt x="369" y="967"/>
                  </a:lnTo>
                  <a:lnTo>
                    <a:pt x="369" y="967"/>
                  </a:lnTo>
                  <a:close/>
                  <a:moveTo>
                    <a:pt x="632" y="907"/>
                  </a:moveTo>
                  <a:lnTo>
                    <a:pt x="632" y="907"/>
                  </a:lnTo>
                  <a:lnTo>
                    <a:pt x="631" y="907"/>
                  </a:lnTo>
                  <a:lnTo>
                    <a:pt x="631" y="907"/>
                  </a:lnTo>
                  <a:lnTo>
                    <a:pt x="631" y="907"/>
                  </a:lnTo>
                  <a:lnTo>
                    <a:pt x="631" y="907"/>
                  </a:lnTo>
                  <a:lnTo>
                    <a:pt x="631" y="905"/>
                  </a:lnTo>
                  <a:lnTo>
                    <a:pt x="631" y="905"/>
                  </a:lnTo>
                  <a:lnTo>
                    <a:pt x="629" y="905"/>
                  </a:lnTo>
                  <a:lnTo>
                    <a:pt x="622" y="904"/>
                  </a:lnTo>
                  <a:lnTo>
                    <a:pt x="620" y="904"/>
                  </a:lnTo>
                  <a:lnTo>
                    <a:pt x="620" y="904"/>
                  </a:lnTo>
                  <a:lnTo>
                    <a:pt x="618" y="905"/>
                  </a:lnTo>
                  <a:lnTo>
                    <a:pt x="616" y="907"/>
                  </a:lnTo>
                  <a:lnTo>
                    <a:pt x="614" y="907"/>
                  </a:lnTo>
                  <a:lnTo>
                    <a:pt x="614" y="907"/>
                  </a:lnTo>
                  <a:lnTo>
                    <a:pt x="616" y="907"/>
                  </a:lnTo>
                  <a:lnTo>
                    <a:pt x="616" y="905"/>
                  </a:lnTo>
                  <a:lnTo>
                    <a:pt x="611" y="909"/>
                  </a:lnTo>
                  <a:lnTo>
                    <a:pt x="609" y="909"/>
                  </a:lnTo>
                  <a:lnTo>
                    <a:pt x="607" y="913"/>
                  </a:lnTo>
                  <a:lnTo>
                    <a:pt x="609" y="911"/>
                  </a:lnTo>
                  <a:lnTo>
                    <a:pt x="609" y="911"/>
                  </a:lnTo>
                  <a:lnTo>
                    <a:pt x="611" y="911"/>
                  </a:lnTo>
                  <a:lnTo>
                    <a:pt x="612" y="911"/>
                  </a:lnTo>
                  <a:lnTo>
                    <a:pt x="614" y="913"/>
                  </a:lnTo>
                  <a:lnTo>
                    <a:pt x="614" y="913"/>
                  </a:lnTo>
                  <a:lnTo>
                    <a:pt x="620" y="918"/>
                  </a:lnTo>
                  <a:lnTo>
                    <a:pt x="622" y="918"/>
                  </a:lnTo>
                  <a:lnTo>
                    <a:pt x="627" y="916"/>
                  </a:lnTo>
                  <a:lnTo>
                    <a:pt x="629" y="916"/>
                  </a:lnTo>
                  <a:lnTo>
                    <a:pt x="629" y="914"/>
                  </a:lnTo>
                  <a:lnTo>
                    <a:pt x="629" y="913"/>
                  </a:lnTo>
                  <a:lnTo>
                    <a:pt x="629" y="913"/>
                  </a:lnTo>
                  <a:lnTo>
                    <a:pt x="629" y="913"/>
                  </a:lnTo>
                  <a:lnTo>
                    <a:pt x="631" y="911"/>
                  </a:lnTo>
                  <a:lnTo>
                    <a:pt x="631" y="911"/>
                  </a:lnTo>
                  <a:lnTo>
                    <a:pt x="632" y="911"/>
                  </a:lnTo>
                  <a:lnTo>
                    <a:pt x="632" y="911"/>
                  </a:lnTo>
                  <a:lnTo>
                    <a:pt x="632" y="911"/>
                  </a:lnTo>
                  <a:lnTo>
                    <a:pt x="632" y="911"/>
                  </a:lnTo>
                  <a:lnTo>
                    <a:pt x="632" y="911"/>
                  </a:lnTo>
                  <a:lnTo>
                    <a:pt x="632" y="909"/>
                  </a:lnTo>
                  <a:lnTo>
                    <a:pt x="632" y="907"/>
                  </a:lnTo>
                  <a:lnTo>
                    <a:pt x="632" y="907"/>
                  </a:lnTo>
                  <a:close/>
                  <a:moveTo>
                    <a:pt x="638" y="902"/>
                  </a:moveTo>
                  <a:lnTo>
                    <a:pt x="638" y="900"/>
                  </a:lnTo>
                  <a:lnTo>
                    <a:pt x="638" y="900"/>
                  </a:lnTo>
                  <a:lnTo>
                    <a:pt x="640" y="900"/>
                  </a:lnTo>
                  <a:lnTo>
                    <a:pt x="640" y="900"/>
                  </a:lnTo>
                  <a:lnTo>
                    <a:pt x="640" y="898"/>
                  </a:lnTo>
                  <a:lnTo>
                    <a:pt x="638" y="898"/>
                  </a:lnTo>
                  <a:lnTo>
                    <a:pt x="638" y="898"/>
                  </a:lnTo>
                  <a:lnTo>
                    <a:pt x="636" y="900"/>
                  </a:lnTo>
                  <a:lnTo>
                    <a:pt x="636" y="902"/>
                  </a:lnTo>
                  <a:lnTo>
                    <a:pt x="636" y="902"/>
                  </a:lnTo>
                  <a:lnTo>
                    <a:pt x="640" y="902"/>
                  </a:lnTo>
                  <a:lnTo>
                    <a:pt x="640" y="902"/>
                  </a:lnTo>
                  <a:lnTo>
                    <a:pt x="640" y="902"/>
                  </a:lnTo>
                  <a:lnTo>
                    <a:pt x="638" y="902"/>
                  </a:lnTo>
                  <a:close/>
                  <a:moveTo>
                    <a:pt x="454" y="871"/>
                  </a:moveTo>
                  <a:lnTo>
                    <a:pt x="454" y="871"/>
                  </a:lnTo>
                  <a:lnTo>
                    <a:pt x="454" y="871"/>
                  </a:lnTo>
                  <a:lnTo>
                    <a:pt x="454" y="869"/>
                  </a:lnTo>
                  <a:lnTo>
                    <a:pt x="452" y="869"/>
                  </a:lnTo>
                  <a:lnTo>
                    <a:pt x="452" y="869"/>
                  </a:lnTo>
                  <a:lnTo>
                    <a:pt x="452" y="871"/>
                  </a:lnTo>
                  <a:lnTo>
                    <a:pt x="452" y="871"/>
                  </a:lnTo>
                  <a:lnTo>
                    <a:pt x="452" y="873"/>
                  </a:lnTo>
                  <a:lnTo>
                    <a:pt x="454" y="871"/>
                  </a:lnTo>
                  <a:close/>
                  <a:moveTo>
                    <a:pt x="732" y="851"/>
                  </a:moveTo>
                  <a:lnTo>
                    <a:pt x="732" y="851"/>
                  </a:lnTo>
                  <a:lnTo>
                    <a:pt x="724" y="849"/>
                  </a:lnTo>
                  <a:lnTo>
                    <a:pt x="724" y="849"/>
                  </a:lnTo>
                  <a:lnTo>
                    <a:pt x="724" y="849"/>
                  </a:lnTo>
                  <a:lnTo>
                    <a:pt x="723" y="853"/>
                  </a:lnTo>
                  <a:lnTo>
                    <a:pt x="723" y="853"/>
                  </a:lnTo>
                  <a:lnTo>
                    <a:pt x="724" y="855"/>
                  </a:lnTo>
                  <a:lnTo>
                    <a:pt x="724" y="855"/>
                  </a:lnTo>
                  <a:lnTo>
                    <a:pt x="726" y="855"/>
                  </a:lnTo>
                  <a:lnTo>
                    <a:pt x="732" y="857"/>
                  </a:lnTo>
                  <a:lnTo>
                    <a:pt x="733" y="855"/>
                  </a:lnTo>
                  <a:lnTo>
                    <a:pt x="733" y="855"/>
                  </a:lnTo>
                  <a:lnTo>
                    <a:pt x="733" y="853"/>
                  </a:lnTo>
                  <a:lnTo>
                    <a:pt x="732" y="853"/>
                  </a:lnTo>
                  <a:lnTo>
                    <a:pt x="732" y="851"/>
                  </a:lnTo>
                  <a:close/>
                  <a:moveTo>
                    <a:pt x="457" y="699"/>
                  </a:moveTo>
                  <a:lnTo>
                    <a:pt x="457" y="699"/>
                  </a:lnTo>
                  <a:lnTo>
                    <a:pt x="457" y="698"/>
                  </a:lnTo>
                  <a:lnTo>
                    <a:pt x="455" y="698"/>
                  </a:lnTo>
                  <a:lnTo>
                    <a:pt x="455" y="696"/>
                  </a:lnTo>
                  <a:lnTo>
                    <a:pt x="455" y="696"/>
                  </a:lnTo>
                  <a:lnTo>
                    <a:pt x="454" y="696"/>
                  </a:lnTo>
                  <a:lnTo>
                    <a:pt x="454" y="696"/>
                  </a:lnTo>
                  <a:lnTo>
                    <a:pt x="454" y="696"/>
                  </a:lnTo>
                  <a:lnTo>
                    <a:pt x="452" y="698"/>
                  </a:lnTo>
                  <a:lnTo>
                    <a:pt x="452" y="698"/>
                  </a:lnTo>
                  <a:lnTo>
                    <a:pt x="452" y="699"/>
                  </a:lnTo>
                  <a:lnTo>
                    <a:pt x="452" y="699"/>
                  </a:lnTo>
                  <a:lnTo>
                    <a:pt x="454" y="699"/>
                  </a:lnTo>
                  <a:lnTo>
                    <a:pt x="454" y="699"/>
                  </a:lnTo>
                  <a:lnTo>
                    <a:pt x="455" y="699"/>
                  </a:lnTo>
                  <a:lnTo>
                    <a:pt x="455" y="701"/>
                  </a:lnTo>
                  <a:lnTo>
                    <a:pt x="457" y="703"/>
                  </a:lnTo>
                  <a:lnTo>
                    <a:pt x="457" y="703"/>
                  </a:lnTo>
                  <a:lnTo>
                    <a:pt x="457" y="703"/>
                  </a:lnTo>
                  <a:lnTo>
                    <a:pt x="459" y="701"/>
                  </a:lnTo>
                  <a:lnTo>
                    <a:pt x="457" y="701"/>
                  </a:lnTo>
                  <a:lnTo>
                    <a:pt x="457" y="701"/>
                  </a:lnTo>
                  <a:lnTo>
                    <a:pt x="457" y="699"/>
                  </a:lnTo>
                  <a:close/>
                  <a:moveTo>
                    <a:pt x="473" y="690"/>
                  </a:moveTo>
                  <a:lnTo>
                    <a:pt x="472" y="690"/>
                  </a:lnTo>
                  <a:lnTo>
                    <a:pt x="472" y="689"/>
                  </a:lnTo>
                  <a:lnTo>
                    <a:pt x="472" y="689"/>
                  </a:lnTo>
                  <a:lnTo>
                    <a:pt x="470" y="689"/>
                  </a:lnTo>
                  <a:lnTo>
                    <a:pt x="468" y="689"/>
                  </a:lnTo>
                  <a:lnTo>
                    <a:pt x="466" y="687"/>
                  </a:lnTo>
                  <a:lnTo>
                    <a:pt x="464" y="687"/>
                  </a:lnTo>
                  <a:lnTo>
                    <a:pt x="459" y="689"/>
                  </a:lnTo>
                  <a:lnTo>
                    <a:pt x="457" y="690"/>
                  </a:lnTo>
                  <a:lnTo>
                    <a:pt x="457" y="690"/>
                  </a:lnTo>
                  <a:lnTo>
                    <a:pt x="459" y="692"/>
                  </a:lnTo>
                  <a:lnTo>
                    <a:pt x="457" y="696"/>
                  </a:lnTo>
                  <a:lnTo>
                    <a:pt x="457" y="698"/>
                  </a:lnTo>
                  <a:lnTo>
                    <a:pt x="457" y="698"/>
                  </a:lnTo>
                  <a:lnTo>
                    <a:pt x="457" y="699"/>
                  </a:lnTo>
                  <a:lnTo>
                    <a:pt x="457" y="699"/>
                  </a:lnTo>
                  <a:lnTo>
                    <a:pt x="459" y="701"/>
                  </a:lnTo>
                  <a:lnTo>
                    <a:pt x="461" y="705"/>
                  </a:lnTo>
                  <a:lnTo>
                    <a:pt x="461" y="705"/>
                  </a:lnTo>
                  <a:lnTo>
                    <a:pt x="461" y="707"/>
                  </a:lnTo>
                  <a:lnTo>
                    <a:pt x="461" y="707"/>
                  </a:lnTo>
                  <a:lnTo>
                    <a:pt x="461" y="707"/>
                  </a:lnTo>
                  <a:lnTo>
                    <a:pt x="461" y="707"/>
                  </a:lnTo>
                  <a:lnTo>
                    <a:pt x="461" y="707"/>
                  </a:lnTo>
                  <a:lnTo>
                    <a:pt x="461" y="708"/>
                  </a:lnTo>
                  <a:lnTo>
                    <a:pt x="461" y="708"/>
                  </a:lnTo>
                  <a:lnTo>
                    <a:pt x="463" y="708"/>
                  </a:lnTo>
                  <a:lnTo>
                    <a:pt x="463" y="708"/>
                  </a:lnTo>
                  <a:lnTo>
                    <a:pt x="464" y="708"/>
                  </a:lnTo>
                  <a:lnTo>
                    <a:pt x="464" y="710"/>
                  </a:lnTo>
                  <a:lnTo>
                    <a:pt x="464" y="708"/>
                  </a:lnTo>
                  <a:lnTo>
                    <a:pt x="466" y="708"/>
                  </a:lnTo>
                  <a:lnTo>
                    <a:pt x="466" y="707"/>
                  </a:lnTo>
                  <a:lnTo>
                    <a:pt x="466" y="707"/>
                  </a:lnTo>
                  <a:lnTo>
                    <a:pt x="466" y="708"/>
                  </a:lnTo>
                  <a:lnTo>
                    <a:pt x="466" y="708"/>
                  </a:lnTo>
                  <a:lnTo>
                    <a:pt x="466" y="710"/>
                  </a:lnTo>
                  <a:lnTo>
                    <a:pt x="466" y="710"/>
                  </a:lnTo>
                  <a:lnTo>
                    <a:pt x="466" y="710"/>
                  </a:lnTo>
                  <a:lnTo>
                    <a:pt x="466" y="712"/>
                  </a:lnTo>
                  <a:lnTo>
                    <a:pt x="466" y="712"/>
                  </a:lnTo>
                  <a:lnTo>
                    <a:pt x="466" y="712"/>
                  </a:lnTo>
                  <a:lnTo>
                    <a:pt x="466" y="712"/>
                  </a:lnTo>
                  <a:lnTo>
                    <a:pt x="466" y="712"/>
                  </a:lnTo>
                  <a:lnTo>
                    <a:pt x="466" y="712"/>
                  </a:lnTo>
                  <a:lnTo>
                    <a:pt x="468" y="712"/>
                  </a:lnTo>
                  <a:lnTo>
                    <a:pt x="468" y="712"/>
                  </a:lnTo>
                  <a:lnTo>
                    <a:pt x="468" y="712"/>
                  </a:lnTo>
                  <a:lnTo>
                    <a:pt x="472" y="710"/>
                  </a:lnTo>
                  <a:lnTo>
                    <a:pt x="473" y="708"/>
                  </a:lnTo>
                  <a:lnTo>
                    <a:pt x="475" y="708"/>
                  </a:lnTo>
                  <a:lnTo>
                    <a:pt x="475" y="708"/>
                  </a:lnTo>
                  <a:lnTo>
                    <a:pt x="475" y="708"/>
                  </a:lnTo>
                  <a:lnTo>
                    <a:pt x="475" y="707"/>
                  </a:lnTo>
                  <a:lnTo>
                    <a:pt x="475" y="707"/>
                  </a:lnTo>
                  <a:lnTo>
                    <a:pt x="475" y="707"/>
                  </a:lnTo>
                  <a:lnTo>
                    <a:pt x="475" y="707"/>
                  </a:lnTo>
                  <a:lnTo>
                    <a:pt x="475" y="705"/>
                  </a:lnTo>
                  <a:lnTo>
                    <a:pt x="477" y="705"/>
                  </a:lnTo>
                  <a:lnTo>
                    <a:pt x="477" y="703"/>
                  </a:lnTo>
                  <a:lnTo>
                    <a:pt x="479" y="703"/>
                  </a:lnTo>
                  <a:lnTo>
                    <a:pt x="481" y="703"/>
                  </a:lnTo>
                  <a:lnTo>
                    <a:pt x="481" y="701"/>
                  </a:lnTo>
                  <a:lnTo>
                    <a:pt x="482" y="699"/>
                  </a:lnTo>
                  <a:lnTo>
                    <a:pt x="484" y="698"/>
                  </a:lnTo>
                  <a:lnTo>
                    <a:pt x="482" y="698"/>
                  </a:lnTo>
                  <a:lnTo>
                    <a:pt x="482" y="698"/>
                  </a:lnTo>
                  <a:lnTo>
                    <a:pt x="481" y="698"/>
                  </a:lnTo>
                  <a:lnTo>
                    <a:pt x="481" y="698"/>
                  </a:lnTo>
                  <a:lnTo>
                    <a:pt x="481" y="696"/>
                  </a:lnTo>
                  <a:lnTo>
                    <a:pt x="481" y="696"/>
                  </a:lnTo>
                  <a:lnTo>
                    <a:pt x="479" y="696"/>
                  </a:lnTo>
                  <a:lnTo>
                    <a:pt x="479" y="698"/>
                  </a:lnTo>
                  <a:lnTo>
                    <a:pt x="479" y="698"/>
                  </a:lnTo>
                  <a:lnTo>
                    <a:pt x="479" y="698"/>
                  </a:lnTo>
                  <a:lnTo>
                    <a:pt x="477" y="698"/>
                  </a:lnTo>
                  <a:lnTo>
                    <a:pt x="477" y="698"/>
                  </a:lnTo>
                  <a:lnTo>
                    <a:pt x="475" y="698"/>
                  </a:lnTo>
                  <a:lnTo>
                    <a:pt x="475" y="698"/>
                  </a:lnTo>
                  <a:lnTo>
                    <a:pt x="475" y="696"/>
                  </a:lnTo>
                  <a:lnTo>
                    <a:pt x="475" y="696"/>
                  </a:lnTo>
                  <a:lnTo>
                    <a:pt x="475" y="694"/>
                  </a:lnTo>
                  <a:lnTo>
                    <a:pt x="475" y="694"/>
                  </a:lnTo>
                  <a:lnTo>
                    <a:pt x="473" y="694"/>
                  </a:lnTo>
                  <a:lnTo>
                    <a:pt x="475" y="694"/>
                  </a:lnTo>
                  <a:lnTo>
                    <a:pt x="475" y="694"/>
                  </a:lnTo>
                  <a:lnTo>
                    <a:pt x="475" y="692"/>
                  </a:lnTo>
                  <a:lnTo>
                    <a:pt x="473" y="692"/>
                  </a:lnTo>
                  <a:lnTo>
                    <a:pt x="473" y="692"/>
                  </a:lnTo>
                  <a:lnTo>
                    <a:pt x="473" y="692"/>
                  </a:lnTo>
                  <a:lnTo>
                    <a:pt x="473" y="692"/>
                  </a:lnTo>
                  <a:lnTo>
                    <a:pt x="473" y="690"/>
                  </a:lnTo>
                  <a:close/>
                  <a:moveTo>
                    <a:pt x="403" y="618"/>
                  </a:moveTo>
                  <a:lnTo>
                    <a:pt x="403" y="620"/>
                  </a:lnTo>
                  <a:lnTo>
                    <a:pt x="403" y="620"/>
                  </a:lnTo>
                  <a:lnTo>
                    <a:pt x="403" y="618"/>
                  </a:lnTo>
                  <a:lnTo>
                    <a:pt x="405" y="618"/>
                  </a:lnTo>
                  <a:lnTo>
                    <a:pt x="405" y="616"/>
                  </a:lnTo>
                  <a:lnTo>
                    <a:pt x="405" y="616"/>
                  </a:lnTo>
                  <a:lnTo>
                    <a:pt x="405" y="616"/>
                  </a:lnTo>
                  <a:lnTo>
                    <a:pt x="405" y="616"/>
                  </a:lnTo>
                  <a:lnTo>
                    <a:pt x="407" y="615"/>
                  </a:lnTo>
                  <a:lnTo>
                    <a:pt x="408" y="613"/>
                  </a:lnTo>
                  <a:lnTo>
                    <a:pt x="408" y="611"/>
                  </a:lnTo>
                  <a:lnTo>
                    <a:pt x="408" y="607"/>
                  </a:lnTo>
                  <a:lnTo>
                    <a:pt x="407" y="606"/>
                  </a:lnTo>
                  <a:lnTo>
                    <a:pt x="405" y="607"/>
                  </a:lnTo>
                  <a:lnTo>
                    <a:pt x="403" y="607"/>
                  </a:lnTo>
                  <a:lnTo>
                    <a:pt x="401" y="609"/>
                  </a:lnTo>
                  <a:lnTo>
                    <a:pt x="401" y="607"/>
                  </a:lnTo>
                  <a:lnTo>
                    <a:pt x="403" y="606"/>
                  </a:lnTo>
                  <a:lnTo>
                    <a:pt x="403" y="606"/>
                  </a:lnTo>
                  <a:lnTo>
                    <a:pt x="405" y="602"/>
                  </a:lnTo>
                  <a:lnTo>
                    <a:pt x="405" y="600"/>
                  </a:lnTo>
                  <a:lnTo>
                    <a:pt x="405" y="600"/>
                  </a:lnTo>
                  <a:lnTo>
                    <a:pt x="405" y="600"/>
                  </a:lnTo>
                  <a:lnTo>
                    <a:pt x="405" y="600"/>
                  </a:lnTo>
                  <a:lnTo>
                    <a:pt x="405" y="598"/>
                  </a:lnTo>
                  <a:lnTo>
                    <a:pt x="403" y="598"/>
                  </a:lnTo>
                  <a:lnTo>
                    <a:pt x="403" y="598"/>
                  </a:lnTo>
                  <a:lnTo>
                    <a:pt x="405" y="596"/>
                  </a:lnTo>
                  <a:lnTo>
                    <a:pt x="403" y="595"/>
                  </a:lnTo>
                  <a:lnTo>
                    <a:pt x="403" y="595"/>
                  </a:lnTo>
                  <a:lnTo>
                    <a:pt x="405" y="595"/>
                  </a:lnTo>
                  <a:lnTo>
                    <a:pt x="405" y="595"/>
                  </a:lnTo>
                  <a:lnTo>
                    <a:pt x="405" y="595"/>
                  </a:lnTo>
                  <a:lnTo>
                    <a:pt x="403" y="595"/>
                  </a:lnTo>
                  <a:lnTo>
                    <a:pt x="401" y="593"/>
                  </a:lnTo>
                  <a:lnTo>
                    <a:pt x="401" y="593"/>
                  </a:lnTo>
                  <a:lnTo>
                    <a:pt x="401" y="593"/>
                  </a:lnTo>
                  <a:lnTo>
                    <a:pt x="399" y="593"/>
                  </a:lnTo>
                  <a:lnTo>
                    <a:pt x="401" y="593"/>
                  </a:lnTo>
                  <a:lnTo>
                    <a:pt x="401" y="591"/>
                  </a:lnTo>
                  <a:lnTo>
                    <a:pt x="401" y="591"/>
                  </a:lnTo>
                  <a:lnTo>
                    <a:pt x="401" y="589"/>
                  </a:lnTo>
                  <a:lnTo>
                    <a:pt x="401" y="589"/>
                  </a:lnTo>
                  <a:lnTo>
                    <a:pt x="403" y="589"/>
                  </a:lnTo>
                  <a:lnTo>
                    <a:pt x="403" y="591"/>
                  </a:lnTo>
                  <a:lnTo>
                    <a:pt x="407" y="593"/>
                  </a:lnTo>
                  <a:lnTo>
                    <a:pt x="408" y="595"/>
                  </a:lnTo>
                  <a:lnTo>
                    <a:pt x="408" y="596"/>
                  </a:lnTo>
                  <a:lnTo>
                    <a:pt x="408" y="600"/>
                  </a:lnTo>
                  <a:lnTo>
                    <a:pt x="408" y="600"/>
                  </a:lnTo>
                  <a:lnTo>
                    <a:pt x="407" y="602"/>
                  </a:lnTo>
                  <a:lnTo>
                    <a:pt x="407" y="604"/>
                  </a:lnTo>
                  <a:lnTo>
                    <a:pt x="407" y="604"/>
                  </a:lnTo>
                  <a:lnTo>
                    <a:pt x="408" y="606"/>
                  </a:lnTo>
                  <a:lnTo>
                    <a:pt x="408" y="606"/>
                  </a:lnTo>
                  <a:lnTo>
                    <a:pt x="408" y="606"/>
                  </a:lnTo>
                  <a:lnTo>
                    <a:pt x="408" y="607"/>
                  </a:lnTo>
                  <a:lnTo>
                    <a:pt x="410" y="609"/>
                  </a:lnTo>
                  <a:lnTo>
                    <a:pt x="410" y="609"/>
                  </a:lnTo>
                  <a:lnTo>
                    <a:pt x="410" y="609"/>
                  </a:lnTo>
                  <a:lnTo>
                    <a:pt x="412" y="609"/>
                  </a:lnTo>
                  <a:lnTo>
                    <a:pt x="412" y="607"/>
                  </a:lnTo>
                  <a:lnTo>
                    <a:pt x="412" y="607"/>
                  </a:lnTo>
                  <a:lnTo>
                    <a:pt x="412" y="607"/>
                  </a:lnTo>
                  <a:lnTo>
                    <a:pt x="412" y="606"/>
                  </a:lnTo>
                  <a:lnTo>
                    <a:pt x="414" y="606"/>
                  </a:lnTo>
                  <a:lnTo>
                    <a:pt x="414" y="604"/>
                  </a:lnTo>
                  <a:lnTo>
                    <a:pt x="412" y="602"/>
                  </a:lnTo>
                  <a:lnTo>
                    <a:pt x="414" y="602"/>
                  </a:lnTo>
                  <a:lnTo>
                    <a:pt x="414" y="600"/>
                  </a:lnTo>
                  <a:lnTo>
                    <a:pt x="414" y="600"/>
                  </a:lnTo>
                  <a:lnTo>
                    <a:pt x="414" y="598"/>
                  </a:lnTo>
                  <a:lnTo>
                    <a:pt x="414" y="598"/>
                  </a:lnTo>
                  <a:lnTo>
                    <a:pt x="414" y="598"/>
                  </a:lnTo>
                  <a:lnTo>
                    <a:pt x="414" y="596"/>
                  </a:lnTo>
                  <a:lnTo>
                    <a:pt x="414" y="596"/>
                  </a:lnTo>
                  <a:lnTo>
                    <a:pt x="412" y="595"/>
                  </a:lnTo>
                  <a:lnTo>
                    <a:pt x="412" y="593"/>
                  </a:lnTo>
                  <a:lnTo>
                    <a:pt x="412" y="589"/>
                  </a:lnTo>
                  <a:lnTo>
                    <a:pt x="412" y="589"/>
                  </a:lnTo>
                  <a:lnTo>
                    <a:pt x="410" y="589"/>
                  </a:lnTo>
                  <a:lnTo>
                    <a:pt x="410" y="587"/>
                  </a:lnTo>
                  <a:lnTo>
                    <a:pt x="410" y="584"/>
                  </a:lnTo>
                  <a:lnTo>
                    <a:pt x="410" y="584"/>
                  </a:lnTo>
                  <a:lnTo>
                    <a:pt x="410" y="584"/>
                  </a:lnTo>
                  <a:lnTo>
                    <a:pt x="408" y="582"/>
                  </a:lnTo>
                  <a:lnTo>
                    <a:pt x="408" y="582"/>
                  </a:lnTo>
                  <a:lnTo>
                    <a:pt x="408" y="582"/>
                  </a:lnTo>
                  <a:lnTo>
                    <a:pt x="408" y="580"/>
                  </a:lnTo>
                  <a:lnTo>
                    <a:pt x="407" y="580"/>
                  </a:lnTo>
                  <a:lnTo>
                    <a:pt x="401" y="582"/>
                  </a:lnTo>
                  <a:lnTo>
                    <a:pt x="399" y="582"/>
                  </a:lnTo>
                  <a:lnTo>
                    <a:pt x="399" y="580"/>
                  </a:lnTo>
                  <a:lnTo>
                    <a:pt x="399" y="580"/>
                  </a:lnTo>
                  <a:lnTo>
                    <a:pt x="398" y="580"/>
                  </a:lnTo>
                  <a:lnTo>
                    <a:pt x="396" y="582"/>
                  </a:lnTo>
                  <a:lnTo>
                    <a:pt x="394" y="584"/>
                  </a:lnTo>
                  <a:lnTo>
                    <a:pt x="394" y="584"/>
                  </a:lnTo>
                  <a:lnTo>
                    <a:pt x="392" y="586"/>
                  </a:lnTo>
                  <a:lnTo>
                    <a:pt x="392" y="586"/>
                  </a:lnTo>
                  <a:lnTo>
                    <a:pt x="392" y="587"/>
                  </a:lnTo>
                  <a:lnTo>
                    <a:pt x="390" y="587"/>
                  </a:lnTo>
                  <a:lnTo>
                    <a:pt x="390" y="587"/>
                  </a:lnTo>
                  <a:lnTo>
                    <a:pt x="390" y="586"/>
                  </a:lnTo>
                  <a:lnTo>
                    <a:pt x="390" y="586"/>
                  </a:lnTo>
                  <a:lnTo>
                    <a:pt x="390" y="586"/>
                  </a:lnTo>
                  <a:lnTo>
                    <a:pt x="390" y="584"/>
                  </a:lnTo>
                  <a:lnTo>
                    <a:pt x="390" y="584"/>
                  </a:lnTo>
                  <a:lnTo>
                    <a:pt x="392" y="582"/>
                  </a:lnTo>
                  <a:lnTo>
                    <a:pt x="392" y="580"/>
                  </a:lnTo>
                  <a:lnTo>
                    <a:pt x="394" y="578"/>
                  </a:lnTo>
                  <a:lnTo>
                    <a:pt x="396" y="578"/>
                  </a:lnTo>
                  <a:lnTo>
                    <a:pt x="398" y="577"/>
                  </a:lnTo>
                  <a:lnTo>
                    <a:pt x="399" y="577"/>
                  </a:lnTo>
                  <a:lnTo>
                    <a:pt x="401" y="575"/>
                  </a:lnTo>
                  <a:lnTo>
                    <a:pt x="401" y="573"/>
                  </a:lnTo>
                  <a:lnTo>
                    <a:pt x="401" y="571"/>
                  </a:lnTo>
                  <a:lnTo>
                    <a:pt x="401" y="568"/>
                  </a:lnTo>
                  <a:lnTo>
                    <a:pt x="399" y="566"/>
                  </a:lnTo>
                  <a:lnTo>
                    <a:pt x="398" y="566"/>
                  </a:lnTo>
                  <a:lnTo>
                    <a:pt x="398" y="564"/>
                  </a:lnTo>
                  <a:lnTo>
                    <a:pt x="396" y="566"/>
                  </a:lnTo>
                  <a:lnTo>
                    <a:pt x="399" y="569"/>
                  </a:lnTo>
                  <a:lnTo>
                    <a:pt x="399" y="571"/>
                  </a:lnTo>
                  <a:lnTo>
                    <a:pt x="399" y="571"/>
                  </a:lnTo>
                  <a:lnTo>
                    <a:pt x="399" y="569"/>
                  </a:lnTo>
                  <a:lnTo>
                    <a:pt x="398" y="569"/>
                  </a:lnTo>
                  <a:lnTo>
                    <a:pt x="396" y="568"/>
                  </a:lnTo>
                  <a:lnTo>
                    <a:pt x="396" y="566"/>
                  </a:lnTo>
                  <a:lnTo>
                    <a:pt x="396" y="564"/>
                  </a:lnTo>
                  <a:lnTo>
                    <a:pt x="396" y="564"/>
                  </a:lnTo>
                  <a:lnTo>
                    <a:pt x="394" y="562"/>
                  </a:lnTo>
                  <a:lnTo>
                    <a:pt x="394" y="562"/>
                  </a:lnTo>
                  <a:lnTo>
                    <a:pt x="394" y="562"/>
                  </a:lnTo>
                  <a:lnTo>
                    <a:pt x="392" y="560"/>
                  </a:lnTo>
                  <a:lnTo>
                    <a:pt x="392" y="560"/>
                  </a:lnTo>
                  <a:lnTo>
                    <a:pt x="392" y="560"/>
                  </a:lnTo>
                  <a:lnTo>
                    <a:pt x="392" y="559"/>
                  </a:lnTo>
                  <a:lnTo>
                    <a:pt x="392" y="559"/>
                  </a:lnTo>
                  <a:lnTo>
                    <a:pt x="390" y="557"/>
                  </a:lnTo>
                  <a:lnTo>
                    <a:pt x="390" y="555"/>
                  </a:lnTo>
                  <a:lnTo>
                    <a:pt x="389" y="555"/>
                  </a:lnTo>
                  <a:lnTo>
                    <a:pt x="387" y="555"/>
                  </a:lnTo>
                  <a:lnTo>
                    <a:pt x="387" y="553"/>
                  </a:lnTo>
                  <a:lnTo>
                    <a:pt x="387" y="551"/>
                  </a:lnTo>
                  <a:lnTo>
                    <a:pt x="387" y="550"/>
                  </a:lnTo>
                  <a:lnTo>
                    <a:pt x="387" y="548"/>
                  </a:lnTo>
                  <a:lnTo>
                    <a:pt x="387" y="548"/>
                  </a:lnTo>
                  <a:lnTo>
                    <a:pt x="385" y="548"/>
                  </a:lnTo>
                  <a:lnTo>
                    <a:pt x="385" y="548"/>
                  </a:lnTo>
                  <a:lnTo>
                    <a:pt x="385" y="548"/>
                  </a:lnTo>
                  <a:lnTo>
                    <a:pt x="383" y="548"/>
                  </a:lnTo>
                  <a:lnTo>
                    <a:pt x="383" y="546"/>
                  </a:lnTo>
                  <a:lnTo>
                    <a:pt x="383" y="544"/>
                  </a:lnTo>
                  <a:lnTo>
                    <a:pt x="383" y="542"/>
                  </a:lnTo>
                  <a:lnTo>
                    <a:pt x="385" y="539"/>
                  </a:lnTo>
                  <a:lnTo>
                    <a:pt x="383" y="537"/>
                  </a:lnTo>
                  <a:lnTo>
                    <a:pt x="381" y="535"/>
                  </a:lnTo>
                  <a:lnTo>
                    <a:pt x="381" y="535"/>
                  </a:lnTo>
                  <a:lnTo>
                    <a:pt x="381" y="535"/>
                  </a:lnTo>
                  <a:lnTo>
                    <a:pt x="380" y="533"/>
                  </a:lnTo>
                  <a:lnTo>
                    <a:pt x="378" y="533"/>
                  </a:lnTo>
                  <a:lnTo>
                    <a:pt x="378" y="533"/>
                  </a:lnTo>
                  <a:lnTo>
                    <a:pt x="376" y="535"/>
                  </a:lnTo>
                  <a:lnTo>
                    <a:pt x="374" y="535"/>
                  </a:lnTo>
                  <a:lnTo>
                    <a:pt x="372" y="535"/>
                  </a:lnTo>
                  <a:lnTo>
                    <a:pt x="369" y="531"/>
                  </a:lnTo>
                  <a:lnTo>
                    <a:pt x="367" y="531"/>
                  </a:lnTo>
                  <a:lnTo>
                    <a:pt x="365" y="533"/>
                  </a:lnTo>
                  <a:lnTo>
                    <a:pt x="363" y="531"/>
                  </a:lnTo>
                  <a:lnTo>
                    <a:pt x="361" y="531"/>
                  </a:lnTo>
                  <a:lnTo>
                    <a:pt x="361" y="531"/>
                  </a:lnTo>
                  <a:lnTo>
                    <a:pt x="360" y="531"/>
                  </a:lnTo>
                  <a:lnTo>
                    <a:pt x="360" y="533"/>
                  </a:lnTo>
                  <a:lnTo>
                    <a:pt x="358" y="533"/>
                  </a:lnTo>
                  <a:lnTo>
                    <a:pt x="358" y="535"/>
                  </a:lnTo>
                  <a:lnTo>
                    <a:pt x="354" y="535"/>
                  </a:lnTo>
                  <a:lnTo>
                    <a:pt x="349" y="537"/>
                  </a:lnTo>
                  <a:lnTo>
                    <a:pt x="342" y="537"/>
                  </a:lnTo>
                  <a:lnTo>
                    <a:pt x="342" y="537"/>
                  </a:lnTo>
                  <a:lnTo>
                    <a:pt x="338" y="535"/>
                  </a:lnTo>
                  <a:lnTo>
                    <a:pt x="338" y="535"/>
                  </a:lnTo>
                  <a:lnTo>
                    <a:pt x="338" y="537"/>
                  </a:lnTo>
                  <a:lnTo>
                    <a:pt x="338" y="540"/>
                  </a:lnTo>
                  <a:lnTo>
                    <a:pt x="336" y="542"/>
                  </a:lnTo>
                  <a:lnTo>
                    <a:pt x="336" y="542"/>
                  </a:lnTo>
                  <a:lnTo>
                    <a:pt x="336" y="544"/>
                  </a:lnTo>
                  <a:lnTo>
                    <a:pt x="334" y="546"/>
                  </a:lnTo>
                  <a:lnTo>
                    <a:pt x="334" y="546"/>
                  </a:lnTo>
                  <a:lnTo>
                    <a:pt x="334" y="548"/>
                  </a:lnTo>
                  <a:lnTo>
                    <a:pt x="333" y="548"/>
                  </a:lnTo>
                  <a:lnTo>
                    <a:pt x="333" y="550"/>
                  </a:lnTo>
                  <a:lnTo>
                    <a:pt x="331" y="550"/>
                  </a:lnTo>
                  <a:lnTo>
                    <a:pt x="329" y="550"/>
                  </a:lnTo>
                  <a:lnTo>
                    <a:pt x="327" y="548"/>
                  </a:lnTo>
                  <a:lnTo>
                    <a:pt x="325" y="548"/>
                  </a:lnTo>
                  <a:lnTo>
                    <a:pt x="324" y="548"/>
                  </a:lnTo>
                  <a:lnTo>
                    <a:pt x="324" y="548"/>
                  </a:lnTo>
                  <a:lnTo>
                    <a:pt x="324" y="546"/>
                  </a:lnTo>
                  <a:lnTo>
                    <a:pt x="324" y="546"/>
                  </a:lnTo>
                  <a:lnTo>
                    <a:pt x="322" y="548"/>
                  </a:lnTo>
                  <a:lnTo>
                    <a:pt x="322" y="548"/>
                  </a:lnTo>
                  <a:lnTo>
                    <a:pt x="322" y="548"/>
                  </a:lnTo>
                  <a:lnTo>
                    <a:pt x="322" y="550"/>
                  </a:lnTo>
                  <a:lnTo>
                    <a:pt x="318" y="550"/>
                  </a:lnTo>
                  <a:lnTo>
                    <a:pt x="318" y="550"/>
                  </a:lnTo>
                  <a:lnTo>
                    <a:pt x="316" y="550"/>
                  </a:lnTo>
                  <a:lnTo>
                    <a:pt x="316" y="553"/>
                  </a:lnTo>
                  <a:lnTo>
                    <a:pt x="316" y="553"/>
                  </a:lnTo>
                  <a:lnTo>
                    <a:pt x="316" y="553"/>
                  </a:lnTo>
                  <a:lnTo>
                    <a:pt x="316" y="553"/>
                  </a:lnTo>
                  <a:lnTo>
                    <a:pt x="315" y="555"/>
                  </a:lnTo>
                  <a:lnTo>
                    <a:pt x="316" y="557"/>
                  </a:lnTo>
                  <a:lnTo>
                    <a:pt x="316" y="557"/>
                  </a:lnTo>
                  <a:lnTo>
                    <a:pt x="315" y="557"/>
                  </a:lnTo>
                  <a:lnTo>
                    <a:pt x="315" y="559"/>
                  </a:lnTo>
                  <a:lnTo>
                    <a:pt x="315" y="559"/>
                  </a:lnTo>
                  <a:lnTo>
                    <a:pt x="315" y="559"/>
                  </a:lnTo>
                  <a:lnTo>
                    <a:pt x="313" y="560"/>
                  </a:lnTo>
                  <a:lnTo>
                    <a:pt x="315" y="562"/>
                  </a:lnTo>
                  <a:lnTo>
                    <a:pt x="315" y="562"/>
                  </a:lnTo>
                  <a:lnTo>
                    <a:pt x="313" y="564"/>
                  </a:lnTo>
                  <a:lnTo>
                    <a:pt x="313" y="566"/>
                  </a:lnTo>
                  <a:lnTo>
                    <a:pt x="309" y="571"/>
                  </a:lnTo>
                  <a:lnTo>
                    <a:pt x="309" y="571"/>
                  </a:lnTo>
                  <a:lnTo>
                    <a:pt x="309" y="575"/>
                  </a:lnTo>
                  <a:lnTo>
                    <a:pt x="309" y="575"/>
                  </a:lnTo>
                  <a:lnTo>
                    <a:pt x="309" y="575"/>
                  </a:lnTo>
                  <a:lnTo>
                    <a:pt x="309" y="575"/>
                  </a:lnTo>
                  <a:lnTo>
                    <a:pt x="307" y="575"/>
                  </a:lnTo>
                  <a:lnTo>
                    <a:pt x="307" y="575"/>
                  </a:lnTo>
                  <a:lnTo>
                    <a:pt x="307" y="575"/>
                  </a:lnTo>
                  <a:lnTo>
                    <a:pt x="306" y="575"/>
                  </a:lnTo>
                  <a:lnTo>
                    <a:pt x="304" y="575"/>
                  </a:lnTo>
                  <a:lnTo>
                    <a:pt x="302" y="575"/>
                  </a:lnTo>
                  <a:lnTo>
                    <a:pt x="300" y="577"/>
                  </a:lnTo>
                  <a:lnTo>
                    <a:pt x="298" y="578"/>
                  </a:lnTo>
                  <a:lnTo>
                    <a:pt x="296" y="578"/>
                  </a:lnTo>
                  <a:lnTo>
                    <a:pt x="296" y="577"/>
                  </a:lnTo>
                  <a:lnTo>
                    <a:pt x="295" y="577"/>
                  </a:lnTo>
                  <a:lnTo>
                    <a:pt x="293" y="577"/>
                  </a:lnTo>
                  <a:lnTo>
                    <a:pt x="291" y="578"/>
                  </a:lnTo>
                  <a:lnTo>
                    <a:pt x="289" y="578"/>
                  </a:lnTo>
                  <a:lnTo>
                    <a:pt x="291" y="580"/>
                  </a:lnTo>
                  <a:lnTo>
                    <a:pt x="291" y="580"/>
                  </a:lnTo>
                  <a:lnTo>
                    <a:pt x="289" y="582"/>
                  </a:lnTo>
                  <a:lnTo>
                    <a:pt x="291" y="582"/>
                  </a:lnTo>
                  <a:lnTo>
                    <a:pt x="291" y="582"/>
                  </a:lnTo>
                  <a:lnTo>
                    <a:pt x="293" y="582"/>
                  </a:lnTo>
                  <a:lnTo>
                    <a:pt x="293" y="584"/>
                  </a:lnTo>
                  <a:lnTo>
                    <a:pt x="293" y="584"/>
                  </a:lnTo>
                  <a:lnTo>
                    <a:pt x="293" y="584"/>
                  </a:lnTo>
                  <a:lnTo>
                    <a:pt x="295" y="584"/>
                  </a:lnTo>
                  <a:lnTo>
                    <a:pt x="295" y="584"/>
                  </a:lnTo>
                  <a:lnTo>
                    <a:pt x="295" y="584"/>
                  </a:lnTo>
                  <a:lnTo>
                    <a:pt x="296" y="584"/>
                  </a:lnTo>
                  <a:lnTo>
                    <a:pt x="298" y="586"/>
                  </a:lnTo>
                  <a:lnTo>
                    <a:pt x="298" y="586"/>
                  </a:lnTo>
                  <a:lnTo>
                    <a:pt x="298" y="586"/>
                  </a:lnTo>
                  <a:lnTo>
                    <a:pt x="300" y="586"/>
                  </a:lnTo>
                  <a:lnTo>
                    <a:pt x="300" y="586"/>
                  </a:lnTo>
                  <a:lnTo>
                    <a:pt x="300" y="587"/>
                  </a:lnTo>
                  <a:lnTo>
                    <a:pt x="300" y="587"/>
                  </a:lnTo>
                  <a:lnTo>
                    <a:pt x="300" y="587"/>
                  </a:lnTo>
                  <a:lnTo>
                    <a:pt x="298" y="587"/>
                  </a:lnTo>
                  <a:lnTo>
                    <a:pt x="293" y="593"/>
                  </a:lnTo>
                  <a:lnTo>
                    <a:pt x="291" y="593"/>
                  </a:lnTo>
                  <a:lnTo>
                    <a:pt x="289" y="593"/>
                  </a:lnTo>
                  <a:lnTo>
                    <a:pt x="286" y="593"/>
                  </a:lnTo>
                  <a:lnTo>
                    <a:pt x="284" y="593"/>
                  </a:lnTo>
                  <a:lnTo>
                    <a:pt x="284" y="595"/>
                  </a:lnTo>
                  <a:lnTo>
                    <a:pt x="284" y="596"/>
                  </a:lnTo>
                  <a:lnTo>
                    <a:pt x="282" y="596"/>
                  </a:lnTo>
                  <a:lnTo>
                    <a:pt x="282" y="596"/>
                  </a:lnTo>
                  <a:lnTo>
                    <a:pt x="280" y="598"/>
                  </a:lnTo>
                  <a:lnTo>
                    <a:pt x="278" y="598"/>
                  </a:lnTo>
                  <a:lnTo>
                    <a:pt x="277" y="598"/>
                  </a:lnTo>
                  <a:lnTo>
                    <a:pt x="277" y="600"/>
                  </a:lnTo>
                  <a:lnTo>
                    <a:pt x="278" y="600"/>
                  </a:lnTo>
                  <a:lnTo>
                    <a:pt x="278" y="600"/>
                  </a:lnTo>
                  <a:lnTo>
                    <a:pt x="278" y="602"/>
                  </a:lnTo>
                  <a:lnTo>
                    <a:pt x="278" y="602"/>
                  </a:lnTo>
                  <a:lnTo>
                    <a:pt x="280" y="604"/>
                  </a:lnTo>
                  <a:lnTo>
                    <a:pt x="282" y="606"/>
                  </a:lnTo>
                  <a:lnTo>
                    <a:pt x="284" y="607"/>
                  </a:lnTo>
                  <a:lnTo>
                    <a:pt x="284" y="607"/>
                  </a:lnTo>
                  <a:lnTo>
                    <a:pt x="286" y="607"/>
                  </a:lnTo>
                  <a:lnTo>
                    <a:pt x="287" y="611"/>
                  </a:lnTo>
                  <a:lnTo>
                    <a:pt x="287" y="613"/>
                  </a:lnTo>
                  <a:lnTo>
                    <a:pt x="289" y="613"/>
                  </a:lnTo>
                  <a:lnTo>
                    <a:pt x="289" y="613"/>
                  </a:lnTo>
                  <a:lnTo>
                    <a:pt x="289" y="613"/>
                  </a:lnTo>
                  <a:lnTo>
                    <a:pt x="291" y="615"/>
                  </a:lnTo>
                  <a:lnTo>
                    <a:pt x="291" y="615"/>
                  </a:lnTo>
                  <a:lnTo>
                    <a:pt x="293" y="616"/>
                  </a:lnTo>
                  <a:lnTo>
                    <a:pt x="293" y="620"/>
                  </a:lnTo>
                  <a:lnTo>
                    <a:pt x="293" y="620"/>
                  </a:lnTo>
                  <a:lnTo>
                    <a:pt x="295" y="622"/>
                  </a:lnTo>
                  <a:lnTo>
                    <a:pt x="296" y="622"/>
                  </a:lnTo>
                  <a:lnTo>
                    <a:pt x="300" y="622"/>
                  </a:lnTo>
                  <a:lnTo>
                    <a:pt x="300" y="622"/>
                  </a:lnTo>
                  <a:lnTo>
                    <a:pt x="304" y="624"/>
                  </a:lnTo>
                  <a:lnTo>
                    <a:pt x="306" y="625"/>
                  </a:lnTo>
                  <a:lnTo>
                    <a:pt x="306" y="625"/>
                  </a:lnTo>
                  <a:lnTo>
                    <a:pt x="306" y="627"/>
                  </a:lnTo>
                  <a:lnTo>
                    <a:pt x="306" y="627"/>
                  </a:lnTo>
                  <a:lnTo>
                    <a:pt x="311" y="629"/>
                  </a:lnTo>
                  <a:lnTo>
                    <a:pt x="313" y="627"/>
                  </a:lnTo>
                  <a:lnTo>
                    <a:pt x="315" y="625"/>
                  </a:lnTo>
                  <a:lnTo>
                    <a:pt x="315" y="627"/>
                  </a:lnTo>
                  <a:lnTo>
                    <a:pt x="315" y="627"/>
                  </a:lnTo>
                  <a:lnTo>
                    <a:pt x="315" y="627"/>
                  </a:lnTo>
                  <a:lnTo>
                    <a:pt x="315" y="627"/>
                  </a:lnTo>
                  <a:lnTo>
                    <a:pt x="316" y="627"/>
                  </a:lnTo>
                  <a:lnTo>
                    <a:pt x="316" y="627"/>
                  </a:lnTo>
                  <a:lnTo>
                    <a:pt x="316" y="629"/>
                  </a:lnTo>
                  <a:lnTo>
                    <a:pt x="316" y="629"/>
                  </a:lnTo>
                  <a:lnTo>
                    <a:pt x="316" y="629"/>
                  </a:lnTo>
                  <a:lnTo>
                    <a:pt x="320" y="629"/>
                  </a:lnTo>
                  <a:lnTo>
                    <a:pt x="320" y="629"/>
                  </a:lnTo>
                  <a:lnTo>
                    <a:pt x="320" y="629"/>
                  </a:lnTo>
                  <a:lnTo>
                    <a:pt x="320" y="627"/>
                  </a:lnTo>
                  <a:lnTo>
                    <a:pt x="320" y="625"/>
                  </a:lnTo>
                  <a:lnTo>
                    <a:pt x="320" y="625"/>
                  </a:lnTo>
                  <a:lnTo>
                    <a:pt x="322" y="625"/>
                  </a:lnTo>
                  <a:lnTo>
                    <a:pt x="322" y="625"/>
                  </a:lnTo>
                  <a:lnTo>
                    <a:pt x="322" y="625"/>
                  </a:lnTo>
                  <a:lnTo>
                    <a:pt x="322" y="627"/>
                  </a:lnTo>
                  <a:lnTo>
                    <a:pt x="322" y="627"/>
                  </a:lnTo>
                  <a:lnTo>
                    <a:pt x="322" y="627"/>
                  </a:lnTo>
                  <a:lnTo>
                    <a:pt x="322" y="629"/>
                  </a:lnTo>
                  <a:lnTo>
                    <a:pt x="322" y="627"/>
                  </a:lnTo>
                  <a:lnTo>
                    <a:pt x="322" y="627"/>
                  </a:lnTo>
                  <a:lnTo>
                    <a:pt x="324" y="627"/>
                  </a:lnTo>
                  <a:lnTo>
                    <a:pt x="324" y="625"/>
                  </a:lnTo>
                  <a:lnTo>
                    <a:pt x="324" y="625"/>
                  </a:lnTo>
                  <a:lnTo>
                    <a:pt x="324" y="625"/>
                  </a:lnTo>
                  <a:lnTo>
                    <a:pt x="324" y="624"/>
                  </a:lnTo>
                  <a:lnTo>
                    <a:pt x="324" y="624"/>
                  </a:lnTo>
                  <a:lnTo>
                    <a:pt x="324" y="624"/>
                  </a:lnTo>
                  <a:lnTo>
                    <a:pt x="324" y="622"/>
                  </a:lnTo>
                  <a:lnTo>
                    <a:pt x="324" y="622"/>
                  </a:lnTo>
                  <a:lnTo>
                    <a:pt x="324" y="622"/>
                  </a:lnTo>
                  <a:lnTo>
                    <a:pt x="324" y="622"/>
                  </a:lnTo>
                  <a:lnTo>
                    <a:pt x="327" y="620"/>
                  </a:lnTo>
                  <a:lnTo>
                    <a:pt x="329" y="620"/>
                  </a:lnTo>
                  <a:lnTo>
                    <a:pt x="327" y="618"/>
                  </a:lnTo>
                  <a:lnTo>
                    <a:pt x="329" y="618"/>
                  </a:lnTo>
                  <a:lnTo>
                    <a:pt x="327" y="616"/>
                  </a:lnTo>
                  <a:lnTo>
                    <a:pt x="327" y="615"/>
                  </a:lnTo>
                  <a:lnTo>
                    <a:pt x="325" y="615"/>
                  </a:lnTo>
                  <a:lnTo>
                    <a:pt x="325" y="613"/>
                  </a:lnTo>
                  <a:lnTo>
                    <a:pt x="325" y="613"/>
                  </a:lnTo>
                  <a:lnTo>
                    <a:pt x="325" y="613"/>
                  </a:lnTo>
                  <a:lnTo>
                    <a:pt x="325" y="613"/>
                  </a:lnTo>
                  <a:lnTo>
                    <a:pt x="327" y="613"/>
                  </a:lnTo>
                  <a:lnTo>
                    <a:pt x="327" y="611"/>
                  </a:lnTo>
                  <a:lnTo>
                    <a:pt x="327" y="611"/>
                  </a:lnTo>
                  <a:lnTo>
                    <a:pt x="327" y="611"/>
                  </a:lnTo>
                  <a:lnTo>
                    <a:pt x="327" y="611"/>
                  </a:lnTo>
                  <a:lnTo>
                    <a:pt x="325" y="611"/>
                  </a:lnTo>
                  <a:lnTo>
                    <a:pt x="327" y="611"/>
                  </a:lnTo>
                  <a:lnTo>
                    <a:pt x="327" y="611"/>
                  </a:lnTo>
                  <a:lnTo>
                    <a:pt x="327" y="609"/>
                  </a:lnTo>
                  <a:lnTo>
                    <a:pt x="327" y="611"/>
                  </a:lnTo>
                  <a:lnTo>
                    <a:pt x="327" y="611"/>
                  </a:lnTo>
                  <a:lnTo>
                    <a:pt x="329" y="609"/>
                  </a:lnTo>
                  <a:lnTo>
                    <a:pt x="333" y="606"/>
                  </a:lnTo>
                  <a:lnTo>
                    <a:pt x="333" y="604"/>
                  </a:lnTo>
                  <a:lnTo>
                    <a:pt x="334" y="604"/>
                  </a:lnTo>
                  <a:lnTo>
                    <a:pt x="336" y="604"/>
                  </a:lnTo>
                  <a:lnTo>
                    <a:pt x="340" y="607"/>
                  </a:lnTo>
                  <a:lnTo>
                    <a:pt x="340" y="607"/>
                  </a:lnTo>
                  <a:lnTo>
                    <a:pt x="340" y="609"/>
                  </a:lnTo>
                  <a:lnTo>
                    <a:pt x="342" y="609"/>
                  </a:lnTo>
                  <a:lnTo>
                    <a:pt x="342" y="609"/>
                  </a:lnTo>
                  <a:lnTo>
                    <a:pt x="342" y="609"/>
                  </a:lnTo>
                  <a:lnTo>
                    <a:pt x="342" y="611"/>
                  </a:lnTo>
                  <a:lnTo>
                    <a:pt x="343" y="613"/>
                  </a:lnTo>
                  <a:lnTo>
                    <a:pt x="343" y="615"/>
                  </a:lnTo>
                  <a:lnTo>
                    <a:pt x="343" y="615"/>
                  </a:lnTo>
                  <a:lnTo>
                    <a:pt x="342" y="615"/>
                  </a:lnTo>
                  <a:lnTo>
                    <a:pt x="343" y="616"/>
                  </a:lnTo>
                  <a:lnTo>
                    <a:pt x="343" y="616"/>
                  </a:lnTo>
                  <a:lnTo>
                    <a:pt x="343" y="618"/>
                  </a:lnTo>
                  <a:lnTo>
                    <a:pt x="345" y="618"/>
                  </a:lnTo>
                  <a:lnTo>
                    <a:pt x="345" y="618"/>
                  </a:lnTo>
                  <a:lnTo>
                    <a:pt x="345" y="620"/>
                  </a:lnTo>
                  <a:lnTo>
                    <a:pt x="347" y="622"/>
                  </a:lnTo>
                  <a:lnTo>
                    <a:pt x="347" y="622"/>
                  </a:lnTo>
                  <a:lnTo>
                    <a:pt x="349" y="624"/>
                  </a:lnTo>
                  <a:lnTo>
                    <a:pt x="349" y="624"/>
                  </a:lnTo>
                  <a:lnTo>
                    <a:pt x="349" y="624"/>
                  </a:lnTo>
                  <a:lnTo>
                    <a:pt x="351" y="622"/>
                  </a:lnTo>
                  <a:lnTo>
                    <a:pt x="351" y="622"/>
                  </a:lnTo>
                  <a:lnTo>
                    <a:pt x="351" y="622"/>
                  </a:lnTo>
                  <a:lnTo>
                    <a:pt x="352" y="622"/>
                  </a:lnTo>
                  <a:lnTo>
                    <a:pt x="352" y="624"/>
                  </a:lnTo>
                  <a:lnTo>
                    <a:pt x="354" y="624"/>
                  </a:lnTo>
                  <a:lnTo>
                    <a:pt x="354" y="624"/>
                  </a:lnTo>
                  <a:lnTo>
                    <a:pt x="354" y="625"/>
                  </a:lnTo>
                  <a:lnTo>
                    <a:pt x="354" y="627"/>
                  </a:lnTo>
                  <a:lnTo>
                    <a:pt x="352" y="629"/>
                  </a:lnTo>
                  <a:lnTo>
                    <a:pt x="352" y="631"/>
                  </a:lnTo>
                  <a:lnTo>
                    <a:pt x="352" y="631"/>
                  </a:lnTo>
                  <a:lnTo>
                    <a:pt x="352" y="633"/>
                  </a:lnTo>
                  <a:lnTo>
                    <a:pt x="352" y="634"/>
                  </a:lnTo>
                  <a:lnTo>
                    <a:pt x="354" y="634"/>
                  </a:lnTo>
                  <a:lnTo>
                    <a:pt x="354" y="636"/>
                  </a:lnTo>
                  <a:lnTo>
                    <a:pt x="356" y="636"/>
                  </a:lnTo>
                  <a:lnTo>
                    <a:pt x="356" y="634"/>
                  </a:lnTo>
                  <a:lnTo>
                    <a:pt x="356" y="634"/>
                  </a:lnTo>
                  <a:lnTo>
                    <a:pt x="356" y="634"/>
                  </a:lnTo>
                  <a:lnTo>
                    <a:pt x="356" y="634"/>
                  </a:lnTo>
                  <a:lnTo>
                    <a:pt x="358" y="634"/>
                  </a:lnTo>
                  <a:lnTo>
                    <a:pt x="358" y="634"/>
                  </a:lnTo>
                  <a:lnTo>
                    <a:pt x="361" y="633"/>
                  </a:lnTo>
                  <a:lnTo>
                    <a:pt x="363" y="633"/>
                  </a:lnTo>
                  <a:lnTo>
                    <a:pt x="363" y="633"/>
                  </a:lnTo>
                  <a:lnTo>
                    <a:pt x="363" y="633"/>
                  </a:lnTo>
                  <a:lnTo>
                    <a:pt x="363" y="634"/>
                  </a:lnTo>
                  <a:lnTo>
                    <a:pt x="365" y="634"/>
                  </a:lnTo>
                  <a:lnTo>
                    <a:pt x="365" y="634"/>
                  </a:lnTo>
                  <a:lnTo>
                    <a:pt x="365" y="634"/>
                  </a:lnTo>
                  <a:lnTo>
                    <a:pt x="367" y="633"/>
                  </a:lnTo>
                  <a:lnTo>
                    <a:pt x="367" y="633"/>
                  </a:lnTo>
                  <a:lnTo>
                    <a:pt x="367" y="633"/>
                  </a:lnTo>
                  <a:lnTo>
                    <a:pt x="367" y="631"/>
                  </a:lnTo>
                  <a:lnTo>
                    <a:pt x="367" y="631"/>
                  </a:lnTo>
                  <a:lnTo>
                    <a:pt x="367" y="631"/>
                  </a:lnTo>
                  <a:lnTo>
                    <a:pt x="369" y="629"/>
                  </a:lnTo>
                  <a:lnTo>
                    <a:pt x="369" y="629"/>
                  </a:lnTo>
                  <a:lnTo>
                    <a:pt x="369" y="631"/>
                  </a:lnTo>
                  <a:lnTo>
                    <a:pt x="371" y="631"/>
                  </a:lnTo>
                  <a:lnTo>
                    <a:pt x="371" y="631"/>
                  </a:lnTo>
                  <a:lnTo>
                    <a:pt x="371" y="631"/>
                  </a:lnTo>
                  <a:lnTo>
                    <a:pt x="372" y="629"/>
                  </a:lnTo>
                  <a:lnTo>
                    <a:pt x="372" y="631"/>
                  </a:lnTo>
                  <a:lnTo>
                    <a:pt x="372" y="629"/>
                  </a:lnTo>
                  <a:lnTo>
                    <a:pt x="374" y="631"/>
                  </a:lnTo>
                  <a:lnTo>
                    <a:pt x="376" y="631"/>
                  </a:lnTo>
                  <a:lnTo>
                    <a:pt x="376" y="631"/>
                  </a:lnTo>
                  <a:lnTo>
                    <a:pt x="378" y="633"/>
                  </a:lnTo>
                  <a:lnTo>
                    <a:pt x="378" y="633"/>
                  </a:lnTo>
                  <a:lnTo>
                    <a:pt x="381" y="634"/>
                  </a:lnTo>
                  <a:lnTo>
                    <a:pt x="381" y="634"/>
                  </a:lnTo>
                  <a:lnTo>
                    <a:pt x="380" y="634"/>
                  </a:lnTo>
                  <a:lnTo>
                    <a:pt x="380" y="634"/>
                  </a:lnTo>
                  <a:lnTo>
                    <a:pt x="381" y="636"/>
                  </a:lnTo>
                  <a:lnTo>
                    <a:pt x="381" y="636"/>
                  </a:lnTo>
                  <a:lnTo>
                    <a:pt x="383" y="636"/>
                  </a:lnTo>
                  <a:lnTo>
                    <a:pt x="385" y="636"/>
                  </a:lnTo>
                  <a:lnTo>
                    <a:pt x="387" y="634"/>
                  </a:lnTo>
                  <a:lnTo>
                    <a:pt x="389" y="633"/>
                  </a:lnTo>
                  <a:lnTo>
                    <a:pt x="390" y="631"/>
                  </a:lnTo>
                  <a:lnTo>
                    <a:pt x="392" y="629"/>
                  </a:lnTo>
                  <a:lnTo>
                    <a:pt x="392" y="629"/>
                  </a:lnTo>
                  <a:lnTo>
                    <a:pt x="392" y="627"/>
                  </a:lnTo>
                  <a:lnTo>
                    <a:pt x="392" y="625"/>
                  </a:lnTo>
                  <a:lnTo>
                    <a:pt x="392" y="624"/>
                  </a:lnTo>
                  <a:lnTo>
                    <a:pt x="392" y="624"/>
                  </a:lnTo>
                  <a:lnTo>
                    <a:pt x="392" y="620"/>
                  </a:lnTo>
                  <a:lnTo>
                    <a:pt x="392" y="620"/>
                  </a:lnTo>
                  <a:lnTo>
                    <a:pt x="394" y="618"/>
                  </a:lnTo>
                  <a:lnTo>
                    <a:pt x="394" y="618"/>
                  </a:lnTo>
                  <a:lnTo>
                    <a:pt x="398" y="618"/>
                  </a:lnTo>
                  <a:lnTo>
                    <a:pt x="399" y="618"/>
                  </a:lnTo>
                  <a:lnTo>
                    <a:pt x="401" y="618"/>
                  </a:lnTo>
                  <a:lnTo>
                    <a:pt x="403" y="618"/>
                  </a:lnTo>
                  <a:close/>
                  <a:moveTo>
                    <a:pt x="376" y="528"/>
                  </a:moveTo>
                  <a:lnTo>
                    <a:pt x="376" y="530"/>
                  </a:lnTo>
                  <a:lnTo>
                    <a:pt x="376" y="530"/>
                  </a:lnTo>
                  <a:lnTo>
                    <a:pt x="376" y="530"/>
                  </a:lnTo>
                  <a:lnTo>
                    <a:pt x="378" y="528"/>
                  </a:lnTo>
                  <a:lnTo>
                    <a:pt x="378" y="528"/>
                  </a:lnTo>
                  <a:lnTo>
                    <a:pt x="378" y="526"/>
                  </a:lnTo>
                  <a:lnTo>
                    <a:pt x="376" y="526"/>
                  </a:lnTo>
                  <a:lnTo>
                    <a:pt x="374" y="526"/>
                  </a:lnTo>
                  <a:lnTo>
                    <a:pt x="374" y="526"/>
                  </a:lnTo>
                  <a:lnTo>
                    <a:pt x="372" y="526"/>
                  </a:lnTo>
                  <a:lnTo>
                    <a:pt x="372" y="526"/>
                  </a:lnTo>
                  <a:lnTo>
                    <a:pt x="372" y="526"/>
                  </a:lnTo>
                  <a:lnTo>
                    <a:pt x="372" y="526"/>
                  </a:lnTo>
                  <a:lnTo>
                    <a:pt x="374" y="526"/>
                  </a:lnTo>
                  <a:lnTo>
                    <a:pt x="376" y="526"/>
                  </a:lnTo>
                  <a:lnTo>
                    <a:pt x="376" y="528"/>
                  </a:lnTo>
                  <a:lnTo>
                    <a:pt x="376" y="528"/>
                  </a:lnTo>
                  <a:lnTo>
                    <a:pt x="376" y="528"/>
                  </a:lnTo>
                  <a:close/>
                  <a:moveTo>
                    <a:pt x="417" y="492"/>
                  </a:moveTo>
                  <a:lnTo>
                    <a:pt x="417" y="494"/>
                  </a:lnTo>
                  <a:lnTo>
                    <a:pt x="416" y="495"/>
                  </a:lnTo>
                  <a:lnTo>
                    <a:pt x="416" y="499"/>
                  </a:lnTo>
                  <a:lnTo>
                    <a:pt x="417" y="501"/>
                  </a:lnTo>
                  <a:lnTo>
                    <a:pt x="417" y="503"/>
                  </a:lnTo>
                  <a:lnTo>
                    <a:pt x="419" y="504"/>
                  </a:lnTo>
                  <a:lnTo>
                    <a:pt x="419" y="504"/>
                  </a:lnTo>
                  <a:lnTo>
                    <a:pt x="419" y="504"/>
                  </a:lnTo>
                  <a:lnTo>
                    <a:pt x="417" y="506"/>
                  </a:lnTo>
                  <a:lnTo>
                    <a:pt x="417" y="506"/>
                  </a:lnTo>
                  <a:lnTo>
                    <a:pt x="417" y="506"/>
                  </a:lnTo>
                  <a:lnTo>
                    <a:pt x="417" y="506"/>
                  </a:lnTo>
                  <a:lnTo>
                    <a:pt x="419" y="510"/>
                  </a:lnTo>
                  <a:lnTo>
                    <a:pt x="419" y="510"/>
                  </a:lnTo>
                  <a:lnTo>
                    <a:pt x="419" y="510"/>
                  </a:lnTo>
                  <a:lnTo>
                    <a:pt x="421" y="512"/>
                  </a:lnTo>
                  <a:lnTo>
                    <a:pt x="423" y="513"/>
                  </a:lnTo>
                  <a:lnTo>
                    <a:pt x="425" y="515"/>
                  </a:lnTo>
                  <a:lnTo>
                    <a:pt x="428" y="515"/>
                  </a:lnTo>
                  <a:lnTo>
                    <a:pt x="430" y="513"/>
                  </a:lnTo>
                  <a:lnTo>
                    <a:pt x="432" y="513"/>
                  </a:lnTo>
                  <a:lnTo>
                    <a:pt x="432" y="513"/>
                  </a:lnTo>
                  <a:lnTo>
                    <a:pt x="432" y="512"/>
                  </a:lnTo>
                  <a:lnTo>
                    <a:pt x="432" y="510"/>
                  </a:lnTo>
                  <a:lnTo>
                    <a:pt x="432" y="508"/>
                  </a:lnTo>
                  <a:lnTo>
                    <a:pt x="432" y="508"/>
                  </a:lnTo>
                  <a:lnTo>
                    <a:pt x="430" y="508"/>
                  </a:lnTo>
                  <a:lnTo>
                    <a:pt x="430" y="506"/>
                  </a:lnTo>
                  <a:lnTo>
                    <a:pt x="430" y="506"/>
                  </a:lnTo>
                  <a:lnTo>
                    <a:pt x="430" y="506"/>
                  </a:lnTo>
                  <a:lnTo>
                    <a:pt x="430" y="506"/>
                  </a:lnTo>
                  <a:lnTo>
                    <a:pt x="432" y="504"/>
                  </a:lnTo>
                  <a:lnTo>
                    <a:pt x="432" y="503"/>
                  </a:lnTo>
                  <a:lnTo>
                    <a:pt x="428" y="501"/>
                  </a:lnTo>
                  <a:lnTo>
                    <a:pt x="430" y="499"/>
                  </a:lnTo>
                  <a:lnTo>
                    <a:pt x="428" y="495"/>
                  </a:lnTo>
                  <a:lnTo>
                    <a:pt x="428" y="494"/>
                  </a:lnTo>
                  <a:lnTo>
                    <a:pt x="426" y="492"/>
                  </a:lnTo>
                  <a:lnTo>
                    <a:pt x="426" y="492"/>
                  </a:lnTo>
                  <a:lnTo>
                    <a:pt x="423" y="490"/>
                  </a:lnTo>
                  <a:lnTo>
                    <a:pt x="423" y="490"/>
                  </a:lnTo>
                  <a:lnTo>
                    <a:pt x="421" y="490"/>
                  </a:lnTo>
                  <a:lnTo>
                    <a:pt x="421" y="490"/>
                  </a:lnTo>
                  <a:lnTo>
                    <a:pt x="421" y="490"/>
                  </a:lnTo>
                  <a:lnTo>
                    <a:pt x="421" y="490"/>
                  </a:lnTo>
                  <a:lnTo>
                    <a:pt x="419" y="490"/>
                  </a:lnTo>
                  <a:lnTo>
                    <a:pt x="417" y="492"/>
                  </a:lnTo>
                  <a:close/>
                  <a:moveTo>
                    <a:pt x="436" y="484"/>
                  </a:moveTo>
                  <a:lnTo>
                    <a:pt x="436" y="484"/>
                  </a:lnTo>
                  <a:lnTo>
                    <a:pt x="436" y="483"/>
                  </a:lnTo>
                  <a:lnTo>
                    <a:pt x="434" y="481"/>
                  </a:lnTo>
                  <a:lnTo>
                    <a:pt x="434" y="479"/>
                  </a:lnTo>
                  <a:lnTo>
                    <a:pt x="434" y="479"/>
                  </a:lnTo>
                  <a:lnTo>
                    <a:pt x="434" y="477"/>
                  </a:lnTo>
                  <a:lnTo>
                    <a:pt x="432" y="477"/>
                  </a:lnTo>
                  <a:lnTo>
                    <a:pt x="432" y="477"/>
                  </a:lnTo>
                  <a:lnTo>
                    <a:pt x="432" y="475"/>
                  </a:lnTo>
                  <a:lnTo>
                    <a:pt x="432" y="475"/>
                  </a:lnTo>
                  <a:lnTo>
                    <a:pt x="432" y="475"/>
                  </a:lnTo>
                  <a:lnTo>
                    <a:pt x="430" y="475"/>
                  </a:lnTo>
                  <a:lnTo>
                    <a:pt x="430" y="474"/>
                  </a:lnTo>
                  <a:lnTo>
                    <a:pt x="428" y="472"/>
                  </a:lnTo>
                  <a:lnTo>
                    <a:pt x="426" y="472"/>
                  </a:lnTo>
                  <a:lnTo>
                    <a:pt x="426" y="474"/>
                  </a:lnTo>
                  <a:lnTo>
                    <a:pt x="426" y="475"/>
                  </a:lnTo>
                  <a:lnTo>
                    <a:pt x="426" y="477"/>
                  </a:lnTo>
                  <a:lnTo>
                    <a:pt x="426" y="477"/>
                  </a:lnTo>
                  <a:lnTo>
                    <a:pt x="428" y="479"/>
                  </a:lnTo>
                  <a:lnTo>
                    <a:pt x="428" y="479"/>
                  </a:lnTo>
                  <a:lnTo>
                    <a:pt x="430" y="483"/>
                  </a:lnTo>
                  <a:lnTo>
                    <a:pt x="430" y="484"/>
                  </a:lnTo>
                  <a:lnTo>
                    <a:pt x="434" y="486"/>
                  </a:lnTo>
                  <a:lnTo>
                    <a:pt x="434" y="488"/>
                  </a:lnTo>
                  <a:lnTo>
                    <a:pt x="434" y="490"/>
                  </a:lnTo>
                  <a:lnTo>
                    <a:pt x="436" y="490"/>
                  </a:lnTo>
                  <a:lnTo>
                    <a:pt x="436" y="488"/>
                  </a:lnTo>
                  <a:lnTo>
                    <a:pt x="436" y="488"/>
                  </a:lnTo>
                  <a:lnTo>
                    <a:pt x="436" y="488"/>
                  </a:lnTo>
                  <a:lnTo>
                    <a:pt x="434" y="486"/>
                  </a:lnTo>
                  <a:lnTo>
                    <a:pt x="436" y="486"/>
                  </a:lnTo>
                  <a:lnTo>
                    <a:pt x="436" y="484"/>
                  </a:lnTo>
                  <a:close/>
                  <a:moveTo>
                    <a:pt x="380" y="497"/>
                  </a:moveTo>
                  <a:lnTo>
                    <a:pt x="381" y="497"/>
                  </a:lnTo>
                  <a:lnTo>
                    <a:pt x="381" y="495"/>
                  </a:lnTo>
                  <a:lnTo>
                    <a:pt x="383" y="494"/>
                  </a:lnTo>
                  <a:lnTo>
                    <a:pt x="383" y="495"/>
                  </a:lnTo>
                  <a:lnTo>
                    <a:pt x="383" y="494"/>
                  </a:lnTo>
                  <a:lnTo>
                    <a:pt x="383" y="494"/>
                  </a:lnTo>
                  <a:lnTo>
                    <a:pt x="385" y="494"/>
                  </a:lnTo>
                  <a:lnTo>
                    <a:pt x="385" y="494"/>
                  </a:lnTo>
                  <a:lnTo>
                    <a:pt x="385" y="492"/>
                  </a:lnTo>
                  <a:lnTo>
                    <a:pt x="385" y="492"/>
                  </a:lnTo>
                  <a:lnTo>
                    <a:pt x="385" y="490"/>
                  </a:lnTo>
                  <a:lnTo>
                    <a:pt x="385" y="490"/>
                  </a:lnTo>
                  <a:lnTo>
                    <a:pt x="385" y="488"/>
                  </a:lnTo>
                  <a:lnTo>
                    <a:pt x="383" y="488"/>
                  </a:lnTo>
                  <a:lnTo>
                    <a:pt x="383" y="488"/>
                  </a:lnTo>
                  <a:lnTo>
                    <a:pt x="383" y="488"/>
                  </a:lnTo>
                  <a:lnTo>
                    <a:pt x="383" y="486"/>
                  </a:lnTo>
                  <a:lnTo>
                    <a:pt x="383" y="486"/>
                  </a:lnTo>
                  <a:lnTo>
                    <a:pt x="383" y="484"/>
                  </a:lnTo>
                  <a:lnTo>
                    <a:pt x="383" y="484"/>
                  </a:lnTo>
                  <a:lnTo>
                    <a:pt x="383" y="484"/>
                  </a:lnTo>
                  <a:lnTo>
                    <a:pt x="381" y="484"/>
                  </a:lnTo>
                  <a:lnTo>
                    <a:pt x="381" y="483"/>
                  </a:lnTo>
                  <a:lnTo>
                    <a:pt x="381" y="483"/>
                  </a:lnTo>
                  <a:lnTo>
                    <a:pt x="381" y="479"/>
                  </a:lnTo>
                  <a:lnTo>
                    <a:pt x="380" y="475"/>
                  </a:lnTo>
                  <a:lnTo>
                    <a:pt x="380" y="470"/>
                  </a:lnTo>
                  <a:lnTo>
                    <a:pt x="380" y="470"/>
                  </a:lnTo>
                  <a:lnTo>
                    <a:pt x="380" y="470"/>
                  </a:lnTo>
                  <a:lnTo>
                    <a:pt x="380" y="470"/>
                  </a:lnTo>
                  <a:lnTo>
                    <a:pt x="378" y="470"/>
                  </a:lnTo>
                  <a:lnTo>
                    <a:pt x="378" y="470"/>
                  </a:lnTo>
                  <a:lnTo>
                    <a:pt x="378" y="472"/>
                  </a:lnTo>
                  <a:lnTo>
                    <a:pt x="376" y="472"/>
                  </a:lnTo>
                  <a:lnTo>
                    <a:pt x="376" y="472"/>
                  </a:lnTo>
                  <a:lnTo>
                    <a:pt x="374" y="474"/>
                  </a:lnTo>
                  <a:lnTo>
                    <a:pt x="372" y="475"/>
                  </a:lnTo>
                  <a:lnTo>
                    <a:pt x="371" y="477"/>
                  </a:lnTo>
                  <a:lnTo>
                    <a:pt x="371" y="479"/>
                  </a:lnTo>
                  <a:lnTo>
                    <a:pt x="371" y="481"/>
                  </a:lnTo>
                  <a:lnTo>
                    <a:pt x="371" y="481"/>
                  </a:lnTo>
                  <a:lnTo>
                    <a:pt x="371" y="481"/>
                  </a:lnTo>
                  <a:lnTo>
                    <a:pt x="369" y="479"/>
                  </a:lnTo>
                  <a:lnTo>
                    <a:pt x="369" y="479"/>
                  </a:lnTo>
                  <a:lnTo>
                    <a:pt x="369" y="477"/>
                  </a:lnTo>
                  <a:lnTo>
                    <a:pt x="371" y="475"/>
                  </a:lnTo>
                  <a:lnTo>
                    <a:pt x="371" y="475"/>
                  </a:lnTo>
                  <a:lnTo>
                    <a:pt x="369" y="474"/>
                  </a:lnTo>
                  <a:lnTo>
                    <a:pt x="369" y="475"/>
                  </a:lnTo>
                  <a:lnTo>
                    <a:pt x="369" y="475"/>
                  </a:lnTo>
                  <a:lnTo>
                    <a:pt x="365" y="477"/>
                  </a:lnTo>
                  <a:lnTo>
                    <a:pt x="363" y="477"/>
                  </a:lnTo>
                  <a:lnTo>
                    <a:pt x="363" y="479"/>
                  </a:lnTo>
                  <a:lnTo>
                    <a:pt x="363" y="479"/>
                  </a:lnTo>
                  <a:lnTo>
                    <a:pt x="363" y="481"/>
                  </a:lnTo>
                  <a:lnTo>
                    <a:pt x="363" y="483"/>
                  </a:lnTo>
                  <a:lnTo>
                    <a:pt x="363" y="483"/>
                  </a:lnTo>
                  <a:lnTo>
                    <a:pt x="361" y="483"/>
                  </a:lnTo>
                  <a:lnTo>
                    <a:pt x="363" y="484"/>
                  </a:lnTo>
                  <a:lnTo>
                    <a:pt x="361" y="488"/>
                  </a:lnTo>
                  <a:lnTo>
                    <a:pt x="361" y="490"/>
                  </a:lnTo>
                  <a:lnTo>
                    <a:pt x="361" y="490"/>
                  </a:lnTo>
                  <a:lnTo>
                    <a:pt x="361" y="490"/>
                  </a:lnTo>
                  <a:lnTo>
                    <a:pt x="361" y="490"/>
                  </a:lnTo>
                  <a:lnTo>
                    <a:pt x="361" y="492"/>
                  </a:lnTo>
                  <a:lnTo>
                    <a:pt x="361" y="494"/>
                  </a:lnTo>
                  <a:lnTo>
                    <a:pt x="361" y="494"/>
                  </a:lnTo>
                  <a:lnTo>
                    <a:pt x="363" y="494"/>
                  </a:lnTo>
                  <a:lnTo>
                    <a:pt x="363" y="494"/>
                  </a:lnTo>
                  <a:lnTo>
                    <a:pt x="365" y="490"/>
                  </a:lnTo>
                  <a:lnTo>
                    <a:pt x="367" y="490"/>
                  </a:lnTo>
                  <a:lnTo>
                    <a:pt x="367" y="488"/>
                  </a:lnTo>
                  <a:lnTo>
                    <a:pt x="369" y="484"/>
                  </a:lnTo>
                  <a:lnTo>
                    <a:pt x="369" y="484"/>
                  </a:lnTo>
                  <a:lnTo>
                    <a:pt x="371" y="484"/>
                  </a:lnTo>
                  <a:lnTo>
                    <a:pt x="372" y="484"/>
                  </a:lnTo>
                  <a:lnTo>
                    <a:pt x="374" y="484"/>
                  </a:lnTo>
                  <a:lnTo>
                    <a:pt x="371" y="486"/>
                  </a:lnTo>
                  <a:lnTo>
                    <a:pt x="371" y="488"/>
                  </a:lnTo>
                  <a:lnTo>
                    <a:pt x="371" y="490"/>
                  </a:lnTo>
                  <a:lnTo>
                    <a:pt x="371" y="490"/>
                  </a:lnTo>
                  <a:lnTo>
                    <a:pt x="372" y="492"/>
                  </a:lnTo>
                  <a:lnTo>
                    <a:pt x="372" y="492"/>
                  </a:lnTo>
                  <a:lnTo>
                    <a:pt x="374" y="495"/>
                  </a:lnTo>
                  <a:lnTo>
                    <a:pt x="371" y="497"/>
                  </a:lnTo>
                  <a:lnTo>
                    <a:pt x="371" y="497"/>
                  </a:lnTo>
                  <a:lnTo>
                    <a:pt x="371" y="499"/>
                  </a:lnTo>
                  <a:lnTo>
                    <a:pt x="371" y="501"/>
                  </a:lnTo>
                  <a:lnTo>
                    <a:pt x="372" y="503"/>
                  </a:lnTo>
                  <a:lnTo>
                    <a:pt x="372" y="501"/>
                  </a:lnTo>
                  <a:lnTo>
                    <a:pt x="374" y="501"/>
                  </a:lnTo>
                  <a:lnTo>
                    <a:pt x="374" y="501"/>
                  </a:lnTo>
                  <a:lnTo>
                    <a:pt x="374" y="499"/>
                  </a:lnTo>
                  <a:lnTo>
                    <a:pt x="376" y="497"/>
                  </a:lnTo>
                  <a:lnTo>
                    <a:pt x="376" y="497"/>
                  </a:lnTo>
                  <a:lnTo>
                    <a:pt x="378" y="497"/>
                  </a:lnTo>
                  <a:lnTo>
                    <a:pt x="380" y="497"/>
                  </a:lnTo>
                  <a:close/>
                  <a:moveTo>
                    <a:pt x="376" y="456"/>
                  </a:moveTo>
                  <a:lnTo>
                    <a:pt x="376" y="456"/>
                  </a:lnTo>
                  <a:lnTo>
                    <a:pt x="376" y="456"/>
                  </a:lnTo>
                  <a:lnTo>
                    <a:pt x="374" y="457"/>
                  </a:lnTo>
                  <a:lnTo>
                    <a:pt x="374" y="459"/>
                  </a:lnTo>
                  <a:lnTo>
                    <a:pt x="374" y="459"/>
                  </a:lnTo>
                  <a:lnTo>
                    <a:pt x="374" y="461"/>
                  </a:lnTo>
                  <a:lnTo>
                    <a:pt x="372" y="461"/>
                  </a:lnTo>
                  <a:lnTo>
                    <a:pt x="374" y="461"/>
                  </a:lnTo>
                  <a:lnTo>
                    <a:pt x="374" y="461"/>
                  </a:lnTo>
                  <a:lnTo>
                    <a:pt x="376" y="461"/>
                  </a:lnTo>
                  <a:lnTo>
                    <a:pt x="378" y="461"/>
                  </a:lnTo>
                  <a:lnTo>
                    <a:pt x="378" y="459"/>
                  </a:lnTo>
                  <a:lnTo>
                    <a:pt x="378" y="457"/>
                  </a:lnTo>
                  <a:lnTo>
                    <a:pt x="380" y="454"/>
                  </a:lnTo>
                  <a:lnTo>
                    <a:pt x="380" y="454"/>
                  </a:lnTo>
                  <a:lnTo>
                    <a:pt x="378" y="454"/>
                  </a:lnTo>
                  <a:lnTo>
                    <a:pt x="378" y="454"/>
                  </a:lnTo>
                  <a:lnTo>
                    <a:pt x="378" y="454"/>
                  </a:lnTo>
                  <a:lnTo>
                    <a:pt x="378" y="454"/>
                  </a:lnTo>
                  <a:lnTo>
                    <a:pt x="378" y="454"/>
                  </a:lnTo>
                  <a:lnTo>
                    <a:pt x="378" y="456"/>
                  </a:lnTo>
                  <a:lnTo>
                    <a:pt x="378" y="456"/>
                  </a:lnTo>
                  <a:lnTo>
                    <a:pt x="376" y="456"/>
                  </a:lnTo>
                  <a:close/>
                  <a:moveTo>
                    <a:pt x="389" y="483"/>
                  </a:moveTo>
                  <a:lnTo>
                    <a:pt x="389" y="481"/>
                  </a:lnTo>
                  <a:lnTo>
                    <a:pt x="389" y="477"/>
                  </a:lnTo>
                  <a:lnTo>
                    <a:pt x="389" y="477"/>
                  </a:lnTo>
                  <a:lnTo>
                    <a:pt x="390" y="475"/>
                  </a:lnTo>
                  <a:lnTo>
                    <a:pt x="390" y="474"/>
                  </a:lnTo>
                  <a:lnTo>
                    <a:pt x="392" y="475"/>
                  </a:lnTo>
                  <a:lnTo>
                    <a:pt x="392" y="472"/>
                  </a:lnTo>
                  <a:lnTo>
                    <a:pt x="398" y="463"/>
                  </a:lnTo>
                  <a:lnTo>
                    <a:pt x="399" y="457"/>
                  </a:lnTo>
                  <a:lnTo>
                    <a:pt x="399" y="457"/>
                  </a:lnTo>
                  <a:lnTo>
                    <a:pt x="401" y="456"/>
                  </a:lnTo>
                  <a:lnTo>
                    <a:pt x="401" y="454"/>
                  </a:lnTo>
                  <a:lnTo>
                    <a:pt x="401" y="454"/>
                  </a:lnTo>
                  <a:lnTo>
                    <a:pt x="401" y="452"/>
                  </a:lnTo>
                  <a:lnTo>
                    <a:pt x="401" y="452"/>
                  </a:lnTo>
                  <a:lnTo>
                    <a:pt x="399" y="450"/>
                  </a:lnTo>
                  <a:lnTo>
                    <a:pt x="399" y="452"/>
                  </a:lnTo>
                  <a:lnTo>
                    <a:pt x="396" y="454"/>
                  </a:lnTo>
                  <a:lnTo>
                    <a:pt x="392" y="457"/>
                  </a:lnTo>
                  <a:lnTo>
                    <a:pt x="390" y="459"/>
                  </a:lnTo>
                  <a:lnTo>
                    <a:pt x="390" y="459"/>
                  </a:lnTo>
                  <a:lnTo>
                    <a:pt x="389" y="461"/>
                  </a:lnTo>
                  <a:lnTo>
                    <a:pt x="387" y="465"/>
                  </a:lnTo>
                  <a:lnTo>
                    <a:pt x="387" y="466"/>
                  </a:lnTo>
                  <a:lnTo>
                    <a:pt x="387" y="466"/>
                  </a:lnTo>
                  <a:lnTo>
                    <a:pt x="389" y="466"/>
                  </a:lnTo>
                  <a:lnTo>
                    <a:pt x="390" y="466"/>
                  </a:lnTo>
                  <a:lnTo>
                    <a:pt x="392" y="466"/>
                  </a:lnTo>
                  <a:lnTo>
                    <a:pt x="390" y="468"/>
                  </a:lnTo>
                  <a:lnTo>
                    <a:pt x="387" y="468"/>
                  </a:lnTo>
                  <a:lnTo>
                    <a:pt x="385" y="470"/>
                  </a:lnTo>
                  <a:lnTo>
                    <a:pt x="383" y="472"/>
                  </a:lnTo>
                  <a:lnTo>
                    <a:pt x="383" y="472"/>
                  </a:lnTo>
                  <a:lnTo>
                    <a:pt x="381" y="472"/>
                  </a:lnTo>
                  <a:lnTo>
                    <a:pt x="381" y="474"/>
                  </a:lnTo>
                  <a:lnTo>
                    <a:pt x="381" y="475"/>
                  </a:lnTo>
                  <a:lnTo>
                    <a:pt x="381" y="479"/>
                  </a:lnTo>
                  <a:lnTo>
                    <a:pt x="383" y="481"/>
                  </a:lnTo>
                  <a:lnTo>
                    <a:pt x="385" y="483"/>
                  </a:lnTo>
                  <a:lnTo>
                    <a:pt x="387" y="483"/>
                  </a:lnTo>
                  <a:lnTo>
                    <a:pt x="389" y="483"/>
                  </a:lnTo>
                  <a:close/>
                  <a:moveTo>
                    <a:pt x="401" y="447"/>
                  </a:moveTo>
                  <a:lnTo>
                    <a:pt x="401" y="447"/>
                  </a:lnTo>
                  <a:lnTo>
                    <a:pt x="399" y="448"/>
                  </a:lnTo>
                  <a:lnTo>
                    <a:pt x="399" y="448"/>
                  </a:lnTo>
                  <a:lnTo>
                    <a:pt x="399" y="450"/>
                  </a:lnTo>
                  <a:lnTo>
                    <a:pt x="399" y="450"/>
                  </a:lnTo>
                  <a:lnTo>
                    <a:pt x="401" y="450"/>
                  </a:lnTo>
                  <a:lnTo>
                    <a:pt x="403" y="448"/>
                  </a:lnTo>
                  <a:lnTo>
                    <a:pt x="401" y="447"/>
                  </a:lnTo>
                  <a:close/>
                  <a:moveTo>
                    <a:pt x="403" y="445"/>
                  </a:moveTo>
                  <a:lnTo>
                    <a:pt x="403" y="447"/>
                  </a:lnTo>
                  <a:lnTo>
                    <a:pt x="405" y="448"/>
                  </a:lnTo>
                  <a:lnTo>
                    <a:pt x="405" y="445"/>
                  </a:lnTo>
                  <a:lnTo>
                    <a:pt x="405" y="443"/>
                  </a:lnTo>
                  <a:lnTo>
                    <a:pt x="405" y="443"/>
                  </a:lnTo>
                  <a:lnTo>
                    <a:pt x="405" y="441"/>
                  </a:lnTo>
                  <a:lnTo>
                    <a:pt x="405" y="441"/>
                  </a:lnTo>
                  <a:lnTo>
                    <a:pt x="405" y="441"/>
                  </a:lnTo>
                  <a:lnTo>
                    <a:pt x="405" y="441"/>
                  </a:lnTo>
                  <a:lnTo>
                    <a:pt x="405" y="441"/>
                  </a:lnTo>
                  <a:lnTo>
                    <a:pt x="403" y="441"/>
                  </a:lnTo>
                  <a:lnTo>
                    <a:pt x="403" y="443"/>
                  </a:lnTo>
                  <a:lnTo>
                    <a:pt x="403" y="445"/>
                  </a:lnTo>
                  <a:close/>
                  <a:moveTo>
                    <a:pt x="407" y="436"/>
                  </a:moveTo>
                  <a:lnTo>
                    <a:pt x="407" y="436"/>
                  </a:lnTo>
                  <a:lnTo>
                    <a:pt x="407" y="436"/>
                  </a:lnTo>
                  <a:lnTo>
                    <a:pt x="405" y="436"/>
                  </a:lnTo>
                  <a:lnTo>
                    <a:pt x="405" y="436"/>
                  </a:lnTo>
                  <a:lnTo>
                    <a:pt x="403" y="438"/>
                  </a:lnTo>
                  <a:lnTo>
                    <a:pt x="405" y="439"/>
                  </a:lnTo>
                  <a:lnTo>
                    <a:pt x="405" y="439"/>
                  </a:lnTo>
                  <a:lnTo>
                    <a:pt x="407" y="439"/>
                  </a:lnTo>
                  <a:lnTo>
                    <a:pt x="407" y="438"/>
                  </a:lnTo>
                  <a:lnTo>
                    <a:pt x="407" y="438"/>
                  </a:lnTo>
                  <a:lnTo>
                    <a:pt x="407" y="436"/>
                  </a:lnTo>
                  <a:close/>
                  <a:moveTo>
                    <a:pt x="408" y="429"/>
                  </a:moveTo>
                  <a:lnTo>
                    <a:pt x="410" y="429"/>
                  </a:lnTo>
                  <a:lnTo>
                    <a:pt x="410" y="427"/>
                  </a:lnTo>
                  <a:lnTo>
                    <a:pt x="410" y="427"/>
                  </a:lnTo>
                  <a:lnTo>
                    <a:pt x="410" y="427"/>
                  </a:lnTo>
                  <a:lnTo>
                    <a:pt x="408" y="427"/>
                  </a:lnTo>
                  <a:lnTo>
                    <a:pt x="407" y="429"/>
                  </a:lnTo>
                  <a:lnTo>
                    <a:pt x="407" y="429"/>
                  </a:lnTo>
                  <a:lnTo>
                    <a:pt x="407" y="430"/>
                  </a:lnTo>
                  <a:lnTo>
                    <a:pt x="408" y="430"/>
                  </a:lnTo>
                  <a:lnTo>
                    <a:pt x="408" y="429"/>
                  </a:lnTo>
                  <a:close/>
                  <a:moveTo>
                    <a:pt x="376" y="423"/>
                  </a:moveTo>
                  <a:lnTo>
                    <a:pt x="378" y="423"/>
                  </a:lnTo>
                  <a:lnTo>
                    <a:pt x="378" y="421"/>
                  </a:lnTo>
                  <a:lnTo>
                    <a:pt x="376" y="419"/>
                  </a:lnTo>
                  <a:lnTo>
                    <a:pt x="376" y="419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2" y="421"/>
                  </a:lnTo>
                  <a:lnTo>
                    <a:pt x="374" y="423"/>
                  </a:lnTo>
                  <a:lnTo>
                    <a:pt x="376" y="423"/>
                  </a:lnTo>
                  <a:close/>
                  <a:moveTo>
                    <a:pt x="343" y="421"/>
                  </a:moveTo>
                  <a:lnTo>
                    <a:pt x="345" y="421"/>
                  </a:lnTo>
                  <a:lnTo>
                    <a:pt x="345" y="419"/>
                  </a:lnTo>
                  <a:lnTo>
                    <a:pt x="345" y="418"/>
                  </a:lnTo>
                  <a:lnTo>
                    <a:pt x="349" y="418"/>
                  </a:lnTo>
                  <a:lnTo>
                    <a:pt x="349" y="418"/>
                  </a:lnTo>
                  <a:lnTo>
                    <a:pt x="349" y="416"/>
                  </a:lnTo>
                  <a:lnTo>
                    <a:pt x="347" y="416"/>
                  </a:lnTo>
                  <a:lnTo>
                    <a:pt x="345" y="416"/>
                  </a:lnTo>
                  <a:lnTo>
                    <a:pt x="343" y="416"/>
                  </a:lnTo>
                  <a:lnTo>
                    <a:pt x="342" y="418"/>
                  </a:lnTo>
                  <a:lnTo>
                    <a:pt x="342" y="418"/>
                  </a:lnTo>
                  <a:lnTo>
                    <a:pt x="338" y="419"/>
                  </a:lnTo>
                  <a:lnTo>
                    <a:pt x="336" y="419"/>
                  </a:lnTo>
                  <a:lnTo>
                    <a:pt x="336" y="421"/>
                  </a:lnTo>
                  <a:lnTo>
                    <a:pt x="338" y="421"/>
                  </a:lnTo>
                  <a:lnTo>
                    <a:pt x="338" y="423"/>
                  </a:lnTo>
                  <a:lnTo>
                    <a:pt x="342" y="425"/>
                  </a:lnTo>
                  <a:lnTo>
                    <a:pt x="342" y="425"/>
                  </a:lnTo>
                  <a:lnTo>
                    <a:pt x="342" y="423"/>
                  </a:lnTo>
                  <a:lnTo>
                    <a:pt x="342" y="421"/>
                  </a:lnTo>
                  <a:lnTo>
                    <a:pt x="343" y="421"/>
                  </a:lnTo>
                  <a:close/>
                  <a:moveTo>
                    <a:pt x="383" y="407"/>
                  </a:moveTo>
                  <a:lnTo>
                    <a:pt x="383" y="407"/>
                  </a:lnTo>
                  <a:lnTo>
                    <a:pt x="381" y="407"/>
                  </a:lnTo>
                  <a:lnTo>
                    <a:pt x="380" y="405"/>
                  </a:lnTo>
                  <a:lnTo>
                    <a:pt x="378" y="405"/>
                  </a:lnTo>
                  <a:lnTo>
                    <a:pt x="376" y="407"/>
                  </a:lnTo>
                  <a:lnTo>
                    <a:pt x="374" y="407"/>
                  </a:lnTo>
                  <a:lnTo>
                    <a:pt x="374" y="409"/>
                  </a:lnTo>
                  <a:lnTo>
                    <a:pt x="374" y="410"/>
                  </a:lnTo>
                  <a:lnTo>
                    <a:pt x="374" y="410"/>
                  </a:lnTo>
                  <a:lnTo>
                    <a:pt x="374" y="409"/>
                  </a:lnTo>
                  <a:lnTo>
                    <a:pt x="372" y="409"/>
                  </a:lnTo>
                  <a:lnTo>
                    <a:pt x="372" y="409"/>
                  </a:lnTo>
                  <a:lnTo>
                    <a:pt x="372" y="410"/>
                  </a:lnTo>
                  <a:lnTo>
                    <a:pt x="371" y="410"/>
                  </a:lnTo>
                  <a:lnTo>
                    <a:pt x="371" y="410"/>
                  </a:lnTo>
                  <a:lnTo>
                    <a:pt x="371" y="412"/>
                  </a:lnTo>
                  <a:lnTo>
                    <a:pt x="372" y="412"/>
                  </a:lnTo>
                  <a:lnTo>
                    <a:pt x="369" y="414"/>
                  </a:lnTo>
                  <a:lnTo>
                    <a:pt x="371" y="416"/>
                  </a:lnTo>
                  <a:lnTo>
                    <a:pt x="371" y="416"/>
                  </a:lnTo>
                  <a:lnTo>
                    <a:pt x="372" y="416"/>
                  </a:lnTo>
                  <a:lnTo>
                    <a:pt x="376" y="418"/>
                  </a:lnTo>
                  <a:lnTo>
                    <a:pt x="378" y="418"/>
                  </a:lnTo>
                  <a:lnTo>
                    <a:pt x="378" y="419"/>
                  </a:lnTo>
                  <a:lnTo>
                    <a:pt x="378" y="419"/>
                  </a:lnTo>
                  <a:lnTo>
                    <a:pt x="380" y="421"/>
                  </a:lnTo>
                  <a:lnTo>
                    <a:pt x="380" y="421"/>
                  </a:lnTo>
                  <a:lnTo>
                    <a:pt x="380" y="421"/>
                  </a:lnTo>
                  <a:lnTo>
                    <a:pt x="381" y="421"/>
                  </a:lnTo>
                  <a:lnTo>
                    <a:pt x="381" y="421"/>
                  </a:lnTo>
                  <a:lnTo>
                    <a:pt x="381" y="421"/>
                  </a:lnTo>
                  <a:lnTo>
                    <a:pt x="385" y="419"/>
                  </a:lnTo>
                  <a:lnTo>
                    <a:pt x="385" y="419"/>
                  </a:lnTo>
                  <a:lnTo>
                    <a:pt x="385" y="421"/>
                  </a:lnTo>
                  <a:lnTo>
                    <a:pt x="385" y="421"/>
                  </a:lnTo>
                  <a:lnTo>
                    <a:pt x="385" y="423"/>
                  </a:lnTo>
                  <a:lnTo>
                    <a:pt x="385" y="423"/>
                  </a:lnTo>
                  <a:lnTo>
                    <a:pt x="381" y="425"/>
                  </a:lnTo>
                  <a:lnTo>
                    <a:pt x="380" y="425"/>
                  </a:lnTo>
                  <a:lnTo>
                    <a:pt x="380" y="425"/>
                  </a:lnTo>
                  <a:lnTo>
                    <a:pt x="380" y="425"/>
                  </a:lnTo>
                  <a:lnTo>
                    <a:pt x="380" y="425"/>
                  </a:lnTo>
                  <a:lnTo>
                    <a:pt x="380" y="427"/>
                  </a:lnTo>
                  <a:lnTo>
                    <a:pt x="378" y="429"/>
                  </a:lnTo>
                  <a:lnTo>
                    <a:pt x="378" y="429"/>
                  </a:lnTo>
                  <a:lnTo>
                    <a:pt x="378" y="429"/>
                  </a:lnTo>
                  <a:lnTo>
                    <a:pt x="376" y="429"/>
                  </a:lnTo>
                  <a:lnTo>
                    <a:pt x="376" y="430"/>
                  </a:lnTo>
                  <a:lnTo>
                    <a:pt x="376" y="430"/>
                  </a:lnTo>
                  <a:lnTo>
                    <a:pt x="376" y="432"/>
                  </a:lnTo>
                  <a:lnTo>
                    <a:pt x="378" y="432"/>
                  </a:lnTo>
                  <a:lnTo>
                    <a:pt x="378" y="432"/>
                  </a:lnTo>
                  <a:lnTo>
                    <a:pt x="381" y="432"/>
                  </a:lnTo>
                  <a:lnTo>
                    <a:pt x="383" y="430"/>
                  </a:lnTo>
                  <a:lnTo>
                    <a:pt x="385" y="430"/>
                  </a:lnTo>
                  <a:lnTo>
                    <a:pt x="385" y="430"/>
                  </a:lnTo>
                  <a:lnTo>
                    <a:pt x="383" y="432"/>
                  </a:lnTo>
                  <a:lnTo>
                    <a:pt x="381" y="432"/>
                  </a:lnTo>
                  <a:lnTo>
                    <a:pt x="378" y="434"/>
                  </a:lnTo>
                  <a:lnTo>
                    <a:pt x="378" y="434"/>
                  </a:lnTo>
                  <a:lnTo>
                    <a:pt x="376" y="434"/>
                  </a:lnTo>
                  <a:lnTo>
                    <a:pt x="374" y="434"/>
                  </a:lnTo>
                  <a:lnTo>
                    <a:pt x="374" y="434"/>
                  </a:lnTo>
                  <a:lnTo>
                    <a:pt x="374" y="436"/>
                  </a:lnTo>
                  <a:lnTo>
                    <a:pt x="374" y="436"/>
                  </a:lnTo>
                  <a:lnTo>
                    <a:pt x="374" y="436"/>
                  </a:lnTo>
                  <a:lnTo>
                    <a:pt x="374" y="436"/>
                  </a:lnTo>
                  <a:lnTo>
                    <a:pt x="374" y="436"/>
                  </a:lnTo>
                  <a:lnTo>
                    <a:pt x="374" y="436"/>
                  </a:lnTo>
                  <a:lnTo>
                    <a:pt x="372" y="436"/>
                  </a:lnTo>
                  <a:lnTo>
                    <a:pt x="372" y="434"/>
                  </a:lnTo>
                  <a:lnTo>
                    <a:pt x="372" y="434"/>
                  </a:lnTo>
                  <a:lnTo>
                    <a:pt x="371" y="434"/>
                  </a:lnTo>
                  <a:lnTo>
                    <a:pt x="369" y="434"/>
                  </a:lnTo>
                  <a:lnTo>
                    <a:pt x="369" y="434"/>
                  </a:lnTo>
                  <a:lnTo>
                    <a:pt x="367" y="436"/>
                  </a:lnTo>
                  <a:lnTo>
                    <a:pt x="369" y="438"/>
                  </a:lnTo>
                  <a:lnTo>
                    <a:pt x="369" y="439"/>
                  </a:lnTo>
                  <a:lnTo>
                    <a:pt x="369" y="439"/>
                  </a:lnTo>
                  <a:lnTo>
                    <a:pt x="371" y="441"/>
                  </a:lnTo>
                  <a:lnTo>
                    <a:pt x="372" y="441"/>
                  </a:lnTo>
                  <a:lnTo>
                    <a:pt x="372" y="441"/>
                  </a:lnTo>
                  <a:lnTo>
                    <a:pt x="372" y="441"/>
                  </a:lnTo>
                  <a:lnTo>
                    <a:pt x="374" y="439"/>
                  </a:lnTo>
                  <a:lnTo>
                    <a:pt x="374" y="439"/>
                  </a:lnTo>
                  <a:lnTo>
                    <a:pt x="374" y="439"/>
                  </a:lnTo>
                  <a:lnTo>
                    <a:pt x="380" y="439"/>
                  </a:lnTo>
                  <a:lnTo>
                    <a:pt x="380" y="439"/>
                  </a:lnTo>
                  <a:lnTo>
                    <a:pt x="380" y="438"/>
                  </a:lnTo>
                  <a:lnTo>
                    <a:pt x="381" y="438"/>
                  </a:lnTo>
                  <a:lnTo>
                    <a:pt x="381" y="438"/>
                  </a:lnTo>
                  <a:lnTo>
                    <a:pt x="381" y="438"/>
                  </a:lnTo>
                  <a:lnTo>
                    <a:pt x="383" y="439"/>
                  </a:lnTo>
                  <a:lnTo>
                    <a:pt x="383" y="438"/>
                  </a:lnTo>
                  <a:lnTo>
                    <a:pt x="385" y="438"/>
                  </a:lnTo>
                  <a:lnTo>
                    <a:pt x="389" y="436"/>
                  </a:lnTo>
                  <a:lnTo>
                    <a:pt x="390" y="434"/>
                  </a:lnTo>
                  <a:lnTo>
                    <a:pt x="390" y="434"/>
                  </a:lnTo>
                  <a:lnTo>
                    <a:pt x="390" y="434"/>
                  </a:lnTo>
                  <a:lnTo>
                    <a:pt x="390" y="434"/>
                  </a:lnTo>
                  <a:lnTo>
                    <a:pt x="390" y="432"/>
                  </a:lnTo>
                  <a:lnTo>
                    <a:pt x="392" y="432"/>
                  </a:lnTo>
                  <a:lnTo>
                    <a:pt x="392" y="432"/>
                  </a:lnTo>
                  <a:lnTo>
                    <a:pt x="394" y="432"/>
                  </a:lnTo>
                  <a:lnTo>
                    <a:pt x="394" y="434"/>
                  </a:lnTo>
                  <a:lnTo>
                    <a:pt x="392" y="434"/>
                  </a:lnTo>
                  <a:lnTo>
                    <a:pt x="392" y="436"/>
                  </a:lnTo>
                  <a:lnTo>
                    <a:pt x="392" y="436"/>
                  </a:lnTo>
                  <a:lnTo>
                    <a:pt x="394" y="436"/>
                  </a:lnTo>
                  <a:lnTo>
                    <a:pt x="396" y="436"/>
                  </a:lnTo>
                  <a:lnTo>
                    <a:pt x="399" y="432"/>
                  </a:lnTo>
                  <a:lnTo>
                    <a:pt x="401" y="432"/>
                  </a:lnTo>
                  <a:lnTo>
                    <a:pt x="401" y="430"/>
                  </a:lnTo>
                  <a:lnTo>
                    <a:pt x="401" y="430"/>
                  </a:lnTo>
                  <a:lnTo>
                    <a:pt x="399" y="430"/>
                  </a:lnTo>
                  <a:lnTo>
                    <a:pt x="398" y="430"/>
                  </a:lnTo>
                  <a:lnTo>
                    <a:pt x="398" y="432"/>
                  </a:lnTo>
                  <a:lnTo>
                    <a:pt x="398" y="430"/>
                  </a:lnTo>
                  <a:lnTo>
                    <a:pt x="398" y="430"/>
                  </a:lnTo>
                  <a:lnTo>
                    <a:pt x="399" y="429"/>
                  </a:lnTo>
                  <a:lnTo>
                    <a:pt x="399" y="427"/>
                  </a:lnTo>
                  <a:lnTo>
                    <a:pt x="399" y="427"/>
                  </a:lnTo>
                  <a:lnTo>
                    <a:pt x="399" y="427"/>
                  </a:lnTo>
                  <a:lnTo>
                    <a:pt x="399" y="427"/>
                  </a:lnTo>
                  <a:lnTo>
                    <a:pt x="399" y="429"/>
                  </a:lnTo>
                  <a:lnTo>
                    <a:pt x="399" y="429"/>
                  </a:lnTo>
                  <a:lnTo>
                    <a:pt x="401" y="429"/>
                  </a:lnTo>
                  <a:lnTo>
                    <a:pt x="403" y="429"/>
                  </a:lnTo>
                  <a:lnTo>
                    <a:pt x="403" y="429"/>
                  </a:lnTo>
                  <a:lnTo>
                    <a:pt x="403" y="427"/>
                  </a:lnTo>
                  <a:lnTo>
                    <a:pt x="401" y="427"/>
                  </a:lnTo>
                  <a:lnTo>
                    <a:pt x="401" y="425"/>
                  </a:lnTo>
                  <a:lnTo>
                    <a:pt x="403" y="425"/>
                  </a:lnTo>
                  <a:lnTo>
                    <a:pt x="403" y="425"/>
                  </a:lnTo>
                  <a:lnTo>
                    <a:pt x="403" y="427"/>
                  </a:lnTo>
                  <a:lnTo>
                    <a:pt x="403" y="425"/>
                  </a:lnTo>
                  <a:lnTo>
                    <a:pt x="403" y="423"/>
                  </a:lnTo>
                  <a:lnTo>
                    <a:pt x="403" y="425"/>
                  </a:lnTo>
                  <a:lnTo>
                    <a:pt x="401" y="423"/>
                  </a:lnTo>
                  <a:lnTo>
                    <a:pt x="401" y="423"/>
                  </a:lnTo>
                  <a:lnTo>
                    <a:pt x="401" y="421"/>
                  </a:lnTo>
                  <a:lnTo>
                    <a:pt x="401" y="421"/>
                  </a:lnTo>
                  <a:lnTo>
                    <a:pt x="399" y="421"/>
                  </a:lnTo>
                  <a:lnTo>
                    <a:pt x="399" y="421"/>
                  </a:lnTo>
                  <a:lnTo>
                    <a:pt x="399" y="421"/>
                  </a:lnTo>
                  <a:lnTo>
                    <a:pt x="398" y="421"/>
                  </a:lnTo>
                  <a:lnTo>
                    <a:pt x="398" y="419"/>
                  </a:lnTo>
                  <a:lnTo>
                    <a:pt x="396" y="418"/>
                  </a:lnTo>
                  <a:lnTo>
                    <a:pt x="396" y="418"/>
                  </a:lnTo>
                  <a:lnTo>
                    <a:pt x="396" y="418"/>
                  </a:lnTo>
                  <a:lnTo>
                    <a:pt x="396" y="418"/>
                  </a:lnTo>
                  <a:lnTo>
                    <a:pt x="394" y="419"/>
                  </a:lnTo>
                  <a:lnTo>
                    <a:pt x="394" y="418"/>
                  </a:lnTo>
                  <a:lnTo>
                    <a:pt x="394" y="418"/>
                  </a:lnTo>
                  <a:lnTo>
                    <a:pt x="394" y="418"/>
                  </a:lnTo>
                  <a:lnTo>
                    <a:pt x="389" y="418"/>
                  </a:lnTo>
                  <a:lnTo>
                    <a:pt x="389" y="418"/>
                  </a:lnTo>
                  <a:lnTo>
                    <a:pt x="389" y="416"/>
                  </a:lnTo>
                  <a:lnTo>
                    <a:pt x="389" y="416"/>
                  </a:lnTo>
                  <a:lnTo>
                    <a:pt x="387" y="416"/>
                  </a:lnTo>
                  <a:lnTo>
                    <a:pt x="385" y="410"/>
                  </a:lnTo>
                  <a:lnTo>
                    <a:pt x="385" y="409"/>
                  </a:lnTo>
                  <a:lnTo>
                    <a:pt x="383" y="409"/>
                  </a:lnTo>
                  <a:lnTo>
                    <a:pt x="383" y="409"/>
                  </a:lnTo>
                  <a:lnTo>
                    <a:pt x="383" y="407"/>
                  </a:lnTo>
                  <a:close/>
                  <a:moveTo>
                    <a:pt x="352" y="412"/>
                  </a:moveTo>
                  <a:lnTo>
                    <a:pt x="351" y="412"/>
                  </a:lnTo>
                  <a:lnTo>
                    <a:pt x="351" y="412"/>
                  </a:lnTo>
                  <a:lnTo>
                    <a:pt x="352" y="414"/>
                  </a:lnTo>
                  <a:lnTo>
                    <a:pt x="352" y="414"/>
                  </a:lnTo>
                  <a:lnTo>
                    <a:pt x="352" y="414"/>
                  </a:lnTo>
                  <a:lnTo>
                    <a:pt x="352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4" y="412"/>
                  </a:lnTo>
                  <a:lnTo>
                    <a:pt x="358" y="410"/>
                  </a:lnTo>
                  <a:lnTo>
                    <a:pt x="360" y="409"/>
                  </a:lnTo>
                  <a:lnTo>
                    <a:pt x="360" y="409"/>
                  </a:lnTo>
                  <a:lnTo>
                    <a:pt x="361" y="409"/>
                  </a:lnTo>
                  <a:lnTo>
                    <a:pt x="361" y="407"/>
                  </a:lnTo>
                  <a:lnTo>
                    <a:pt x="361" y="407"/>
                  </a:lnTo>
                  <a:lnTo>
                    <a:pt x="361" y="407"/>
                  </a:lnTo>
                  <a:lnTo>
                    <a:pt x="363" y="405"/>
                  </a:lnTo>
                  <a:lnTo>
                    <a:pt x="363" y="403"/>
                  </a:lnTo>
                  <a:lnTo>
                    <a:pt x="363" y="403"/>
                  </a:lnTo>
                  <a:lnTo>
                    <a:pt x="363" y="401"/>
                  </a:lnTo>
                  <a:lnTo>
                    <a:pt x="361" y="403"/>
                  </a:lnTo>
                  <a:lnTo>
                    <a:pt x="361" y="403"/>
                  </a:lnTo>
                  <a:lnTo>
                    <a:pt x="360" y="403"/>
                  </a:lnTo>
                  <a:lnTo>
                    <a:pt x="358" y="405"/>
                  </a:lnTo>
                  <a:lnTo>
                    <a:pt x="356" y="405"/>
                  </a:lnTo>
                  <a:lnTo>
                    <a:pt x="356" y="407"/>
                  </a:lnTo>
                  <a:lnTo>
                    <a:pt x="354" y="410"/>
                  </a:lnTo>
                  <a:lnTo>
                    <a:pt x="352" y="412"/>
                  </a:lnTo>
                  <a:close/>
                  <a:moveTo>
                    <a:pt x="313" y="380"/>
                  </a:moveTo>
                  <a:lnTo>
                    <a:pt x="313" y="380"/>
                  </a:lnTo>
                  <a:lnTo>
                    <a:pt x="315" y="380"/>
                  </a:lnTo>
                  <a:lnTo>
                    <a:pt x="315" y="378"/>
                  </a:lnTo>
                  <a:lnTo>
                    <a:pt x="315" y="378"/>
                  </a:lnTo>
                  <a:lnTo>
                    <a:pt x="315" y="378"/>
                  </a:lnTo>
                  <a:lnTo>
                    <a:pt x="315" y="376"/>
                  </a:lnTo>
                  <a:lnTo>
                    <a:pt x="315" y="376"/>
                  </a:lnTo>
                  <a:lnTo>
                    <a:pt x="315" y="376"/>
                  </a:lnTo>
                  <a:lnTo>
                    <a:pt x="316" y="376"/>
                  </a:lnTo>
                  <a:lnTo>
                    <a:pt x="318" y="376"/>
                  </a:lnTo>
                  <a:lnTo>
                    <a:pt x="316" y="374"/>
                  </a:lnTo>
                  <a:lnTo>
                    <a:pt x="316" y="374"/>
                  </a:lnTo>
                  <a:lnTo>
                    <a:pt x="316" y="374"/>
                  </a:lnTo>
                  <a:lnTo>
                    <a:pt x="316" y="373"/>
                  </a:lnTo>
                  <a:lnTo>
                    <a:pt x="316" y="373"/>
                  </a:lnTo>
                  <a:lnTo>
                    <a:pt x="315" y="373"/>
                  </a:lnTo>
                  <a:lnTo>
                    <a:pt x="315" y="371"/>
                  </a:lnTo>
                  <a:lnTo>
                    <a:pt x="315" y="371"/>
                  </a:lnTo>
                  <a:lnTo>
                    <a:pt x="315" y="369"/>
                  </a:lnTo>
                  <a:lnTo>
                    <a:pt x="315" y="369"/>
                  </a:lnTo>
                  <a:lnTo>
                    <a:pt x="315" y="369"/>
                  </a:lnTo>
                  <a:lnTo>
                    <a:pt x="315" y="369"/>
                  </a:lnTo>
                  <a:lnTo>
                    <a:pt x="315" y="369"/>
                  </a:lnTo>
                  <a:lnTo>
                    <a:pt x="315" y="369"/>
                  </a:lnTo>
                  <a:lnTo>
                    <a:pt x="313" y="369"/>
                  </a:lnTo>
                  <a:lnTo>
                    <a:pt x="313" y="371"/>
                  </a:lnTo>
                  <a:lnTo>
                    <a:pt x="313" y="373"/>
                  </a:lnTo>
                  <a:lnTo>
                    <a:pt x="311" y="373"/>
                  </a:lnTo>
                  <a:lnTo>
                    <a:pt x="309" y="373"/>
                  </a:lnTo>
                  <a:lnTo>
                    <a:pt x="311" y="374"/>
                  </a:lnTo>
                  <a:lnTo>
                    <a:pt x="311" y="374"/>
                  </a:lnTo>
                  <a:lnTo>
                    <a:pt x="311" y="376"/>
                  </a:lnTo>
                  <a:lnTo>
                    <a:pt x="309" y="376"/>
                  </a:lnTo>
                  <a:lnTo>
                    <a:pt x="309" y="376"/>
                  </a:lnTo>
                  <a:lnTo>
                    <a:pt x="307" y="378"/>
                  </a:lnTo>
                  <a:lnTo>
                    <a:pt x="307" y="378"/>
                  </a:lnTo>
                  <a:lnTo>
                    <a:pt x="309" y="378"/>
                  </a:lnTo>
                  <a:lnTo>
                    <a:pt x="313" y="380"/>
                  </a:lnTo>
                  <a:close/>
                  <a:moveTo>
                    <a:pt x="374" y="371"/>
                  </a:moveTo>
                  <a:lnTo>
                    <a:pt x="372" y="371"/>
                  </a:lnTo>
                  <a:lnTo>
                    <a:pt x="371" y="369"/>
                  </a:lnTo>
                  <a:lnTo>
                    <a:pt x="367" y="369"/>
                  </a:lnTo>
                  <a:lnTo>
                    <a:pt x="367" y="371"/>
                  </a:lnTo>
                  <a:lnTo>
                    <a:pt x="363" y="374"/>
                  </a:lnTo>
                  <a:lnTo>
                    <a:pt x="363" y="374"/>
                  </a:lnTo>
                  <a:lnTo>
                    <a:pt x="365" y="376"/>
                  </a:lnTo>
                  <a:lnTo>
                    <a:pt x="367" y="376"/>
                  </a:lnTo>
                  <a:lnTo>
                    <a:pt x="367" y="376"/>
                  </a:lnTo>
                  <a:lnTo>
                    <a:pt x="369" y="378"/>
                  </a:lnTo>
                  <a:lnTo>
                    <a:pt x="369" y="380"/>
                  </a:lnTo>
                  <a:lnTo>
                    <a:pt x="371" y="380"/>
                  </a:lnTo>
                  <a:lnTo>
                    <a:pt x="372" y="378"/>
                  </a:lnTo>
                  <a:lnTo>
                    <a:pt x="372" y="376"/>
                  </a:lnTo>
                  <a:lnTo>
                    <a:pt x="374" y="373"/>
                  </a:lnTo>
                  <a:lnTo>
                    <a:pt x="372" y="373"/>
                  </a:lnTo>
                  <a:lnTo>
                    <a:pt x="372" y="373"/>
                  </a:lnTo>
                  <a:lnTo>
                    <a:pt x="374" y="371"/>
                  </a:lnTo>
                  <a:close/>
                  <a:moveTo>
                    <a:pt x="358" y="369"/>
                  </a:moveTo>
                  <a:lnTo>
                    <a:pt x="360" y="369"/>
                  </a:lnTo>
                  <a:lnTo>
                    <a:pt x="361" y="369"/>
                  </a:lnTo>
                  <a:lnTo>
                    <a:pt x="361" y="369"/>
                  </a:lnTo>
                  <a:lnTo>
                    <a:pt x="360" y="367"/>
                  </a:lnTo>
                  <a:lnTo>
                    <a:pt x="360" y="367"/>
                  </a:lnTo>
                  <a:lnTo>
                    <a:pt x="358" y="367"/>
                  </a:lnTo>
                  <a:lnTo>
                    <a:pt x="356" y="369"/>
                  </a:lnTo>
                  <a:lnTo>
                    <a:pt x="356" y="369"/>
                  </a:lnTo>
                  <a:lnTo>
                    <a:pt x="356" y="369"/>
                  </a:lnTo>
                  <a:lnTo>
                    <a:pt x="358" y="369"/>
                  </a:lnTo>
                  <a:close/>
                  <a:moveTo>
                    <a:pt x="387" y="344"/>
                  </a:moveTo>
                  <a:lnTo>
                    <a:pt x="385" y="345"/>
                  </a:lnTo>
                  <a:lnTo>
                    <a:pt x="385" y="345"/>
                  </a:lnTo>
                  <a:lnTo>
                    <a:pt x="387" y="347"/>
                  </a:lnTo>
                  <a:lnTo>
                    <a:pt x="389" y="347"/>
                  </a:lnTo>
                  <a:lnTo>
                    <a:pt x="390" y="347"/>
                  </a:lnTo>
                  <a:lnTo>
                    <a:pt x="390" y="345"/>
                  </a:lnTo>
                  <a:lnTo>
                    <a:pt x="389" y="344"/>
                  </a:lnTo>
                  <a:lnTo>
                    <a:pt x="387" y="344"/>
                  </a:lnTo>
                  <a:close/>
                  <a:moveTo>
                    <a:pt x="322" y="353"/>
                  </a:moveTo>
                  <a:lnTo>
                    <a:pt x="324" y="353"/>
                  </a:lnTo>
                  <a:lnTo>
                    <a:pt x="324" y="351"/>
                  </a:lnTo>
                  <a:lnTo>
                    <a:pt x="324" y="349"/>
                  </a:lnTo>
                  <a:lnTo>
                    <a:pt x="324" y="349"/>
                  </a:lnTo>
                  <a:lnTo>
                    <a:pt x="325" y="347"/>
                  </a:lnTo>
                  <a:lnTo>
                    <a:pt x="325" y="347"/>
                  </a:lnTo>
                  <a:lnTo>
                    <a:pt x="325" y="347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24" y="345"/>
                  </a:lnTo>
                  <a:lnTo>
                    <a:pt x="324" y="344"/>
                  </a:lnTo>
                  <a:lnTo>
                    <a:pt x="324" y="344"/>
                  </a:lnTo>
                  <a:lnTo>
                    <a:pt x="322" y="344"/>
                  </a:lnTo>
                  <a:lnTo>
                    <a:pt x="320" y="344"/>
                  </a:lnTo>
                  <a:lnTo>
                    <a:pt x="320" y="342"/>
                  </a:lnTo>
                  <a:lnTo>
                    <a:pt x="320" y="342"/>
                  </a:lnTo>
                  <a:lnTo>
                    <a:pt x="318" y="342"/>
                  </a:lnTo>
                  <a:lnTo>
                    <a:pt x="318" y="342"/>
                  </a:lnTo>
                  <a:lnTo>
                    <a:pt x="318" y="342"/>
                  </a:lnTo>
                  <a:lnTo>
                    <a:pt x="318" y="342"/>
                  </a:lnTo>
                  <a:lnTo>
                    <a:pt x="318" y="340"/>
                  </a:lnTo>
                  <a:lnTo>
                    <a:pt x="316" y="340"/>
                  </a:lnTo>
                  <a:lnTo>
                    <a:pt x="316" y="340"/>
                  </a:lnTo>
                  <a:lnTo>
                    <a:pt x="316" y="340"/>
                  </a:lnTo>
                  <a:lnTo>
                    <a:pt x="316" y="338"/>
                  </a:lnTo>
                  <a:lnTo>
                    <a:pt x="318" y="338"/>
                  </a:lnTo>
                  <a:lnTo>
                    <a:pt x="318" y="340"/>
                  </a:lnTo>
                  <a:lnTo>
                    <a:pt x="320" y="340"/>
                  </a:lnTo>
                  <a:lnTo>
                    <a:pt x="322" y="342"/>
                  </a:lnTo>
                  <a:lnTo>
                    <a:pt x="322" y="344"/>
                  </a:lnTo>
                  <a:lnTo>
                    <a:pt x="324" y="344"/>
                  </a:lnTo>
                  <a:lnTo>
                    <a:pt x="325" y="342"/>
                  </a:lnTo>
                  <a:lnTo>
                    <a:pt x="325" y="342"/>
                  </a:lnTo>
                  <a:lnTo>
                    <a:pt x="324" y="342"/>
                  </a:lnTo>
                  <a:lnTo>
                    <a:pt x="322" y="340"/>
                  </a:lnTo>
                  <a:lnTo>
                    <a:pt x="322" y="340"/>
                  </a:lnTo>
                  <a:lnTo>
                    <a:pt x="322" y="340"/>
                  </a:lnTo>
                  <a:lnTo>
                    <a:pt x="322" y="340"/>
                  </a:lnTo>
                  <a:lnTo>
                    <a:pt x="322" y="340"/>
                  </a:lnTo>
                  <a:lnTo>
                    <a:pt x="324" y="340"/>
                  </a:lnTo>
                  <a:lnTo>
                    <a:pt x="318" y="336"/>
                  </a:lnTo>
                  <a:lnTo>
                    <a:pt x="318" y="336"/>
                  </a:lnTo>
                  <a:lnTo>
                    <a:pt x="316" y="338"/>
                  </a:lnTo>
                  <a:lnTo>
                    <a:pt x="315" y="338"/>
                  </a:lnTo>
                  <a:lnTo>
                    <a:pt x="316" y="342"/>
                  </a:lnTo>
                  <a:lnTo>
                    <a:pt x="316" y="345"/>
                  </a:lnTo>
                  <a:lnTo>
                    <a:pt x="316" y="347"/>
                  </a:lnTo>
                  <a:lnTo>
                    <a:pt x="315" y="347"/>
                  </a:lnTo>
                  <a:lnTo>
                    <a:pt x="315" y="347"/>
                  </a:lnTo>
                  <a:lnTo>
                    <a:pt x="315" y="347"/>
                  </a:lnTo>
                  <a:lnTo>
                    <a:pt x="315" y="349"/>
                  </a:lnTo>
                  <a:lnTo>
                    <a:pt x="315" y="351"/>
                  </a:lnTo>
                  <a:lnTo>
                    <a:pt x="315" y="351"/>
                  </a:lnTo>
                  <a:lnTo>
                    <a:pt x="313" y="353"/>
                  </a:lnTo>
                  <a:lnTo>
                    <a:pt x="315" y="353"/>
                  </a:lnTo>
                  <a:lnTo>
                    <a:pt x="315" y="353"/>
                  </a:lnTo>
                  <a:lnTo>
                    <a:pt x="315" y="354"/>
                  </a:lnTo>
                  <a:lnTo>
                    <a:pt x="315" y="354"/>
                  </a:lnTo>
                  <a:lnTo>
                    <a:pt x="315" y="356"/>
                  </a:lnTo>
                  <a:lnTo>
                    <a:pt x="315" y="358"/>
                  </a:lnTo>
                  <a:lnTo>
                    <a:pt x="316" y="362"/>
                  </a:lnTo>
                  <a:lnTo>
                    <a:pt x="316" y="363"/>
                  </a:lnTo>
                  <a:lnTo>
                    <a:pt x="318" y="365"/>
                  </a:lnTo>
                  <a:lnTo>
                    <a:pt x="320" y="363"/>
                  </a:lnTo>
                  <a:lnTo>
                    <a:pt x="324" y="365"/>
                  </a:lnTo>
                  <a:lnTo>
                    <a:pt x="325" y="363"/>
                  </a:lnTo>
                  <a:lnTo>
                    <a:pt x="325" y="363"/>
                  </a:lnTo>
                  <a:lnTo>
                    <a:pt x="324" y="363"/>
                  </a:lnTo>
                  <a:lnTo>
                    <a:pt x="324" y="362"/>
                  </a:lnTo>
                  <a:lnTo>
                    <a:pt x="324" y="362"/>
                  </a:lnTo>
                  <a:lnTo>
                    <a:pt x="322" y="360"/>
                  </a:lnTo>
                  <a:lnTo>
                    <a:pt x="322" y="360"/>
                  </a:lnTo>
                  <a:lnTo>
                    <a:pt x="320" y="360"/>
                  </a:lnTo>
                  <a:lnTo>
                    <a:pt x="318" y="360"/>
                  </a:lnTo>
                  <a:lnTo>
                    <a:pt x="318" y="360"/>
                  </a:lnTo>
                  <a:lnTo>
                    <a:pt x="320" y="360"/>
                  </a:lnTo>
                  <a:lnTo>
                    <a:pt x="322" y="360"/>
                  </a:lnTo>
                  <a:lnTo>
                    <a:pt x="322" y="360"/>
                  </a:lnTo>
                  <a:lnTo>
                    <a:pt x="324" y="360"/>
                  </a:lnTo>
                  <a:lnTo>
                    <a:pt x="324" y="358"/>
                  </a:lnTo>
                  <a:lnTo>
                    <a:pt x="324" y="356"/>
                  </a:lnTo>
                  <a:lnTo>
                    <a:pt x="322" y="354"/>
                  </a:lnTo>
                  <a:lnTo>
                    <a:pt x="322" y="353"/>
                  </a:lnTo>
                  <a:lnTo>
                    <a:pt x="318" y="353"/>
                  </a:lnTo>
                  <a:lnTo>
                    <a:pt x="318" y="351"/>
                  </a:lnTo>
                  <a:lnTo>
                    <a:pt x="322" y="353"/>
                  </a:lnTo>
                  <a:close/>
                  <a:moveTo>
                    <a:pt x="322" y="329"/>
                  </a:moveTo>
                  <a:lnTo>
                    <a:pt x="324" y="329"/>
                  </a:lnTo>
                  <a:lnTo>
                    <a:pt x="324" y="329"/>
                  </a:lnTo>
                  <a:lnTo>
                    <a:pt x="322" y="329"/>
                  </a:lnTo>
                  <a:lnTo>
                    <a:pt x="322" y="329"/>
                  </a:lnTo>
                  <a:lnTo>
                    <a:pt x="322" y="329"/>
                  </a:lnTo>
                  <a:lnTo>
                    <a:pt x="322" y="329"/>
                  </a:lnTo>
                  <a:lnTo>
                    <a:pt x="320" y="329"/>
                  </a:lnTo>
                  <a:lnTo>
                    <a:pt x="320" y="329"/>
                  </a:lnTo>
                  <a:lnTo>
                    <a:pt x="320" y="329"/>
                  </a:lnTo>
                  <a:lnTo>
                    <a:pt x="318" y="329"/>
                  </a:lnTo>
                  <a:lnTo>
                    <a:pt x="318" y="329"/>
                  </a:lnTo>
                  <a:lnTo>
                    <a:pt x="316" y="329"/>
                  </a:lnTo>
                  <a:lnTo>
                    <a:pt x="316" y="331"/>
                  </a:lnTo>
                  <a:lnTo>
                    <a:pt x="316" y="333"/>
                  </a:lnTo>
                  <a:lnTo>
                    <a:pt x="316" y="335"/>
                  </a:lnTo>
                  <a:lnTo>
                    <a:pt x="320" y="336"/>
                  </a:lnTo>
                  <a:lnTo>
                    <a:pt x="322" y="336"/>
                  </a:lnTo>
                  <a:lnTo>
                    <a:pt x="325" y="335"/>
                  </a:lnTo>
                  <a:lnTo>
                    <a:pt x="325" y="335"/>
                  </a:lnTo>
                  <a:lnTo>
                    <a:pt x="325" y="335"/>
                  </a:lnTo>
                  <a:lnTo>
                    <a:pt x="325" y="335"/>
                  </a:lnTo>
                  <a:lnTo>
                    <a:pt x="324" y="335"/>
                  </a:lnTo>
                  <a:lnTo>
                    <a:pt x="324" y="333"/>
                  </a:lnTo>
                  <a:lnTo>
                    <a:pt x="324" y="333"/>
                  </a:lnTo>
                  <a:lnTo>
                    <a:pt x="324" y="333"/>
                  </a:lnTo>
                  <a:lnTo>
                    <a:pt x="325" y="331"/>
                  </a:lnTo>
                  <a:lnTo>
                    <a:pt x="325" y="331"/>
                  </a:lnTo>
                  <a:lnTo>
                    <a:pt x="325" y="331"/>
                  </a:lnTo>
                  <a:lnTo>
                    <a:pt x="324" y="331"/>
                  </a:lnTo>
                  <a:lnTo>
                    <a:pt x="324" y="329"/>
                  </a:lnTo>
                  <a:lnTo>
                    <a:pt x="324" y="331"/>
                  </a:lnTo>
                  <a:lnTo>
                    <a:pt x="324" y="331"/>
                  </a:lnTo>
                  <a:lnTo>
                    <a:pt x="324" y="331"/>
                  </a:lnTo>
                  <a:lnTo>
                    <a:pt x="322" y="329"/>
                  </a:lnTo>
                  <a:lnTo>
                    <a:pt x="322" y="329"/>
                  </a:lnTo>
                  <a:lnTo>
                    <a:pt x="322" y="329"/>
                  </a:lnTo>
                  <a:close/>
                  <a:moveTo>
                    <a:pt x="383" y="342"/>
                  </a:moveTo>
                  <a:lnTo>
                    <a:pt x="383" y="342"/>
                  </a:lnTo>
                  <a:lnTo>
                    <a:pt x="383" y="342"/>
                  </a:lnTo>
                  <a:lnTo>
                    <a:pt x="383" y="344"/>
                  </a:lnTo>
                  <a:lnTo>
                    <a:pt x="383" y="344"/>
                  </a:lnTo>
                  <a:lnTo>
                    <a:pt x="385" y="344"/>
                  </a:lnTo>
                  <a:lnTo>
                    <a:pt x="385" y="344"/>
                  </a:lnTo>
                  <a:lnTo>
                    <a:pt x="385" y="342"/>
                  </a:lnTo>
                  <a:lnTo>
                    <a:pt x="387" y="342"/>
                  </a:lnTo>
                  <a:lnTo>
                    <a:pt x="387" y="340"/>
                  </a:lnTo>
                  <a:lnTo>
                    <a:pt x="385" y="338"/>
                  </a:lnTo>
                  <a:lnTo>
                    <a:pt x="385" y="338"/>
                  </a:lnTo>
                  <a:lnTo>
                    <a:pt x="385" y="335"/>
                  </a:lnTo>
                  <a:lnTo>
                    <a:pt x="385" y="333"/>
                  </a:lnTo>
                  <a:lnTo>
                    <a:pt x="387" y="329"/>
                  </a:lnTo>
                  <a:lnTo>
                    <a:pt x="387" y="327"/>
                  </a:lnTo>
                  <a:lnTo>
                    <a:pt x="387" y="327"/>
                  </a:lnTo>
                  <a:lnTo>
                    <a:pt x="387" y="327"/>
                  </a:lnTo>
                  <a:lnTo>
                    <a:pt x="387" y="327"/>
                  </a:lnTo>
                  <a:lnTo>
                    <a:pt x="385" y="327"/>
                  </a:lnTo>
                  <a:lnTo>
                    <a:pt x="387" y="327"/>
                  </a:lnTo>
                  <a:lnTo>
                    <a:pt x="387" y="329"/>
                  </a:lnTo>
                  <a:lnTo>
                    <a:pt x="385" y="327"/>
                  </a:lnTo>
                  <a:lnTo>
                    <a:pt x="385" y="327"/>
                  </a:lnTo>
                  <a:lnTo>
                    <a:pt x="385" y="329"/>
                  </a:lnTo>
                  <a:lnTo>
                    <a:pt x="385" y="329"/>
                  </a:lnTo>
                  <a:lnTo>
                    <a:pt x="385" y="331"/>
                  </a:lnTo>
                  <a:lnTo>
                    <a:pt x="385" y="331"/>
                  </a:lnTo>
                  <a:lnTo>
                    <a:pt x="385" y="331"/>
                  </a:lnTo>
                  <a:lnTo>
                    <a:pt x="383" y="331"/>
                  </a:lnTo>
                  <a:lnTo>
                    <a:pt x="383" y="333"/>
                  </a:lnTo>
                  <a:lnTo>
                    <a:pt x="383" y="335"/>
                  </a:lnTo>
                  <a:lnTo>
                    <a:pt x="381" y="340"/>
                  </a:lnTo>
                  <a:lnTo>
                    <a:pt x="381" y="342"/>
                  </a:lnTo>
                  <a:lnTo>
                    <a:pt x="383" y="342"/>
                  </a:lnTo>
                  <a:close/>
                  <a:moveTo>
                    <a:pt x="387" y="326"/>
                  </a:moveTo>
                  <a:lnTo>
                    <a:pt x="387" y="326"/>
                  </a:lnTo>
                  <a:lnTo>
                    <a:pt x="389" y="322"/>
                  </a:lnTo>
                  <a:lnTo>
                    <a:pt x="389" y="320"/>
                  </a:lnTo>
                  <a:lnTo>
                    <a:pt x="387" y="320"/>
                  </a:lnTo>
                  <a:lnTo>
                    <a:pt x="387" y="322"/>
                  </a:lnTo>
                  <a:lnTo>
                    <a:pt x="387" y="322"/>
                  </a:lnTo>
                  <a:lnTo>
                    <a:pt x="387" y="322"/>
                  </a:lnTo>
                  <a:lnTo>
                    <a:pt x="387" y="322"/>
                  </a:lnTo>
                  <a:lnTo>
                    <a:pt x="387" y="322"/>
                  </a:lnTo>
                  <a:lnTo>
                    <a:pt x="387" y="324"/>
                  </a:lnTo>
                  <a:lnTo>
                    <a:pt x="387" y="326"/>
                  </a:lnTo>
                  <a:lnTo>
                    <a:pt x="387" y="326"/>
                  </a:lnTo>
                  <a:lnTo>
                    <a:pt x="387" y="326"/>
                  </a:lnTo>
                  <a:close/>
                  <a:moveTo>
                    <a:pt x="0" y="318"/>
                  </a:moveTo>
                  <a:lnTo>
                    <a:pt x="0" y="318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0" y="318"/>
                  </a:lnTo>
                  <a:close/>
                  <a:moveTo>
                    <a:pt x="311" y="322"/>
                  </a:moveTo>
                  <a:lnTo>
                    <a:pt x="313" y="322"/>
                  </a:lnTo>
                  <a:lnTo>
                    <a:pt x="313" y="322"/>
                  </a:lnTo>
                  <a:lnTo>
                    <a:pt x="313" y="322"/>
                  </a:lnTo>
                  <a:lnTo>
                    <a:pt x="313" y="320"/>
                  </a:lnTo>
                  <a:lnTo>
                    <a:pt x="315" y="320"/>
                  </a:lnTo>
                  <a:lnTo>
                    <a:pt x="315" y="320"/>
                  </a:lnTo>
                  <a:lnTo>
                    <a:pt x="318" y="322"/>
                  </a:lnTo>
                  <a:lnTo>
                    <a:pt x="320" y="324"/>
                  </a:lnTo>
                  <a:lnTo>
                    <a:pt x="320" y="324"/>
                  </a:lnTo>
                  <a:lnTo>
                    <a:pt x="318" y="324"/>
                  </a:lnTo>
                  <a:lnTo>
                    <a:pt x="318" y="324"/>
                  </a:lnTo>
                  <a:lnTo>
                    <a:pt x="320" y="324"/>
                  </a:lnTo>
                  <a:lnTo>
                    <a:pt x="320" y="326"/>
                  </a:lnTo>
                  <a:lnTo>
                    <a:pt x="320" y="326"/>
                  </a:lnTo>
                  <a:lnTo>
                    <a:pt x="320" y="327"/>
                  </a:lnTo>
                  <a:lnTo>
                    <a:pt x="320" y="327"/>
                  </a:lnTo>
                  <a:lnTo>
                    <a:pt x="322" y="327"/>
                  </a:lnTo>
                  <a:lnTo>
                    <a:pt x="324" y="327"/>
                  </a:lnTo>
                  <a:lnTo>
                    <a:pt x="324" y="327"/>
                  </a:lnTo>
                  <a:lnTo>
                    <a:pt x="325" y="327"/>
                  </a:lnTo>
                  <a:lnTo>
                    <a:pt x="325" y="327"/>
                  </a:lnTo>
                  <a:lnTo>
                    <a:pt x="327" y="327"/>
                  </a:lnTo>
                  <a:lnTo>
                    <a:pt x="329" y="326"/>
                  </a:lnTo>
                  <a:lnTo>
                    <a:pt x="329" y="324"/>
                  </a:lnTo>
                  <a:lnTo>
                    <a:pt x="329" y="324"/>
                  </a:lnTo>
                  <a:lnTo>
                    <a:pt x="329" y="324"/>
                  </a:lnTo>
                  <a:lnTo>
                    <a:pt x="327" y="324"/>
                  </a:lnTo>
                  <a:lnTo>
                    <a:pt x="327" y="322"/>
                  </a:lnTo>
                  <a:lnTo>
                    <a:pt x="324" y="324"/>
                  </a:lnTo>
                  <a:lnTo>
                    <a:pt x="320" y="324"/>
                  </a:lnTo>
                  <a:lnTo>
                    <a:pt x="320" y="324"/>
                  </a:lnTo>
                  <a:lnTo>
                    <a:pt x="322" y="322"/>
                  </a:lnTo>
                  <a:lnTo>
                    <a:pt x="324" y="322"/>
                  </a:lnTo>
                  <a:lnTo>
                    <a:pt x="324" y="322"/>
                  </a:lnTo>
                  <a:lnTo>
                    <a:pt x="324" y="322"/>
                  </a:lnTo>
                  <a:lnTo>
                    <a:pt x="324" y="324"/>
                  </a:lnTo>
                  <a:lnTo>
                    <a:pt x="324" y="324"/>
                  </a:lnTo>
                  <a:lnTo>
                    <a:pt x="325" y="322"/>
                  </a:lnTo>
                  <a:lnTo>
                    <a:pt x="325" y="322"/>
                  </a:lnTo>
                  <a:lnTo>
                    <a:pt x="329" y="322"/>
                  </a:lnTo>
                  <a:lnTo>
                    <a:pt x="329" y="322"/>
                  </a:lnTo>
                  <a:lnTo>
                    <a:pt x="331" y="318"/>
                  </a:lnTo>
                  <a:lnTo>
                    <a:pt x="329" y="320"/>
                  </a:lnTo>
                  <a:lnTo>
                    <a:pt x="329" y="320"/>
                  </a:lnTo>
                  <a:lnTo>
                    <a:pt x="327" y="318"/>
                  </a:lnTo>
                  <a:lnTo>
                    <a:pt x="327" y="318"/>
                  </a:lnTo>
                  <a:lnTo>
                    <a:pt x="327" y="317"/>
                  </a:lnTo>
                  <a:lnTo>
                    <a:pt x="325" y="317"/>
                  </a:lnTo>
                  <a:lnTo>
                    <a:pt x="325" y="317"/>
                  </a:lnTo>
                  <a:lnTo>
                    <a:pt x="325" y="317"/>
                  </a:lnTo>
                  <a:lnTo>
                    <a:pt x="325" y="315"/>
                  </a:lnTo>
                  <a:lnTo>
                    <a:pt x="325" y="315"/>
                  </a:lnTo>
                  <a:lnTo>
                    <a:pt x="325" y="315"/>
                  </a:lnTo>
                  <a:lnTo>
                    <a:pt x="325" y="315"/>
                  </a:lnTo>
                  <a:lnTo>
                    <a:pt x="327" y="315"/>
                  </a:lnTo>
                  <a:lnTo>
                    <a:pt x="329" y="317"/>
                  </a:lnTo>
                  <a:lnTo>
                    <a:pt x="329" y="317"/>
                  </a:lnTo>
                  <a:lnTo>
                    <a:pt x="329" y="317"/>
                  </a:lnTo>
                  <a:lnTo>
                    <a:pt x="329" y="317"/>
                  </a:lnTo>
                  <a:lnTo>
                    <a:pt x="331" y="318"/>
                  </a:lnTo>
                  <a:lnTo>
                    <a:pt x="331" y="318"/>
                  </a:lnTo>
                  <a:lnTo>
                    <a:pt x="331" y="318"/>
                  </a:lnTo>
                  <a:lnTo>
                    <a:pt x="333" y="317"/>
                  </a:lnTo>
                  <a:lnTo>
                    <a:pt x="333" y="315"/>
                  </a:lnTo>
                  <a:lnTo>
                    <a:pt x="333" y="315"/>
                  </a:lnTo>
                  <a:lnTo>
                    <a:pt x="331" y="313"/>
                  </a:lnTo>
                  <a:lnTo>
                    <a:pt x="331" y="313"/>
                  </a:lnTo>
                  <a:lnTo>
                    <a:pt x="329" y="313"/>
                  </a:lnTo>
                  <a:lnTo>
                    <a:pt x="329" y="313"/>
                  </a:lnTo>
                  <a:lnTo>
                    <a:pt x="327" y="315"/>
                  </a:lnTo>
                  <a:lnTo>
                    <a:pt x="327" y="313"/>
                  </a:lnTo>
                  <a:lnTo>
                    <a:pt x="327" y="313"/>
                  </a:lnTo>
                  <a:lnTo>
                    <a:pt x="327" y="311"/>
                  </a:lnTo>
                  <a:lnTo>
                    <a:pt x="327" y="311"/>
                  </a:lnTo>
                  <a:lnTo>
                    <a:pt x="327" y="311"/>
                  </a:lnTo>
                  <a:lnTo>
                    <a:pt x="325" y="311"/>
                  </a:lnTo>
                  <a:lnTo>
                    <a:pt x="324" y="313"/>
                  </a:lnTo>
                  <a:lnTo>
                    <a:pt x="322" y="313"/>
                  </a:lnTo>
                  <a:lnTo>
                    <a:pt x="324" y="313"/>
                  </a:lnTo>
                  <a:lnTo>
                    <a:pt x="324" y="313"/>
                  </a:lnTo>
                  <a:lnTo>
                    <a:pt x="324" y="315"/>
                  </a:lnTo>
                  <a:lnTo>
                    <a:pt x="322" y="315"/>
                  </a:lnTo>
                  <a:lnTo>
                    <a:pt x="320" y="313"/>
                  </a:lnTo>
                  <a:lnTo>
                    <a:pt x="320" y="311"/>
                  </a:lnTo>
                  <a:lnTo>
                    <a:pt x="320" y="311"/>
                  </a:lnTo>
                  <a:lnTo>
                    <a:pt x="320" y="311"/>
                  </a:lnTo>
                  <a:lnTo>
                    <a:pt x="320" y="311"/>
                  </a:lnTo>
                  <a:lnTo>
                    <a:pt x="320" y="311"/>
                  </a:lnTo>
                  <a:lnTo>
                    <a:pt x="318" y="313"/>
                  </a:lnTo>
                  <a:lnTo>
                    <a:pt x="316" y="315"/>
                  </a:lnTo>
                  <a:lnTo>
                    <a:pt x="315" y="315"/>
                  </a:lnTo>
                  <a:lnTo>
                    <a:pt x="316" y="313"/>
                  </a:lnTo>
                  <a:lnTo>
                    <a:pt x="316" y="313"/>
                  </a:lnTo>
                  <a:lnTo>
                    <a:pt x="316" y="313"/>
                  </a:lnTo>
                  <a:lnTo>
                    <a:pt x="313" y="313"/>
                  </a:lnTo>
                  <a:lnTo>
                    <a:pt x="313" y="313"/>
                  </a:lnTo>
                  <a:lnTo>
                    <a:pt x="311" y="315"/>
                  </a:lnTo>
                  <a:lnTo>
                    <a:pt x="311" y="317"/>
                  </a:lnTo>
                  <a:lnTo>
                    <a:pt x="309" y="318"/>
                  </a:lnTo>
                  <a:lnTo>
                    <a:pt x="309" y="318"/>
                  </a:lnTo>
                  <a:lnTo>
                    <a:pt x="309" y="318"/>
                  </a:lnTo>
                  <a:lnTo>
                    <a:pt x="311" y="320"/>
                  </a:lnTo>
                  <a:lnTo>
                    <a:pt x="311" y="322"/>
                  </a:lnTo>
                  <a:close/>
                  <a:moveTo>
                    <a:pt x="378" y="318"/>
                  </a:moveTo>
                  <a:lnTo>
                    <a:pt x="378" y="318"/>
                  </a:lnTo>
                  <a:lnTo>
                    <a:pt x="376" y="317"/>
                  </a:lnTo>
                  <a:lnTo>
                    <a:pt x="374" y="315"/>
                  </a:lnTo>
                  <a:lnTo>
                    <a:pt x="374" y="315"/>
                  </a:lnTo>
                  <a:lnTo>
                    <a:pt x="372" y="313"/>
                  </a:lnTo>
                  <a:lnTo>
                    <a:pt x="372" y="311"/>
                  </a:lnTo>
                  <a:lnTo>
                    <a:pt x="371" y="311"/>
                  </a:lnTo>
                  <a:lnTo>
                    <a:pt x="371" y="309"/>
                  </a:lnTo>
                  <a:lnTo>
                    <a:pt x="371" y="309"/>
                  </a:lnTo>
                  <a:lnTo>
                    <a:pt x="371" y="309"/>
                  </a:lnTo>
                  <a:lnTo>
                    <a:pt x="371" y="309"/>
                  </a:lnTo>
                  <a:lnTo>
                    <a:pt x="371" y="309"/>
                  </a:lnTo>
                  <a:lnTo>
                    <a:pt x="369" y="309"/>
                  </a:lnTo>
                  <a:lnTo>
                    <a:pt x="369" y="309"/>
                  </a:lnTo>
                  <a:lnTo>
                    <a:pt x="369" y="311"/>
                  </a:lnTo>
                  <a:lnTo>
                    <a:pt x="369" y="313"/>
                  </a:lnTo>
                  <a:lnTo>
                    <a:pt x="367" y="313"/>
                  </a:lnTo>
                  <a:lnTo>
                    <a:pt x="365" y="313"/>
                  </a:lnTo>
                  <a:lnTo>
                    <a:pt x="365" y="315"/>
                  </a:lnTo>
                  <a:lnTo>
                    <a:pt x="365" y="315"/>
                  </a:lnTo>
                  <a:lnTo>
                    <a:pt x="365" y="315"/>
                  </a:lnTo>
                  <a:lnTo>
                    <a:pt x="365" y="317"/>
                  </a:lnTo>
                  <a:lnTo>
                    <a:pt x="365" y="317"/>
                  </a:lnTo>
                  <a:lnTo>
                    <a:pt x="367" y="317"/>
                  </a:lnTo>
                  <a:lnTo>
                    <a:pt x="365" y="318"/>
                  </a:lnTo>
                  <a:lnTo>
                    <a:pt x="367" y="318"/>
                  </a:lnTo>
                  <a:lnTo>
                    <a:pt x="367" y="318"/>
                  </a:lnTo>
                  <a:lnTo>
                    <a:pt x="367" y="320"/>
                  </a:lnTo>
                  <a:lnTo>
                    <a:pt x="369" y="318"/>
                  </a:lnTo>
                  <a:lnTo>
                    <a:pt x="367" y="322"/>
                  </a:lnTo>
                  <a:lnTo>
                    <a:pt x="367" y="322"/>
                  </a:lnTo>
                  <a:lnTo>
                    <a:pt x="367" y="324"/>
                  </a:lnTo>
                  <a:lnTo>
                    <a:pt x="367" y="326"/>
                  </a:lnTo>
                  <a:lnTo>
                    <a:pt x="369" y="327"/>
                  </a:lnTo>
                  <a:lnTo>
                    <a:pt x="371" y="327"/>
                  </a:lnTo>
                  <a:lnTo>
                    <a:pt x="371" y="329"/>
                  </a:lnTo>
                  <a:lnTo>
                    <a:pt x="371" y="329"/>
                  </a:lnTo>
                  <a:lnTo>
                    <a:pt x="371" y="331"/>
                  </a:lnTo>
                  <a:lnTo>
                    <a:pt x="371" y="331"/>
                  </a:lnTo>
                  <a:lnTo>
                    <a:pt x="371" y="331"/>
                  </a:lnTo>
                  <a:lnTo>
                    <a:pt x="367" y="326"/>
                  </a:lnTo>
                  <a:lnTo>
                    <a:pt x="365" y="326"/>
                  </a:lnTo>
                  <a:lnTo>
                    <a:pt x="365" y="327"/>
                  </a:lnTo>
                  <a:lnTo>
                    <a:pt x="365" y="329"/>
                  </a:lnTo>
                  <a:lnTo>
                    <a:pt x="363" y="329"/>
                  </a:lnTo>
                  <a:lnTo>
                    <a:pt x="365" y="326"/>
                  </a:lnTo>
                  <a:lnTo>
                    <a:pt x="363" y="326"/>
                  </a:lnTo>
                  <a:lnTo>
                    <a:pt x="363" y="327"/>
                  </a:lnTo>
                  <a:lnTo>
                    <a:pt x="363" y="327"/>
                  </a:lnTo>
                  <a:lnTo>
                    <a:pt x="361" y="326"/>
                  </a:lnTo>
                  <a:lnTo>
                    <a:pt x="361" y="326"/>
                  </a:lnTo>
                  <a:lnTo>
                    <a:pt x="361" y="324"/>
                  </a:lnTo>
                  <a:lnTo>
                    <a:pt x="358" y="324"/>
                  </a:lnTo>
                  <a:lnTo>
                    <a:pt x="358" y="324"/>
                  </a:lnTo>
                  <a:lnTo>
                    <a:pt x="358" y="322"/>
                  </a:lnTo>
                  <a:lnTo>
                    <a:pt x="358" y="322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56" y="320"/>
                  </a:lnTo>
                  <a:lnTo>
                    <a:pt x="356" y="318"/>
                  </a:lnTo>
                  <a:lnTo>
                    <a:pt x="354" y="318"/>
                  </a:lnTo>
                  <a:lnTo>
                    <a:pt x="354" y="318"/>
                  </a:lnTo>
                  <a:lnTo>
                    <a:pt x="354" y="318"/>
                  </a:lnTo>
                  <a:lnTo>
                    <a:pt x="354" y="320"/>
                  </a:lnTo>
                  <a:lnTo>
                    <a:pt x="354" y="320"/>
                  </a:lnTo>
                  <a:lnTo>
                    <a:pt x="354" y="322"/>
                  </a:lnTo>
                  <a:lnTo>
                    <a:pt x="352" y="324"/>
                  </a:lnTo>
                  <a:lnTo>
                    <a:pt x="354" y="324"/>
                  </a:lnTo>
                  <a:lnTo>
                    <a:pt x="356" y="324"/>
                  </a:lnTo>
                  <a:lnTo>
                    <a:pt x="358" y="326"/>
                  </a:lnTo>
                  <a:lnTo>
                    <a:pt x="358" y="327"/>
                  </a:lnTo>
                  <a:lnTo>
                    <a:pt x="356" y="327"/>
                  </a:lnTo>
                  <a:lnTo>
                    <a:pt x="356" y="327"/>
                  </a:lnTo>
                  <a:lnTo>
                    <a:pt x="354" y="327"/>
                  </a:lnTo>
                  <a:lnTo>
                    <a:pt x="354" y="327"/>
                  </a:lnTo>
                  <a:lnTo>
                    <a:pt x="354" y="327"/>
                  </a:lnTo>
                  <a:lnTo>
                    <a:pt x="354" y="327"/>
                  </a:lnTo>
                  <a:lnTo>
                    <a:pt x="354" y="329"/>
                  </a:lnTo>
                  <a:lnTo>
                    <a:pt x="354" y="329"/>
                  </a:lnTo>
                  <a:lnTo>
                    <a:pt x="354" y="329"/>
                  </a:lnTo>
                  <a:lnTo>
                    <a:pt x="354" y="329"/>
                  </a:lnTo>
                  <a:lnTo>
                    <a:pt x="356" y="331"/>
                  </a:lnTo>
                  <a:lnTo>
                    <a:pt x="356" y="331"/>
                  </a:lnTo>
                  <a:lnTo>
                    <a:pt x="356" y="331"/>
                  </a:lnTo>
                  <a:lnTo>
                    <a:pt x="356" y="331"/>
                  </a:lnTo>
                  <a:lnTo>
                    <a:pt x="356" y="331"/>
                  </a:lnTo>
                  <a:lnTo>
                    <a:pt x="356" y="333"/>
                  </a:lnTo>
                  <a:lnTo>
                    <a:pt x="354" y="333"/>
                  </a:lnTo>
                  <a:lnTo>
                    <a:pt x="354" y="333"/>
                  </a:lnTo>
                  <a:lnTo>
                    <a:pt x="354" y="331"/>
                  </a:lnTo>
                  <a:lnTo>
                    <a:pt x="352" y="331"/>
                  </a:lnTo>
                  <a:lnTo>
                    <a:pt x="351" y="327"/>
                  </a:lnTo>
                  <a:lnTo>
                    <a:pt x="351" y="327"/>
                  </a:lnTo>
                  <a:lnTo>
                    <a:pt x="349" y="327"/>
                  </a:lnTo>
                  <a:lnTo>
                    <a:pt x="349" y="327"/>
                  </a:lnTo>
                  <a:lnTo>
                    <a:pt x="349" y="329"/>
                  </a:lnTo>
                  <a:lnTo>
                    <a:pt x="349" y="329"/>
                  </a:lnTo>
                  <a:lnTo>
                    <a:pt x="349" y="331"/>
                  </a:lnTo>
                  <a:lnTo>
                    <a:pt x="351" y="331"/>
                  </a:lnTo>
                  <a:lnTo>
                    <a:pt x="347" y="331"/>
                  </a:lnTo>
                  <a:lnTo>
                    <a:pt x="347" y="335"/>
                  </a:lnTo>
                  <a:lnTo>
                    <a:pt x="349" y="336"/>
                  </a:lnTo>
                  <a:lnTo>
                    <a:pt x="351" y="338"/>
                  </a:lnTo>
                  <a:lnTo>
                    <a:pt x="351" y="340"/>
                  </a:lnTo>
                  <a:lnTo>
                    <a:pt x="351" y="340"/>
                  </a:lnTo>
                  <a:lnTo>
                    <a:pt x="352" y="342"/>
                  </a:lnTo>
                  <a:lnTo>
                    <a:pt x="356" y="344"/>
                  </a:lnTo>
                  <a:lnTo>
                    <a:pt x="358" y="342"/>
                  </a:lnTo>
                  <a:lnTo>
                    <a:pt x="358" y="342"/>
                  </a:lnTo>
                  <a:lnTo>
                    <a:pt x="358" y="340"/>
                  </a:lnTo>
                  <a:lnTo>
                    <a:pt x="358" y="338"/>
                  </a:lnTo>
                  <a:lnTo>
                    <a:pt x="358" y="338"/>
                  </a:lnTo>
                  <a:lnTo>
                    <a:pt x="358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60" y="336"/>
                  </a:lnTo>
                  <a:lnTo>
                    <a:pt x="360" y="338"/>
                  </a:lnTo>
                  <a:lnTo>
                    <a:pt x="360" y="338"/>
                  </a:lnTo>
                  <a:lnTo>
                    <a:pt x="360" y="338"/>
                  </a:lnTo>
                  <a:lnTo>
                    <a:pt x="361" y="336"/>
                  </a:lnTo>
                  <a:lnTo>
                    <a:pt x="361" y="336"/>
                  </a:lnTo>
                  <a:lnTo>
                    <a:pt x="361" y="338"/>
                  </a:lnTo>
                  <a:lnTo>
                    <a:pt x="361" y="338"/>
                  </a:lnTo>
                  <a:lnTo>
                    <a:pt x="361" y="340"/>
                  </a:lnTo>
                  <a:lnTo>
                    <a:pt x="363" y="340"/>
                  </a:lnTo>
                  <a:lnTo>
                    <a:pt x="363" y="340"/>
                  </a:lnTo>
                  <a:lnTo>
                    <a:pt x="363" y="340"/>
                  </a:lnTo>
                  <a:lnTo>
                    <a:pt x="361" y="340"/>
                  </a:lnTo>
                  <a:lnTo>
                    <a:pt x="363" y="340"/>
                  </a:lnTo>
                  <a:lnTo>
                    <a:pt x="363" y="340"/>
                  </a:lnTo>
                  <a:lnTo>
                    <a:pt x="363" y="342"/>
                  </a:lnTo>
                  <a:lnTo>
                    <a:pt x="363" y="342"/>
                  </a:lnTo>
                  <a:lnTo>
                    <a:pt x="363" y="342"/>
                  </a:lnTo>
                  <a:lnTo>
                    <a:pt x="365" y="342"/>
                  </a:lnTo>
                  <a:lnTo>
                    <a:pt x="365" y="342"/>
                  </a:lnTo>
                  <a:lnTo>
                    <a:pt x="365" y="342"/>
                  </a:lnTo>
                  <a:lnTo>
                    <a:pt x="367" y="342"/>
                  </a:lnTo>
                  <a:lnTo>
                    <a:pt x="367" y="342"/>
                  </a:lnTo>
                  <a:lnTo>
                    <a:pt x="371" y="345"/>
                  </a:lnTo>
                  <a:lnTo>
                    <a:pt x="371" y="347"/>
                  </a:lnTo>
                  <a:lnTo>
                    <a:pt x="369" y="345"/>
                  </a:lnTo>
                  <a:lnTo>
                    <a:pt x="369" y="345"/>
                  </a:lnTo>
                  <a:lnTo>
                    <a:pt x="367" y="344"/>
                  </a:lnTo>
                  <a:lnTo>
                    <a:pt x="367" y="344"/>
                  </a:lnTo>
                  <a:lnTo>
                    <a:pt x="365" y="344"/>
                  </a:lnTo>
                  <a:lnTo>
                    <a:pt x="363" y="344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3" y="347"/>
                  </a:lnTo>
                  <a:lnTo>
                    <a:pt x="363" y="347"/>
                  </a:lnTo>
                  <a:lnTo>
                    <a:pt x="363" y="347"/>
                  </a:lnTo>
                  <a:lnTo>
                    <a:pt x="363" y="347"/>
                  </a:lnTo>
                  <a:lnTo>
                    <a:pt x="363" y="349"/>
                  </a:lnTo>
                  <a:lnTo>
                    <a:pt x="365" y="351"/>
                  </a:lnTo>
                  <a:lnTo>
                    <a:pt x="367" y="353"/>
                  </a:lnTo>
                  <a:lnTo>
                    <a:pt x="369" y="351"/>
                  </a:lnTo>
                  <a:lnTo>
                    <a:pt x="369" y="353"/>
                  </a:lnTo>
                  <a:lnTo>
                    <a:pt x="369" y="353"/>
                  </a:lnTo>
                  <a:lnTo>
                    <a:pt x="367" y="353"/>
                  </a:lnTo>
                  <a:lnTo>
                    <a:pt x="367" y="353"/>
                  </a:lnTo>
                  <a:lnTo>
                    <a:pt x="367" y="354"/>
                  </a:lnTo>
                  <a:lnTo>
                    <a:pt x="369" y="356"/>
                  </a:lnTo>
                  <a:lnTo>
                    <a:pt x="369" y="356"/>
                  </a:lnTo>
                  <a:lnTo>
                    <a:pt x="371" y="356"/>
                  </a:lnTo>
                  <a:lnTo>
                    <a:pt x="371" y="356"/>
                  </a:lnTo>
                  <a:lnTo>
                    <a:pt x="372" y="356"/>
                  </a:lnTo>
                  <a:lnTo>
                    <a:pt x="372" y="356"/>
                  </a:lnTo>
                  <a:lnTo>
                    <a:pt x="371" y="358"/>
                  </a:lnTo>
                  <a:lnTo>
                    <a:pt x="371" y="358"/>
                  </a:lnTo>
                  <a:lnTo>
                    <a:pt x="371" y="360"/>
                  </a:lnTo>
                  <a:lnTo>
                    <a:pt x="378" y="358"/>
                  </a:lnTo>
                  <a:lnTo>
                    <a:pt x="378" y="356"/>
                  </a:lnTo>
                  <a:lnTo>
                    <a:pt x="378" y="356"/>
                  </a:lnTo>
                  <a:lnTo>
                    <a:pt x="378" y="356"/>
                  </a:lnTo>
                  <a:lnTo>
                    <a:pt x="378" y="356"/>
                  </a:lnTo>
                  <a:lnTo>
                    <a:pt x="378" y="356"/>
                  </a:lnTo>
                  <a:lnTo>
                    <a:pt x="378" y="356"/>
                  </a:lnTo>
                  <a:lnTo>
                    <a:pt x="380" y="356"/>
                  </a:lnTo>
                  <a:lnTo>
                    <a:pt x="380" y="356"/>
                  </a:lnTo>
                  <a:lnTo>
                    <a:pt x="380" y="356"/>
                  </a:lnTo>
                  <a:lnTo>
                    <a:pt x="380" y="356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1" y="360"/>
                  </a:lnTo>
                  <a:lnTo>
                    <a:pt x="381" y="362"/>
                  </a:lnTo>
                  <a:lnTo>
                    <a:pt x="381" y="362"/>
                  </a:lnTo>
                  <a:lnTo>
                    <a:pt x="383" y="362"/>
                  </a:lnTo>
                  <a:lnTo>
                    <a:pt x="383" y="362"/>
                  </a:lnTo>
                  <a:lnTo>
                    <a:pt x="383" y="360"/>
                  </a:lnTo>
                  <a:lnTo>
                    <a:pt x="383" y="360"/>
                  </a:lnTo>
                  <a:lnTo>
                    <a:pt x="383" y="358"/>
                  </a:lnTo>
                  <a:lnTo>
                    <a:pt x="383" y="358"/>
                  </a:lnTo>
                  <a:lnTo>
                    <a:pt x="385" y="358"/>
                  </a:lnTo>
                  <a:lnTo>
                    <a:pt x="385" y="356"/>
                  </a:lnTo>
                  <a:lnTo>
                    <a:pt x="385" y="354"/>
                  </a:lnTo>
                  <a:lnTo>
                    <a:pt x="383" y="354"/>
                  </a:lnTo>
                  <a:lnTo>
                    <a:pt x="383" y="353"/>
                  </a:lnTo>
                  <a:lnTo>
                    <a:pt x="385" y="353"/>
                  </a:lnTo>
                  <a:lnTo>
                    <a:pt x="385" y="354"/>
                  </a:lnTo>
                  <a:lnTo>
                    <a:pt x="387" y="356"/>
                  </a:lnTo>
                  <a:lnTo>
                    <a:pt x="387" y="356"/>
                  </a:lnTo>
                  <a:lnTo>
                    <a:pt x="387" y="356"/>
                  </a:lnTo>
                  <a:lnTo>
                    <a:pt x="387" y="358"/>
                  </a:lnTo>
                  <a:lnTo>
                    <a:pt x="387" y="358"/>
                  </a:lnTo>
                  <a:lnTo>
                    <a:pt x="390" y="358"/>
                  </a:lnTo>
                  <a:lnTo>
                    <a:pt x="392" y="358"/>
                  </a:lnTo>
                  <a:lnTo>
                    <a:pt x="394" y="356"/>
                  </a:lnTo>
                  <a:lnTo>
                    <a:pt x="394" y="358"/>
                  </a:lnTo>
                  <a:lnTo>
                    <a:pt x="389" y="360"/>
                  </a:lnTo>
                  <a:lnTo>
                    <a:pt x="389" y="360"/>
                  </a:lnTo>
                  <a:lnTo>
                    <a:pt x="389" y="362"/>
                  </a:lnTo>
                  <a:lnTo>
                    <a:pt x="387" y="363"/>
                  </a:lnTo>
                  <a:lnTo>
                    <a:pt x="387" y="363"/>
                  </a:lnTo>
                  <a:lnTo>
                    <a:pt x="387" y="363"/>
                  </a:lnTo>
                  <a:lnTo>
                    <a:pt x="387" y="365"/>
                  </a:lnTo>
                  <a:lnTo>
                    <a:pt x="387" y="365"/>
                  </a:lnTo>
                  <a:lnTo>
                    <a:pt x="385" y="365"/>
                  </a:lnTo>
                  <a:lnTo>
                    <a:pt x="385" y="365"/>
                  </a:lnTo>
                  <a:lnTo>
                    <a:pt x="387" y="367"/>
                  </a:lnTo>
                  <a:lnTo>
                    <a:pt x="385" y="369"/>
                  </a:lnTo>
                  <a:lnTo>
                    <a:pt x="385" y="371"/>
                  </a:lnTo>
                  <a:lnTo>
                    <a:pt x="385" y="371"/>
                  </a:lnTo>
                  <a:lnTo>
                    <a:pt x="385" y="371"/>
                  </a:lnTo>
                  <a:lnTo>
                    <a:pt x="389" y="371"/>
                  </a:lnTo>
                  <a:lnTo>
                    <a:pt x="389" y="371"/>
                  </a:lnTo>
                  <a:lnTo>
                    <a:pt x="390" y="369"/>
                  </a:lnTo>
                  <a:lnTo>
                    <a:pt x="392" y="365"/>
                  </a:lnTo>
                  <a:lnTo>
                    <a:pt x="394" y="365"/>
                  </a:lnTo>
                  <a:lnTo>
                    <a:pt x="394" y="363"/>
                  </a:lnTo>
                  <a:lnTo>
                    <a:pt x="396" y="363"/>
                  </a:lnTo>
                  <a:lnTo>
                    <a:pt x="396" y="363"/>
                  </a:lnTo>
                  <a:lnTo>
                    <a:pt x="396" y="362"/>
                  </a:lnTo>
                  <a:lnTo>
                    <a:pt x="396" y="360"/>
                  </a:lnTo>
                  <a:lnTo>
                    <a:pt x="398" y="358"/>
                  </a:lnTo>
                  <a:lnTo>
                    <a:pt x="399" y="358"/>
                  </a:lnTo>
                  <a:lnTo>
                    <a:pt x="399" y="358"/>
                  </a:lnTo>
                  <a:lnTo>
                    <a:pt x="401" y="356"/>
                  </a:lnTo>
                  <a:lnTo>
                    <a:pt x="403" y="354"/>
                  </a:lnTo>
                  <a:lnTo>
                    <a:pt x="403" y="354"/>
                  </a:lnTo>
                  <a:lnTo>
                    <a:pt x="403" y="353"/>
                  </a:lnTo>
                  <a:lnTo>
                    <a:pt x="403" y="353"/>
                  </a:lnTo>
                  <a:lnTo>
                    <a:pt x="403" y="353"/>
                  </a:lnTo>
                  <a:lnTo>
                    <a:pt x="403" y="349"/>
                  </a:lnTo>
                  <a:lnTo>
                    <a:pt x="399" y="349"/>
                  </a:lnTo>
                  <a:lnTo>
                    <a:pt x="399" y="349"/>
                  </a:lnTo>
                  <a:lnTo>
                    <a:pt x="398" y="349"/>
                  </a:lnTo>
                  <a:lnTo>
                    <a:pt x="396" y="349"/>
                  </a:lnTo>
                  <a:lnTo>
                    <a:pt x="394" y="351"/>
                  </a:lnTo>
                  <a:lnTo>
                    <a:pt x="392" y="351"/>
                  </a:lnTo>
                  <a:lnTo>
                    <a:pt x="392" y="351"/>
                  </a:lnTo>
                  <a:lnTo>
                    <a:pt x="392" y="351"/>
                  </a:lnTo>
                  <a:lnTo>
                    <a:pt x="392" y="351"/>
                  </a:lnTo>
                  <a:lnTo>
                    <a:pt x="390" y="351"/>
                  </a:lnTo>
                  <a:lnTo>
                    <a:pt x="390" y="351"/>
                  </a:lnTo>
                  <a:lnTo>
                    <a:pt x="390" y="351"/>
                  </a:lnTo>
                  <a:lnTo>
                    <a:pt x="390" y="349"/>
                  </a:lnTo>
                  <a:lnTo>
                    <a:pt x="389" y="349"/>
                  </a:lnTo>
                  <a:lnTo>
                    <a:pt x="389" y="349"/>
                  </a:lnTo>
                  <a:lnTo>
                    <a:pt x="387" y="349"/>
                  </a:lnTo>
                  <a:lnTo>
                    <a:pt x="387" y="349"/>
                  </a:lnTo>
                  <a:lnTo>
                    <a:pt x="385" y="347"/>
                  </a:lnTo>
                  <a:lnTo>
                    <a:pt x="385" y="347"/>
                  </a:lnTo>
                  <a:lnTo>
                    <a:pt x="383" y="349"/>
                  </a:lnTo>
                  <a:lnTo>
                    <a:pt x="381" y="349"/>
                  </a:lnTo>
                  <a:lnTo>
                    <a:pt x="381" y="347"/>
                  </a:lnTo>
                  <a:lnTo>
                    <a:pt x="383" y="347"/>
                  </a:lnTo>
                  <a:lnTo>
                    <a:pt x="383" y="347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78" y="345"/>
                  </a:lnTo>
                  <a:lnTo>
                    <a:pt x="380" y="345"/>
                  </a:lnTo>
                  <a:lnTo>
                    <a:pt x="381" y="344"/>
                  </a:lnTo>
                  <a:lnTo>
                    <a:pt x="381" y="344"/>
                  </a:lnTo>
                  <a:lnTo>
                    <a:pt x="381" y="342"/>
                  </a:lnTo>
                  <a:lnTo>
                    <a:pt x="380" y="342"/>
                  </a:lnTo>
                  <a:lnTo>
                    <a:pt x="380" y="342"/>
                  </a:lnTo>
                  <a:lnTo>
                    <a:pt x="380" y="340"/>
                  </a:lnTo>
                  <a:lnTo>
                    <a:pt x="380" y="338"/>
                  </a:lnTo>
                  <a:lnTo>
                    <a:pt x="380" y="338"/>
                  </a:lnTo>
                  <a:lnTo>
                    <a:pt x="380" y="338"/>
                  </a:lnTo>
                  <a:lnTo>
                    <a:pt x="380" y="336"/>
                  </a:lnTo>
                  <a:lnTo>
                    <a:pt x="380" y="336"/>
                  </a:lnTo>
                  <a:lnTo>
                    <a:pt x="378" y="336"/>
                  </a:lnTo>
                  <a:lnTo>
                    <a:pt x="378" y="336"/>
                  </a:lnTo>
                  <a:lnTo>
                    <a:pt x="376" y="338"/>
                  </a:lnTo>
                  <a:lnTo>
                    <a:pt x="378" y="336"/>
                  </a:lnTo>
                  <a:lnTo>
                    <a:pt x="378" y="335"/>
                  </a:lnTo>
                  <a:lnTo>
                    <a:pt x="380" y="335"/>
                  </a:lnTo>
                  <a:lnTo>
                    <a:pt x="380" y="333"/>
                  </a:lnTo>
                  <a:lnTo>
                    <a:pt x="380" y="331"/>
                  </a:lnTo>
                  <a:lnTo>
                    <a:pt x="380" y="329"/>
                  </a:lnTo>
                  <a:lnTo>
                    <a:pt x="380" y="329"/>
                  </a:lnTo>
                  <a:lnTo>
                    <a:pt x="380" y="326"/>
                  </a:lnTo>
                  <a:lnTo>
                    <a:pt x="378" y="320"/>
                  </a:lnTo>
                  <a:lnTo>
                    <a:pt x="378" y="318"/>
                  </a:lnTo>
                  <a:close/>
                  <a:moveTo>
                    <a:pt x="327" y="307"/>
                  </a:moveTo>
                  <a:lnTo>
                    <a:pt x="329" y="307"/>
                  </a:lnTo>
                  <a:lnTo>
                    <a:pt x="327" y="306"/>
                  </a:lnTo>
                  <a:lnTo>
                    <a:pt x="327" y="306"/>
                  </a:lnTo>
                  <a:lnTo>
                    <a:pt x="325" y="307"/>
                  </a:lnTo>
                  <a:lnTo>
                    <a:pt x="325" y="309"/>
                  </a:lnTo>
                  <a:lnTo>
                    <a:pt x="327" y="307"/>
                  </a:lnTo>
                  <a:close/>
                  <a:moveTo>
                    <a:pt x="255" y="297"/>
                  </a:moveTo>
                  <a:lnTo>
                    <a:pt x="255" y="297"/>
                  </a:lnTo>
                  <a:lnTo>
                    <a:pt x="255" y="298"/>
                  </a:lnTo>
                  <a:lnTo>
                    <a:pt x="257" y="298"/>
                  </a:lnTo>
                  <a:lnTo>
                    <a:pt x="257" y="298"/>
                  </a:lnTo>
                  <a:lnTo>
                    <a:pt x="259" y="298"/>
                  </a:lnTo>
                  <a:lnTo>
                    <a:pt x="257" y="298"/>
                  </a:lnTo>
                  <a:lnTo>
                    <a:pt x="255" y="297"/>
                  </a:lnTo>
                  <a:close/>
                  <a:moveTo>
                    <a:pt x="333" y="293"/>
                  </a:moveTo>
                  <a:lnTo>
                    <a:pt x="333" y="293"/>
                  </a:lnTo>
                  <a:lnTo>
                    <a:pt x="333" y="291"/>
                  </a:lnTo>
                  <a:lnTo>
                    <a:pt x="334" y="291"/>
                  </a:lnTo>
                  <a:lnTo>
                    <a:pt x="334" y="289"/>
                  </a:lnTo>
                  <a:lnTo>
                    <a:pt x="336" y="291"/>
                  </a:lnTo>
                  <a:lnTo>
                    <a:pt x="336" y="291"/>
                  </a:lnTo>
                  <a:lnTo>
                    <a:pt x="336" y="289"/>
                  </a:lnTo>
                  <a:lnTo>
                    <a:pt x="334" y="288"/>
                  </a:lnTo>
                  <a:lnTo>
                    <a:pt x="334" y="289"/>
                  </a:lnTo>
                  <a:lnTo>
                    <a:pt x="333" y="291"/>
                  </a:lnTo>
                  <a:lnTo>
                    <a:pt x="333" y="291"/>
                  </a:lnTo>
                  <a:lnTo>
                    <a:pt x="333" y="291"/>
                  </a:lnTo>
                  <a:lnTo>
                    <a:pt x="333" y="291"/>
                  </a:lnTo>
                  <a:lnTo>
                    <a:pt x="333" y="293"/>
                  </a:lnTo>
                  <a:close/>
                  <a:moveTo>
                    <a:pt x="342" y="259"/>
                  </a:moveTo>
                  <a:lnTo>
                    <a:pt x="343" y="261"/>
                  </a:lnTo>
                  <a:lnTo>
                    <a:pt x="343" y="261"/>
                  </a:lnTo>
                  <a:lnTo>
                    <a:pt x="343" y="261"/>
                  </a:lnTo>
                  <a:lnTo>
                    <a:pt x="342" y="261"/>
                  </a:lnTo>
                  <a:lnTo>
                    <a:pt x="342" y="261"/>
                  </a:lnTo>
                  <a:lnTo>
                    <a:pt x="347" y="261"/>
                  </a:lnTo>
                  <a:lnTo>
                    <a:pt x="347" y="261"/>
                  </a:lnTo>
                  <a:lnTo>
                    <a:pt x="345" y="259"/>
                  </a:lnTo>
                  <a:lnTo>
                    <a:pt x="345" y="259"/>
                  </a:lnTo>
                  <a:lnTo>
                    <a:pt x="345" y="259"/>
                  </a:lnTo>
                  <a:lnTo>
                    <a:pt x="345" y="259"/>
                  </a:lnTo>
                  <a:lnTo>
                    <a:pt x="343" y="257"/>
                  </a:lnTo>
                  <a:lnTo>
                    <a:pt x="342" y="257"/>
                  </a:lnTo>
                  <a:lnTo>
                    <a:pt x="342" y="257"/>
                  </a:lnTo>
                  <a:lnTo>
                    <a:pt x="342" y="259"/>
                  </a:lnTo>
                  <a:lnTo>
                    <a:pt x="342" y="259"/>
                  </a:lnTo>
                  <a:close/>
                  <a:moveTo>
                    <a:pt x="331" y="270"/>
                  </a:moveTo>
                  <a:lnTo>
                    <a:pt x="331" y="270"/>
                  </a:lnTo>
                  <a:lnTo>
                    <a:pt x="331" y="271"/>
                  </a:lnTo>
                  <a:lnTo>
                    <a:pt x="331" y="271"/>
                  </a:lnTo>
                  <a:lnTo>
                    <a:pt x="333" y="275"/>
                  </a:lnTo>
                  <a:lnTo>
                    <a:pt x="333" y="275"/>
                  </a:lnTo>
                  <a:lnTo>
                    <a:pt x="334" y="273"/>
                  </a:lnTo>
                  <a:lnTo>
                    <a:pt x="334" y="275"/>
                  </a:lnTo>
                  <a:lnTo>
                    <a:pt x="334" y="275"/>
                  </a:lnTo>
                  <a:lnTo>
                    <a:pt x="334" y="275"/>
                  </a:lnTo>
                  <a:lnTo>
                    <a:pt x="333" y="275"/>
                  </a:lnTo>
                  <a:lnTo>
                    <a:pt x="334" y="275"/>
                  </a:lnTo>
                  <a:lnTo>
                    <a:pt x="334" y="277"/>
                  </a:lnTo>
                  <a:lnTo>
                    <a:pt x="334" y="277"/>
                  </a:lnTo>
                  <a:lnTo>
                    <a:pt x="334" y="277"/>
                  </a:lnTo>
                  <a:lnTo>
                    <a:pt x="333" y="277"/>
                  </a:lnTo>
                  <a:lnTo>
                    <a:pt x="333" y="277"/>
                  </a:lnTo>
                  <a:lnTo>
                    <a:pt x="334" y="277"/>
                  </a:lnTo>
                  <a:lnTo>
                    <a:pt x="340" y="277"/>
                  </a:lnTo>
                  <a:lnTo>
                    <a:pt x="336" y="279"/>
                  </a:lnTo>
                  <a:lnTo>
                    <a:pt x="334" y="279"/>
                  </a:lnTo>
                  <a:lnTo>
                    <a:pt x="333" y="279"/>
                  </a:lnTo>
                  <a:lnTo>
                    <a:pt x="333" y="279"/>
                  </a:lnTo>
                  <a:lnTo>
                    <a:pt x="333" y="279"/>
                  </a:lnTo>
                  <a:lnTo>
                    <a:pt x="333" y="279"/>
                  </a:lnTo>
                  <a:lnTo>
                    <a:pt x="333" y="279"/>
                  </a:lnTo>
                  <a:lnTo>
                    <a:pt x="333" y="280"/>
                  </a:lnTo>
                  <a:lnTo>
                    <a:pt x="333" y="280"/>
                  </a:lnTo>
                  <a:lnTo>
                    <a:pt x="333" y="280"/>
                  </a:lnTo>
                  <a:lnTo>
                    <a:pt x="331" y="280"/>
                  </a:lnTo>
                  <a:lnTo>
                    <a:pt x="331" y="282"/>
                  </a:lnTo>
                  <a:lnTo>
                    <a:pt x="333" y="284"/>
                  </a:lnTo>
                  <a:lnTo>
                    <a:pt x="333" y="284"/>
                  </a:lnTo>
                  <a:lnTo>
                    <a:pt x="334" y="284"/>
                  </a:lnTo>
                  <a:lnTo>
                    <a:pt x="334" y="284"/>
                  </a:lnTo>
                  <a:lnTo>
                    <a:pt x="336" y="286"/>
                  </a:lnTo>
                  <a:lnTo>
                    <a:pt x="338" y="286"/>
                  </a:lnTo>
                  <a:lnTo>
                    <a:pt x="340" y="286"/>
                  </a:lnTo>
                  <a:lnTo>
                    <a:pt x="340" y="288"/>
                  </a:lnTo>
                  <a:lnTo>
                    <a:pt x="342" y="288"/>
                  </a:lnTo>
                  <a:lnTo>
                    <a:pt x="343" y="288"/>
                  </a:lnTo>
                  <a:lnTo>
                    <a:pt x="343" y="288"/>
                  </a:lnTo>
                  <a:lnTo>
                    <a:pt x="343" y="288"/>
                  </a:lnTo>
                  <a:lnTo>
                    <a:pt x="343" y="288"/>
                  </a:lnTo>
                  <a:lnTo>
                    <a:pt x="343" y="289"/>
                  </a:lnTo>
                  <a:lnTo>
                    <a:pt x="343" y="289"/>
                  </a:lnTo>
                  <a:lnTo>
                    <a:pt x="343" y="289"/>
                  </a:lnTo>
                  <a:lnTo>
                    <a:pt x="343" y="289"/>
                  </a:lnTo>
                  <a:lnTo>
                    <a:pt x="345" y="289"/>
                  </a:lnTo>
                  <a:lnTo>
                    <a:pt x="343" y="289"/>
                  </a:lnTo>
                  <a:lnTo>
                    <a:pt x="342" y="289"/>
                  </a:lnTo>
                  <a:lnTo>
                    <a:pt x="340" y="289"/>
                  </a:lnTo>
                  <a:lnTo>
                    <a:pt x="338" y="291"/>
                  </a:lnTo>
                  <a:lnTo>
                    <a:pt x="338" y="291"/>
                  </a:lnTo>
                  <a:lnTo>
                    <a:pt x="340" y="293"/>
                  </a:lnTo>
                  <a:lnTo>
                    <a:pt x="338" y="293"/>
                  </a:lnTo>
                  <a:lnTo>
                    <a:pt x="336" y="293"/>
                  </a:lnTo>
                  <a:lnTo>
                    <a:pt x="336" y="295"/>
                  </a:lnTo>
                  <a:lnTo>
                    <a:pt x="333" y="298"/>
                  </a:lnTo>
                  <a:lnTo>
                    <a:pt x="333" y="297"/>
                  </a:lnTo>
                  <a:lnTo>
                    <a:pt x="331" y="297"/>
                  </a:lnTo>
                  <a:lnTo>
                    <a:pt x="331" y="297"/>
                  </a:lnTo>
                  <a:lnTo>
                    <a:pt x="331" y="297"/>
                  </a:lnTo>
                  <a:lnTo>
                    <a:pt x="329" y="297"/>
                  </a:lnTo>
                  <a:lnTo>
                    <a:pt x="329" y="297"/>
                  </a:lnTo>
                  <a:lnTo>
                    <a:pt x="331" y="298"/>
                  </a:lnTo>
                  <a:lnTo>
                    <a:pt x="331" y="298"/>
                  </a:lnTo>
                  <a:lnTo>
                    <a:pt x="331" y="298"/>
                  </a:lnTo>
                  <a:lnTo>
                    <a:pt x="334" y="302"/>
                  </a:lnTo>
                  <a:lnTo>
                    <a:pt x="334" y="302"/>
                  </a:lnTo>
                  <a:lnTo>
                    <a:pt x="336" y="306"/>
                  </a:lnTo>
                  <a:lnTo>
                    <a:pt x="338" y="306"/>
                  </a:lnTo>
                  <a:lnTo>
                    <a:pt x="338" y="306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43" y="300"/>
                  </a:lnTo>
                  <a:lnTo>
                    <a:pt x="343" y="300"/>
                  </a:lnTo>
                  <a:lnTo>
                    <a:pt x="343" y="298"/>
                  </a:lnTo>
                  <a:lnTo>
                    <a:pt x="343" y="298"/>
                  </a:lnTo>
                  <a:lnTo>
                    <a:pt x="343" y="298"/>
                  </a:lnTo>
                  <a:lnTo>
                    <a:pt x="343" y="297"/>
                  </a:lnTo>
                  <a:lnTo>
                    <a:pt x="343" y="297"/>
                  </a:lnTo>
                  <a:lnTo>
                    <a:pt x="345" y="298"/>
                  </a:lnTo>
                  <a:lnTo>
                    <a:pt x="347" y="298"/>
                  </a:lnTo>
                  <a:lnTo>
                    <a:pt x="347" y="298"/>
                  </a:lnTo>
                  <a:lnTo>
                    <a:pt x="347" y="298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9" y="297"/>
                  </a:lnTo>
                  <a:lnTo>
                    <a:pt x="349" y="297"/>
                  </a:lnTo>
                  <a:lnTo>
                    <a:pt x="349" y="297"/>
                  </a:lnTo>
                  <a:lnTo>
                    <a:pt x="349" y="295"/>
                  </a:lnTo>
                  <a:lnTo>
                    <a:pt x="347" y="293"/>
                  </a:lnTo>
                  <a:lnTo>
                    <a:pt x="347" y="293"/>
                  </a:lnTo>
                  <a:lnTo>
                    <a:pt x="347" y="293"/>
                  </a:lnTo>
                  <a:lnTo>
                    <a:pt x="345" y="293"/>
                  </a:lnTo>
                  <a:lnTo>
                    <a:pt x="345" y="291"/>
                  </a:lnTo>
                  <a:lnTo>
                    <a:pt x="347" y="291"/>
                  </a:lnTo>
                  <a:lnTo>
                    <a:pt x="347" y="291"/>
                  </a:lnTo>
                  <a:lnTo>
                    <a:pt x="347" y="289"/>
                  </a:lnTo>
                  <a:lnTo>
                    <a:pt x="349" y="291"/>
                  </a:lnTo>
                  <a:lnTo>
                    <a:pt x="352" y="293"/>
                  </a:lnTo>
                  <a:lnTo>
                    <a:pt x="352" y="289"/>
                  </a:lnTo>
                  <a:lnTo>
                    <a:pt x="352" y="289"/>
                  </a:lnTo>
                  <a:lnTo>
                    <a:pt x="352" y="289"/>
                  </a:lnTo>
                  <a:lnTo>
                    <a:pt x="352" y="289"/>
                  </a:lnTo>
                  <a:lnTo>
                    <a:pt x="351" y="289"/>
                  </a:lnTo>
                  <a:lnTo>
                    <a:pt x="351" y="288"/>
                  </a:lnTo>
                  <a:lnTo>
                    <a:pt x="351" y="288"/>
                  </a:lnTo>
                  <a:lnTo>
                    <a:pt x="352" y="288"/>
                  </a:lnTo>
                  <a:lnTo>
                    <a:pt x="352" y="288"/>
                  </a:lnTo>
                  <a:lnTo>
                    <a:pt x="352" y="288"/>
                  </a:lnTo>
                  <a:lnTo>
                    <a:pt x="352" y="288"/>
                  </a:lnTo>
                  <a:lnTo>
                    <a:pt x="351" y="286"/>
                  </a:lnTo>
                  <a:lnTo>
                    <a:pt x="351" y="286"/>
                  </a:lnTo>
                  <a:lnTo>
                    <a:pt x="351" y="286"/>
                  </a:lnTo>
                  <a:lnTo>
                    <a:pt x="349" y="284"/>
                  </a:lnTo>
                  <a:lnTo>
                    <a:pt x="349" y="282"/>
                  </a:lnTo>
                  <a:lnTo>
                    <a:pt x="347" y="280"/>
                  </a:lnTo>
                  <a:lnTo>
                    <a:pt x="349" y="280"/>
                  </a:lnTo>
                  <a:lnTo>
                    <a:pt x="351" y="279"/>
                  </a:lnTo>
                  <a:lnTo>
                    <a:pt x="351" y="277"/>
                  </a:lnTo>
                  <a:lnTo>
                    <a:pt x="351" y="277"/>
                  </a:lnTo>
                  <a:lnTo>
                    <a:pt x="351" y="275"/>
                  </a:lnTo>
                  <a:lnTo>
                    <a:pt x="356" y="275"/>
                  </a:lnTo>
                  <a:lnTo>
                    <a:pt x="356" y="277"/>
                  </a:lnTo>
                  <a:lnTo>
                    <a:pt x="354" y="277"/>
                  </a:lnTo>
                  <a:lnTo>
                    <a:pt x="352" y="277"/>
                  </a:lnTo>
                  <a:lnTo>
                    <a:pt x="351" y="279"/>
                  </a:lnTo>
                  <a:lnTo>
                    <a:pt x="351" y="280"/>
                  </a:lnTo>
                  <a:lnTo>
                    <a:pt x="351" y="282"/>
                  </a:lnTo>
                  <a:lnTo>
                    <a:pt x="351" y="284"/>
                  </a:lnTo>
                  <a:lnTo>
                    <a:pt x="352" y="286"/>
                  </a:lnTo>
                  <a:lnTo>
                    <a:pt x="352" y="288"/>
                  </a:lnTo>
                  <a:lnTo>
                    <a:pt x="352" y="288"/>
                  </a:lnTo>
                  <a:lnTo>
                    <a:pt x="354" y="288"/>
                  </a:lnTo>
                  <a:lnTo>
                    <a:pt x="354" y="289"/>
                  </a:lnTo>
                  <a:lnTo>
                    <a:pt x="356" y="288"/>
                  </a:lnTo>
                  <a:lnTo>
                    <a:pt x="354" y="288"/>
                  </a:lnTo>
                  <a:lnTo>
                    <a:pt x="354" y="286"/>
                  </a:lnTo>
                  <a:lnTo>
                    <a:pt x="354" y="286"/>
                  </a:lnTo>
                  <a:lnTo>
                    <a:pt x="354" y="286"/>
                  </a:lnTo>
                  <a:lnTo>
                    <a:pt x="354" y="286"/>
                  </a:lnTo>
                  <a:lnTo>
                    <a:pt x="356" y="286"/>
                  </a:lnTo>
                  <a:lnTo>
                    <a:pt x="356" y="288"/>
                  </a:lnTo>
                  <a:lnTo>
                    <a:pt x="356" y="288"/>
                  </a:lnTo>
                  <a:lnTo>
                    <a:pt x="358" y="289"/>
                  </a:lnTo>
                  <a:lnTo>
                    <a:pt x="358" y="289"/>
                  </a:lnTo>
                  <a:lnTo>
                    <a:pt x="360" y="288"/>
                  </a:lnTo>
                  <a:lnTo>
                    <a:pt x="360" y="288"/>
                  </a:lnTo>
                  <a:lnTo>
                    <a:pt x="360" y="288"/>
                  </a:lnTo>
                  <a:lnTo>
                    <a:pt x="358" y="288"/>
                  </a:lnTo>
                  <a:lnTo>
                    <a:pt x="358" y="288"/>
                  </a:lnTo>
                  <a:lnTo>
                    <a:pt x="358" y="286"/>
                  </a:lnTo>
                  <a:lnTo>
                    <a:pt x="360" y="286"/>
                  </a:lnTo>
                  <a:lnTo>
                    <a:pt x="360" y="288"/>
                  </a:lnTo>
                  <a:lnTo>
                    <a:pt x="361" y="288"/>
                  </a:lnTo>
                  <a:lnTo>
                    <a:pt x="361" y="286"/>
                  </a:lnTo>
                  <a:lnTo>
                    <a:pt x="361" y="286"/>
                  </a:lnTo>
                  <a:lnTo>
                    <a:pt x="363" y="284"/>
                  </a:lnTo>
                  <a:lnTo>
                    <a:pt x="363" y="284"/>
                  </a:lnTo>
                  <a:lnTo>
                    <a:pt x="363" y="284"/>
                  </a:lnTo>
                  <a:lnTo>
                    <a:pt x="363" y="282"/>
                  </a:lnTo>
                  <a:lnTo>
                    <a:pt x="361" y="282"/>
                  </a:lnTo>
                  <a:lnTo>
                    <a:pt x="360" y="280"/>
                  </a:lnTo>
                  <a:lnTo>
                    <a:pt x="360" y="280"/>
                  </a:lnTo>
                  <a:lnTo>
                    <a:pt x="358" y="280"/>
                  </a:lnTo>
                  <a:lnTo>
                    <a:pt x="358" y="279"/>
                  </a:lnTo>
                  <a:lnTo>
                    <a:pt x="360" y="279"/>
                  </a:lnTo>
                  <a:lnTo>
                    <a:pt x="360" y="280"/>
                  </a:lnTo>
                  <a:lnTo>
                    <a:pt x="365" y="280"/>
                  </a:lnTo>
                  <a:lnTo>
                    <a:pt x="365" y="280"/>
                  </a:lnTo>
                  <a:lnTo>
                    <a:pt x="367" y="279"/>
                  </a:lnTo>
                  <a:lnTo>
                    <a:pt x="367" y="279"/>
                  </a:lnTo>
                  <a:lnTo>
                    <a:pt x="369" y="277"/>
                  </a:lnTo>
                  <a:lnTo>
                    <a:pt x="367" y="277"/>
                  </a:lnTo>
                  <a:lnTo>
                    <a:pt x="367" y="277"/>
                  </a:lnTo>
                  <a:lnTo>
                    <a:pt x="367" y="277"/>
                  </a:lnTo>
                  <a:lnTo>
                    <a:pt x="365" y="277"/>
                  </a:lnTo>
                  <a:lnTo>
                    <a:pt x="367" y="277"/>
                  </a:lnTo>
                  <a:lnTo>
                    <a:pt x="367" y="277"/>
                  </a:lnTo>
                  <a:lnTo>
                    <a:pt x="367" y="277"/>
                  </a:lnTo>
                  <a:lnTo>
                    <a:pt x="367" y="275"/>
                  </a:lnTo>
                  <a:lnTo>
                    <a:pt x="367" y="275"/>
                  </a:lnTo>
                  <a:lnTo>
                    <a:pt x="367" y="275"/>
                  </a:lnTo>
                  <a:lnTo>
                    <a:pt x="367" y="273"/>
                  </a:lnTo>
                  <a:lnTo>
                    <a:pt x="367" y="273"/>
                  </a:lnTo>
                  <a:lnTo>
                    <a:pt x="367" y="271"/>
                  </a:lnTo>
                  <a:lnTo>
                    <a:pt x="365" y="271"/>
                  </a:lnTo>
                  <a:lnTo>
                    <a:pt x="365" y="271"/>
                  </a:lnTo>
                  <a:lnTo>
                    <a:pt x="363" y="271"/>
                  </a:lnTo>
                  <a:lnTo>
                    <a:pt x="356" y="273"/>
                  </a:lnTo>
                  <a:lnTo>
                    <a:pt x="354" y="273"/>
                  </a:lnTo>
                  <a:lnTo>
                    <a:pt x="354" y="273"/>
                  </a:lnTo>
                  <a:lnTo>
                    <a:pt x="356" y="273"/>
                  </a:lnTo>
                  <a:lnTo>
                    <a:pt x="358" y="271"/>
                  </a:lnTo>
                  <a:lnTo>
                    <a:pt x="360" y="271"/>
                  </a:lnTo>
                  <a:lnTo>
                    <a:pt x="360" y="271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1" y="271"/>
                  </a:lnTo>
                  <a:lnTo>
                    <a:pt x="363" y="270"/>
                  </a:lnTo>
                  <a:lnTo>
                    <a:pt x="367" y="268"/>
                  </a:lnTo>
                  <a:lnTo>
                    <a:pt x="367" y="268"/>
                  </a:lnTo>
                  <a:lnTo>
                    <a:pt x="367" y="268"/>
                  </a:lnTo>
                  <a:lnTo>
                    <a:pt x="367" y="266"/>
                  </a:lnTo>
                  <a:lnTo>
                    <a:pt x="367" y="266"/>
                  </a:lnTo>
                  <a:lnTo>
                    <a:pt x="367" y="266"/>
                  </a:lnTo>
                  <a:lnTo>
                    <a:pt x="367" y="264"/>
                  </a:lnTo>
                  <a:lnTo>
                    <a:pt x="365" y="261"/>
                  </a:lnTo>
                  <a:lnTo>
                    <a:pt x="367" y="261"/>
                  </a:lnTo>
                  <a:lnTo>
                    <a:pt x="369" y="262"/>
                  </a:lnTo>
                  <a:lnTo>
                    <a:pt x="369" y="262"/>
                  </a:lnTo>
                  <a:lnTo>
                    <a:pt x="371" y="262"/>
                  </a:lnTo>
                  <a:lnTo>
                    <a:pt x="372" y="262"/>
                  </a:lnTo>
                  <a:lnTo>
                    <a:pt x="374" y="264"/>
                  </a:lnTo>
                  <a:lnTo>
                    <a:pt x="374" y="264"/>
                  </a:lnTo>
                  <a:lnTo>
                    <a:pt x="376" y="262"/>
                  </a:lnTo>
                  <a:lnTo>
                    <a:pt x="376" y="262"/>
                  </a:lnTo>
                  <a:lnTo>
                    <a:pt x="376" y="262"/>
                  </a:lnTo>
                  <a:lnTo>
                    <a:pt x="376" y="262"/>
                  </a:lnTo>
                  <a:lnTo>
                    <a:pt x="376" y="261"/>
                  </a:lnTo>
                  <a:lnTo>
                    <a:pt x="378" y="261"/>
                  </a:lnTo>
                  <a:lnTo>
                    <a:pt x="378" y="259"/>
                  </a:lnTo>
                  <a:lnTo>
                    <a:pt x="378" y="259"/>
                  </a:lnTo>
                  <a:lnTo>
                    <a:pt x="378" y="259"/>
                  </a:lnTo>
                  <a:lnTo>
                    <a:pt x="378" y="259"/>
                  </a:lnTo>
                  <a:lnTo>
                    <a:pt x="378" y="259"/>
                  </a:lnTo>
                  <a:lnTo>
                    <a:pt x="378" y="259"/>
                  </a:lnTo>
                  <a:lnTo>
                    <a:pt x="378" y="257"/>
                  </a:lnTo>
                  <a:lnTo>
                    <a:pt x="378" y="257"/>
                  </a:lnTo>
                  <a:lnTo>
                    <a:pt x="378" y="257"/>
                  </a:lnTo>
                  <a:lnTo>
                    <a:pt x="378" y="257"/>
                  </a:lnTo>
                  <a:lnTo>
                    <a:pt x="376" y="257"/>
                  </a:lnTo>
                  <a:lnTo>
                    <a:pt x="374" y="261"/>
                  </a:lnTo>
                  <a:lnTo>
                    <a:pt x="372" y="261"/>
                  </a:lnTo>
                  <a:lnTo>
                    <a:pt x="371" y="261"/>
                  </a:lnTo>
                  <a:lnTo>
                    <a:pt x="369" y="261"/>
                  </a:lnTo>
                  <a:lnTo>
                    <a:pt x="367" y="259"/>
                  </a:lnTo>
                  <a:lnTo>
                    <a:pt x="369" y="259"/>
                  </a:lnTo>
                  <a:lnTo>
                    <a:pt x="369" y="259"/>
                  </a:lnTo>
                  <a:lnTo>
                    <a:pt x="371" y="259"/>
                  </a:lnTo>
                  <a:lnTo>
                    <a:pt x="371" y="257"/>
                  </a:lnTo>
                  <a:lnTo>
                    <a:pt x="371" y="257"/>
                  </a:lnTo>
                  <a:lnTo>
                    <a:pt x="371" y="255"/>
                  </a:lnTo>
                  <a:lnTo>
                    <a:pt x="372" y="255"/>
                  </a:lnTo>
                  <a:lnTo>
                    <a:pt x="372" y="253"/>
                  </a:lnTo>
                  <a:lnTo>
                    <a:pt x="372" y="253"/>
                  </a:lnTo>
                  <a:lnTo>
                    <a:pt x="374" y="253"/>
                  </a:lnTo>
                  <a:lnTo>
                    <a:pt x="374" y="253"/>
                  </a:lnTo>
                  <a:lnTo>
                    <a:pt x="374" y="251"/>
                  </a:lnTo>
                  <a:lnTo>
                    <a:pt x="374" y="251"/>
                  </a:lnTo>
                  <a:lnTo>
                    <a:pt x="374" y="250"/>
                  </a:lnTo>
                  <a:lnTo>
                    <a:pt x="376" y="248"/>
                  </a:lnTo>
                  <a:lnTo>
                    <a:pt x="378" y="248"/>
                  </a:lnTo>
                  <a:lnTo>
                    <a:pt x="378" y="248"/>
                  </a:lnTo>
                  <a:lnTo>
                    <a:pt x="378" y="248"/>
                  </a:lnTo>
                  <a:lnTo>
                    <a:pt x="376" y="248"/>
                  </a:lnTo>
                  <a:lnTo>
                    <a:pt x="376" y="246"/>
                  </a:lnTo>
                  <a:lnTo>
                    <a:pt x="376" y="246"/>
                  </a:lnTo>
                  <a:lnTo>
                    <a:pt x="376" y="242"/>
                  </a:lnTo>
                  <a:lnTo>
                    <a:pt x="376" y="242"/>
                  </a:lnTo>
                  <a:lnTo>
                    <a:pt x="378" y="241"/>
                  </a:lnTo>
                  <a:lnTo>
                    <a:pt x="378" y="241"/>
                  </a:lnTo>
                  <a:lnTo>
                    <a:pt x="376" y="239"/>
                  </a:lnTo>
                  <a:lnTo>
                    <a:pt x="376" y="237"/>
                  </a:lnTo>
                  <a:lnTo>
                    <a:pt x="376" y="235"/>
                  </a:lnTo>
                  <a:lnTo>
                    <a:pt x="374" y="233"/>
                  </a:lnTo>
                  <a:lnTo>
                    <a:pt x="374" y="232"/>
                  </a:lnTo>
                  <a:lnTo>
                    <a:pt x="372" y="232"/>
                  </a:lnTo>
                  <a:lnTo>
                    <a:pt x="371" y="233"/>
                  </a:lnTo>
                  <a:lnTo>
                    <a:pt x="369" y="237"/>
                  </a:lnTo>
                  <a:lnTo>
                    <a:pt x="360" y="244"/>
                  </a:lnTo>
                  <a:lnTo>
                    <a:pt x="358" y="246"/>
                  </a:lnTo>
                  <a:lnTo>
                    <a:pt x="358" y="246"/>
                  </a:lnTo>
                  <a:lnTo>
                    <a:pt x="354" y="248"/>
                  </a:lnTo>
                  <a:lnTo>
                    <a:pt x="354" y="248"/>
                  </a:lnTo>
                  <a:lnTo>
                    <a:pt x="352" y="248"/>
                  </a:lnTo>
                  <a:lnTo>
                    <a:pt x="351" y="248"/>
                  </a:lnTo>
                  <a:lnTo>
                    <a:pt x="351" y="250"/>
                  </a:lnTo>
                  <a:lnTo>
                    <a:pt x="351" y="250"/>
                  </a:lnTo>
                  <a:lnTo>
                    <a:pt x="351" y="250"/>
                  </a:lnTo>
                  <a:lnTo>
                    <a:pt x="349" y="250"/>
                  </a:lnTo>
                  <a:lnTo>
                    <a:pt x="345" y="253"/>
                  </a:lnTo>
                  <a:lnTo>
                    <a:pt x="345" y="253"/>
                  </a:lnTo>
                  <a:lnTo>
                    <a:pt x="345" y="253"/>
                  </a:lnTo>
                  <a:lnTo>
                    <a:pt x="345" y="255"/>
                  </a:lnTo>
                  <a:lnTo>
                    <a:pt x="347" y="255"/>
                  </a:lnTo>
                  <a:lnTo>
                    <a:pt x="345" y="255"/>
                  </a:lnTo>
                  <a:lnTo>
                    <a:pt x="345" y="255"/>
                  </a:lnTo>
                  <a:lnTo>
                    <a:pt x="345" y="255"/>
                  </a:lnTo>
                  <a:lnTo>
                    <a:pt x="345" y="255"/>
                  </a:lnTo>
                  <a:lnTo>
                    <a:pt x="345" y="257"/>
                  </a:lnTo>
                  <a:lnTo>
                    <a:pt x="345" y="257"/>
                  </a:lnTo>
                  <a:lnTo>
                    <a:pt x="347" y="259"/>
                  </a:lnTo>
                  <a:lnTo>
                    <a:pt x="347" y="259"/>
                  </a:lnTo>
                  <a:lnTo>
                    <a:pt x="347" y="259"/>
                  </a:lnTo>
                  <a:lnTo>
                    <a:pt x="347" y="259"/>
                  </a:lnTo>
                  <a:lnTo>
                    <a:pt x="347" y="259"/>
                  </a:lnTo>
                  <a:lnTo>
                    <a:pt x="347" y="259"/>
                  </a:lnTo>
                  <a:lnTo>
                    <a:pt x="349" y="259"/>
                  </a:lnTo>
                  <a:lnTo>
                    <a:pt x="349" y="261"/>
                  </a:lnTo>
                  <a:lnTo>
                    <a:pt x="349" y="261"/>
                  </a:lnTo>
                  <a:lnTo>
                    <a:pt x="349" y="262"/>
                  </a:lnTo>
                  <a:lnTo>
                    <a:pt x="349" y="262"/>
                  </a:lnTo>
                  <a:lnTo>
                    <a:pt x="351" y="262"/>
                  </a:lnTo>
                  <a:lnTo>
                    <a:pt x="349" y="266"/>
                  </a:lnTo>
                  <a:lnTo>
                    <a:pt x="349" y="264"/>
                  </a:lnTo>
                  <a:lnTo>
                    <a:pt x="347" y="262"/>
                  </a:lnTo>
                  <a:lnTo>
                    <a:pt x="345" y="262"/>
                  </a:lnTo>
                  <a:lnTo>
                    <a:pt x="345" y="262"/>
                  </a:lnTo>
                  <a:lnTo>
                    <a:pt x="345" y="262"/>
                  </a:lnTo>
                  <a:lnTo>
                    <a:pt x="342" y="262"/>
                  </a:lnTo>
                  <a:lnTo>
                    <a:pt x="342" y="264"/>
                  </a:lnTo>
                  <a:lnTo>
                    <a:pt x="342" y="264"/>
                  </a:lnTo>
                  <a:lnTo>
                    <a:pt x="342" y="264"/>
                  </a:lnTo>
                  <a:lnTo>
                    <a:pt x="342" y="266"/>
                  </a:lnTo>
                  <a:lnTo>
                    <a:pt x="342" y="266"/>
                  </a:lnTo>
                  <a:lnTo>
                    <a:pt x="343" y="268"/>
                  </a:lnTo>
                  <a:lnTo>
                    <a:pt x="343" y="268"/>
                  </a:lnTo>
                  <a:lnTo>
                    <a:pt x="343" y="270"/>
                  </a:lnTo>
                  <a:lnTo>
                    <a:pt x="343" y="270"/>
                  </a:lnTo>
                  <a:lnTo>
                    <a:pt x="343" y="271"/>
                  </a:lnTo>
                  <a:lnTo>
                    <a:pt x="342" y="270"/>
                  </a:lnTo>
                  <a:lnTo>
                    <a:pt x="342" y="268"/>
                  </a:lnTo>
                  <a:lnTo>
                    <a:pt x="342" y="266"/>
                  </a:lnTo>
                  <a:lnTo>
                    <a:pt x="342" y="264"/>
                  </a:lnTo>
                  <a:lnTo>
                    <a:pt x="340" y="264"/>
                  </a:lnTo>
                  <a:lnTo>
                    <a:pt x="340" y="262"/>
                  </a:lnTo>
                  <a:lnTo>
                    <a:pt x="340" y="261"/>
                  </a:lnTo>
                  <a:lnTo>
                    <a:pt x="340" y="261"/>
                  </a:lnTo>
                  <a:lnTo>
                    <a:pt x="340" y="261"/>
                  </a:lnTo>
                  <a:lnTo>
                    <a:pt x="338" y="259"/>
                  </a:lnTo>
                  <a:lnTo>
                    <a:pt x="338" y="259"/>
                  </a:lnTo>
                  <a:lnTo>
                    <a:pt x="336" y="259"/>
                  </a:lnTo>
                  <a:lnTo>
                    <a:pt x="334" y="259"/>
                  </a:lnTo>
                  <a:lnTo>
                    <a:pt x="334" y="259"/>
                  </a:lnTo>
                  <a:lnTo>
                    <a:pt x="333" y="259"/>
                  </a:lnTo>
                  <a:lnTo>
                    <a:pt x="333" y="261"/>
                  </a:lnTo>
                  <a:lnTo>
                    <a:pt x="333" y="261"/>
                  </a:lnTo>
                  <a:lnTo>
                    <a:pt x="333" y="262"/>
                  </a:lnTo>
                  <a:lnTo>
                    <a:pt x="334" y="262"/>
                  </a:lnTo>
                  <a:lnTo>
                    <a:pt x="334" y="262"/>
                  </a:lnTo>
                  <a:lnTo>
                    <a:pt x="334" y="264"/>
                  </a:lnTo>
                  <a:lnTo>
                    <a:pt x="331" y="264"/>
                  </a:lnTo>
                  <a:lnTo>
                    <a:pt x="331" y="264"/>
                  </a:lnTo>
                  <a:lnTo>
                    <a:pt x="331" y="264"/>
                  </a:lnTo>
                  <a:lnTo>
                    <a:pt x="331" y="264"/>
                  </a:lnTo>
                  <a:lnTo>
                    <a:pt x="331" y="266"/>
                  </a:lnTo>
                  <a:lnTo>
                    <a:pt x="331" y="266"/>
                  </a:lnTo>
                  <a:lnTo>
                    <a:pt x="331" y="266"/>
                  </a:lnTo>
                  <a:lnTo>
                    <a:pt x="331" y="266"/>
                  </a:lnTo>
                  <a:lnTo>
                    <a:pt x="331" y="266"/>
                  </a:lnTo>
                  <a:lnTo>
                    <a:pt x="331" y="268"/>
                  </a:lnTo>
                  <a:lnTo>
                    <a:pt x="329" y="268"/>
                  </a:lnTo>
                  <a:lnTo>
                    <a:pt x="329" y="270"/>
                  </a:lnTo>
                  <a:lnTo>
                    <a:pt x="329" y="270"/>
                  </a:lnTo>
                  <a:lnTo>
                    <a:pt x="331" y="270"/>
                  </a:lnTo>
                  <a:close/>
                  <a:moveTo>
                    <a:pt x="773" y="761"/>
                  </a:moveTo>
                  <a:lnTo>
                    <a:pt x="773" y="759"/>
                  </a:lnTo>
                  <a:lnTo>
                    <a:pt x="773" y="757"/>
                  </a:lnTo>
                  <a:lnTo>
                    <a:pt x="773" y="755"/>
                  </a:lnTo>
                  <a:lnTo>
                    <a:pt x="773" y="754"/>
                  </a:lnTo>
                  <a:lnTo>
                    <a:pt x="773" y="752"/>
                  </a:lnTo>
                  <a:lnTo>
                    <a:pt x="771" y="748"/>
                  </a:lnTo>
                  <a:lnTo>
                    <a:pt x="771" y="745"/>
                  </a:lnTo>
                  <a:lnTo>
                    <a:pt x="770" y="743"/>
                  </a:lnTo>
                  <a:lnTo>
                    <a:pt x="768" y="741"/>
                  </a:lnTo>
                  <a:lnTo>
                    <a:pt x="757" y="732"/>
                  </a:lnTo>
                  <a:lnTo>
                    <a:pt x="750" y="728"/>
                  </a:lnTo>
                  <a:lnTo>
                    <a:pt x="735" y="725"/>
                  </a:lnTo>
                  <a:lnTo>
                    <a:pt x="735" y="725"/>
                  </a:lnTo>
                  <a:lnTo>
                    <a:pt x="735" y="725"/>
                  </a:lnTo>
                  <a:lnTo>
                    <a:pt x="735" y="725"/>
                  </a:lnTo>
                  <a:lnTo>
                    <a:pt x="737" y="727"/>
                  </a:lnTo>
                  <a:lnTo>
                    <a:pt x="737" y="727"/>
                  </a:lnTo>
                  <a:lnTo>
                    <a:pt x="735" y="727"/>
                  </a:lnTo>
                  <a:lnTo>
                    <a:pt x="732" y="727"/>
                  </a:lnTo>
                  <a:lnTo>
                    <a:pt x="730" y="725"/>
                  </a:lnTo>
                  <a:lnTo>
                    <a:pt x="728" y="725"/>
                  </a:lnTo>
                  <a:lnTo>
                    <a:pt x="724" y="725"/>
                  </a:lnTo>
                  <a:lnTo>
                    <a:pt x="723" y="725"/>
                  </a:lnTo>
                  <a:lnTo>
                    <a:pt x="721" y="725"/>
                  </a:lnTo>
                  <a:lnTo>
                    <a:pt x="721" y="725"/>
                  </a:lnTo>
                  <a:lnTo>
                    <a:pt x="719" y="725"/>
                  </a:lnTo>
                  <a:lnTo>
                    <a:pt x="721" y="725"/>
                  </a:lnTo>
                  <a:lnTo>
                    <a:pt x="717" y="725"/>
                  </a:lnTo>
                  <a:lnTo>
                    <a:pt x="715" y="725"/>
                  </a:lnTo>
                  <a:lnTo>
                    <a:pt x="712" y="727"/>
                  </a:lnTo>
                  <a:lnTo>
                    <a:pt x="710" y="728"/>
                  </a:lnTo>
                  <a:lnTo>
                    <a:pt x="710" y="730"/>
                  </a:lnTo>
                  <a:lnTo>
                    <a:pt x="710" y="732"/>
                  </a:lnTo>
                  <a:lnTo>
                    <a:pt x="708" y="734"/>
                  </a:lnTo>
                  <a:lnTo>
                    <a:pt x="708" y="736"/>
                  </a:lnTo>
                  <a:lnTo>
                    <a:pt x="708" y="737"/>
                  </a:lnTo>
                  <a:lnTo>
                    <a:pt x="706" y="739"/>
                  </a:lnTo>
                  <a:lnTo>
                    <a:pt x="705" y="739"/>
                  </a:lnTo>
                  <a:lnTo>
                    <a:pt x="706" y="741"/>
                  </a:lnTo>
                  <a:lnTo>
                    <a:pt x="706" y="743"/>
                  </a:lnTo>
                  <a:lnTo>
                    <a:pt x="705" y="741"/>
                  </a:lnTo>
                  <a:lnTo>
                    <a:pt x="703" y="739"/>
                  </a:lnTo>
                  <a:lnTo>
                    <a:pt x="703" y="739"/>
                  </a:lnTo>
                  <a:lnTo>
                    <a:pt x="701" y="739"/>
                  </a:lnTo>
                  <a:lnTo>
                    <a:pt x="699" y="739"/>
                  </a:lnTo>
                  <a:lnTo>
                    <a:pt x="699" y="739"/>
                  </a:lnTo>
                  <a:lnTo>
                    <a:pt x="697" y="737"/>
                  </a:lnTo>
                  <a:lnTo>
                    <a:pt x="696" y="734"/>
                  </a:lnTo>
                  <a:lnTo>
                    <a:pt x="694" y="734"/>
                  </a:lnTo>
                  <a:lnTo>
                    <a:pt x="694" y="734"/>
                  </a:lnTo>
                  <a:lnTo>
                    <a:pt x="692" y="732"/>
                  </a:lnTo>
                  <a:lnTo>
                    <a:pt x="690" y="732"/>
                  </a:lnTo>
                  <a:lnTo>
                    <a:pt x="688" y="732"/>
                  </a:lnTo>
                  <a:lnTo>
                    <a:pt x="687" y="732"/>
                  </a:lnTo>
                  <a:lnTo>
                    <a:pt x="687" y="732"/>
                  </a:lnTo>
                  <a:lnTo>
                    <a:pt x="688" y="730"/>
                  </a:lnTo>
                  <a:lnTo>
                    <a:pt x="688" y="730"/>
                  </a:lnTo>
                  <a:lnTo>
                    <a:pt x="690" y="728"/>
                  </a:lnTo>
                  <a:lnTo>
                    <a:pt x="690" y="728"/>
                  </a:lnTo>
                  <a:lnTo>
                    <a:pt x="694" y="721"/>
                  </a:lnTo>
                  <a:lnTo>
                    <a:pt x="696" y="721"/>
                  </a:lnTo>
                  <a:lnTo>
                    <a:pt x="696" y="721"/>
                  </a:lnTo>
                  <a:lnTo>
                    <a:pt x="701" y="716"/>
                  </a:lnTo>
                  <a:lnTo>
                    <a:pt x="701" y="716"/>
                  </a:lnTo>
                  <a:lnTo>
                    <a:pt x="703" y="716"/>
                  </a:lnTo>
                  <a:lnTo>
                    <a:pt x="703" y="716"/>
                  </a:lnTo>
                  <a:lnTo>
                    <a:pt x="703" y="716"/>
                  </a:lnTo>
                  <a:lnTo>
                    <a:pt x="705" y="710"/>
                  </a:lnTo>
                  <a:lnTo>
                    <a:pt x="705" y="707"/>
                  </a:lnTo>
                  <a:lnTo>
                    <a:pt x="703" y="703"/>
                  </a:lnTo>
                  <a:lnTo>
                    <a:pt x="699" y="692"/>
                  </a:lnTo>
                  <a:lnTo>
                    <a:pt x="699" y="692"/>
                  </a:lnTo>
                  <a:lnTo>
                    <a:pt x="699" y="690"/>
                  </a:lnTo>
                  <a:lnTo>
                    <a:pt x="697" y="689"/>
                  </a:lnTo>
                  <a:lnTo>
                    <a:pt x="697" y="689"/>
                  </a:lnTo>
                  <a:lnTo>
                    <a:pt x="697" y="689"/>
                  </a:lnTo>
                  <a:lnTo>
                    <a:pt x="696" y="687"/>
                  </a:lnTo>
                  <a:lnTo>
                    <a:pt x="696" y="687"/>
                  </a:lnTo>
                  <a:lnTo>
                    <a:pt x="696" y="687"/>
                  </a:lnTo>
                  <a:lnTo>
                    <a:pt x="696" y="685"/>
                  </a:lnTo>
                  <a:lnTo>
                    <a:pt x="696" y="685"/>
                  </a:lnTo>
                  <a:lnTo>
                    <a:pt x="696" y="683"/>
                  </a:lnTo>
                  <a:lnTo>
                    <a:pt x="694" y="683"/>
                  </a:lnTo>
                  <a:lnTo>
                    <a:pt x="694" y="683"/>
                  </a:lnTo>
                  <a:lnTo>
                    <a:pt x="692" y="683"/>
                  </a:lnTo>
                  <a:lnTo>
                    <a:pt x="692" y="681"/>
                  </a:lnTo>
                  <a:lnTo>
                    <a:pt x="687" y="678"/>
                  </a:lnTo>
                  <a:lnTo>
                    <a:pt x="685" y="676"/>
                  </a:lnTo>
                  <a:lnTo>
                    <a:pt x="683" y="674"/>
                  </a:lnTo>
                  <a:lnTo>
                    <a:pt x="681" y="674"/>
                  </a:lnTo>
                  <a:lnTo>
                    <a:pt x="681" y="674"/>
                  </a:lnTo>
                  <a:lnTo>
                    <a:pt x="679" y="672"/>
                  </a:lnTo>
                  <a:lnTo>
                    <a:pt x="678" y="671"/>
                  </a:lnTo>
                  <a:lnTo>
                    <a:pt x="674" y="665"/>
                  </a:lnTo>
                  <a:lnTo>
                    <a:pt x="672" y="663"/>
                  </a:lnTo>
                  <a:lnTo>
                    <a:pt x="670" y="663"/>
                  </a:lnTo>
                  <a:lnTo>
                    <a:pt x="661" y="665"/>
                  </a:lnTo>
                  <a:lnTo>
                    <a:pt x="661" y="665"/>
                  </a:lnTo>
                  <a:lnTo>
                    <a:pt x="659" y="667"/>
                  </a:lnTo>
                  <a:lnTo>
                    <a:pt x="659" y="665"/>
                  </a:lnTo>
                  <a:lnTo>
                    <a:pt x="658" y="665"/>
                  </a:lnTo>
                  <a:lnTo>
                    <a:pt x="656" y="663"/>
                  </a:lnTo>
                  <a:lnTo>
                    <a:pt x="656" y="663"/>
                  </a:lnTo>
                  <a:lnTo>
                    <a:pt x="654" y="663"/>
                  </a:lnTo>
                  <a:lnTo>
                    <a:pt x="652" y="663"/>
                  </a:lnTo>
                  <a:lnTo>
                    <a:pt x="652" y="665"/>
                  </a:lnTo>
                  <a:lnTo>
                    <a:pt x="650" y="665"/>
                  </a:lnTo>
                  <a:lnTo>
                    <a:pt x="650" y="665"/>
                  </a:lnTo>
                  <a:lnTo>
                    <a:pt x="650" y="665"/>
                  </a:lnTo>
                  <a:lnTo>
                    <a:pt x="650" y="663"/>
                  </a:lnTo>
                  <a:lnTo>
                    <a:pt x="654" y="662"/>
                  </a:lnTo>
                  <a:lnTo>
                    <a:pt x="654" y="662"/>
                  </a:lnTo>
                  <a:lnTo>
                    <a:pt x="658" y="662"/>
                  </a:lnTo>
                  <a:lnTo>
                    <a:pt x="658" y="662"/>
                  </a:lnTo>
                  <a:lnTo>
                    <a:pt x="659" y="663"/>
                  </a:lnTo>
                  <a:lnTo>
                    <a:pt x="659" y="663"/>
                  </a:lnTo>
                  <a:lnTo>
                    <a:pt x="661" y="663"/>
                  </a:lnTo>
                  <a:lnTo>
                    <a:pt x="665" y="663"/>
                  </a:lnTo>
                  <a:lnTo>
                    <a:pt x="670" y="662"/>
                  </a:lnTo>
                  <a:lnTo>
                    <a:pt x="672" y="662"/>
                  </a:lnTo>
                  <a:lnTo>
                    <a:pt x="674" y="662"/>
                  </a:lnTo>
                  <a:lnTo>
                    <a:pt x="676" y="663"/>
                  </a:lnTo>
                  <a:lnTo>
                    <a:pt x="679" y="669"/>
                  </a:lnTo>
                  <a:lnTo>
                    <a:pt x="681" y="669"/>
                  </a:lnTo>
                  <a:lnTo>
                    <a:pt x="681" y="671"/>
                  </a:lnTo>
                  <a:lnTo>
                    <a:pt x="683" y="671"/>
                  </a:lnTo>
                  <a:lnTo>
                    <a:pt x="685" y="671"/>
                  </a:lnTo>
                  <a:lnTo>
                    <a:pt x="685" y="671"/>
                  </a:lnTo>
                  <a:lnTo>
                    <a:pt x="687" y="669"/>
                  </a:lnTo>
                  <a:lnTo>
                    <a:pt x="688" y="669"/>
                  </a:lnTo>
                  <a:lnTo>
                    <a:pt x="688" y="669"/>
                  </a:lnTo>
                  <a:lnTo>
                    <a:pt x="692" y="671"/>
                  </a:lnTo>
                  <a:lnTo>
                    <a:pt x="692" y="671"/>
                  </a:lnTo>
                  <a:lnTo>
                    <a:pt x="694" y="672"/>
                  </a:lnTo>
                  <a:lnTo>
                    <a:pt x="694" y="672"/>
                  </a:lnTo>
                  <a:lnTo>
                    <a:pt x="692" y="676"/>
                  </a:lnTo>
                  <a:lnTo>
                    <a:pt x="694" y="674"/>
                  </a:lnTo>
                  <a:lnTo>
                    <a:pt x="694" y="674"/>
                  </a:lnTo>
                  <a:lnTo>
                    <a:pt x="694" y="672"/>
                  </a:lnTo>
                  <a:lnTo>
                    <a:pt x="694" y="669"/>
                  </a:lnTo>
                  <a:lnTo>
                    <a:pt x="685" y="656"/>
                  </a:lnTo>
                  <a:lnTo>
                    <a:pt x="679" y="647"/>
                  </a:lnTo>
                  <a:lnTo>
                    <a:pt x="678" y="645"/>
                  </a:lnTo>
                  <a:lnTo>
                    <a:pt x="676" y="640"/>
                  </a:lnTo>
                  <a:lnTo>
                    <a:pt x="676" y="636"/>
                  </a:lnTo>
                  <a:lnTo>
                    <a:pt x="676" y="633"/>
                  </a:lnTo>
                  <a:lnTo>
                    <a:pt x="678" y="631"/>
                  </a:lnTo>
                  <a:lnTo>
                    <a:pt x="683" y="629"/>
                  </a:lnTo>
                  <a:lnTo>
                    <a:pt x="681" y="627"/>
                  </a:lnTo>
                  <a:lnTo>
                    <a:pt x="674" y="625"/>
                  </a:lnTo>
                  <a:lnTo>
                    <a:pt x="674" y="624"/>
                  </a:lnTo>
                  <a:lnTo>
                    <a:pt x="674" y="624"/>
                  </a:lnTo>
                  <a:lnTo>
                    <a:pt x="672" y="622"/>
                  </a:lnTo>
                  <a:lnTo>
                    <a:pt x="672" y="620"/>
                  </a:lnTo>
                  <a:lnTo>
                    <a:pt x="672" y="620"/>
                  </a:lnTo>
                  <a:lnTo>
                    <a:pt x="670" y="618"/>
                  </a:lnTo>
                  <a:lnTo>
                    <a:pt x="670" y="618"/>
                  </a:lnTo>
                  <a:lnTo>
                    <a:pt x="668" y="618"/>
                  </a:lnTo>
                  <a:lnTo>
                    <a:pt x="668" y="618"/>
                  </a:lnTo>
                  <a:lnTo>
                    <a:pt x="667" y="616"/>
                  </a:lnTo>
                  <a:lnTo>
                    <a:pt x="667" y="616"/>
                  </a:lnTo>
                  <a:lnTo>
                    <a:pt x="667" y="616"/>
                  </a:lnTo>
                  <a:lnTo>
                    <a:pt x="667" y="615"/>
                  </a:lnTo>
                  <a:lnTo>
                    <a:pt x="667" y="615"/>
                  </a:lnTo>
                  <a:lnTo>
                    <a:pt x="667" y="615"/>
                  </a:lnTo>
                  <a:lnTo>
                    <a:pt x="665" y="613"/>
                  </a:lnTo>
                  <a:lnTo>
                    <a:pt x="665" y="613"/>
                  </a:lnTo>
                  <a:lnTo>
                    <a:pt x="665" y="611"/>
                  </a:lnTo>
                  <a:lnTo>
                    <a:pt x="665" y="609"/>
                  </a:lnTo>
                  <a:lnTo>
                    <a:pt x="663" y="607"/>
                  </a:lnTo>
                  <a:lnTo>
                    <a:pt x="663" y="606"/>
                  </a:lnTo>
                  <a:lnTo>
                    <a:pt x="663" y="606"/>
                  </a:lnTo>
                  <a:lnTo>
                    <a:pt x="661" y="604"/>
                  </a:lnTo>
                  <a:lnTo>
                    <a:pt x="659" y="604"/>
                  </a:lnTo>
                  <a:lnTo>
                    <a:pt x="659" y="602"/>
                  </a:lnTo>
                  <a:lnTo>
                    <a:pt x="659" y="602"/>
                  </a:lnTo>
                  <a:lnTo>
                    <a:pt x="659" y="600"/>
                  </a:lnTo>
                  <a:lnTo>
                    <a:pt x="659" y="600"/>
                  </a:lnTo>
                  <a:lnTo>
                    <a:pt x="658" y="598"/>
                  </a:lnTo>
                  <a:lnTo>
                    <a:pt x="647" y="591"/>
                  </a:lnTo>
                  <a:lnTo>
                    <a:pt x="636" y="587"/>
                  </a:lnTo>
                  <a:lnTo>
                    <a:pt x="634" y="586"/>
                  </a:lnTo>
                  <a:lnTo>
                    <a:pt x="632" y="586"/>
                  </a:lnTo>
                  <a:lnTo>
                    <a:pt x="631" y="586"/>
                  </a:lnTo>
                  <a:lnTo>
                    <a:pt x="631" y="584"/>
                  </a:lnTo>
                  <a:lnTo>
                    <a:pt x="629" y="584"/>
                  </a:lnTo>
                  <a:lnTo>
                    <a:pt x="629" y="586"/>
                  </a:lnTo>
                  <a:lnTo>
                    <a:pt x="629" y="586"/>
                  </a:lnTo>
                  <a:lnTo>
                    <a:pt x="629" y="586"/>
                  </a:lnTo>
                  <a:lnTo>
                    <a:pt x="629" y="586"/>
                  </a:lnTo>
                  <a:lnTo>
                    <a:pt x="629" y="586"/>
                  </a:lnTo>
                  <a:lnTo>
                    <a:pt x="627" y="586"/>
                  </a:lnTo>
                  <a:lnTo>
                    <a:pt x="627" y="586"/>
                  </a:lnTo>
                  <a:lnTo>
                    <a:pt x="627" y="586"/>
                  </a:lnTo>
                  <a:lnTo>
                    <a:pt x="627" y="586"/>
                  </a:lnTo>
                  <a:lnTo>
                    <a:pt x="627" y="586"/>
                  </a:lnTo>
                  <a:lnTo>
                    <a:pt x="627" y="586"/>
                  </a:lnTo>
                  <a:lnTo>
                    <a:pt x="627" y="586"/>
                  </a:lnTo>
                  <a:lnTo>
                    <a:pt x="627" y="586"/>
                  </a:lnTo>
                  <a:lnTo>
                    <a:pt x="627" y="586"/>
                  </a:lnTo>
                  <a:lnTo>
                    <a:pt x="625" y="584"/>
                  </a:lnTo>
                  <a:lnTo>
                    <a:pt x="627" y="584"/>
                  </a:lnTo>
                  <a:lnTo>
                    <a:pt x="627" y="584"/>
                  </a:lnTo>
                  <a:lnTo>
                    <a:pt x="629" y="582"/>
                  </a:lnTo>
                  <a:lnTo>
                    <a:pt x="627" y="582"/>
                  </a:lnTo>
                  <a:lnTo>
                    <a:pt x="627" y="582"/>
                  </a:lnTo>
                  <a:lnTo>
                    <a:pt x="627" y="582"/>
                  </a:lnTo>
                  <a:lnTo>
                    <a:pt x="627" y="580"/>
                  </a:lnTo>
                  <a:lnTo>
                    <a:pt x="627" y="580"/>
                  </a:lnTo>
                  <a:lnTo>
                    <a:pt x="627" y="580"/>
                  </a:lnTo>
                  <a:lnTo>
                    <a:pt x="627" y="578"/>
                  </a:lnTo>
                  <a:lnTo>
                    <a:pt x="627" y="578"/>
                  </a:lnTo>
                  <a:lnTo>
                    <a:pt x="627" y="578"/>
                  </a:lnTo>
                  <a:lnTo>
                    <a:pt x="625" y="577"/>
                  </a:lnTo>
                  <a:lnTo>
                    <a:pt x="625" y="577"/>
                  </a:lnTo>
                  <a:lnTo>
                    <a:pt x="623" y="575"/>
                  </a:lnTo>
                  <a:lnTo>
                    <a:pt x="622" y="571"/>
                  </a:lnTo>
                  <a:lnTo>
                    <a:pt x="618" y="560"/>
                  </a:lnTo>
                  <a:lnTo>
                    <a:pt x="618" y="560"/>
                  </a:lnTo>
                  <a:lnTo>
                    <a:pt x="618" y="560"/>
                  </a:lnTo>
                  <a:lnTo>
                    <a:pt x="618" y="559"/>
                  </a:lnTo>
                  <a:lnTo>
                    <a:pt x="618" y="557"/>
                  </a:lnTo>
                  <a:lnTo>
                    <a:pt x="618" y="557"/>
                  </a:lnTo>
                  <a:lnTo>
                    <a:pt x="618" y="557"/>
                  </a:lnTo>
                  <a:lnTo>
                    <a:pt x="618" y="555"/>
                  </a:lnTo>
                  <a:lnTo>
                    <a:pt x="618" y="555"/>
                  </a:lnTo>
                  <a:lnTo>
                    <a:pt x="616" y="553"/>
                  </a:lnTo>
                  <a:lnTo>
                    <a:pt x="616" y="553"/>
                  </a:lnTo>
                  <a:lnTo>
                    <a:pt x="616" y="553"/>
                  </a:lnTo>
                  <a:lnTo>
                    <a:pt x="616" y="551"/>
                  </a:lnTo>
                  <a:lnTo>
                    <a:pt x="614" y="551"/>
                  </a:lnTo>
                  <a:lnTo>
                    <a:pt x="614" y="550"/>
                  </a:lnTo>
                  <a:lnTo>
                    <a:pt x="614" y="550"/>
                  </a:lnTo>
                  <a:lnTo>
                    <a:pt x="614" y="548"/>
                  </a:lnTo>
                  <a:lnTo>
                    <a:pt x="612" y="546"/>
                  </a:lnTo>
                  <a:lnTo>
                    <a:pt x="612" y="546"/>
                  </a:lnTo>
                  <a:lnTo>
                    <a:pt x="612" y="546"/>
                  </a:lnTo>
                  <a:lnTo>
                    <a:pt x="612" y="546"/>
                  </a:lnTo>
                  <a:lnTo>
                    <a:pt x="612" y="546"/>
                  </a:lnTo>
                  <a:lnTo>
                    <a:pt x="612" y="544"/>
                  </a:lnTo>
                  <a:lnTo>
                    <a:pt x="612" y="542"/>
                  </a:lnTo>
                  <a:lnTo>
                    <a:pt x="611" y="540"/>
                  </a:lnTo>
                  <a:lnTo>
                    <a:pt x="611" y="540"/>
                  </a:lnTo>
                  <a:lnTo>
                    <a:pt x="611" y="539"/>
                  </a:lnTo>
                  <a:lnTo>
                    <a:pt x="611" y="539"/>
                  </a:lnTo>
                  <a:lnTo>
                    <a:pt x="611" y="537"/>
                  </a:lnTo>
                  <a:lnTo>
                    <a:pt x="611" y="537"/>
                  </a:lnTo>
                  <a:lnTo>
                    <a:pt x="611" y="535"/>
                  </a:lnTo>
                  <a:lnTo>
                    <a:pt x="611" y="535"/>
                  </a:lnTo>
                  <a:lnTo>
                    <a:pt x="611" y="535"/>
                  </a:lnTo>
                  <a:lnTo>
                    <a:pt x="611" y="533"/>
                  </a:lnTo>
                  <a:lnTo>
                    <a:pt x="611" y="533"/>
                  </a:lnTo>
                  <a:lnTo>
                    <a:pt x="609" y="531"/>
                  </a:lnTo>
                  <a:lnTo>
                    <a:pt x="609" y="530"/>
                  </a:lnTo>
                  <a:lnTo>
                    <a:pt x="609" y="530"/>
                  </a:lnTo>
                  <a:lnTo>
                    <a:pt x="609" y="530"/>
                  </a:lnTo>
                  <a:lnTo>
                    <a:pt x="607" y="528"/>
                  </a:lnTo>
                  <a:lnTo>
                    <a:pt x="607" y="528"/>
                  </a:lnTo>
                  <a:lnTo>
                    <a:pt x="607" y="528"/>
                  </a:lnTo>
                  <a:lnTo>
                    <a:pt x="609" y="526"/>
                  </a:lnTo>
                  <a:lnTo>
                    <a:pt x="609" y="526"/>
                  </a:lnTo>
                  <a:lnTo>
                    <a:pt x="609" y="526"/>
                  </a:lnTo>
                  <a:lnTo>
                    <a:pt x="609" y="526"/>
                  </a:lnTo>
                  <a:lnTo>
                    <a:pt x="609" y="524"/>
                  </a:lnTo>
                  <a:lnTo>
                    <a:pt x="607" y="522"/>
                  </a:lnTo>
                  <a:lnTo>
                    <a:pt x="607" y="521"/>
                  </a:lnTo>
                  <a:lnTo>
                    <a:pt x="607" y="519"/>
                  </a:lnTo>
                  <a:lnTo>
                    <a:pt x="607" y="519"/>
                  </a:lnTo>
                  <a:lnTo>
                    <a:pt x="607" y="517"/>
                  </a:lnTo>
                  <a:lnTo>
                    <a:pt x="607" y="517"/>
                  </a:lnTo>
                  <a:lnTo>
                    <a:pt x="607" y="510"/>
                  </a:lnTo>
                  <a:lnTo>
                    <a:pt x="607" y="510"/>
                  </a:lnTo>
                  <a:lnTo>
                    <a:pt x="607" y="510"/>
                  </a:lnTo>
                  <a:lnTo>
                    <a:pt x="605" y="508"/>
                  </a:lnTo>
                  <a:lnTo>
                    <a:pt x="605" y="508"/>
                  </a:lnTo>
                  <a:lnTo>
                    <a:pt x="605" y="508"/>
                  </a:lnTo>
                  <a:lnTo>
                    <a:pt x="605" y="506"/>
                  </a:lnTo>
                  <a:lnTo>
                    <a:pt x="605" y="506"/>
                  </a:lnTo>
                  <a:lnTo>
                    <a:pt x="605" y="506"/>
                  </a:lnTo>
                  <a:lnTo>
                    <a:pt x="605" y="504"/>
                  </a:lnTo>
                  <a:lnTo>
                    <a:pt x="605" y="504"/>
                  </a:lnTo>
                  <a:lnTo>
                    <a:pt x="605" y="504"/>
                  </a:lnTo>
                  <a:lnTo>
                    <a:pt x="605" y="503"/>
                  </a:lnTo>
                  <a:lnTo>
                    <a:pt x="605" y="503"/>
                  </a:lnTo>
                  <a:lnTo>
                    <a:pt x="605" y="503"/>
                  </a:lnTo>
                  <a:lnTo>
                    <a:pt x="605" y="501"/>
                  </a:lnTo>
                  <a:lnTo>
                    <a:pt x="602" y="499"/>
                  </a:lnTo>
                  <a:lnTo>
                    <a:pt x="600" y="499"/>
                  </a:lnTo>
                  <a:lnTo>
                    <a:pt x="598" y="499"/>
                  </a:lnTo>
                  <a:lnTo>
                    <a:pt x="598" y="499"/>
                  </a:lnTo>
                  <a:lnTo>
                    <a:pt x="598" y="499"/>
                  </a:lnTo>
                  <a:lnTo>
                    <a:pt x="598" y="499"/>
                  </a:lnTo>
                  <a:lnTo>
                    <a:pt x="598" y="497"/>
                  </a:lnTo>
                  <a:lnTo>
                    <a:pt x="598" y="497"/>
                  </a:lnTo>
                  <a:lnTo>
                    <a:pt x="598" y="495"/>
                  </a:lnTo>
                  <a:lnTo>
                    <a:pt x="596" y="495"/>
                  </a:lnTo>
                  <a:lnTo>
                    <a:pt x="596" y="495"/>
                  </a:lnTo>
                  <a:lnTo>
                    <a:pt x="596" y="497"/>
                  </a:lnTo>
                  <a:lnTo>
                    <a:pt x="596" y="497"/>
                  </a:lnTo>
                  <a:lnTo>
                    <a:pt x="596" y="497"/>
                  </a:lnTo>
                  <a:lnTo>
                    <a:pt x="594" y="497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3" y="494"/>
                  </a:lnTo>
                  <a:lnTo>
                    <a:pt x="593" y="492"/>
                  </a:lnTo>
                  <a:lnTo>
                    <a:pt x="585" y="483"/>
                  </a:lnTo>
                  <a:lnTo>
                    <a:pt x="585" y="483"/>
                  </a:lnTo>
                  <a:lnTo>
                    <a:pt x="582" y="475"/>
                  </a:lnTo>
                  <a:lnTo>
                    <a:pt x="582" y="475"/>
                  </a:lnTo>
                  <a:lnTo>
                    <a:pt x="580" y="475"/>
                  </a:lnTo>
                  <a:lnTo>
                    <a:pt x="580" y="474"/>
                  </a:lnTo>
                  <a:lnTo>
                    <a:pt x="580" y="474"/>
                  </a:lnTo>
                  <a:lnTo>
                    <a:pt x="580" y="474"/>
                  </a:lnTo>
                  <a:lnTo>
                    <a:pt x="580" y="472"/>
                  </a:lnTo>
                  <a:lnTo>
                    <a:pt x="578" y="472"/>
                  </a:lnTo>
                  <a:lnTo>
                    <a:pt x="571" y="470"/>
                  </a:lnTo>
                  <a:lnTo>
                    <a:pt x="569" y="470"/>
                  </a:lnTo>
                  <a:lnTo>
                    <a:pt x="566" y="466"/>
                  </a:lnTo>
                  <a:lnTo>
                    <a:pt x="564" y="466"/>
                  </a:lnTo>
                  <a:lnTo>
                    <a:pt x="562" y="465"/>
                  </a:lnTo>
                  <a:lnTo>
                    <a:pt x="560" y="463"/>
                  </a:lnTo>
                  <a:lnTo>
                    <a:pt x="560" y="465"/>
                  </a:lnTo>
                  <a:lnTo>
                    <a:pt x="560" y="465"/>
                  </a:lnTo>
                  <a:lnTo>
                    <a:pt x="560" y="465"/>
                  </a:lnTo>
                  <a:lnTo>
                    <a:pt x="558" y="465"/>
                  </a:lnTo>
                  <a:lnTo>
                    <a:pt x="558" y="465"/>
                  </a:lnTo>
                  <a:lnTo>
                    <a:pt x="557" y="465"/>
                  </a:lnTo>
                  <a:lnTo>
                    <a:pt x="557" y="465"/>
                  </a:lnTo>
                  <a:lnTo>
                    <a:pt x="558" y="463"/>
                  </a:lnTo>
                  <a:lnTo>
                    <a:pt x="557" y="461"/>
                  </a:lnTo>
                  <a:lnTo>
                    <a:pt x="555" y="459"/>
                  </a:lnTo>
                  <a:lnTo>
                    <a:pt x="555" y="459"/>
                  </a:lnTo>
                  <a:lnTo>
                    <a:pt x="546" y="459"/>
                  </a:lnTo>
                  <a:lnTo>
                    <a:pt x="546" y="459"/>
                  </a:lnTo>
                  <a:lnTo>
                    <a:pt x="544" y="461"/>
                  </a:lnTo>
                  <a:lnTo>
                    <a:pt x="542" y="461"/>
                  </a:lnTo>
                  <a:lnTo>
                    <a:pt x="542" y="463"/>
                  </a:lnTo>
                  <a:lnTo>
                    <a:pt x="544" y="463"/>
                  </a:lnTo>
                  <a:lnTo>
                    <a:pt x="544" y="463"/>
                  </a:lnTo>
                  <a:lnTo>
                    <a:pt x="542" y="465"/>
                  </a:lnTo>
                  <a:lnTo>
                    <a:pt x="542" y="465"/>
                  </a:lnTo>
                  <a:lnTo>
                    <a:pt x="540" y="466"/>
                  </a:lnTo>
                  <a:lnTo>
                    <a:pt x="538" y="466"/>
                  </a:lnTo>
                  <a:lnTo>
                    <a:pt x="535" y="468"/>
                  </a:lnTo>
                  <a:lnTo>
                    <a:pt x="533" y="470"/>
                  </a:lnTo>
                  <a:lnTo>
                    <a:pt x="531" y="470"/>
                  </a:lnTo>
                  <a:lnTo>
                    <a:pt x="531" y="468"/>
                  </a:lnTo>
                  <a:lnTo>
                    <a:pt x="531" y="468"/>
                  </a:lnTo>
                  <a:lnTo>
                    <a:pt x="529" y="466"/>
                  </a:lnTo>
                  <a:lnTo>
                    <a:pt x="520" y="466"/>
                  </a:lnTo>
                  <a:lnTo>
                    <a:pt x="520" y="466"/>
                  </a:lnTo>
                  <a:lnTo>
                    <a:pt x="520" y="465"/>
                  </a:lnTo>
                  <a:lnTo>
                    <a:pt x="519" y="465"/>
                  </a:lnTo>
                  <a:lnTo>
                    <a:pt x="519" y="465"/>
                  </a:lnTo>
                  <a:lnTo>
                    <a:pt x="515" y="465"/>
                  </a:lnTo>
                  <a:lnTo>
                    <a:pt x="508" y="463"/>
                  </a:lnTo>
                  <a:lnTo>
                    <a:pt x="506" y="463"/>
                  </a:lnTo>
                  <a:lnTo>
                    <a:pt x="504" y="463"/>
                  </a:lnTo>
                  <a:lnTo>
                    <a:pt x="502" y="463"/>
                  </a:lnTo>
                  <a:lnTo>
                    <a:pt x="502" y="463"/>
                  </a:lnTo>
                  <a:lnTo>
                    <a:pt x="502" y="463"/>
                  </a:lnTo>
                  <a:lnTo>
                    <a:pt x="502" y="461"/>
                  </a:lnTo>
                  <a:lnTo>
                    <a:pt x="502" y="461"/>
                  </a:lnTo>
                  <a:lnTo>
                    <a:pt x="501" y="463"/>
                  </a:lnTo>
                  <a:lnTo>
                    <a:pt x="501" y="461"/>
                  </a:lnTo>
                  <a:lnTo>
                    <a:pt x="501" y="461"/>
                  </a:lnTo>
                  <a:lnTo>
                    <a:pt x="499" y="457"/>
                  </a:lnTo>
                  <a:lnTo>
                    <a:pt x="497" y="457"/>
                  </a:lnTo>
                  <a:lnTo>
                    <a:pt x="497" y="457"/>
                  </a:lnTo>
                  <a:lnTo>
                    <a:pt x="495" y="456"/>
                  </a:lnTo>
                  <a:lnTo>
                    <a:pt x="495" y="454"/>
                  </a:lnTo>
                  <a:lnTo>
                    <a:pt x="495" y="454"/>
                  </a:lnTo>
                  <a:lnTo>
                    <a:pt x="495" y="456"/>
                  </a:lnTo>
                  <a:lnTo>
                    <a:pt x="497" y="456"/>
                  </a:lnTo>
                  <a:lnTo>
                    <a:pt x="499" y="457"/>
                  </a:lnTo>
                  <a:lnTo>
                    <a:pt x="499" y="457"/>
                  </a:lnTo>
                  <a:lnTo>
                    <a:pt x="501" y="459"/>
                  </a:lnTo>
                  <a:lnTo>
                    <a:pt x="502" y="459"/>
                  </a:lnTo>
                  <a:lnTo>
                    <a:pt x="508" y="459"/>
                  </a:lnTo>
                  <a:lnTo>
                    <a:pt x="515" y="463"/>
                  </a:lnTo>
                  <a:lnTo>
                    <a:pt x="517" y="463"/>
                  </a:lnTo>
                  <a:lnTo>
                    <a:pt x="519" y="463"/>
                  </a:lnTo>
                  <a:lnTo>
                    <a:pt x="520" y="461"/>
                  </a:lnTo>
                  <a:lnTo>
                    <a:pt x="522" y="459"/>
                  </a:lnTo>
                  <a:lnTo>
                    <a:pt x="524" y="459"/>
                  </a:lnTo>
                  <a:lnTo>
                    <a:pt x="528" y="459"/>
                  </a:lnTo>
                  <a:lnTo>
                    <a:pt x="528" y="459"/>
                  </a:lnTo>
                  <a:lnTo>
                    <a:pt x="529" y="457"/>
                  </a:lnTo>
                  <a:lnTo>
                    <a:pt x="529" y="454"/>
                  </a:lnTo>
                  <a:lnTo>
                    <a:pt x="529" y="454"/>
                  </a:lnTo>
                  <a:lnTo>
                    <a:pt x="531" y="454"/>
                  </a:lnTo>
                  <a:lnTo>
                    <a:pt x="531" y="452"/>
                  </a:lnTo>
                  <a:lnTo>
                    <a:pt x="535" y="450"/>
                  </a:lnTo>
                  <a:lnTo>
                    <a:pt x="537" y="448"/>
                  </a:lnTo>
                  <a:lnTo>
                    <a:pt x="537" y="447"/>
                  </a:lnTo>
                  <a:lnTo>
                    <a:pt x="538" y="447"/>
                  </a:lnTo>
                  <a:lnTo>
                    <a:pt x="538" y="447"/>
                  </a:lnTo>
                  <a:lnTo>
                    <a:pt x="542" y="447"/>
                  </a:lnTo>
                  <a:lnTo>
                    <a:pt x="544" y="447"/>
                  </a:lnTo>
                  <a:lnTo>
                    <a:pt x="546" y="448"/>
                  </a:lnTo>
                  <a:lnTo>
                    <a:pt x="547" y="447"/>
                  </a:lnTo>
                  <a:lnTo>
                    <a:pt x="549" y="445"/>
                  </a:lnTo>
                  <a:lnTo>
                    <a:pt x="553" y="445"/>
                  </a:lnTo>
                  <a:lnTo>
                    <a:pt x="553" y="445"/>
                  </a:lnTo>
                  <a:lnTo>
                    <a:pt x="555" y="443"/>
                  </a:lnTo>
                  <a:lnTo>
                    <a:pt x="557" y="439"/>
                  </a:lnTo>
                  <a:lnTo>
                    <a:pt x="557" y="439"/>
                  </a:lnTo>
                  <a:lnTo>
                    <a:pt x="555" y="438"/>
                  </a:lnTo>
                  <a:lnTo>
                    <a:pt x="555" y="438"/>
                  </a:lnTo>
                  <a:lnTo>
                    <a:pt x="553" y="436"/>
                  </a:lnTo>
                  <a:lnTo>
                    <a:pt x="553" y="436"/>
                  </a:lnTo>
                  <a:lnTo>
                    <a:pt x="547" y="434"/>
                  </a:lnTo>
                  <a:lnTo>
                    <a:pt x="547" y="434"/>
                  </a:lnTo>
                  <a:lnTo>
                    <a:pt x="547" y="434"/>
                  </a:lnTo>
                  <a:lnTo>
                    <a:pt x="547" y="434"/>
                  </a:lnTo>
                  <a:lnTo>
                    <a:pt x="546" y="434"/>
                  </a:lnTo>
                  <a:lnTo>
                    <a:pt x="546" y="434"/>
                  </a:lnTo>
                  <a:lnTo>
                    <a:pt x="546" y="432"/>
                  </a:lnTo>
                  <a:lnTo>
                    <a:pt x="546" y="432"/>
                  </a:lnTo>
                  <a:lnTo>
                    <a:pt x="544" y="432"/>
                  </a:lnTo>
                  <a:lnTo>
                    <a:pt x="546" y="430"/>
                  </a:lnTo>
                  <a:lnTo>
                    <a:pt x="546" y="430"/>
                  </a:lnTo>
                  <a:lnTo>
                    <a:pt x="546" y="429"/>
                  </a:lnTo>
                  <a:lnTo>
                    <a:pt x="546" y="427"/>
                  </a:lnTo>
                  <a:lnTo>
                    <a:pt x="546" y="425"/>
                  </a:lnTo>
                  <a:lnTo>
                    <a:pt x="544" y="425"/>
                  </a:lnTo>
                  <a:lnTo>
                    <a:pt x="542" y="423"/>
                  </a:lnTo>
                  <a:lnTo>
                    <a:pt x="542" y="423"/>
                  </a:lnTo>
                  <a:lnTo>
                    <a:pt x="540" y="423"/>
                  </a:lnTo>
                  <a:lnTo>
                    <a:pt x="540" y="425"/>
                  </a:lnTo>
                  <a:lnTo>
                    <a:pt x="538" y="425"/>
                  </a:lnTo>
                  <a:lnTo>
                    <a:pt x="538" y="425"/>
                  </a:lnTo>
                  <a:lnTo>
                    <a:pt x="529" y="430"/>
                  </a:lnTo>
                  <a:lnTo>
                    <a:pt x="528" y="432"/>
                  </a:lnTo>
                  <a:lnTo>
                    <a:pt x="524" y="432"/>
                  </a:lnTo>
                  <a:lnTo>
                    <a:pt x="524" y="432"/>
                  </a:lnTo>
                  <a:lnTo>
                    <a:pt x="522" y="432"/>
                  </a:lnTo>
                  <a:lnTo>
                    <a:pt x="520" y="432"/>
                  </a:lnTo>
                  <a:lnTo>
                    <a:pt x="520" y="432"/>
                  </a:lnTo>
                  <a:lnTo>
                    <a:pt x="522" y="432"/>
                  </a:lnTo>
                  <a:lnTo>
                    <a:pt x="524" y="432"/>
                  </a:lnTo>
                  <a:lnTo>
                    <a:pt x="529" y="427"/>
                  </a:lnTo>
                  <a:lnTo>
                    <a:pt x="531" y="425"/>
                  </a:lnTo>
                  <a:lnTo>
                    <a:pt x="533" y="423"/>
                  </a:lnTo>
                  <a:lnTo>
                    <a:pt x="533" y="423"/>
                  </a:lnTo>
                  <a:lnTo>
                    <a:pt x="546" y="421"/>
                  </a:lnTo>
                  <a:lnTo>
                    <a:pt x="547" y="421"/>
                  </a:lnTo>
                  <a:lnTo>
                    <a:pt x="549" y="421"/>
                  </a:lnTo>
                  <a:lnTo>
                    <a:pt x="549" y="423"/>
                  </a:lnTo>
                  <a:lnTo>
                    <a:pt x="549" y="423"/>
                  </a:lnTo>
                  <a:lnTo>
                    <a:pt x="549" y="423"/>
                  </a:lnTo>
                  <a:lnTo>
                    <a:pt x="551" y="419"/>
                  </a:lnTo>
                  <a:lnTo>
                    <a:pt x="551" y="419"/>
                  </a:lnTo>
                  <a:lnTo>
                    <a:pt x="553" y="418"/>
                  </a:lnTo>
                  <a:lnTo>
                    <a:pt x="555" y="418"/>
                  </a:lnTo>
                  <a:lnTo>
                    <a:pt x="555" y="416"/>
                  </a:lnTo>
                  <a:lnTo>
                    <a:pt x="560" y="412"/>
                  </a:lnTo>
                  <a:lnTo>
                    <a:pt x="560" y="410"/>
                  </a:lnTo>
                  <a:lnTo>
                    <a:pt x="560" y="410"/>
                  </a:lnTo>
                  <a:lnTo>
                    <a:pt x="562" y="409"/>
                  </a:lnTo>
                  <a:lnTo>
                    <a:pt x="562" y="409"/>
                  </a:lnTo>
                  <a:lnTo>
                    <a:pt x="562" y="407"/>
                  </a:lnTo>
                  <a:lnTo>
                    <a:pt x="562" y="407"/>
                  </a:lnTo>
                  <a:lnTo>
                    <a:pt x="562" y="405"/>
                  </a:lnTo>
                  <a:lnTo>
                    <a:pt x="562" y="405"/>
                  </a:lnTo>
                  <a:lnTo>
                    <a:pt x="564" y="403"/>
                  </a:lnTo>
                  <a:lnTo>
                    <a:pt x="564" y="401"/>
                  </a:lnTo>
                  <a:lnTo>
                    <a:pt x="564" y="398"/>
                  </a:lnTo>
                  <a:lnTo>
                    <a:pt x="564" y="398"/>
                  </a:lnTo>
                  <a:lnTo>
                    <a:pt x="566" y="396"/>
                  </a:lnTo>
                  <a:lnTo>
                    <a:pt x="566" y="396"/>
                  </a:lnTo>
                  <a:lnTo>
                    <a:pt x="567" y="394"/>
                  </a:lnTo>
                  <a:lnTo>
                    <a:pt x="569" y="392"/>
                  </a:lnTo>
                  <a:lnTo>
                    <a:pt x="571" y="392"/>
                  </a:lnTo>
                  <a:lnTo>
                    <a:pt x="571" y="391"/>
                  </a:lnTo>
                  <a:lnTo>
                    <a:pt x="573" y="389"/>
                  </a:lnTo>
                  <a:lnTo>
                    <a:pt x="575" y="387"/>
                  </a:lnTo>
                  <a:lnTo>
                    <a:pt x="575" y="385"/>
                  </a:lnTo>
                  <a:lnTo>
                    <a:pt x="576" y="383"/>
                  </a:lnTo>
                  <a:lnTo>
                    <a:pt x="576" y="383"/>
                  </a:lnTo>
                  <a:lnTo>
                    <a:pt x="576" y="382"/>
                  </a:lnTo>
                  <a:lnTo>
                    <a:pt x="576" y="382"/>
                  </a:lnTo>
                  <a:lnTo>
                    <a:pt x="576" y="382"/>
                  </a:lnTo>
                  <a:lnTo>
                    <a:pt x="576" y="380"/>
                  </a:lnTo>
                  <a:lnTo>
                    <a:pt x="576" y="380"/>
                  </a:lnTo>
                  <a:lnTo>
                    <a:pt x="576" y="378"/>
                  </a:lnTo>
                  <a:lnTo>
                    <a:pt x="576" y="376"/>
                  </a:lnTo>
                  <a:lnTo>
                    <a:pt x="578" y="373"/>
                  </a:lnTo>
                  <a:lnTo>
                    <a:pt x="584" y="365"/>
                  </a:lnTo>
                  <a:lnTo>
                    <a:pt x="584" y="365"/>
                  </a:lnTo>
                  <a:lnTo>
                    <a:pt x="584" y="363"/>
                  </a:lnTo>
                  <a:lnTo>
                    <a:pt x="584" y="362"/>
                  </a:lnTo>
                  <a:lnTo>
                    <a:pt x="582" y="362"/>
                  </a:lnTo>
                  <a:lnTo>
                    <a:pt x="582" y="360"/>
                  </a:lnTo>
                  <a:lnTo>
                    <a:pt x="584" y="358"/>
                  </a:lnTo>
                  <a:lnTo>
                    <a:pt x="584" y="353"/>
                  </a:lnTo>
                  <a:lnTo>
                    <a:pt x="587" y="345"/>
                  </a:lnTo>
                  <a:lnTo>
                    <a:pt x="589" y="342"/>
                  </a:lnTo>
                  <a:lnTo>
                    <a:pt x="594" y="338"/>
                  </a:lnTo>
                  <a:lnTo>
                    <a:pt x="594" y="336"/>
                  </a:lnTo>
                  <a:lnTo>
                    <a:pt x="594" y="335"/>
                  </a:lnTo>
                  <a:lnTo>
                    <a:pt x="596" y="331"/>
                  </a:lnTo>
                  <a:lnTo>
                    <a:pt x="598" y="331"/>
                  </a:lnTo>
                  <a:lnTo>
                    <a:pt x="598" y="331"/>
                  </a:lnTo>
                  <a:lnTo>
                    <a:pt x="598" y="329"/>
                  </a:lnTo>
                  <a:lnTo>
                    <a:pt x="598" y="329"/>
                  </a:lnTo>
                  <a:lnTo>
                    <a:pt x="596" y="329"/>
                  </a:lnTo>
                  <a:lnTo>
                    <a:pt x="598" y="327"/>
                  </a:lnTo>
                  <a:lnTo>
                    <a:pt x="598" y="327"/>
                  </a:lnTo>
                  <a:lnTo>
                    <a:pt x="596" y="326"/>
                  </a:lnTo>
                  <a:lnTo>
                    <a:pt x="596" y="326"/>
                  </a:lnTo>
                  <a:lnTo>
                    <a:pt x="596" y="324"/>
                  </a:lnTo>
                  <a:lnTo>
                    <a:pt x="596" y="324"/>
                  </a:lnTo>
                  <a:lnTo>
                    <a:pt x="596" y="322"/>
                  </a:lnTo>
                  <a:lnTo>
                    <a:pt x="596" y="320"/>
                  </a:lnTo>
                  <a:lnTo>
                    <a:pt x="594" y="318"/>
                  </a:lnTo>
                  <a:lnTo>
                    <a:pt x="594" y="317"/>
                  </a:lnTo>
                  <a:lnTo>
                    <a:pt x="591" y="313"/>
                  </a:lnTo>
                  <a:lnTo>
                    <a:pt x="591" y="311"/>
                  </a:lnTo>
                  <a:lnTo>
                    <a:pt x="589" y="311"/>
                  </a:lnTo>
                  <a:lnTo>
                    <a:pt x="589" y="311"/>
                  </a:lnTo>
                  <a:lnTo>
                    <a:pt x="589" y="311"/>
                  </a:lnTo>
                  <a:lnTo>
                    <a:pt x="587" y="311"/>
                  </a:lnTo>
                  <a:lnTo>
                    <a:pt x="587" y="311"/>
                  </a:lnTo>
                  <a:lnTo>
                    <a:pt x="587" y="309"/>
                  </a:lnTo>
                  <a:lnTo>
                    <a:pt x="587" y="309"/>
                  </a:lnTo>
                  <a:lnTo>
                    <a:pt x="587" y="309"/>
                  </a:lnTo>
                  <a:lnTo>
                    <a:pt x="580" y="309"/>
                  </a:lnTo>
                  <a:lnTo>
                    <a:pt x="580" y="309"/>
                  </a:lnTo>
                  <a:lnTo>
                    <a:pt x="576" y="311"/>
                  </a:lnTo>
                  <a:lnTo>
                    <a:pt x="576" y="311"/>
                  </a:lnTo>
                  <a:lnTo>
                    <a:pt x="575" y="311"/>
                  </a:lnTo>
                  <a:lnTo>
                    <a:pt x="573" y="309"/>
                  </a:lnTo>
                  <a:lnTo>
                    <a:pt x="571" y="309"/>
                  </a:lnTo>
                  <a:lnTo>
                    <a:pt x="571" y="309"/>
                  </a:lnTo>
                  <a:lnTo>
                    <a:pt x="571" y="309"/>
                  </a:lnTo>
                  <a:lnTo>
                    <a:pt x="571" y="311"/>
                  </a:lnTo>
                  <a:lnTo>
                    <a:pt x="569" y="311"/>
                  </a:lnTo>
                  <a:lnTo>
                    <a:pt x="569" y="311"/>
                  </a:lnTo>
                  <a:lnTo>
                    <a:pt x="569" y="311"/>
                  </a:lnTo>
                  <a:lnTo>
                    <a:pt x="567" y="311"/>
                  </a:lnTo>
                  <a:lnTo>
                    <a:pt x="567" y="311"/>
                  </a:lnTo>
                  <a:lnTo>
                    <a:pt x="567" y="311"/>
                  </a:lnTo>
                  <a:lnTo>
                    <a:pt x="566" y="313"/>
                  </a:lnTo>
                  <a:lnTo>
                    <a:pt x="566" y="313"/>
                  </a:lnTo>
                  <a:lnTo>
                    <a:pt x="566" y="311"/>
                  </a:lnTo>
                  <a:lnTo>
                    <a:pt x="566" y="311"/>
                  </a:lnTo>
                  <a:lnTo>
                    <a:pt x="564" y="313"/>
                  </a:lnTo>
                  <a:lnTo>
                    <a:pt x="562" y="311"/>
                  </a:lnTo>
                  <a:lnTo>
                    <a:pt x="562" y="311"/>
                  </a:lnTo>
                  <a:lnTo>
                    <a:pt x="560" y="311"/>
                  </a:lnTo>
                  <a:lnTo>
                    <a:pt x="560" y="311"/>
                  </a:lnTo>
                  <a:lnTo>
                    <a:pt x="560" y="313"/>
                  </a:lnTo>
                  <a:lnTo>
                    <a:pt x="558" y="311"/>
                  </a:lnTo>
                  <a:lnTo>
                    <a:pt x="558" y="311"/>
                  </a:lnTo>
                  <a:lnTo>
                    <a:pt x="553" y="309"/>
                  </a:lnTo>
                  <a:lnTo>
                    <a:pt x="551" y="311"/>
                  </a:lnTo>
                  <a:lnTo>
                    <a:pt x="551" y="309"/>
                  </a:lnTo>
                  <a:lnTo>
                    <a:pt x="551" y="309"/>
                  </a:lnTo>
                  <a:lnTo>
                    <a:pt x="549" y="309"/>
                  </a:lnTo>
                  <a:lnTo>
                    <a:pt x="549" y="311"/>
                  </a:lnTo>
                  <a:lnTo>
                    <a:pt x="549" y="309"/>
                  </a:lnTo>
                  <a:lnTo>
                    <a:pt x="549" y="309"/>
                  </a:lnTo>
                  <a:lnTo>
                    <a:pt x="547" y="309"/>
                  </a:lnTo>
                  <a:lnTo>
                    <a:pt x="540" y="309"/>
                  </a:lnTo>
                  <a:lnTo>
                    <a:pt x="540" y="309"/>
                  </a:lnTo>
                  <a:lnTo>
                    <a:pt x="537" y="311"/>
                  </a:lnTo>
                  <a:lnTo>
                    <a:pt x="535" y="313"/>
                  </a:lnTo>
                  <a:lnTo>
                    <a:pt x="533" y="313"/>
                  </a:lnTo>
                  <a:lnTo>
                    <a:pt x="526" y="309"/>
                  </a:lnTo>
                  <a:lnTo>
                    <a:pt x="522" y="307"/>
                  </a:lnTo>
                  <a:lnTo>
                    <a:pt x="515" y="307"/>
                  </a:lnTo>
                  <a:lnTo>
                    <a:pt x="515" y="307"/>
                  </a:lnTo>
                  <a:lnTo>
                    <a:pt x="513" y="307"/>
                  </a:lnTo>
                  <a:lnTo>
                    <a:pt x="513" y="307"/>
                  </a:lnTo>
                  <a:lnTo>
                    <a:pt x="513" y="307"/>
                  </a:lnTo>
                  <a:lnTo>
                    <a:pt x="511" y="307"/>
                  </a:lnTo>
                  <a:lnTo>
                    <a:pt x="511" y="307"/>
                  </a:lnTo>
                  <a:lnTo>
                    <a:pt x="511" y="309"/>
                  </a:lnTo>
                  <a:lnTo>
                    <a:pt x="511" y="309"/>
                  </a:lnTo>
                  <a:lnTo>
                    <a:pt x="511" y="311"/>
                  </a:lnTo>
                  <a:lnTo>
                    <a:pt x="510" y="313"/>
                  </a:lnTo>
                  <a:lnTo>
                    <a:pt x="510" y="313"/>
                  </a:lnTo>
                  <a:lnTo>
                    <a:pt x="508" y="313"/>
                  </a:lnTo>
                  <a:lnTo>
                    <a:pt x="508" y="313"/>
                  </a:lnTo>
                  <a:lnTo>
                    <a:pt x="506" y="313"/>
                  </a:lnTo>
                  <a:lnTo>
                    <a:pt x="506" y="315"/>
                  </a:lnTo>
                  <a:lnTo>
                    <a:pt x="506" y="315"/>
                  </a:lnTo>
                  <a:lnTo>
                    <a:pt x="506" y="315"/>
                  </a:lnTo>
                  <a:lnTo>
                    <a:pt x="504" y="315"/>
                  </a:lnTo>
                  <a:lnTo>
                    <a:pt x="504" y="315"/>
                  </a:lnTo>
                  <a:lnTo>
                    <a:pt x="504" y="315"/>
                  </a:lnTo>
                  <a:lnTo>
                    <a:pt x="504" y="313"/>
                  </a:lnTo>
                  <a:lnTo>
                    <a:pt x="504" y="313"/>
                  </a:lnTo>
                  <a:lnTo>
                    <a:pt x="502" y="313"/>
                  </a:lnTo>
                  <a:lnTo>
                    <a:pt x="495" y="318"/>
                  </a:lnTo>
                  <a:lnTo>
                    <a:pt x="493" y="320"/>
                  </a:lnTo>
                  <a:lnTo>
                    <a:pt x="488" y="318"/>
                  </a:lnTo>
                  <a:lnTo>
                    <a:pt x="482" y="320"/>
                  </a:lnTo>
                  <a:lnTo>
                    <a:pt x="482" y="320"/>
                  </a:lnTo>
                  <a:lnTo>
                    <a:pt x="484" y="322"/>
                  </a:lnTo>
                  <a:lnTo>
                    <a:pt x="484" y="322"/>
                  </a:lnTo>
                  <a:lnTo>
                    <a:pt x="484" y="324"/>
                  </a:lnTo>
                  <a:lnTo>
                    <a:pt x="482" y="324"/>
                  </a:lnTo>
                  <a:lnTo>
                    <a:pt x="482" y="324"/>
                  </a:lnTo>
                  <a:lnTo>
                    <a:pt x="481" y="324"/>
                  </a:lnTo>
                  <a:lnTo>
                    <a:pt x="481" y="326"/>
                  </a:lnTo>
                  <a:lnTo>
                    <a:pt x="479" y="326"/>
                  </a:lnTo>
                  <a:lnTo>
                    <a:pt x="479" y="326"/>
                  </a:lnTo>
                  <a:lnTo>
                    <a:pt x="479" y="326"/>
                  </a:lnTo>
                  <a:lnTo>
                    <a:pt x="479" y="327"/>
                  </a:lnTo>
                  <a:lnTo>
                    <a:pt x="477" y="327"/>
                  </a:lnTo>
                  <a:lnTo>
                    <a:pt x="477" y="329"/>
                  </a:lnTo>
                  <a:lnTo>
                    <a:pt x="475" y="329"/>
                  </a:lnTo>
                  <a:lnTo>
                    <a:pt x="473" y="327"/>
                  </a:lnTo>
                  <a:lnTo>
                    <a:pt x="473" y="327"/>
                  </a:lnTo>
                  <a:lnTo>
                    <a:pt x="475" y="326"/>
                  </a:lnTo>
                  <a:lnTo>
                    <a:pt x="475" y="324"/>
                  </a:lnTo>
                  <a:lnTo>
                    <a:pt x="475" y="324"/>
                  </a:lnTo>
                  <a:lnTo>
                    <a:pt x="475" y="324"/>
                  </a:lnTo>
                  <a:lnTo>
                    <a:pt x="473" y="324"/>
                  </a:lnTo>
                  <a:lnTo>
                    <a:pt x="473" y="324"/>
                  </a:lnTo>
                  <a:lnTo>
                    <a:pt x="475" y="324"/>
                  </a:lnTo>
                  <a:lnTo>
                    <a:pt x="477" y="324"/>
                  </a:lnTo>
                  <a:lnTo>
                    <a:pt x="477" y="324"/>
                  </a:lnTo>
                  <a:lnTo>
                    <a:pt x="477" y="322"/>
                  </a:lnTo>
                  <a:lnTo>
                    <a:pt x="477" y="322"/>
                  </a:lnTo>
                  <a:lnTo>
                    <a:pt x="479" y="320"/>
                  </a:lnTo>
                  <a:lnTo>
                    <a:pt x="481" y="320"/>
                  </a:lnTo>
                  <a:lnTo>
                    <a:pt x="481" y="320"/>
                  </a:lnTo>
                  <a:lnTo>
                    <a:pt x="481" y="320"/>
                  </a:lnTo>
                  <a:lnTo>
                    <a:pt x="481" y="320"/>
                  </a:lnTo>
                  <a:lnTo>
                    <a:pt x="481" y="318"/>
                  </a:lnTo>
                  <a:lnTo>
                    <a:pt x="482" y="317"/>
                  </a:lnTo>
                  <a:lnTo>
                    <a:pt x="484" y="315"/>
                  </a:lnTo>
                  <a:lnTo>
                    <a:pt x="484" y="313"/>
                  </a:lnTo>
                  <a:lnTo>
                    <a:pt x="486" y="311"/>
                  </a:lnTo>
                  <a:lnTo>
                    <a:pt x="486" y="311"/>
                  </a:lnTo>
                  <a:lnTo>
                    <a:pt x="484" y="311"/>
                  </a:lnTo>
                  <a:lnTo>
                    <a:pt x="482" y="311"/>
                  </a:lnTo>
                  <a:lnTo>
                    <a:pt x="482" y="313"/>
                  </a:lnTo>
                  <a:lnTo>
                    <a:pt x="481" y="313"/>
                  </a:lnTo>
                  <a:lnTo>
                    <a:pt x="481" y="313"/>
                  </a:lnTo>
                  <a:lnTo>
                    <a:pt x="477" y="313"/>
                  </a:lnTo>
                  <a:lnTo>
                    <a:pt x="477" y="311"/>
                  </a:lnTo>
                  <a:lnTo>
                    <a:pt x="477" y="311"/>
                  </a:lnTo>
                  <a:lnTo>
                    <a:pt x="475" y="311"/>
                  </a:lnTo>
                  <a:lnTo>
                    <a:pt x="473" y="313"/>
                  </a:lnTo>
                  <a:lnTo>
                    <a:pt x="472" y="315"/>
                  </a:lnTo>
                  <a:lnTo>
                    <a:pt x="470" y="317"/>
                  </a:lnTo>
                  <a:lnTo>
                    <a:pt x="470" y="317"/>
                  </a:lnTo>
                  <a:lnTo>
                    <a:pt x="468" y="318"/>
                  </a:lnTo>
                  <a:lnTo>
                    <a:pt x="468" y="318"/>
                  </a:lnTo>
                  <a:lnTo>
                    <a:pt x="466" y="320"/>
                  </a:lnTo>
                  <a:lnTo>
                    <a:pt x="466" y="320"/>
                  </a:lnTo>
                  <a:lnTo>
                    <a:pt x="464" y="320"/>
                  </a:lnTo>
                  <a:lnTo>
                    <a:pt x="464" y="320"/>
                  </a:lnTo>
                  <a:lnTo>
                    <a:pt x="464" y="318"/>
                  </a:lnTo>
                  <a:lnTo>
                    <a:pt x="466" y="318"/>
                  </a:lnTo>
                  <a:lnTo>
                    <a:pt x="466" y="318"/>
                  </a:lnTo>
                  <a:lnTo>
                    <a:pt x="470" y="315"/>
                  </a:lnTo>
                  <a:lnTo>
                    <a:pt x="470" y="315"/>
                  </a:lnTo>
                  <a:lnTo>
                    <a:pt x="470" y="313"/>
                  </a:lnTo>
                  <a:lnTo>
                    <a:pt x="472" y="313"/>
                  </a:lnTo>
                  <a:lnTo>
                    <a:pt x="472" y="311"/>
                  </a:lnTo>
                  <a:lnTo>
                    <a:pt x="472" y="311"/>
                  </a:lnTo>
                  <a:lnTo>
                    <a:pt x="473" y="311"/>
                  </a:lnTo>
                  <a:lnTo>
                    <a:pt x="477" y="311"/>
                  </a:lnTo>
                  <a:lnTo>
                    <a:pt x="477" y="309"/>
                  </a:lnTo>
                  <a:lnTo>
                    <a:pt x="479" y="309"/>
                  </a:lnTo>
                  <a:lnTo>
                    <a:pt x="482" y="306"/>
                  </a:lnTo>
                  <a:lnTo>
                    <a:pt x="484" y="306"/>
                  </a:lnTo>
                  <a:lnTo>
                    <a:pt x="486" y="307"/>
                  </a:lnTo>
                  <a:lnTo>
                    <a:pt x="484" y="309"/>
                  </a:lnTo>
                  <a:lnTo>
                    <a:pt x="484" y="309"/>
                  </a:lnTo>
                  <a:lnTo>
                    <a:pt x="486" y="309"/>
                  </a:lnTo>
                  <a:lnTo>
                    <a:pt x="486" y="309"/>
                  </a:lnTo>
                  <a:lnTo>
                    <a:pt x="488" y="309"/>
                  </a:lnTo>
                  <a:lnTo>
                    <a:pt x="488" y="307"/>
                  </a:lnTo>
                  <a:lnTo>
                    <a:pt x="490" y="306"/>
                  </a:lnTo>
                  <a:lnTo>
                    <a:pt x="497" y="297"/>
                  </a:lnTo>
                  <a:lnTo>
                    <a:pt x="497" y="297"/>
                  </a:lnTo>
                  <a:lnTo>
                    <a:pt x="497" y="295"/>
                  </a:lnTo>
                  <a:lnTo>
                    <a:pt x="497" y="293"/>
                  </a:lnTo>
                  <a:lnTo>
                    <a:pt x="497" y="293"/>
                  </a:lnTo>
                  <a:lnTo>
                    <a:pt x="495" y="295"/>
                  </a:lnTo>
                  <a:lnTo>
                    <a:pt x="493" y="297"/>
                  </a:lnTo>
                  <a:lnTo>
                    <a:pt x="492" y="298"/>
                  </a:lnTo>
                  <a:lnTo>
                    <a:pt x="490" y="298"/>
                  </a:lnTo>
                  <a:lnTo>
                    <a:pt x="488" y="298"/>
                  </a:lnTo>
                  <a:lnTo>
                    <a:pt x="490" y="297"/>
                  </a:lnTo>
                  <a:lnTo>
                    <a:pt x="488" y="297"/>
                  </a:lnTo>
                  <a:lnTo>
                    <a:pt x="486" y="297"/>
                  </a:lnTo>
                  <a:lnTo>
                    <a:pt x="484" y="298"/>
                  </a:lnTo>
                  <a:lnTo>
                    <a:pt x="482" y="298"/>
                  </a:lnTo>
                  <a:lnTo>
                    <a:pt x="479" y="295"/>
                  </a:lnTo>
                  <a:lnTo>
                    <a:pt x="479" y="297"/>
                  </a:lnTo>
                  <a:lnTo>
                    <a:pt x="479" y="297"/>
                  </a:lnTo>
                  <a:lnTo>
                    <a:pt x="477" y="297"/>
                  </a:lnTo>
                  <a:lnTo>
                    <a:pt x="477" y="295"/>
                  </a:lnTo>
                  <a:lnTo>
                    <a:pt x="475" y="295"/>
                  </a:lnTo>
                  <a:lnTo>
                    <a:pt x="475" y="295"/>
                  </a:lnTo>
                  <a:lnTo>
                    <a:pt x="473" y="295"/>
                  </a:lnTo>
                  <a:lnTo>
                    <a:pt x="470" y="295"/>
                  </a:lnTo>
                  <a:lnTo>
                    <a:pt x="470" y="293"/>
                  </a:lnTo>
                  <a:lnTo>
                    <a:pt x="466" y="289"/>
                  </a:lnTo>
                  <a:lnTo>
                    <a:pt x="468" y="289"/>
                  </a:lnTo>
                  <a:lnTo>
                    <a:pt x="468" y="291"/>
                  </a:lnTo>
                  <a:lnTo>
                    <a:pt x="470" y="293"/>
                  </a:lnTo>
                  <a:lnTo>
                    <a:pt x="472" y="293"/>
                  </a:lnTo>
                  <a:lnTo>
                    <a:pt x="475" y="293"/>
                  </a:lnTo>
                  <a:lnTo>
                    <a:pt x="477" y="293"/>
                  </a:lnTo>
                  <a:lnTo>
                    <a:pt x="479" y="295"/>
                  </a:lnTo>
                  <a:lnTo>
                    <a:pt x="481" y="295"/>
                  </a:lnTo>
                  <a:lnTo>
                    <a:pt x="481" y="295"/>
                  </a:lnTo>
                  <a:lnTo>
                    <a:pt x="482" y="293"/>
                  </a:lnTo>
                  <a:lnTo>
                    <a:pt x="482" y="293"/>
                  </a:lnTo>
                  <a:lnTo>
                    <a:pt x="482" y="293"/>
                  </a:lnTo>
                  <a:lnTo>
                    <a:pt x="484" y="293"/>
                  </a:lnTo>
                  <a:lnTo>
                    <a:pt x="486" y="293"/>
                  </a:lnTo>
                  <a:lnTo>
                    <a:pt x="486" y="293"/>
                  </a:lnTo>
                  <a:lnTo>
                    <a:pt x="486" y="291"/>
                  </a:lnTo>
                  <a:lnTo>
                    <a:pt x="486" y="289"/>
                  </a:lnTo>
                  <a:lnTo>
                    <a:pt x="486" y="288"/>
                  </a:lnTo>
                  <a:lnTo>
                    <a:pt x="486" y="288"/>
                  </a:lnTo>
                  <a:lnTo>
                    <a:pt x="484" y="288"/>
                  </a:lnTo>
                  <a:lnTo>
                    <a:pt x="482" y="288"/>
                  </a:lnTo>
                  <a:lnTo>
                    <a:pt x="482" y="286"/>
                  </a:lnTo>
                  <a:lnTo>
                    <a:pt x="482" y="286"/>
                  </a:lnTo>
                  <a:lnTo>
                    <a:pt x="482" y="284"/>
                  </a:lnTo>
                  <a:lnTo>
                    <a:pt x="482" y="284"/>
                  </a:lnTo>
                  <a:lnTo>
                    <a:pt x="482" y="286"/>
                  </a:lnTo>
                  <a:lnTo>
                    <a:pt x="484" y="286"/>
                  </a:lnTo>
                  <a:lnTo>
                    <a:pt x="486" y="286"/>
                  </a:lnTo>
                  <a:lnTo>
                    <a:pt x="484" y="286"/>
                  </a:lnTo>
                  <a:lnTo>
                    <a:pt x="486" y="286"/>
                  </a:lnTo>
                  <a:lnTo>
                    <a:pt x="486" y="288"/>
                  </a:lnTo>
                  <a:lnTo>
                    <a:pt x="486" y="286"/>
                  </a:lnTo>
                  <a:lnTo>
                    <a:pt x="486" y="286"/>
                  </a:lnTo>
                  <a:lnTo>
                    <a:pt x="486" y="284"/>
                  </a:lnTo>
                  <a:lnTo>
                    <a:pt x="488" y="284"/>
                  </a:lnTo>
                  <a:lnTo>
                    <a:pt x="490" y="282"/>
                  </a:lnTo>
                  <a:lnTo>
                    <a:pt x="492" y="282"/>
                  </a:lnTo>
                  <a:lnTo>
                    <a:pt x="493" y="280"/>
                  </a:lnTo>
                  <a:lnTo>
                    <a:pt x="493" y="280"/>
                  </a:lnTo>
                  <a:lnTo>
                    <a:pt x="493" y="280"/>
                  </a:lnTo>
                  <a:lnTo>
                    <a:pt x="495" y="279"/>
                  </a:lnTo>
                  <a:lnTo>
                    <a:pt x="495" y="277"/>
                  </a:lnTo>
                  <a:lnTo>
                    <a:pt x="495" y="277"/>
                  </a:lnTo>
                  <a:lnTo>
                    <a:pt x="499" y="275"/>
                  </a:lnTo>
                  <a:lnTo>
                    <a:pt x="510" y="266"/>
                  </a:lnTo>
                  <a:lnTo>
                    <a:pt x="513" y="262"/>
                  </a:lnTo>
                  <a:lnTo>
                    <a:pt x="513" y="261"/>
                  </a:lnTo>
                  <a:lnTo>
                    <a:pt x="513" y="259"/>
                  </a:lnTo>
                  <a:lnTo>
                    <a:pt x="515" y="259"/>
                  </a:lnTo>
                  <a:lnTo>
                    <a:pt x="517" y="255"/>
                  </a:lnTo>
                  <a:lnTo>
                    <a:pt x="519" y="255"/>
                  </a:lnTo>
                  <a:lnTo>
                    <a:pt x="522" y="253"/>
                  </a:lnTo>
                  <a:lnTo>
                    <a:pt x="526" y="251"/>
                  </a:lnTo>
                  <a:lnTo>
                    <a:pt x="528" y="250"/>
                  </a:lnTo>
                  <a:lnTo>
                    <a:pt x="529" y="246"/>
                  </a:lnTo>
                  <a:lnTo>
                    <a:pt x="531" y="242"/>
                  </a:lnTo>
                  <a:lnTo>
                    <a:pt x="533" y="239"/>
                  </a:lnTo>
                  <a:lnTo>
                    <a:pt x="533" y="239"/>
                  </a:lnTo>
                  <a:lnTo>
                    <a:pt x="533" y="237"/>
                  </a:lnTo>
                  <a:lnTo>
                    <a:pt x="533" y="237"/>
                  </a:lnTo>
                  <a:lnTo>
                    <a:pt x="533" y="235"/>
                  </a:lnTo>
                  <a:lnTo>
                    <a:pt x="533" y="235"/>
                  </a:lnTo>
                  <a:lnTo>
                    <a:pt x="533" y="235"/>
                  </a:lnTo>
                  <a:lnTo>
                    <a:pt x="531" y="235"/>
                  </a:lnTo>
                  <a:lnTo>
                    <a:pt x="531" y="235"/>
                  </a:lnTo>
                  <a:lnTo>
                    <a:pt x="529" y="235"/>
                  </a:lnTo>
                  <a:lnTo>
                    <a:pt x="529" y="233"/>
                  </a:lnTo>
                  <a:lnTo>
                    <a:pt x="529" y="232"/>
                  </a:lnTo>
                  <a:lnTo>
                    <a:pt x="529" y="230"/>
                  </a:lnTo>
                  <a:lnTo>
                    <a:pt x="531" y="230"/>
                  </a:lnTo>
                  <a:lnTo>
                    <a:pt x="531" y="228"/>
                  </a:lnTo>
                  <a:lnTo>
                    <a:pt x="533" y="228"/>
                  </a:lnTo>
                  <a:lnTo>
                    <a:pt x="533" y="226"/>
                  </a:lnTo>
                  <a:lnTo>
                    <a:pt x="533" y="224"/>
                  </a:lnTo>
                  <a:lnTo>
                    <a:pt x="533" y="224"/>
                  </a:lnTo>
                  <a:lnTo>
                    <a:pt x="535" y="223"/>
                  </a:lnTo>
                  <a:lnTo>
                    <a:pt x="535" y="221"/>
                  </a:lnTo>
                  <a:lnTo>
                    <a:pt x="533" y="219"/>
                  </a:lnTo>
                  <a:lnTo>
                    <a:pt x="529" y="221"/>
                  </a:lnTo>
                  <a:lnTo>
                    <a:pt x="529" y="221"/>
                  </a:lnTo>
                  <a:lnTo>
                    <a:pt x="526" y="217"/>
                  </a:lnTo>
                  <a:lnTo>
                    <a:pt x="524" y="219"/>
                  </a:lnTo>
                  <a:lnTo>
                    <a:pt x="520" y="219"/>
                  </a:lnTo>
                  <a:lnTo>
                    <a:pt x="519" y="219"/>
                  </a:lnTo>
                  <a:lnTo>
                    <a:pt x="519" y="219"/>
                  </a:lnTo>
                  <a:lnTo>
                    <a:pt x="519" y="219"/>
                  </a:lnTo>
                  <a:lnTo>
                    <a:pt x="519" y="217"/>
                  </a:lnTo>
                  <a:lnTo>
                    <a:pt x="519" y="217"/>
                  </a:lnTo>
                  <a:lnTo>
                    <a:pt x="517" y="217"/>
                  </a:lnTo>
                  <a:lnTo>
                    <a:pt x="517" y="217"/>
                  </a:lnTo>
                  <a:lnTo>
                    <a:pt x="515" y="219"/>
                  </a:lnTo>
                  <a:lnTo>
                    <a:pt x="517" y="221"/>
                  </a:lnTo>
                  <a:lnTo>
                    <a:pt x="517" y="221"/>
                  </a:lnTo>
                  <a:lnTo>
                    <a:pt x="519" y="221"/>
                  </a:lnTo>
                  <a:lnTo>
                    <a:pt x="519" y="223"/>
                  </a:lnTo>
                  <a:lnTo>
                    <a:pt x="519" y="224"/>
                  </a:lnTo>
                  <a:lnTo>
                    <a:pt x="517" y="224"/>
                  </a:lnTo>
                  <a:lnTo>
                    <a:pt x="513" y="223"/>
                  </a:lnTo>
                  <a:lnTo>
                    <a:pt x="511" y="224"/>
                  </a:lnTo>
                  <a:lnTo>
                    <a:pt x="510" y="224"/>
                  </a:lnTo>
                  <a:lnTo>
                    <a:pt x="508" y="223"/>
                  </a:lnTo>
                  <a:lnTo>
                    <a:pt x="508" y="223"/>
                  </a:lnTo>
                  <a:lnTo>
                    <a:pt x="510" y="223"/>
                  </a:lnTo>
                  <a:lnTo>
                    <a:pt x="508" y="221"/>
                  </a:lnTo>
                  <a:lnTo>
                    <a:pt x="506" y="221"/>
                  </a:lnTo>
                  <a:lnTo>
                    <a:pt x="502" y="223"/>
                  </a:lnTo>
                  <a:lnTo>
                    <a:pt x="501" y="223"/>
                  </a:lnTo>
                  <a:lnTo>
                    <a:pt x="497" y="226"/>
                  </a:lnTo>
                  <a:lnTo>
                    <a:pt x="495" y="226"/>
                  </a:lnTo>
                  <a:lnTo>
                    <a:pt x="492" y="228"/>
                  </a:lnTo>
                  <a:lnTo>
                    <a:pt x="488" y="226"/>
                  </a:lnTo>
                  <a:lnTo>
                    <a:pt x="486" y="226"/>
                  </a:lnTo>
                  <a:lnTo>
                    <a:pt x="486" y="226"/>
                  </a:lnTo>
                  <a:lnTo>
                    <a:pt x="484" y="224"/>
                  </a:lnTo>
                  <a:lnTo>
                    <a:pt x="484" y="224"/>
                  </a:lnTo>
                  <a:lnTo>
                    <a:pt x="484" y="224"/>
                  </a:lnTo>
                  <a:lnTo>
                    <a:pt x="484" y="224"/>
                  </a:lnTo>
                  <a:lnTo>
                    <a:pt x="484" y="224"/>
                  </a:lnTo>
                  <a:lnTo>
                    <a:pt x="482" y="226"/>
                  </a:lnTo>
                  <a:lnTo>
                    <a:pt x="482" y="228"/>
                  </a:lnTo>
                  <a:lnTo>
                    <a:pt x="482" y="228"/>
                  </a:lnTo>
                  <a:lnTo>
                    <a:pt x="482" y="228"/>
                  </a:lnTo>
                  <a:lnTo>
                    <a:pt x="481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7" y="228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5" y="228"/>
                  </a:lnTo>
                  <a:lnTo>
                    <a:pt x="475" y="228"/>
                  </a:lnTo>
                  <a:lnTo>
                    <a:pt x="475" y="228"/>
                  </a:lnTo>
                  <a:lnTo>
                    <a:pt x="475" y="230"/>
                  </a:lnTo>
                  <a:lnTo>
                    <a:pt x="473" y="230"/>
                  </a:lnTo>
                  <a:lnTo>
                    <a:pt x="473" y="230"/>
                  </a:lnTo>
                  <a:lnTo>
                    <a:pt x="475" y="232"/>
                  </a:lnTo>
                  <a:lnTo>
                    <a:pt x="473" y="232"/>
                  </a:lnTo>
                  <a:lnTo>
                    <a:pt x="472" y="230"/>
                  </a:lnTo>
                  <a:lnTo>
                    <a:pt x="472" y="230"/>
                  </a:lnTo>
                  <a:lnTo>
                    <a:pt x="470" y="230"/>
                  </a:lnTo>
                  <a:lnTo>
                    <a:pt x="468" y="230"/>
                  </a:lnTo>
                  <a:lnTo>
                    <a:pt x="466" y="232"/>
                  </a:lnTo>
                  <a:lnTo>
                    <a:pt x="466" y="232"/>
                  </a:lnTo>
                  <a:lnTo>
                    <a:pt x="464" y="233"/>
                  </a:lnTo>
                  <a:lnTo>
                    <a:pt x="464" y="233"/>
                  </a:lnTo>
                  <a:lnTo>
                    <a:pt x="464" y="233"/>
                  </a:lnTo>
                  <a:lnTo>
                    <a:pt x="464" y="233"/>
                  </a:lnTo>
                  <a:lnTo>
                    <a:pt x="464" y="235"/>
                  </a:lnTo>
                  <a:lnTo>
                    <a:pt x="464" y="235"/>
                  </a:lnTo>
                  <a:lnTo>
                    <a:pt x="463" y="237"/>
                  </a:lnTo>
                  <a:lnTo>
                    <a:pt x="463" y="237"/>
                  </a:lnTo>
                  <a:lnTo>
                    <a:pt x="461" y="239"/>
                  </a:lnTo>
                  <a:lnTo>
                    <a:pt x="463" y="237"/>
                  </a:lnTo>
                  <a:lnTo>
                    <a:pt x="463" y="233"/>
                  </a:lnTo>
                  <a:lnTo>
                    <a:pt x="464" y="233"/>
                  </a:lnTo>
                  <a:lnTo>
                    <a:pt x="464" y="232"/>
                  </a:lnTo>
                  <a:lnTo>
                    <a:pt x="464" y="230"/>
                  </a:lnTo>
                  <a:lnTo>
                    <a:pt x="464" y="230"/>
                  </a:lnTo>
                  <a:lnTo>
                    <a:pt x="464" y="230"/>
                  </a:lnTo>
                  <a:lnTo>
                    <a:pt x="464" y="230"/>
                  </a:lnTo>
                  <a:lnTo>
                    <a:pt x="463" y="228"/>
                  </a:lnTo>
                  <a:lnTo>
                    <a:pt x="461" y="226"/>
                  </a:lnTo>
                  <a:lnTo>
                    <a:pt x="457" y="226"/>
                  </a:lnTo>
                  <a:lnTo>
                    <a:pt x="457" y="226"/>
                  </a:lnTo>
                  <a:lnTo>
                    <a:pt x="457" y="228"/>
                  </a:lnTo>
                  <a:lnTo>
                    <a:pt x="455" y="230"/>
                  </a:lnTo>
                  <a:lnTo>
                    <a:pt x="455" y="232"/>
                  </a:lnTo>
                  <a:lnTo>
                    <a:pt x="455" y="232"/>
                  </a:lnTo>
                  <a:lnTo>
                    <a:pt x="454" y="233"/>
                  </a:lnTo>
                  <a:lnTo>
                    <a:pt x="454" y="233"/>
                  </a:lnTo>
                  <a:lnTo>
                    <a:pt x="452" y="235"/>
                  </a:lnTo>
                  <a:lnTo>
                    <a:pt x="452" y="235"/>
                  </a:lnTo>
                  <a:lnTo>
                    <a:pt x="448" y="239"/>
                  </a:lnTo>
                  <a:lnTo>
                    <a:pt x="448" y="239"/>
                  </a:lnTo>
                  <a:lnTo>
                    <a:pt x="448" y="237"/>
                  </a:lnTo>
                  <a:lnTo>
                    <a:pt x="450" y="235"/>
                  </a:lnTo>
                  <a:lnTo>
                    <a:pt x="450" y="233"/>
                  </a:lnTo>
                  <a:lnTo>
                    <a:pt x="452" y="232"/>
                  </a:lnTo>
                  <a:lnTo>
                    <a:pt x="454" y="230"/>
                  </a:lnTo>
                  <a:lnTo>
                    <a:pt x="454" y="230"/>
                  </a:lnTo>
                  <a:lnTo>
                    <a:pt x="454" y="230"/>
                  </a:lnTo>
                  <a:lnTo>
                    <a:pt x="454" y="228"/>
                  </a:lnTo>
                  <a:lnTo>
                    <a:pt x="452" y="228"/>
                  </a:lnTo>
                  <a:lnTo>
                    <a:pt x="452" y="228"/>
                  </a:lnTo>
                  <a:lnTo>
                    <a:pt x="450" y="226"/>
                  </a:lnTo>
                  <a:lnTo>
                    <a:pt x="450" y="226"/>
                  </a:lnTo>
                  <a:lnTo>
                    <a:pt x="448" y="224"/>
                  </a:lnTo>
                  <a:lnTo>
                    <a:pt x="446" y="223"/>
                  </a:lnTo>
                  <a:lnTo>
                    <a:pt x="448" y="224"/>
                  </a:lnTo>
                  <a:lnTo>
                    <a:pt x="446" y="226"/>
                  </a:lnTo>
                  <a:lnTo>
                    <a:pt x="446" y="226"/>
                  </a:lnTo>
                  <a:lnTo>
                    <a:pt x="446" y="228"/>
                  </a:lnTo>
                  <a:lnTo>
                    <a:pt x="446" y="228"/>
                  </a:lnTo>
                  <a:lnTo>
                    <a:pt x="446" y="230"/>
                  </a:lnTo>
                  <a:lnTo>
                    <a:pt x="446" y="230"/>
                  </a:lnTo>
                  <a:lnTo>
                    <a:pt x="445" y="232"/>
                  </a:lnTo>
                  <a:lnTo>
                    <a:pt x="446" y="230"/>
                  </a:lnTo>
                  <a:lnTo>
                    <a:pt x="446" y="230"/>
                  </a:lnTo>
                  <a:lnTo>
                    <a:pt x="446" y="228"/>
                  </a:lnTo>
                  <a:lnTo>
                    <a:pt x="446" y="228"/>
                  </a:lnTo>
                  <a:lnTo>
                    <a:pt x="446" y="228"/>
                  </a:lnTo>
                  <a:lnTo>
                    <a:pt x="445" y="226"/>
                  </a:lnTo>
                  <a:lnTo>
                    <a:pt x="445" y="224"/>
                  </a:lnTo>
                  <a:lnTo>
                    <a:pt x="445" y="224"/>
                  </a:lnTo>
                  <a:lnTo>
                    <a:pt x="445" y="223"/>
                  </a:lnTo>
                  <a:lnTo>
                    <a:pt x="443" y="223"/>
                  </a:lnTo>
                  <a:lnTo>
                    <a:pt x="437" y="221"/>
                  </a:lnTo>
                  <a:lnTo>
                    <a:pt x="436" y="223"/>
                  </a:lnTo>
                  <a:lnTo>
                    <a:pt x="436" y="224"/>
                  </a:lnTo>
                  <a:lnTo>
                    <a:pt x="436" y="226"/>
                  </a:lnTo>
                  <a:lnTo>
                    <a:pt x="436" y="228"/>
                  </a:lnTo>
                  <a:lnTo>
                    <a:pt x="436" y="228"/>
                  </a:lnTo>
                  <a:lnTo>
                    <a:pt x="436" y="230"/>
                  </a:lnTo>
                  <a:lnTo>
                    <a:pt x="434" y="230"/>
                  </a:lnTo>
                  <a:lnTo>
                    <a:pt x="432" y="232"/>
                  </a:lnTo>
                  <a:lnTo>
                    <a:pt x="430" y="232"/>
                  </a:lnTo>
                  <a:lnTo>
                    <a:pt x="430" y="233"/>
                  </a:lnTo>
                  <a:lnTo>
                    <a:pt x="430" y="235"/>
                  </a:lnTo>
                  <a:lnTo>
                    <a:pt x="436" y="239"/>
                  </a:lnTo>
                  <a:lnTo>
                    <a:pt x="436" y="239"/>
                  </a:lnTo>
                  <a:lnTo>
                    <a:pt x="434" y="237"/>
                  </a:lnTo>
                  <a:lnTo>
                    <a:pt x="430" y="239"/>
                  </a:lnTo>
                  <a:lnTo>
                    <a:pt x="432" y="241"/>
                  </a:lnTo>
                  <a:lnTo>
                    <a:pt x="432" y="241"/>
                  </a:lnTo>
                  <a:lnTo>
                    <a:pt x="432" y="241"/>
                  </a:lnTo>
                  <a:lnTo>
                    <a:pt x="432" y="241"/>
                  </a:lnTo>
                  <a:lnTo>
                    <a:pt x="432" y="241"/>
                  </a:lnTo>
                  <a:lnTo>
                    <a:pt x="432" y="241"/>
                  </a:lnTo>
                  <a:lnTo>
                    <a:pt x="432" y="242"/>
                  </a:lnTo>
                  <a:lnTo>
                    <a:pt x="432" y="242"/>
                  </a:lnTo>
                  <a:lnTo>
                    <a:pt x="432" y="242"/>
                  </a:lnTo>
                  <a:lnTo>
                    <a:pt x="432" y="241"/>
                  </a:lnTo>
                  <a:lnTo>
                    <a:pt x="434" y="241"/>
                  </a:lnTo>
                  <a:lnTo>
                    <a:pt x="434" y="242"/>
                  </a:lnTo>
                  <a:lnTo>
                    <a:pt x="434" y="242"/>
                  </a:lnTo>
                  <a:lnTo>
                    <a:pt x="434" y="242"/>
                  </a:lnTo>
                  <a:lnTo>
                    <a:pt x="436" y="244"/>
                  </a:lnTo>
                  <a:lnTo>
                    <a:pt x="434" y="244"/>
                  </a:lnTo>
                  <a:lnTo>
                    <a:pt x="430" y="242"/>
                  </a:lnTo>
                  <a:lnTo>
                    <a:pt x="430" y="242"/>
                  </a:lnTo>
                  <a:lnTo>
                    <a:pt x="430" y="242"/>
                  </a:lnTo>
                  <a:lnTo>
                    <a:pt x="428" y="242"/>
                  </a:lnTo>
                  <a:lnTo>
                    <a:pt x="428" y="242"/>
                  </a:lnTo>
                  <a:lnTo>
                    <a:pt x="428" y="242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8" y="246"/>
                  </a:lnTo>
                  <a:lnTo>
                    <a:pt x="428" y="248"/>
                  </a:lnTo>
                  <a:lnTo>
                    <a:pt x="426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50"/>
                  </a:lnTo>
                  <a:lnTo>
                    <a:pt x="428" y="250"/>
                  </a:lnTo>
                  <a:lnTo>
                    <a:pt x="428" y="251"/>
                  </a:lnTo>
                  <a:lnTo>
                    <a:pt x="430" y="251"/>
                  </a:lnTo>
                  <a:lnTo>
                    <a:pt x="430" y="253"/>
                  </a:lnTo>
                  <a:lnTo>
                    <a:pt x="432" y="255"/>
                  </a:lnTo>
                  <a:lnTo>
                    <a:pt x="432" y="255"/>
                  </a:lnTo>
                  <a:lnTo>
                    <a:pt x="432" y="255"/>
                  </a:lnTo>
                  <a:lnTo>
                    <a:pt x="434" y="257"/>
                  </a:lnTo>
                  <a:lnTo>
                    <a:pt x="434" y="257"/>
                  </a:lnTo>
                  <a:lnTo>
                    <a:pt x="434" y="257"/>
                  </a:lnTo>
                  <a:lnTo>
                    <a:pt x="436" y="255"/>
                  </a:lnTo>
                  <a:lnTo>
                    <a:pt x="436" y="255"/>
                  </a:lnTo>
                  <a:lnTo>
                    <a:pt x="437" y="255"/>
                  </a:lnTo>
                  <a:lnTo>
                    <a:pt x="439" y="255"/>
                  </a:lnTo>
                  <a:lnTo>
                    <a:pt x="439" y="257"/>
                  </a:lnTo>
                  <a:lnTo>
                    <a:pt x="437" y="257"/>
                  </a:lnTo>
                  <a:lnTo>
                    <a:pt x="437" y="257"/>
                  </a:lnTo>
                  <a:lnTo>
                    <a:pt x="439" y="259"/>
                  </a:lnTo>
                  <a:lnTo>
                    <a:pt x="439" y="259"/>
                  </a:lnTo>
                  <a:lnTo>
                    <a:pt x="439" y="261"/>
                  </a:lnTo>
                  <a:lnTo>
                    <a:pt x="436" y="257"/>
                  </a:lnTo>
                  <a:lnTo>
                    <a:pt x="436" y="257"/>
                  </a:lnTo>
                  <a:lnTo>
                    <a:pt x="432" y="257"/>
                  </a:lnTo>
                  <a:lnTo>
                    <a:pt x="432" y="257"/>
                  </a:lnTo>
                  <a:lnTo>
                    <a:pt x="430" y="255"/>
                  </a:lnTo>
                  <a:lnTo>
                    <a:pt x="430" y="255"/>
                  </a:lnTo>
                  <a:lnTo>
                    <a:pt x="428" y="255"/>
                  </a:lnTo>
                  <a:lnTo>
                    <a:pt x="428" y="255"/>
                  </a:lnTo>
                  <a:lnTo>
                    <a:pt x="428" y="257"/>
                  </a:lnTo>
                  <a:lnTo>
                    <a:pt x="426" y="257"/>
                  </a:lnTo>
                  <a:lnTo>
                    <a:pt x="426" y="257"/>
                  </a:lnTo>
                  <a:lnTo>
                    <a:pt x="425" y="257"/>
                  </a:lnTo>
                  <a:lnTo>
                    <a:pt x="425" y="257"/>
                  </a:lnTo>
                  <a:lnTo>
                    <a:pt x="423" y="259"/>
                  </a:lnTo>
                  <a:lnTo>
                    <a:pt x="421" y="259"/>
                  </a:lnTo>
                  <a:lnTo>
                    <a:pt x="421" y="259"/>
                  </a:lnTo>
                  <a:lnTo>
                    <a:pt x="419" y="257"/>
                  </a:lnTo>
                  <a:lnTo>
                    <a:pt x="417" y="255"/>
                  </a:lnTo>
                  <a:lnTo>
                    <a:pt x="416" y="257"/>
                  </a:lnTo>
                  <a:lnTo>
                    <a:pt x="416" y="259"/>
                  </a:lnTo>
                  <a:lnTo>
                    <a:pt x="419" y="262"/>
                  </a:lnTo>
                  <a:lnTo>
                    <a:pt x="419" y="262"/>
                  </a:lnTo>
                  <a:lnTo>
                    <a:pt x="419" y="262"/>
                  </a:lnTo>
                  <a:lnTo>
                    <a:pt x="419" y="262"/>
                  </a:lnTo>
                  <a:lnTo>
                    <a:pt x="419" y="264"/>
                  </a:lnTo>
                  <a:lnTo>
                    <a:pt x="419" y="264"/>
                  </a:lnTo>
                  <a:lnTo>
                    <a:pt x="419" y="264"/>
                  </a:lnTo>
                  <a:lnTo>
                    <a:pt x="421" y="264"/>
                  </a:lnTo>
                  <a:lnTo>
                    <a:pt x="421" y="264"/>
                  </a:lnTo>
                  <a:lnTo>
                    <a:pt x="421" y="266"/>
                  </a:lnTo>
                  <a:lnTo>
                    <a:pt x="421" y="266"/>
                  </a:lnTo>
                  <a:lnTo>
                    <a:pt x="421" y="266"/>
                  </a:lnTo>
                  <a:lnTo>
                    <a:pt x="423" y="266"/>
                  </a:lnTo>
                  <a:lnTo>
                    <a:pt x="425" y="266"/>
                  </a:lnTo>
                  <a:lnTo>
                    <a:pt x="425" y="268"/>
                  </a:lnTo>
                  <a:lnTo>
                    <a:pt x="423" y="268"/>
                  </a:lnTo>
                  <a:lnTo>
                    <a:pt x="421" y="268"/>
                  </a:lnTo>
                  <a:lnTo>
                    <a:pt x="421" y="268"/>
                  </a:lnTo>
                  <a:lnTo>
                    <a:pt x="423" y="270"/>
                  </a:lnTo>
                  <a:lnTo>
                    <a:pt x="423" y="270"/>
                  </a:lnTo>
                  <a:lnTo>
                    <a:pt x="421" y="270"/>
                  </a:lnTo>
                  <a:lnTo>
                    <a:pt x="421" y="270"/>
                  </a:lnTo>
                  <a:lnTo>
                    <a:pt x="423" y="271"/>
                  </a:lnTo>
                  <a:lnTo>
                    <a:pt x="423" y="271"/>
                  </a:lnTo>
                  <a:lnTo>
                    <a:pt x="421" y="273"/>
                  </a:lnTo>
                  <a:lnTo>
                    <a:pt x="423" y="273"/>
                  </a:lnTo>
                  <a:lnTo>
                    <a:pt x="421" y="275"/>
                  </a:lnTo>
                  <a:lnTo>
                    <a:pt x="419" y="275"/>
                  </a:lnTo>
                  <a:lnTo>
                    <a:pt x="419" y="273"/>
                  </a:lnTo>
                  <a:lnTo>
                    <a:pt x="417" y="275"/>
                  </a:lnTo>
                  <a:lnTo>
                    <a:pt x="416" y="273"/>
                  </a:lnTo>
                  <a:lnTo>
                    <a:pt x="414" y="271"/>
                  </a:lnTo>
                  <a:lnTo>
                    <a:pt x="414" y="273"/>
                  </a:lnTo>
                  <a:lnTo>
                    <a:pt x="416" y="277"/>
                  </a:lnTo>
                  <a:lnTo>
                    <a:pt x="416" y="277"/>
                  </a:lnTo>
                  <a:lnTo>
                    <a:pt x="416" y="277"/>
                  </a:lnTo>
                  <a:lnTo>
                    <a:pt x="416" y="277"/>
                  </a:lnTo>
                  <a:lnTo>
                    <a:pt x="416" y="277"/>
                  </a:lnTo>
                  <a:lnTo>
                    <a:pt x="414" y="279"/>
                  </a:lnTo>
                  <a:lnTo>
                    <a:pt x="417" y="279"/>
                  </a:lnTo>
                  <a:lnTo>
                    <a:pt x="417" y="279"/>
                  </a:lnTo>
                  <a:lnTo>
                    <a:pt x="419" y="279"/>
                  </a:lnTo>
                  <a:lnTo>
                    <a:pt x="417" y="280"/>
                  </a:lnTo>
                  <a:lnTo>
                    <a:pt x="417" y="280"/>
                  </a:lnTo>
                  <a:lnTo>
                    <a:pt x="417" y="280"/>
                  </a:lnTo>
                  <a:lnTo>
                    <a:pt x="419" y="280"/>
                  </a:lnTo>
                  <a:lnTo>
                    <a:pt x="421" y="282"/>
                  </a:lnTo>
                  <a:lnTo>
                    <a:pt x="423" y="284"/>
                  </a:lnTo>
                  <a:lnTo>
                    <a:pt x="423" y="284"/>
                  </a:lnTo>
                  <a:lnTo>
                    <a:pt x="425" y="284"/>
                  </a:lnTo>
                  <a:lnTo>
                    <a:pt x="426" y="284"/>
                  </a:lnTo>
                  <a:lnTo>
                    <a:pt x="426" y="286"/>
                  </a:lnTo>
                  <a:lnTo>
                    <a:pt x="426" y="288"/>
                  </a:lnTo>
                  <a:lnTo>
                    <a:pt x="426" y="288"/>
                  </a:lnTo>
                  <a:lnTo>
                    <a:pt x="425" y="288"/>
                  </a:lnTo>
                  <a:lnTo>
                    <a:pt x="425" y="288"/>
                  </a:lnTo>
                  <a:lnTo>
                    <a:pt x="426" y="289"/>
                  </a:lnTo>
                  <a:lnTo>
                    <a:pt x="432" y="293"/>
                  </a:lnTo>
                  <a:lnTo>
                    <a:pt x="432" y="293"/>
                  </a:lnTo>
                  <a:lnTo>
                    <a:pt x="432" y="295"/>
                  </a:lnTo>
                  <a:lnTo>
                    <a:pt x="432" y="295"/>
                  </a:lnTo>
                  <a:lnTo>
                    <a:pt x="432" y="297"/>
                  </a:lnTo>
                  <a:lnTo>
                    <a:pt x="432" y="297"/>
                  </a:lnTo>
                  <a:lnTo>
                    <a:pt x="432" y="297"/>
                  </a:lnTo>
                  <a:lnTo>
                    <a:pt x="430" y="293"/>
                  </a:lnTo>
                  <a:lnTo>
                    <a:pt x="428" y="293"/>
                  </a:lnTo>
                  <a:lnTo>
                    <a:pt x="426" y="291"/>
                  </a:lnTo>
                  <a:lnTo>
                    <a:pt x="425" y="289"/>
                  </a:lnTo>
                  <a:lnTo>
                    <a:pt x="425" y="289"/>
                  </a:lnTo>
                  <a:lnTo>
                    <a:pt x="425" y="289"/>
                  </a:lnTo>
                  <a:lnTo>
                    <a:pt x="423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19" y="288"/>
                  </a:lnTo>
                  <a:lnTo>
                    <a:pt x="417" y="286"/>
                  </a:lnTo>
                  <a:lnTo>
                    <a:pt x="417" y="288"/>
                  </a:lnTo>
                  <a:lnTo>
                    <a:pt x="417" y="288"/>
                  </a:lnTo>
                  <a:lnTo>
                    <a:pt x="417" y="288"/>
                  </a:lnTo>
                  <a:lnTo>
                    <a:pt x="416" y="288"/>
                  </a:lnTo>
                  <a:lnTo>
                    <a:pt x="416" y="288"/>
                  </a:lnTo>
                  <a:lnTo>
                    <a:pt x="416" y="288"/>
                  </a:lnTo>
                  <a:lnTo>
                    <a:pt x="416" y="288"/>
                  </a:lnTo>
                  <a:lnTo>
                    <a:pt x="416" y="289"/>
                  </a:lnTo>
                  <a:lnTo>
                    <a:pt x="417" y="289"/>
                  </a:lnTo>
                  <a:lnTo>
                    <a:pt x="419" y="291"/>
                  </a:lnTo>
                  <a:lnTo>
                    <a:pt x="423" y="293"/>
                  </a:lnTo>
                  <a:lnTo>
                    <a:pt x="423" y="293"/>
                  </a:lnTo>
                  <a:lnTo>
                    <a:pt x="425" y="295"/>
                  </a:lnTo>
                  <a:lnTo>
                    <a:pt x="425" y="295"/>
                  </a:lnTo>
                  <a:lnTo>
                    <a:pt x="421" y="295"/>
                  </a:lnTo>
                  <a:lnTo>
                    <a:pt x="419" y="293"/>
                  </a:lnTo>
                  <a:lnTo>
                    <a:pt x="417" y="291"/>
                  </a:lnTo>
                  <a:lnTo>
                    <a:pt x="417" y="291"/>
                  </a:lnTo>
                  <a:lnTo>
                    <a:pt x="416" y="289"/>
                  </a:lnTo>
                  <a:lnTo>
                    <a:pt x="414" y="289"/>
                  </a:lnTo>
                  <a:lnTo>
                    <a:pt x="414" y="291"/>
                  </a:lnTo>
                  <a:lnTo>
                    <a:pt x="414" y="293"/>
                  </a:lnTo>
                  <a:lnTo>
                    <a:pt x="414" y="295"/>
                  </a:lnTo>
                  <a:lnTo>
                    <a:pt x="414" y="295"/>
                  </a:lnTo>
                  <a:lnTo>
                    <a:pt x="412" y="295"/>
                  </a:lnTo>
                  <a:lnTo>
                    <a:pt x="410" y="293"/>
                  </a:lnTo>
                  <a:lnTo>
                    <a:pt x="408" y="291"/>
                  </a:lnTo>
                  <a:lnTo>
                    <a:pt x="408" y="289"/>
                  </a:lnTo>
                  <a:lnTo>
                    <a:pt x="407" y="289"/>
                  </a:lnTo>
                  <a:lnTo>
                    <a:pt x="407" y="289"/>
                  </a:lnTo>
                  <a:lnTo>
                    <a:pt x="405" y="288"/>
                  </a:lnTo>
                  <a:lnTo>
                    <a:pt x="405" y="288"/>
                  </a:lnTo>
                  <a:lnTo>
                    <a:pt x="403" y="289"/>
                  </a:lnTo>
                  <a:lnTo>
                    <a:pt x="403" y="291"/>
                  </a:lnTo>
                  <a:lnTo>
                    <a:pt x="403" y="291"/>
                  </a:lnTo>
                  <a:lnTo>
                    <a:pt x="403" y="291"/>
                  </a:lnTo>
                  <a:lnTo>
                    <a:pt x="405" y="291"/>
                  </a:lnTo>
                  <a:lnTo>
                    <a:pt x="403" y="293"/>
                  </a:lnTo>
                  <a:lnTo>
                    <a:pt x="405" y="293"/>
                  </a:lnTo>
                  <a:lnTo>
                    <a:pt x="407" y="295"/>
                  </a:lnTo>
                  <a:lnTo>
                    <a:pt x="407" y="297"/>
                  </a:lnTo>
                  <a:lnTo>
                    <a:pt x="407" y="298"/>
                  </a:lnTo>
                  <a:lnTo>
                    <a:pt x="407" y="300"/>
                  </a:lnTo>
                  <a:lnTo>
                    <a:pt x="407" y="302"/>
                  </a:lnTo>
                  <a:lnTo>
                    <a:pt x="407" y="300"/>
                  </a:lnTo>
                  <a:lnTo>
                    <a:pt x="405" y="300"/>
                  </a:lnTo>
                  <a:lnTo>
                    <a:pt x="405" y="300"/>
                  </a:lnTo>
                  <a:lnTo>
                    <a:pt x="405" y="302"/>
                  </a:lnTo>
                  <a:lnTo>
                    <a:pt x="405" y="302"/>
                  </a:lnTo>
                  <a:lnTo>
                    <a:pt x="407" y="302"/>
                  </a:lnTo>
                  <a:lnTo>
                    <a:pt x="405" y="302"/>
                  </a:lnTo>
                  <a:lnTo>
                    <a:pt x="405" y="302"/>
                  </a:lnTo>
                  <a:lnTo>
                    <a:pt x="403" y="302"/>
                  </a:lnTo>
                  <a:lnTo>
                    <a:pt x="403" y="300"/>
                  </a:lnTo>
                  <a:lnTo>
                    <a:pt x="403" y="298"/>
                  </a:lnTo>
                  <a:lnTo>
                    <a:pt x="403" y="297"/>
                  </a:lnTo>
                  <a:lnTo>
                    <a:pt x="403" y="295"/>
                  </a:lnTo>
                  <a:lnTo>
                    <a:pt x="403" y="295"/>
                  </a:lnTo>
                  <a:lnTo>
                    <a:pt x="401" y="293"/>
                  </a:lnTo>
                  <a:lnTo>
                    <a:pt x="399" y="293"/>
                  </a:lnTo>
                  <a:lnTo>
                    <a:pt x="398" y="293"/>
                  </a:lnTo>
                  <a:lnTo>
                    <a:pt x="398" y="293"/>
                  </a:lnTo>
                  <a:lnTo>
                    <a:pt x="396" y="295"/>
                  </a:lnTo>
                  <a:lnTo>
                    <a:pt x="396" y="295"/>
                  </a:lnTo>
                  <a:lnTo>
                    <a:pt x="396" y="295"/>
                  </a:lnTo>
                  <a:lnTo>
                    <a:pt x="396" y="297"/>
                  </a:lnTo>
                  <a:lnTo>
                    <a:pt x="396" y="298"/>
                  </a:lnTo>
                  <a:lnTo>
                    <a:pt x="396" y="300"/>
                  </a:lnTo>
                  <a:lnTo>
                    <a:pt x="396" y="300"/>
                  </a:lnTo>
                  <a:lnTo>
                    <a:pt x="396" y="302"/>
                  </a:lnTo>
                  <a:lnTo>
                    <a:pt x="396" y="304"/>
                  </a:lnTo>
                  <a:lnTo>
                    <a:pt x="396" y="306"/>
                  </a:lnTo>
                  <a:lnTo>
                    <a:pt x="399" y="306"/>
                  </a:lnTo>
                  <a:lnTo>
                    <a:pt x="401" y="306"/>
                  </a:lnTo>
                  <a:lnTo>
                    <a:pt x="401" y="307"/>
                  </a:lnTo>
                  <a:lnTo>
                    <a:pt x="401" y="307"/>
                  </a:lnTo>
                  <a:lnTo>
                    <a:pt x="401" y="307"/>
                  </a:lnTo>
                  <a:lnTo>
                    <a:pt x="403" y="307"/>
                  </a:lnTo>
                  <a:lnTo>
                    <a:pt x="401" y="309"/>
                  </a:lnTo>
                  <a:lnTo>
                    <a:pt x="401" y="309"/>
                  </a:lnTo>
                  <a:lnTo>
                    <a:pt x="401" y="309"/>
                  </a:lnTo>
                  <a:lnTo>
                    <a:pt x="399" y="309"/>
                  </a:lnTo>
                  <a:lnTo>
                    <a:pt x="398" y="309"/>
                  </a:lnTo>
                  <a:lnTo>
                    <a:pt x="396" y="309"/>
                  </a:lnTo>
                  <a:lnTo>
                    <a:pt x="396" y="311"/>
                  </a:lnTo>
                  <a:lnTo>
                    <a:pt x="398" y="311"/>
                  </a:lnTo>
                  <a:lnTo>
                    <a:pt x="396" y="313"/>
                  </a:lnTo>
                  <a:lnTo>
                    <a:pt x="396" y="313"/>
                  </a:lnTo>
                  <a:lnTo>
                    <a:pt x="396" y="315"/>
                  </a:lnTo>
                  <a:lnTo>
                    <a:pt x="396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9" y="317"/>
                  </a:lnTo>
                  <a:lnTo>
                    <a:pt x="399" y="318"/>
                  </a:lnTo>
                  <a:lnTo>
                    <a:pt x="399" y="320"/>
                  </a:lnTo>
                  <a:lnTo>
                    <a:pt x="401" y="320"/>
                  </a:lnTo>
                  <a:lnTo>
                    <a:pt x="401" y="322"/>
                  </a:lnTo>
                  <a:lnTo>
                    <a:pt x="401" y="322"/>
                  </a:lnTo>
                  <a:lnTo>
                    <a:pt x="403" y="324"/>
                  </a:lnTo>
                  <a:lnTo>
                    <a:pt x="405" y="322"/>
                  </a:lnTo>
                  <a:lnTo>
                    <a:pt x="407" y="322"/>
                  </a:lnTo>
                  <a:lnTo>
                    <a:pt x="408" y="322"/>
                  </a:lnTo>
                  <a:lnTo>
                    <a:pt x="410" y="324"/>
                  </a:lnTo>
                  <a:lnTo>
                    <a:pt x="410" y="324"/>
                  </a:lnTo>
                  <a:lnTo>
                    <a:pt x="408" y="324"/>
                  </a:lnTo>
                  <a:lnTo>
                    <a:pt x="407" y="324"/>
                  </a:lnTo>
                  <a:lnTo>
                    <a:pt x="403" y="326"/>
                  </a:lnTo>
                  <a:lnTo>
                    <a:pt x="403" y="326"/>
                  </a:lnTo>
                  <a:lnTo>
                    <a:pt x="403" y="326"/>
                  </a:lnTo>
                  <a:lnTo>
                    <a:pt x="403" y="326"/>
                  </a:lnTo>
                  <a:lnTo>
                    <a:pt x="405" y="327"/>
                  </a:lnTo>
                  <a:lnTo>
                    <a:pt x="403" y="327"/>
                  </a:lnTo>
                  <a:lnTo>
                    <a:pt x="401" y="326"/>
                  </a:lnTo>
                  <a:lnTo>
                    <a:pt x="401" y="326"/>
                  </a:lnTo>
                  <a:lnTo>
                    <a:pt x="401" y="324"/>
                  </a:lnTo>
                  <a:lnTo>
                    <a:pt x="399" y="324"/>
                  </a:lnTo>
                  <a:lnTo>
                    <a:pt x="399" y="324"/>
                  </a:lnTo>
                  <a:lnTo>
                    <a:pt x="396" y="320"/>
                  </a:lnTo>
                  <a:lnTo>
                    <a:pt x="396" y="320"/>
                  </a:lnTo>
                  <a:lnTo>
                    <a:pt x="396" y="320"/>
                  </a:lnTo>
                  <a:lnTo>
                    <a:pt x="394" y="320"/>
                  </a:lnTo>
                  <a:lnTo>
                    <a:pt x="394" y="320"/>
                  </a:lnTo>
                  <a:lnTo>
                    <a:pt x="394" y="322"/>
                  </a:lnTo>
                  <a:lnTo>
                    <a:pt x="394" y="322"/>
                  </a:lnTo>
                  <a:lnTo>
                    <a:pt x="394" y="322"/>
                  </a:lnTo>
                  <a:lnTo>
                    <a:pt x="394" y="324"/>
                  </a:lnTo>
                  <a:lnTo>
                    <a:pt x="394" y="324"/>
                  </a:lnTo>
                  <a:lnTo>
                    <a:pt x="394" y="326"/>
                  </a:lnTo>
                  <a:lnTo>
                    <a:pt x="394" y="326"/>
                  </a:lnTo>
                  <a:lnTo>
                    <a:pt x="392" y="327"/>
                  </a:lnTo>
                  <a:lnTo>
                    <a:pt x="392" y="329"/>
                  </a:lnTo>
                  <a:lnTo>
                    <a:pt x="392" y="329"/>
                  </a:lnTo>
                  <a:lnTo>
                    <a:pt x="392" y="331"/>
                  </a:lnTo>
                  <a:lnTo>
                    <a:pt x="392" y="333"/>
                  </a:lnTo>
                  <a:lnTo>
                    <a:pt x="394" y="333"/>
                  </a:lnTo>
                  <a:lnTo>
                    <a:pt x="396" y="333"/>
                  </a:lnTo>
                  <a:lnTo>
                    <a:pt x="396" y="333"/>
                  </a:lnTo>
                  <a:lnTo>
                    <a:pt x="396" y="335"/>
                  </a:lnTo>
                  <a:lnTo>
                    <a:pt x="394" y="335"/>
                  </a:lnTo>
                  <a:lnTo>
                    <a:pt x="394" y="336"/>
                  </a:lnTo>
                  <a:lnTo>
                    <a:pt x="394" y="336"/>
                  </a:lnTo>
                  <a:lnTo>
                    <a:pt x="396" y="336"/>
                  </a:lnTo>
                  <a:lnTo>
                    <a:pt x="396" y="336"/>
                  </a:lnTo>
                  <a:lnTo>
                    <a:pt x="396" y="336"/>
                  </a:lnTo>
                  <a:lnTo>
                    <a:pt x="396" y="338"/>
                  </a:lnTo>
                  <a:lnTo>
                    <a:pt x="396" y="338"/>
                  </a:lnTo>
                  <a:lnTo>
                    <a:pt x="394" y="338"/>
                  </a:lnTo>
                  <a:lnTo>
                    <a:pt x="396" y="342"/>
                  </a:lnTo>
                  <a:lnTo>
                    <a:pt x="398" y="342"/>
                  </a:lnTo>
                  <a:lnTo>
                    <a:pt x="399" y="342"/>
                  </a:lnTo>
                  <a:lnTo>
                    <a:pt x="401" y="340"/>
                  </a:lnTo>
                  <a:lnTo>
                    <a:pt x="405" y="336"/>
                  </a:lnTo>
                  <a:lnTo>
                    <a:pt x="405" y="336"/>
                  </a:lnTo>
                  <a:lnTo>
                    <a:pt x="405" y="336"/>
                  </a:lnTo>
                  <a:lnTo>
                    <a:pt x="405" y="336"/>
                  </a:lnTo>
                  <a:lnTo>
                    <a:pt x="405" y="338"/>
                  </a:lnTo>
                  <a:lnTo>
                    <a:pt x="405" y="338"/>
                  </a:lnTo>
                  <a:lnTo>
                    <a:pt x="405" y="338"/>
                  </a:lnTo>
                  <a:lnTo>
                    <a:pt x="405" y="340"/>
                  </a:lnTo>
                  <a:lnTo>
                    <a:pt x="405" y="340"/>
                  </a:lnTo>
                  <a:lnTo>
                    <a:pt x="407" y="340"/>
                  </a:lnTo>
                  <a:lnTo>
                    <a:pt x="408" y="340"/>
                  </a:lnTo>
                  <a:lnTo>
                    <a:pt x="408" y="340"/>
                  </a:lnTo>
                  <a:lnTo>
                    <a:pt x="412" y="336"/>
                  </a:lnTo>
                  <a:lnTo>
                    <a:pt x="412" y="335"/>
                  </a:lnTo>
                  <a:lnTo>
                    <a:pt x="414" y="335"/>
                  </a:lnTo>
                  <a:lnTo>
                    <a:pt x="414" y="338"/>
                  </a:lnTo>
                  <a:lnTo>
                    <a:pt x="410" y="340"/>
                  </a:lnTo>
                  <a:lnTo>
                    <a:pt x="405" y="342"/>
                  </a:lnTo>
                  <a:lnTo>
                    <a:pt x="405" y="342"/>
                  </a:lnTo>
                  <a:lnTo>
                    <a:pt x="405" y="342"/>
                  </a:lnTo>
                  <a:lnTo>
                    <a:pt x="403" y="342"/>
                  </a:lnTo>
                  <a:lnTo>
                    <a:pt x="403" y="342"/>
                  </a:lnTo>
                  <a:lnTo>
                    <a:pt x="403" y="342"/>
                  </a:lnTo>
                  <a:lnTo>
                    <a:pt x="403" y="342"/>
                  </a:lnTo>
                  <a:lnTo>
                    <a:pt x="401" y="344"/>
                  </a:lnTo>
                  <a:lnTo>
                    <a:pt x="401" y="344"/>
                  </a:lnTo>
                  <a:lnTo>
                    <a:pt x="399" y="345"/>
                  </a:lnTo>
                  <a:lnTo>
                    <a:pt x="399" y="347"/>
                  </a:lnTo>
                  <a:lnTo>
                    <a:pt x="399" y="347"/>
                  </a:lnTo>
                  <a:lnTo>
                    <a:pt x="401" y="347"/>
                  </a:lnTo>
                  <a:lnTo>
                    <a:pt x="403" y="347"/>
                  </a:lnTo>
                  <a:lnTo>
                    <a:pt x="405" y="347"/>
                  </a:lnTo>
                  <a:lnTo>
                    <a:pt x="407" y="349"/>
                  </a:lnTo>
                  <a:lnTo>
                    <a:pt x="407" y="349"/>
                  </a:lnTo>
                  <a:lnTo>
                    <a:pt x="408" y="347"/>
                  </a:lnTo>
                  <a:lnTo>
                    <a:pt x="410" y="347"/>
                  </a:lnTo>
                  <a:lnTo>
                    <a:pt x="410" y="347"/>
                  </a:lnTo>
                  <a:lnTo>
                    <a:pt x="412" y="345"/>
                  </a:lnTo>
                  <a:lnTo>
                    <a:pt x="412" y="345"/>
                  </a:lnTo>
                  <a:lnTo>
                    <a:pt x="412" y="344"/>
                  </a:lnTo>
                  <a:lnTo>
                    <a:pt x="414" y="345"/>
                  </a:lnTo>
                  <a:lnTo>
                    <a:pt x="414" y="345"/>
                  </a:lnTo>
                  <a:lnTo>
                    <a:pt x="412" y="345"/>
                  </a:lnTo>
                  <a:lnTo>
                    <a:pt x="412" y="347"/>
                  </a:lnTo>
                  <a:lnTo>
                    <a:pt x="410" y="349"/>
                  </a:lnTo>
                  <a:lnTo>
                    <a:pt x="412" y="349"/>
                  </a:lnTo>
                  <a:lnTo>
                    <a:pt x="412" y="349"/>
                  </a:lnTo>
                  <a:lnTo>
                    <a:pt x="412" y="351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6" y="353"/>
                  </a:lnTo>
                  <a:lnTo>
                    <a:pt x="416" y="353"/>
                  </a:lnTo>
                  <a:lnTo>
                    <a:pt x="414" y="353"/>
                  </a:lnTo>
                  <a:lnTo>
                    <a:pt x="412" y="353"/>
                  </a:lnTo>
                  <a:lnTo>
                    <a:pt x="410" y="351"/>
                  </a:lnTo>
                  <a:lnTo>
                    <a:pt x="408" y="349"/>
                  </a:lnTo>
                  <a:lnTo>
                    <a:pt x="407" y="349"/>
                  </a:lnTo>
                  <a:lnTo>
                    <a:pt x="405" y="351"/>
                  </a:lnTo>
                  <a:lnTo>
                    <a:pt x="403" y="353"/>
                  </a:lnTo>
                  <a:lnTo>
                    <a:pt x="405" y="354"/>
                  </a:lnTo>
                  <a:lnTo>
                    <a:pt x="405" y="356"/>
                  </a:lnTo>
                  <a:lnTo>
                    <a:pt x="403" y="358"/>
                  </a:lnTo>
                  <a:lnTo>
                    <a:pt x="401" y="360"/>
                  </a:lnTo>
                  <a:lnTo>
                    <a:pt x="403" y="360"/>
                  </a:lnTo>
                  <a:lnTo>
                    <a:pt x="407" y="362"/>
                  </a:lnTo>
                  <a:lnTo>
                    <a:pt x="407" y="362"/>
                  </a:lnTo>
                  <a:lnTo>
                    <a:pt x="408" y="363"/>
                  </a:lnTo>
                  <a:lnTo>
                    <a:pt x="408" y="363"/>
                  </a:lnTo>
                  <a:lnTo>
                    <a:pt x="410" y="363"/>
                  </a:lnTo>
                  <a:lnTo>
                    <a:pt x="410" y="363"/>
                  </a:lnTo>
                  <a:lnTo>
                    <a:pt x="416" y="363"/>
                  </a:lnTo>
                  <a:lnTo>
                    <a:pt x="416" y="363"/>
                  </a:lnTo>
                  <a:lnTo>
                    <a:pt x="416" y="363"/>
                  </a:lnTo>
                  <a:lnTo>
                    <a:pt x="416" y="363"/>
                  </a:lnTo>
                  <a:lnTo>
                    <a:pt x="416" y="363"/>
                  </a:lnTo>
                  <a:lnTo>
                    <a:pt x="414" y="363"/>
                  </a:lnTo>
                  <a:lnTo>
                    <a:pt x="414" y="363"/>
                  </a:lnTo>
                  <a:lnTo>
                    <a:pt x="414" y="365"/>
                  </a:lnTo>
                  <a:lnTo>
                    <a:pt x="414" y="365"/>
                  </a:lnTo>
                  <a:lnTo>
                    <a:pt x="408" y="365"/>
                  </a:lnTo>
                  <a:lnTo>
                    <a:pt x="407" y="363"/>
                  </a:lnTo>
                  <a:lnTo>
                    <a:pt x="405" y="363"/>
                  </a:lnTo>
                  <a:lnTo>
                    <a:pt x="403" y="362"/>
                  </a:lnTo>
                  <a:lnTo>
                    <a:pt x="403" y="363"/>
                  </a:lnTo>
                  <a:lnTo>
                    <a:pt x="403" y="363"/>
                  </a:lnTo>
                  <a:lnTo>
                    <a:pt x="401" y="363"/>
                  </a:lnTo>
                  <a:lnTo>
                    <a:pt x="399" y="363"/>
                  </a:lnTo>
                  <a:lnTo>
                    <a:pt x="399" y="363"/>
                  </a:lnTo>
                  <a:lnTo>
                    <a:pt x="399" y="363"/>
                  </a:lnTo>
                  <a:lnTo>
                    <a:pt x="398" y="367"/>
                  </a:lnTo>
                  <a:lnTo>
                    <a:pt x="396" y="369"/>
                  </a:lnTo>
                  <a:lnTo>
                    <a:pt x="398" y="369"/>
                  </a:lnTo>
                  <a:lnTo>
                    <a:pt x="398" y="369"/>
                  </a:lnTo>
                  <a:lnTo>
                    <a:pt x="398" y="371"/>
                  </a:lnTo>
                  <a:lnTo>
                    <a:pt x="399" y="371"/>
                  </a:lnTo>
                  <a:lnTo>
                    <a:pt x="399" y="371"/>
                  </a:lnTo>
                  <a:lnTo>
                    <a:pt x="401" y="371"/>
                  </a:lnTo>
                  <a:lnTo>
                    <a:pt x="401" y="371"/>
                  </a:lnTo>
                  <a:lnTo>
                    <a:pt x="401" y="371"/>
                  </a:lnTo>
                  <a:lnTo>
                    <a:pt x="401" y="373"/>
                  </a:lnTo>
                  <a:lnTo>
                    <a:pt x="401" y="373"/>
                  </a:lnTo>
                  <a:lnTo>
                    <a:pt x="403" y="374"/>
                  </a:lnTo>
                  <a:lnTo>
                    <a:pt x="403" y="374"/>
                  </a:lnTo>
                  <a:lnTo>
                    <a:pt x="405" y="374"/>
                  </a:lnTo>
                  <a:lnTo>
                    <a:pt x="405" y="374"/>
                  </a:lnTo>
                  <a:lnTo>
                    <a:pt x="407" y="374"/>
                  </a:lnTo>
                  <a:lnTo>
                    <a:pt x="407" y="374"/>
                  </a:lnTo>
                  <a:lnTo>
                    <a:pt x="408" y="374"/>
                  </a:lnTo>
                  <a:lnTo>
                    <a:pt x="408" y="374"/>
                  </a:lnTo>
                  <a:lnTo>
                    <a:pt x="410" y="374"/>
                  </a:lnTo>
                  <a:lnTo>
                    <a:pt x="410" y="374"/>
                  </a:lnTo>
                  <a:lnTo>
                    <a:pt x="407" y="376"/>
                  </a:lnTo>
                  <a:lnTo>
                    <a:pt x="405" y="376"/>
                  </a:lnTo>
                  <a:lnTo>
                    <a:pt x="403" y="376"/>
                  </a:lnTo>
                  <a:lnTo>
                    <a:pt x="403" y="376"/>
                  </a:lnTo>
                  <a:lnTo>
                    <a:pt x="401" y="374"/>
                  </a:lnTo>
                  <a:lnTo>
                    <a:pt x="401" y="374"/>
                  </a:lnTo>
                  <a:lnTo>
                    <a:pt x="399" y="373"/>
                  </a:lnTo>
                  <a:lnTo>
                    <a:pt x="399" y="373"/>
                  </a:lnTo>
                  <a:lnTo>
                    <a:pt x="398" y="371"/>
                  </a:lnTo>
                  <a:lnTo>
                    <a:pt x="398" y="373"/>
                  </a:lnTo>
                  <a:lnTo>
                    <a:pt x="396" y="373"/>
                  </a:lnTo>
                  <a:lnTo>
                    <a:pt x="394" y="374"/>
                  </a:lnTo>
                  <a:lnTo>
                    <a:pt x="394" y="376"/>
                  </a:lnTo>
                  <a:lnTo>
                    <a:pt x="394" y="378"/>
                  </a:lnTo>
                  <a:lnTo>
                    <a:pt x="392" y="380"/>
                  </a:lnTo>
                  <a:lnTo>
                    <a:pt x="392" y="382"/>
                  </a:lnTo>
                  <a:lnTo>
                    <a:pt x="392" y="382"/>
                  </a:lnTo>
                  <a:lnTo>
                    <a:pt x="394" y="383"/>
                  </a:lnTo>
                  <a:lnTo>
                    <a:pt x="394" y="383"/>
                  </a:lnTo>
                  <a:lnTo>
                    <a:pt x="392" y="383"/>
                  </a:lnTo>
                  <a:lnTo>
                    <a:pt x="390" y="383"/>
                  </a:lnTo>
                  <a:lnTo>
                    <a:pt x="392" y="385"/>
                  </a:lnTo>
                  <a:lnTo>
                    <a:pt x="398" y="383"/>
                  </a:lnTo>
                  <a:lnTo>
                    <a:pt x="399" y="383"/>
                  </a:lnTo>
                  <a:lnTo>
                    <a:pt x="398" y="385"/>
                  </a:lnTo>
                  <a:lnTo>
                    <a:pt x="398" y="387"/>
                  </a:lnTo>
                  <a:lnTo>
                    <a:pt x="399" y="387"/>
                  </a:lnTo>
                  <a:lnTo>
                    <a:pt x="399" y="387"/>
                  </a:lnTo>
                  <a:lnTo>
                    <a:pt x="401" y="385"/>
                  </a:lnTo>
                  <a:lnTo>
                    <a:pt x="401" y="385"/>
                  </a:lnTo>
                  <a:lnTo>
                    <a:pt x="403" y="385"/>
                  </a:lnTo>
                  <a:lnTo>
                    <a:pt x="403" y="385"/>
                  </a:lnTo>
                  <a:lnTo>
                    <a:pt x="401" y="387"/>
                  </a:lnTo>
                  <a:lnTo>
                    <a:pt x="399" y="389"/>
                  </a:lnTo>
                  <a:lnTo>
                    <a:pt x="394" y="389"/>
                  </a:lnTo>
                  <a:lnTo>
                    <a:pt x="394" y="389"/>
                  </a:lnTo>
                  <a:lnTo>
                    <a:pt x="394" y="391"/>
                  </a:lnTo>
                  <a:lnTo>
                    <a:pt x="394" y="392"/>
                  </a:lnTo>
                  <a:lnTo>
                    <a:pt x="398" y="394"/>
                  </a:lnTo>
                  <a:lnTo>
                    <a:pt x="398" y="394"/>
                  </a:lnTo>
                  <a:lnTo>
                    <a:pt x="396" y="392"/>
                  </a:lnTo>
                  <a:lnTo>
                    <a:pt x="394" y="394"/>
                  </a:lnTo>
                  <a:lnTo>
                    <a:pt x="394" y="394"/>
                  </a:lnTo>
                  <a:lnTo>
                    <a:pt x="394" y="394"/>
                  </a:lnTo>
                  <a:lnTo>
                    <a:pt x="392" y="394"/>
                  </a:lnTo>
                  <a:lnTo>
                    <a:pt x="392" y="394"/>
                  </a:lnTo>
                  <a:lnTo>
                    <a:pt x="392" y="394"/>
                  </a:lnTo>
                  <a:lnTo>
                    <a:pt x="392" y="394"/>
                  </a:lnTo>
                  <a:lnTo>
                    <a:pt x="392" y="394"/>
                  </a:lnTo>
                  <a:lnTo>
                    <a:pt x="394" y="396"/>
                  </a:lnTo>
                  <a:lnTo>
                    <a:pt x="394" y="396"/>
                  </a:lnTo>
                  <a:lnTo>
                    <a:pt x="394" y="398"/>
                  </a:lnTo>
                  <a:lnTo>
                    <a:pt x="392" y="396"/>
                  </a:lnTo>
                  <a:lnTo>
                    <a:pt x="390" y="396"/>
                  </a:lnTo>
                  <a:lnTo>
                    <a:pt x="390" y="394"/>
                  </a:lnTo>
                  <a:lnTo>
                    <a:pt x="389" y="394"/>
                  </a:lnTo>
                  <a:lnTo>
                    <a:pt x="389" y="394"/>
                  </a:lnTo>
                  <a:lnTo>
                    <a:pt x="389" y="394"/>
                  </a:lnTo>
                  <a:lnTo>
                    <a:pt x="387" y="394"/>
                  </a:lnTo>
                  <a:lnTo>
                    <a:pt x="385" y="396"/>
                  </a:lnTo>
                  <a:lnTo>
                    <a:pt x="385" y="396"/>
                  </a:lnTo>
                  <a:lnTo>
                    <a:pt x="378" y="396"/>
                  </a:lnTo>
                  <a:lnTo>
                    <a:pt x="376" y="398"/>
                  </a:lnTo>
                  <a:lnTo>
                    <a:pt x="376" y="400"/>
                  </a:lnTo>
                  <a:lnTo>
                    <a:pt x="374" y="400"/>
                  </a:lnTo>
                  <a:lnTo>
                    <a:pt x="374" y="400"/>
                  </a:lnTo>
                  <a:lnTo>
                    <a:pt x="374" y="400"/>
                  </a:lnTo>
                  <a:lnTo>
                    <a:pt x="374" y="400"/>
                  </a:lnTo>
                  <a:lnTo>
                    <a:pt x="374" y="400"/>
                  </a:lnTo>
                  <a:lnTo>
                    <a:pt x="374" y="401"/>
                  </a:lnTo>
                  <a:lnTo>
                    <a:pt x="374" y="401"/>
                  </a:lnTo>
                  <a:lnTo>
                    <a:pt x="374" y="401"/>
                  </a:lnTo>
                  <a:lnTo>
                    <a:pt x="376" y="403"/>
                  </a:lnTo>
                  <a:lnTo>
                    <a:pt x="376" y="403"/>
                  </a:lnTo>
                  <a:lnTo>
                    <a:pt x="378" y="403"/>
                  </a:lnTo>
                  <a:lnTo>
                    <a:pt x="380" y="403"/>
                  </a:lnTo>
                  <a:lnTo>
                    <a:pt x="380" y="401"/>
                  </a:lnTo>
                  <a:lnTo>
                    <a:pt x="381" y="401"/>
                  </a:lnTo>
                  <a:lnTo>
                    <a:pt x="385" y="403"/>
                  </a:lnTo>
                  <a:lnTo>
                    <a:pt x="389" y="403"/>
                  </a:lnTo>
                  <a:lnTo>
                    <a:pt x="389" y="403"/>
                  </a:lnTo>
                  <a:lnTo>
                    <a:pt x="390" y="403"/>
                  </a:lnTo>
                  <a:lnTo>
                    <a:pt x="390" y="403"/>
                  </a:lnTo>
                  <a:lnTo>
                    <a:pt x="390" y="403"/>
                  </a:lnTo>
                  <a:lnTo>
                    <a:pt x="392" y="403"/>
                  </a:lnTo>
                  <a:lnTo>
                    <a:pt x="399" y="400"/>
                  </a:lnTo>
                  <a:lnTo>
                    <a:pt x="401" y="401"/>
                  </a:lnTo>
                  <a:lnTo>
                    <a:pt x="403" y="401"/>
                  </a:lnTo>
                  <a:lnTo>
                    <a:pt x="405" y="403"/>
                  </a:lnTo>
                  <a:lnTo>
                    <a:pt x="408" y="401"/>
                  </a:lnTo>
                  <a:lnTo>
                    <a:pt x="408" y="403"/>
                  </a:lnTo>
                  <a:lnTo>
                    <a:pt x="407" y="403"/>
                  </a:lnTo>
                  <a:lnTo>
                    <a:pt x="403" y="403"/>
                  </a:lnTo>
                  <a:lnTo>
                    <a:pt x="403" y="403"/>
                  </a:lnTo>
                  <a:lnTo>
                    <a:pt x="399" y="401"/>
                  </a:lnTo>
                  <a:lnTo>
                    <a:pt x="398" y="401"/>
                  </a:lnTo>
                  <a:lnTo>
                    <a:pt x="392" y="405"/>
                  </a:lnTo>
                  <a:lnTo>
                    <a:pt x="392" y="405"/>
                  </a:lnTo>
                  <a:lnTo>
                    <a:pt x="394" y="407"/>
                  </a:lnTo>
                  <a:lnTo>
                    <a:pt x="394" y="407"/>
                  </a:lnTo>
                  <a:lnTo>
                    <a:pt x="394" y="409"/>
                  </a:lnTo>
                  <a:lnTo>
                    <a:pt x="392" y="407"/>
                  </a:lnTo>
                  <a:lnTo>
                    <a:pt x="390" y="405"/>
                  </a:lnTo>
                  <a:lnTo>
                    <a:pt x="389" y="405"/>
                  </a:lnTo>
                  <a:lnTo>
                    <a:pt x="387" y="405"/>
                  </a:lnTo>
                  <a:lnTo>
                    <a:pt x="387" y="407"/>
                  </a:lnTo>
                  <a:lnTo>
                    <a:pt x="385" y="407"/>
                  </a:lnTo>
                  <a:lnTo>
                    <a:pt x="385" y="409"/>
                  </a:lnTo>
                  <a:lnTo>
                    <a:pt x="385" y="409"/>
                  </a:lnTo>
                  <a:lnTo>
                    <a:pt x="394" y="416"/>
                  </a:lnTo>
                  <a:lnTo>
                    <a:pt x="396" y="416"/>
                  </a:lnTo>
                  <a:lnTo>
                    <a:pt x="398" y="412"/>
                  </a:lnTo>
                  <a:lnTo>
                    <a:pt x="399" y="412"/>
                  </a:lnTo>
                  <a:lnTo>
                    <a:pt x="398" y="414"/>
                  </a:lnTo>
                  <a:lnTo>
                    <a:pt x="398" y="414"/>
                  </a:lnTo>
                  <a:lnTo>
                    <a:pt x="398" y="416"/>
                  </a:lnTo>
                  <a:lnTo>
                    <a:pt x="398" y="418"/>
                  </a:lnTo>
                  <a:lnTo>
                    <a:pt x="399" y="418"/>
                  </a:lnTo>
                  <a:lnTo>
                    <a:pt x="399" y="418"/>
                  </a:lnTo>
                  <a:lnTo>
                    <a:pt x="401" y="418"/>
                  </a:lnTo>
                  <a:lnTo>
                    <a:pt x="401" y="418"/>
                  </a:lnTo>
                  <a:lnTo>
                    <a:pt x="401" y="419"/>
                  </a:lnTo>
                  <a:lnTo>
                    <a:pt x="403" y="419"/>
                  </a:lnTo>
                  <a:lnTo>
                    <a:pt x="403" y="419"/>
                  </a:lnTo>
                  <a:lnTo>
                    <a:pt x="407" y="418"/>
                  </a:lnTo>
                  <a:lnTo>
                    <a:pt x="410" y="412"/>
                  </a:lnTo>
                  <a:lnTo>
                    <a:pt x="412" y="410"/>
                  </a:lnTo>
                  <a:lnTo>
                    <a:pt x="412" y="409"/>
                  </a:lnTo>
                  <a:lnTo>
                    <a:pt x="412" y="409"/>
                  </a:lnTo>
                  <a:lnTo>
                    <a:pt x="414" y="409"/>
                  </a:lnTo>
                  <a:lnTo>
                    <a:pt x="414" y="409"/>
                  </a:lnTo>
                  <a:lnTo>
                    <a:pt x="414" y="407"/>
                  </a:lnTo>
                  <a:lnTo>
                    <a:pt x="416" y="407"/>
                  </a:lnTo>
                  <a:lnTo>
                    <a:pt x="416" y="407"/>
                  </a:lnTo>
                  <a:lnTo>
                    <a:pt x="417" y="405"/>
                  </a:lnTo>
                  <a:lnTo>
                    <a:pt x="417" y="403"/>
                  </a:lnTo>
                  <a:lnTo>
                    <a:pt x="419" y="403"/>
                  </a:lnTo>
                  <a:lnTo>
                    <a:pt x="419" y="401"/>
                  </a:lnTo>
                  <a:lnTo>
                    <a:pt x="419" y="401"/>
                  </a:lnTo>
                  <a:lnTo>
                    <a:pt x="421" y="401"/>
                  </a:lnTo>
                  <a:lnTo>
                    <a:pt x="421" y="401"/>
                  </a:lnTo>
                  <a:lnTo>
                    <a:pt x="421" y="401"/>
                  </a:lnTo>
                  <a:lnTo>
                    <a:pt x="423" y="400"/>
                  </a:lnTo>
                  <a:lnTo>
                    <a:pt x="423" y="400"/>
                  </a:lnTo>
                  <a:lnTo>
                    <a:pt x="425" y="398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5" y="396"/>
                  </a:lnTo>
                  <a:lnTo>
                    <a:pt x="425" y="396"/>
                  </a:lnTo>
                  <a:lnTo>
                    <a:pt x="425" y="396"/>
                  </a:lnTo>
                  <a:lnTo>
                    <a:pt x="426" y="396"/>
                  </a:lnTo>
                  <a:lnTo>
                    <a:pt x="426" y="394"/>
                  </a:lnTo>
                  <a:lnTo>
                    <a:pt x="426" y="394"/>
                  </a:lnTo>
                  <a:lnTo>
                    <a:pt x="426" y="392"/>
                  </a:lnTo>
                  <a:lnTo>
                    <a:pt x="430" y="391"/>
                  </a:lnTo>
                  <a:lnTo>
                    <a:pt x="430" y="392"/>
                  </a:lnTo>
                  <a:lnTo>
                    <a:pt x="428" y="394"/>
                  </a:lnTo>
                  <a:lnTo>
                    <a:pt x="425" y="398"/>
                  </a:lnTo>
                  <a:lnTo>
                    <a:pt x="425" y="398"/>
                  </a:lnTo>
                  <a:lnTo>
                    <a:pt x="425" y="400"/>
                  </a:lnTo>
                  <a:lnTo>
                    <a:pt x="425" y="400"/>
                  </a:lnTo>
                  <a:lnTo>
                    <a:pt x="428" y="401"/>
                  </a:lnTo>
                  <a:lnTo>
                    <a:pt x="436" y="400"/>
                  </a:lnTo>
                  <a:lnTo>
                    <a:pt x="436" y="401"/>
                  </a:lnTo>
                  <a:lnTo>
                    <a:pt x="432" y="401"/>
                  </a:lnTo>
                  <a:lnTo>
                    <a:pt x="430" y="403"/>
                  </a:lnTo>
                  <a:lnTo>
                    <a:pt x="428" y="403"/>
                  </a:lnTo>
                  <a:lnTo>
                    <a:pt x="426" y="403"/>
                  </a:lnTo>
                  <a:lnTo>
                    <a:pt x="425" y="403"/>
                  </a:lnTo>
                  <a:lnTo>
                    <a:pt x="423" y="403"/>
                  </a:lnTo>
                  <a:lnTo>
                    <a:pt x="423" y="403"/>
                  </a:lnTo>
                  <a:lnTo>
                    <a:pt x="421" y="403"/>
                  </a:lnTo>
                  <a:lnTo>
                    <a:pt x="421" y="405"/>
                  </a:lnTo>
                  <a:lnTo>
                    <a:pt x="419" y="405"/>
                  </a:lnTo>
                  <a:lnTo>
                    <a:pt x="419" y="405"/>
                  </a:lnTo>
                  <a:lnTo>
                    <a:pt x="421" y="407"/>
                  </a:lnTo>
                  <a:lnTo>
                    <a:pt x="421" y="407"/>
                  </a:lnTo>
                  <a:lnTo>
                    <a:pt x="421" y="407"/>
                  </a:lnTo>
                  <a:lnTo>
                    <a:pt x="419" y="409"/>
                  </a:lnTo>
                  <a:lnTo>
                    <a:pt x="417" y="410"/>
                  </a:lnTo>
                  <a:lnTo>
                    <a:pt x="417" y="412"/>
                  </a:lnTo>
                  <a:lnTo>
                    <a:pt x="417" y="412"/>
                  </a:lnTo>
                  <a:lnTo>
                    <a:pt x="416" y="414"/>
                  </a:lnTo>
                  <a:lnTo>
                    <a:pt x="416" y="414"/>
                  </a:lnTo>
                  <a:lnTo>
                    <a:pt x="416" y="414"/>
                  </a:lnTo>
                  <a:lnTo>
                    <a:pt x="416" y="414"/>
                  </a:lnTo>
                  <a:lnTo>
                    <a:pt x="416" y="414"/>
                  </a:lnTo>
                  <a:lnTo>
                    <a:pt x="416" y="416"/>
                  </a:lnTo>
                  <a:lnTo>
                    <a:pt x="416" y="416"/>
                  </a:lnTo>
                  <a:lnTo>
                    <a:pt x="417" y="416"/>
                  </a:lnTo>
                  <a:lnTo>
                    <a:pt x="417" y="418"/>
                  </a:lnTo>
                  <a:lnTo>
                    <a:pt x="417" y="416"/>
                  </a:lnTo>
                  <a:lnTo>
                    <a:pt x="419" y="416"/>
                  </a:lnTo>
                  <a:lnTo>
                    <a:pt x="419" y="416"/>
                  </a:lnTo>
                  <a:lnTo>
                    <a:pt x="421" y="414"/>
                  </a:lnTo>
                  <a:lnTo>
                    <a:pt x="421" y="414"/>
                  </a:lnTo>
                  <a:lnTo>
                    <a:pt x="421" y="414"/>
                  </a:lnTo>
                  <a:lnTo>
                    <a:pt x="423" y="414"/>
                  </a:lnTo>
                  <a:lnTo>
                    <a:pt x="425" y="414"/>
                  </a:lnTo>
                  <a:lnTo>
                    <a:pt x="423" y="414"/>
                  </a:lnTo>
                  <a:lnTo>
                    <a:pt x="423" y="414"/>
                  </a:lnTo>
                  <a:lnTo>
                    <a:pt x="421" y="416"/>
                  </a:lnTo>
                  <a:lnTo>
                    <a:pt x="419" y="418"/>
                  </a:lnTo>
                  <a:lnTo>
                    <a:pt x="417" y="418"/>
                  </a:lnTo>
                  <a:lnTo>
                    <a:pt x="417" y="418"/>
                  </a:lnTo>
                  <a:lnTo>
                    <a:pt x="416" y="418"/>
                  </a:lnTo>
                  <a:lnTo>
                    <a:pt x="414" y="416"/>
                  </a:lnTo>
                  <a:lnTo>
                    <a:pt x="414" y="418"/>
                  </a:lnTo>
                  <a:lnTo>
                    <a:pt x="412" y="421"/>
                  </a:lnTo>
                  <a:lnTo>
                    <a:pt x="414" y="423"/>
                  </a:lnTo>
                  <a:lnTo>
                    <a:pt x="414" y="419"/>
                  </a:lnTo>
                  <a:lnTo>
                    <a:pt x="416" y="419"/>
                  </a:lnTo>
                  <a:lnTo>
                    <a:pt x="416" y="419"/>
                  </a:lnTo>
                  <a:lnTo>
                    <a:pt x="416" y="423"/>
                  </a:lnTo>
                  <a:lnTo>
                    <a:pt x="417" y="423"/>
                  </a:lnTo>
                  <a:lnTo>
                    <a:pt x="419" y="421"/>
                  </a:lnTo>
                  <a:lnTo>
                    <a:pt x="425" y="423"/>
                  </a:lnTo>
                  <a:lnTo>
                    <a:pt x="426" y="423"/>
                  </a:lnTo>
                  <a:lnTo>
                    <a:pt x="426" y="423"/>
                  </a:lnTo>
                  <a:lnTo>
                    <a:pt x="428" y="421"/>
                  </a:lnTo>
                  <a:lnTo>
                    <a:pt x="430" y="419"/>
                  </a:lnTo>
                  <a:lnTo>
                    <a:pt x="430" y="418"/>
                  </a:lnTo>
                  <a:lnTo>
                    <a:pt x="432" y="416"/>
                  </a:lnTo>
                  <a:lnTo>
                    <a:pt x="432" y="414"/>
                  </a:lnTo>
                  <a:lnTo>
                    <a:pt x="434" y="414"/>
                  </a:lnTo>
                  <a:lnTo>
                    <a:pt x="432" y="416"/>
                  </a:lnTo>
                  <a:lnTo>
                    <a:pt x="430" y="419"/>
                  </a:lnTo>
                  <a:lnTo>
                    <a:pt x="426" y="423"/>
                  </a:lnTo>
                  <a:lnTo>
                    <a:pt x="426" y="425"/>
                  </a:lnTo>
                  <a:lnTo>
                    <a:pt x="425" y="425"/>
                  </a:lnTo>
                  <a:lnTo>
                    <a:pt x="419" y="423"/>
                  </a:lnTo>
                  <a:lnTo>
                    <a:pt x="416" y="425"/>
                  </a:lnTo>
                  <a:lnTo>
                    <a:pt x="414" y="425"/>
                  </a:lnTo>
                  <a:lnTo>
                    <a:pt x="412" y="427"/>
                  </a:lnTo>
                  <a:lnTo>
                    <a:pt x="412" y="427"/>
                  </a:lnTo>
                  <a:lnTo>
                    <a:pt x="412" y="429"/>
                  </a:lnTo>
                  <a:lnTo>
                    <a:pt x="410" y="429"/>
                  </a:lnTo>
                  <a:lnTo>
                    <a:pt x="410" y="429"/>
                  </a:lnTo>
                  <a:lnTo>
                    <a:pt x="410" y="429"/>
                  </a:lnTo>
                  <a:lnTo>
                    <a:pt x="408" y="432"/>
                  </a:lnTo>
                  <a:lnTo>
                    <a:pt x="410" y="432"/>
                  </a:lnTo>
                  <a:lnTo>
                    <a:pt x="412" y="432"/>
                  </a:lnTo>
                  <a:lnTo>
                    <a:pt x="414" y="432"/>
                  </a:lnTo>
                  <a:lnTo>
                    <a:pt x="414" y="432"/>
                  </a:lnTo>
                  <a:lnTo>
                    <a:pt x="410" y="434"/>
                  </a:lnTo>
                  <a:lnTo>
                    <a:pt x="410" y="434"/>
                  </a:lnTo>
                  <a:lnTo>
                    <a:pt x="408" y="432"/>
                  </a:lnTo>
                  <a:lnTo>
                    <a:pt x="408" y="434"/>
                  </a:lnTo>
                  <a:lnTo>
                    <a:pt x="407" y="436"/>
                  </a:lnTo>
                  <a:lnTo>
                    <a:pt x="407" y="439"/>
                  </a:lnTo>
                  <a:lnTo>
                    <a:pt x="407" y="441"/>
                  </a:lnTo>
                  <a:lnTo>
                    <a:pt x="407" y="441"/>
                  </a:lnTo>
                  <a:lnTo>
                    <a:pt x="407" y="443"/>
                  </a:lnTo>
                  <a:lnTo>
                    <a:pt x="407" y="443"/>
                  </a:lnTo>
                  <a:lnTo>
                    <a:pt x="407" y="441"/>
                  </a:lnTo>
                  <a:lnTo>
                    <a:pt x="408" y="441"/>
                  </a:lnTo>
                  <a:lnTo>
                    <a:pt x="408" y="441"/>
                  </a:lnTo>
                  <a:lnTo>
                    <a:pt x="410" y="439"/>
                  </a:lnTo>
                  <a:lnTo>
                    <a:pt x="410" y="441"/>
                  </a:lnTo>
                  <a:lnTo>
                    <a:pt x="412" y="441"/>
                  </a:lnTo>
                  <a:lnTo>
                    <a:pt x="412" y="441"/>
                  </a:lnTo>
                  <a:lnTo>
                    <a:pt x="410" y="443"/>
                  </a:lnTo>
                  <a:lnTo>
                    <a:pt x="410" y="443"/>
                  </a:lnTo>
                  <a:lnTo>
                    <a:pt x="408" y="443"/>
                  </a:lnTo>
                  <a:lnTo>
                    <a:pt x="408" y="445"/>
                  </a:lnTo>
                  <a:lnTo>
                    <a:pt x="408" y="445"/>
                  </a:lnTo>
                  <a:lnTo>
                    <a:pt x="408" y="447"/>
                  </a:lnTo>
                  <a:lnTo>
                    <a:pt x="407" y="448"/>
                  </a:lnTo>
                  <a:lnTo>
                    <a:pt x="407" y="450"/>
                  </a:lnTo>
                  <a:lnTo>
                    <a:pt x="407" y="452"/>
                  </a:lnTo>
                  <a:lnTo>
                    <a:pt x="407" y="450"/>
                  </a:lnTo>
                  <a:lnTo>
                    <a:pt x="408" y="450"/>
                  </a:lnTo>
                  <a:lnTo>
                    <a:pt x="408" y="448"/>
                  </a:lnTo>
                  <a:lnTo>
                    <a:pt x="410" y="448"/>
                  </a:lnTo>
                  <a:lnTo>
                    <a:pt x="410" y="448"/>
                  </a:lnTo>
                  <a:lnTo>
                    <a:pt x="410" y="450"/>
                  </a:lnTo>
                  <a:lnTo>
                    <a:pt x="408" y="452"/>
                  </a:lnTo>
                  <a:lnTo>
                    <a:pt x="408" y="452"/>
                  </a:lnTo>
                  <a:lnTo>
                    <a:pt x="408" y="454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10" y="456"/>
                  </a:lnTo>
                  <a:lnTo>
                    <a:pt x="410" y="457"/>
                  </a:lnTo>
                  <a:lnTo>
                    <a:pt x="408" y="457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07" y="456"/>
                  </a:lnTo>
                  <a:lnTo>
                    <a:pt x="407" y="456"/>
                  </a:lnTo>
                  <a:lnTo>
                    <a:pt x="407" y="456"/>
                  </a:lnTo>
                  <a:lnTo>
                    <a:pt x="407" y="457"/>
                  </a:lnTo>
                  <a:lnTo>
                    <a:pt x="407" y="457"/>
                  </a:lnTo>
                  <a:lnTo>
                    <a:pt x="403" y="463"/>
                  </a:lnTo>
                  <a:lnTo>
                    <a:pt x="401" y="466"/>
                  </a:lnTo>
                  <a:lnTo>
                    <a:pt x="401" y="468"/>
                  </a:lnTo>
                  <a:lnTo>
                    <a:pt x="401" y="468"/>
                  </a:lnTo>
                  <a:lnTo>
                    <a:pt x="401" y="470"/>
                  </a:lnTo>
                  <a:lnTo>
                    <a:pt x="401" y="470"/>
                  </a:lnTo>
                  <a:lnTo>
                    <a:pt x="401" y="470"/>
                  </a:lnTo>
                  <a:lnTo>
                    <a:pt x="401" y="470"/>
                  </a:lnTo>
                  <a:lnTo>
                    <a:pt x="403" y="468"/>
                  </a:lnTo>
                  <a:lnTo>
                    <a:pt x="403" y="466"/>
                  </a:lnTo>
                  <a:lnTo>
                    <a:pt x="405" y="465"/>
                  </a:lnTo>
                  <a:lnTo>
                    <a:pt x="405" y="463"/>
                  </a:lnTo>
                  <a:lnTo>
                    <a:pt x="405" y="461"/>
                  </a:lnTo>
                  <a:lnTo>
                    <a:pt x="407" y="461"/>
                  </a:lnTo>
                  <a:lnTo>
                    <a:pt x="407" y="461"/>
                  </a:lnTo>
                  <a:lnTo>
                    <a:pt x="407" y="461"/>
                  </a:lnTo>
                  <a:lnTo>
                    <a:pt x="407" y="461"/>
                  </a:lnTo>
                  <a:lnTo>
                    <a:pt x="407" y="463"/>
                  </a:lnTo>
                  <a:lnTo>
                    <a:pt x="407" y="463"/>
                  </a:lnTo>
                  <a:lnTo>
                    <a:pt x="407" y="463"/>
                  </a:lnTo>
                  <a:lnTo>
                    <a:pt x="401" y="472"/>
                  </a:lnTo>
                  <a:lnTo>
                    <a:pt x="401" y="474"/>
                  </a:lnTo>
                  <a:lnTo>
                    <a:pt x="401" y="474"/>
                  </a:lnTo>
                  <a:lnTo>
                    <a:pt x="401" y="475"/>
                  </a:lnTo>
                  <a:lnTo>
                    <a:pt x="403" y="475"/>
                  </a:lnTo>
                  <a:lnTo>
                    <a:pt x="403" y="474"/>
                  </a:lnTo>
                  <a:lnTo>
                    <a:pt x="405" y="474"/>
                  </a:lnTo>
                  <a:lnTo>
                    <a:pt x="407" y="472"/>
                  </a:lnTo>
                  <a:lnTo>
                    <a:pt x="407" y="470"/>
                  </a:lnTo>
                  <a:lnTo>
                    <a:pt x="407" y="472"/>
                  </a:lnTo>
                  <a:lnTo>
                    <a:pt x="407" y="472"/>
                  </a:lnTo>
                  <a:lnTo>
                    <a:pt x="405" y="474"/>
                  </a:lnTo>
                  <a:lnTo>
                    <a:pt x="405" y="474"/>
                  </a:lnTo>
                  <a:lnTo>
                    <a:pt x="405" y="475"/>
                  </a:lnTo>
                  <a:lnTo>
                    <a:pt x="403" y="479"/>
                  </a:lnTo>
                  <a:lnTo>
                    <a:pt x="403" y="479"/>
                  </a:lnTo>
                  <a:lnTo>
                    <a:pt x="403" y="481"/>
                  </a:lnTo>
                  <a:lnTo>
                    <a:pt x="403" y="483"/>
                  </a:lnTo>
                  <a:lnTo>
                    <a:pt x="403" y="483"/>
                  </a:lnTo>
                  <a:lnTo>
                    <a:pt x="405" y="484"/>
                  </a:lnTo>
                  <a:lnTo>
                    <a:pt x="407" y="484"/>
                  </a:lnTo>
                  <a:lnTo>
                    <a:pt x="405" y="486"/>
                  </a:lnTo>
                  <a:lnTo>
                    <a:pt x="407" y="486"/>
                  </a:lnTo>
                  <a:lnTo>
                    <a:pt x="407" y="484"/>
                  </a:lnTo>
                  <a:lnTo>
                    <a:pt x="408" y="484"/>
                  </a:lnTo>
                  <a:lnTo>
                    <a:pt x="414" y="479"/>
                  </a:lnTo>
                  <a:lnTo>
                    <a:pt x="412" y="481"/>
                  </a:lnTo>
                  <a:lnTo>
                    <a:pt x="410" y="483"/>
                  </a:lnTo>
                  <a:lnTo>
                    <a:pt x="408" y="484"/>
                  </a:lnTo>
                  <a:lnTo>
                    <a:pt x="408" y="486"/>
                  </a:lnTo>
                  <a:lnTo>
                    <a:pt x="407" y="486"/>
                  </a:lnTo>
                  <a:lnTo>
                    <a:pt x="407" y="488"/>
                  </a:lnTo>
                  <a:lnTo>
                    <a:pt x="405" y="488"/>
                  </a:lnTo>
                  <a:lnTo>
                    <a:pt x="405" y="490"/>
                  </a:lnTo>
                  <a:lnTo>
                    <a:pt x="405" y="492"/>
                  </a:lnTo>
                  <a:lnTo>
                    <a:pt x="401" y="494"/>
                  </a:lnTo>
                  <a:lnTo>
                    <a:pt x="403" y="495"/>
                  </a:lnTo>
                  <a:lnTo>
                    <a:pt x="403" y="497"/>
                  </a:lnTo>
                  <a:lnTo>
                    <a:pt x="401" y="499"/>
                  </a:lnTo>
                  <a:lnTo>
                    <a:pt x="399" y="503"/>
                  </a:lnTo>
                  <a:lnTo>
                    <a:pt x="399" y="503"/>
                  </a:lnTo>
                  <a:lnTo>
                    <a:pt x="399" y="504"/>
                  </a:lnTo>
                  <a:lnTo>
                    <a:pt x="401" y="504"/>
                  </a:lnTo>
                  <a:lnTo>
                    <a:pt x="401" y="504"/>
                  </a:lnTo>
                  <a:lnTo>
                    <a:pt x="399" y="508"/>
                  </a:lnTo>
                  <a:lnTo>
                    <a:pt x="399" y="510"/>
                  </a:lnTo>
                  <a:lnTo>
                    <a:pt x="399" y="512"/>
                  </a:lnTo>
                  <a:lnTo>
                    <a:pt x="399" y="513"/>
                  </a:lnTo>
                  <a:lnTo>
                    <a:pt x="399" y="515"/>
                  </a:lnTo>
                  <a:lnTo>
                    <a:pt x="398" y="517"/>
                  </a:lnTo>
                  <a:lnTo>
                    <a:pt x="396" y="517"/>
                  </a:lnTo>
                  <a:lnTo>
                    <a:pt x="396" y="519"/>
                  </a:lnTo>
                  <a:lnTo>
                    <a:pt x="396" y="522"/>
                  </a:lnTo>
                  <a:lnTo>
                    <a:pt x="398" y="526"/>
                  </a:lnTo>
                  <a:lnTo>
                    <a:pt x="398" y="526"/>
                  </a:lnTo>
                  <a:lnTo>
                    <a:pt x="398" y="526"/>
                  </a:lnTo>
                  <a:lnTo>
                    <a:pt x="399" y="526"/>
                  </a:lnTo>
                  <a:lnTo>
                    <a:pt x="401" y="526"/>
                  </a:lnTo>
                  <a:lnTo>
                    <a:pt x="401" y="526"/>
                  </a:lnTo>
                  <a:lnTo>
                    <a:pt x="401" y="526"/>
                  </a:lnTo>
                  <a:lnTo>
                    <a:pt x="403" y="526"/>
                  </a:lnTo>
                  <a:lnTo>
                    <a:pt x="403" y="526"/>
                  </a:lnTo>
                  <a:lnTo>
                    <a:pt x="405" y="526"/>
                  </a:lnTo>
                  <a:lnTo>
                    <a:pt x="405" y="526"/>
                  </a:lnTo>
                  <a:lnTo>
                    <a:pt x="407" y="526"/>
                  </a:lnTo>
                  <a:lnTo>
                    <a:pt x="407" y="524"/>
                  </a:lnTo>
                  <a:lnTo>
                    <a:pt x="408" y="524"/>
                  </a:lnTo>
                  <a:lnTo>
                    <a:pt x="410" y="521"/>
                  </a:lnTo>
                  <a:lnTo>
                    <a:pt x="410" y="521"/>
                  </a:lnTo>
                  <a:lnTo>
                    <a:pt x="410" y="519"/>
                  </a:lnTo>
                  <a:lnTo>
                    <a:pt x="410" y="519"/>
                  </a:lnTo>
                  <a:lnTo>
                    <a:pt x="408" y="517"/>
                  </a:lnTo>
                  <a:lnTo>
                    <a:pt x="408" y="517"/>
                  </a:lnTo>
                  <a:lnTo>
                    <a:pt x="408" y="515"/>
                  </a:lnTo>
                  <a:lnTo>
                    <a:pt x="407" y="515"/>
                  </a:lnTo>
                  <a:lnTo>
                    <a:pt x="407" y="515"/>
                  </a:lnTo>
                  <a:lnTo>
                    <a:pt x="407" y="515"/>
                  </a:lnTo>
                  <a:lnTo>
                    <a:pt x="408" y="515"/>
                  </a:lnTo>
                  <a:lnTo>
                    <a:pt x="408" y="513"/>
                  </a:lnTo>
                  <a:lnTo>
                    <a:pt x="410" y="510"/>
                  </a:lnTo>
                  <a:lnTo>
                    <a:pt x="410" y="510"/>
                  </a:lnTo>
                  <a:lnTo>
                    <a:pt x="410" y="510"/>
                  </a:lnTo>
                  <a:lnTo>
                    <a:pt x="410" y="510"/>
                  </a:lnTo>
                  <a:lnTo>
                    <a:pt x="410" y="510"/>
                  </a:lnTo>
                  <a:lnTo>
                    <a:pt x="410" y="508"/>
                  </a:lnTo>
                  <a:lnTo>
                    <a:pt x="410" y="508"/>
                  </a:lnTo>
                  <a:lnTo>
                    <a:pt x="410" y="506"/>
                  </a:lnTo>
                  <a:lnTo>
                    <a:pt x="412" y="504"/>
                  </a:lnTo>
                  <a:lnTo>
                    <a:pt x="412" y="503"/>
                  </a:lnTo>
                  <a:lnTo>
                    <a:pt x="412" y="503"/>
                  </a:lnTo>
                  <a:lnTo>
                    <a:pt x="414" y="503"/>
                  </a:lnTo>
                  <a:lnTo>
                    <a:pt x="414" y="501"/>
                  </a:lnTo>
                  <a:lnTo>
                    <a:pt x="412" y="501"/>
                  </a:lnTo>
                  <a:lnTo>
                    <a:pt x="412" y="499"/>
                  </a:lnTo>
                  <a:lnTo>
                    <a:pt x="412" y="499"/>
                  </a:lnTo>
                  <a:lnTo>
                    <a:pt x="412" y="497"/>
                  </a:lnTo>
                  <a:lnTo>
                    <a:pt x="412" y="497"/>
                  </a:lnTo>
                  <a:lnTo>
                    <a:pt x="412" y="497"/>
                  </a:lnTo>
                  <a:lnTo>
                    <a:pt x="412" y="495"/>
                  </a:lnTo>
                  <a:lnTo>
                    <a:pt x="412" y="495"/>
                  </a:lnTo>
                  <a:lnTo>
                    <a:pt x="412" y="495"/>
                  </a:lnTo>
                  <a:lnTo>
                    <a:pt x="412" y="494"/>
                  </a:lnTo>
                  <a:lnTo>
                    <a:pt x="414" y="492"/>
                  </a:lnTo>
                  <a:lnTo>
                    <a:pt x="414" y="492"/>
                  </a:lnTo>
                  <a:lnTo>
                    <a:pt x="414" y="490"/>
                  </a:lnTo>
                  <a:lnTo>
                    <a:pt x="414" y="490"/>
                  </a:lnTo>
                  <a:lnTo>
                    <a:pt x="417" y="486"/>
                  </a:lnTo>
                  <a:lnTo>
                    <a:pt x="417" y="486"/>
                  </a:lnTo>
                  <a:lnTo>
                    <a:pt x="419" y="486"/>
                  </a:lnTo>
                  <a:lnTo>
                    <a:pt x="419" y="484"/>
                  </a:lnTo>
                  <a:lnTo>
                    <a:pt x="419" y="484"/>
                  </a:lnTo>
                  <a:lnTo>
                    <a:pt x="419" y="481"/>
                  </a:lnTo>
                  <a:lnTo>
                    <a:pt x="419" y="479"/>
                  </a:lnTo>
                  <a:lnTo>
                    <a:pt x="416" y="477"/>
                  </a:lnTo>
                  <a:lnTo>
                    <a:pt x="416" y="475"/>
                  </a:lnTo>
                  <a:lnTo>
                    <a:pt x="416" y="475"/>
                  </a:lnTo>
                  <a:lnTo>
                    <a:pt x="416" y="475"/>
                  </a:lnTo>
                  <a:lnTo>
                    <a:pt x="416" y="475"/>
                  </a:lnTo>
                  <a:lnTo>
                    <a:pt x="416" y="475"/>
                  </a:lnTo>
                  <a:lnTo>
                    <a:pt x="416" y="475"/>
                  </a:lnTo>
                  <a:lnTo>
                    <a:pt x="416" y="475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6" y="472"/>
                  </a:lnTo>
                  <a:lnTo>
                    <a:pt x="416" y="470"/>
                  </a:lnTo>
                  <a:lnTo>
                    <a:pt x="414" y="470"/>
                  </a:lnTo>
                  <a:lnTo>
                    <a:pt x="414" y="468"/>
                  </a:lnTo>
                  <a:lnTo>
                    <a:pt x="414" y="468"/>
                  </a:lnTo>
                  <a:lnTo>
                    <a:pt x="414" y="468"/>
                  </a:lnTo>
                  <a:lnTo>
                    <a:pt x="414" y="463"/>
                  </a:lnTo>
                  <a:lnTo>
                    <a:pt x="414" y="463"/>
                  </a:lnTo>
                  <a:lnTo>
                    <a:pt x="414" y="463"/>
                  </a:lnTo>
                  <a:lnTo>
                    <a:pt x="414" y="463"/>
                  </a:lnTo>
                  <a:lnTo>
                    <a:pt x="414" y="461"/>
                  </a:lnTo>
                  <a:lnTo>
                    <a:pt x="414" y="463"/>
                  </a:lnTo>
                  <a:lnTo>
                    <a:pt x="414" y="463"/>
                  </a:lnTo>
                  <a:lnTo>
                    <a:pt x="414" y="463"/>
                  </a:lnTo>
                  <a:lnTo>
                    <a:pt x="416" y="465"/>
                  </a:lnTo>
                  <a:lnTo>
                    <a:pt x="416" y="465"/>
                  </a:lnTo>
                  <a:lnTo>
                    <a:pt x="417" y="463"/>
                  </a:lnTo>
                  <a:lnTo>
                    <a:pt x="417" y="463"/>
                  </a:lnTo>
                  <a:lnTo>
                    <a:pt x="417" y="463"/>
                  </a:lnTo>
                  <a:lnTo>
                    <a:pt x="419" y="461"/>
                  </a:lnTo>
                  <a:lnTo>
                    <a:pt x="419" y="461"/>
                  </a:lnTo>
                  <a:lnTo>
                    <a:pt x="419" y="459"/>
                  </a:lnTo>
                  <a:lnTo>
                    <a:pt x="419" y="459"/>
                  </a:lnTo>
                  <a:lnTo>
                    <a:pt x="419" y="459"/>
                  </a:lnTo>
                  <a:lnTo>
                    <a:pt x="421" y="459"/>
                  </a:lnTo>
                  <a:lnTo>
                    <a:pt x="425" y="454"/>
                  </a:lnTo>
                  <a:lnTo>
                    <a:pt x="430" y="448"/>
                  </a:lnTo>
                  <a:lnTo>
                    <a:pt x="432" y="448"/>
                  </a:lnTo>
                  <a:lnTo>
                    <a:pt x="432" y="445"/>
                  </a:lnTo>
                  <a:lnTo>
                    <a:pt x="434" y="445"/>
                  </a:lnTo>
                  <a:lnTo>
                    <a:pt x="434" y="443"/>
                  </a:lnTo>
                  <a:lnTo>
                    <a:pt x="434" y="443"/>
                  </a:lnTo>
                  <a:lnTo>
                    <a:pt x="437" y="443"/>
                  </a:lnTo>
                  <a:lnTo>
                    <a:pt x="437" y="443"/>
                  </a:lnTo>
                  <a:lnTo>
                    <a:pt x="439" y="439"/>
                  </a:lnTo>
                  <a:lnTo>
                    <a:pt x="439" y="439"/>
                  </a:lnTo>
                  <a:lnTo>
                    <a:pt x="439" y="441"/>
                  </a:lnTo>
                  <a:lnTo>
                    <a:pt x="437" y="443"/>
                  </a:lnTo>
                  <a:lnTo>
                    <a:pt x="436" y="445"/>
                  </a:lnTo>
                  <a:lnTo>
                    <a:pt x="434" y="445"/>
                  </a:lnTo>
                  <a:lnTo>
                    <a:pt x="434" y="447"/>
                  </a:lnTo>
                  <a:lnTo>
                    <a:pt x="432" y="450"/>
                  </a:lnTo>
                  <a:lnTo>
                    <a:pt x="430" y="450"/>
                  </a:lnTo>
                  <a:lnTo>
                    <a:pt x="428" y="452"/>
                  </a:lnTo>
                  <a:lnTo>
                    <a:pt x="426" y="454"/>
                  </a:lnTo>
                  <a:lnTo>
                    <a:pt x="421" y="463"/>
                  </a:lnTo>
                  <a:lnTo>
                    <a:pt x="419" y="465"/>
                  </a:lnTo>
                  <a:lnTo>
                    <a:pt x="419" y="468"/>
                  </a:lnTo>
                  <a:lnTo>
                    <a:pt x="419" y="468"/>
                  </a:lnTo>
                  <a:lnTo>
                    <a:pt x="419" y="468"/>
                  </a:lnTo>
                  <a:lnTo>
                    <a:pt x="419" y="470"/>
                  </a:lnTo>
                  <a:lnTo>
                    <a:pt x="419" y="470"/>
                  </a:lnTo>
                  <a:lnTo>
                    <a:pt x="419" y="472"/>
                  </a:lnTo>
                  <a:lnTo>
                    <a:pt x="419" y="474"/>
                  </a:lnTo>
                  <a:lnTo>
                    <a:pt x="419" y="474"/>
                  </a:lnTo>
                  <a:lnTo>
                    <a:pt x="419" y="474"/>
                  </a:lnTo>
                  <a:lnTo>
                    <a:pt x="419" y="474"/>
                  </a:lnTo>
                  <a:lnTo>
                    <a:pt x="421" y="475"/>
                  </a:lnTo>
                  <a:lnTo>
                    <a:pt x="421" y="477"/>
                  </a:lnTo>
                  <a:lnTo>
                    <a:pt x="421" y="477"/>
                  </a:lnTo>
                  <a:lnTo>
                    <a:pt x="423" y="479"/>
                  </a:lnTo>
                  <a:lnTo>
                    <a:pt x="425" y="479"/>
                  </a:lnTo>
                  <a:lnTo>
                    <a:pt x="426" y="479"/>
                  </a:lnTo>
                  <a:lnTo>
                    <a:pt x="426" y="477"/>
                  </a:lnTo>
                  <a:lnTo>
                    <a:pt x="425" y="477"/>
                  </a:lnTo>
                  <a:lnTo>
                    <a:pt x="425" y="474"/>
                  </a:lnTo>
                  <a:lnTo>
                    <a:pt x="425" y="472"/>
                  </a:lnTo>
                  <a:lnTo>
                    <a:pt x="426" y="472"/>
                  </a:lnTo>
                  <a:lnTo>
                    <a:pt x="426" y="470"/>
                  </a:lnTo>
                  <a:lnTo>
                    <a:pt x="426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8" y="470"/>
                  </a:lnTo>
                  <a:lnTo>
                    <a:pt x="430" y="474"/>
                  </a:lnTo>
                  <a:lnTo>
                    <a:pt x="432" y="474"/>
                  </a:lnTo>
                  <a:lnTo>
                    <a:pt x="432" y="472"/>
                  </a:lnTo>
                  <a:lnTo>
                    <a:pt x="432" y="470"/>
                  </a:lnTo>
                  <a:lnTo>
                    <a:pt x="430" y="466"/>
                  </a:lnTo>
                  <a:lnTo>
                    <a:pt x="428" y="465"/>
                  </a:lnTo>
                  <a:lnTo>
                    <a:pt x="430" y="463"/>
                  </a:lnTo>
                  <a:lnTo>
                    <a:pt x="430" y="465"/>
                  </a:lnTo>
                  <a:lnTo>
                    <a:pt x="430" y="465"/>
                  </a:lnTo>
                  <a:lnTo>
                    <a:pt x="432" y="468"/>
                  </a:lnTo>
                  <a:lnTo>
                    <a:pt x="432" y="470"/>
                  </a:lnTo>
                  <a:lnTo>
                    <a:pt x="434" y="472"/>
                  </a:lnTo>
                  <a:lnTo>
                    <a:pt x="434" y="475"/>
                  </a:lnTo>
                  <a:lnTo>
                    <a:pt x="436" y="475"/>
                  </a:lnTo>
                  <a:lnTo>
                    <a:pt x="436" y="475"/>
                  </a:lnTo>
                  <a:lnTo>
                    <a:pt x="437" y="475"/>
                  </a:lnTo>
                  <a:lnTo>
                    <a:pt x="437" y="475"/>
                  </a:lnTo>
                  <a:lnTo>
                    <a:pt x="437" y="474"/>
                  </a:lnTo>
                  <a:lnTo>
                    <a:pt x="439" y="474"/>
                  </a:lnTo>
                  <a:lnTo>
                    <a:pt x="439" y="472"/>
                  </a:lnTo>
                  <a:lnTo>
                    <a:pt x="439" y="472"/>
                  </a:lnTo>
                  <a:lnTo>
                    <a:pt x="439" y="470"/>
                  </a:lnTo>
                  <a:lnTo>
                    <a:pt x="439" y="470"/>
                  </a:lnTo>
                  <a:lnTo>
                    <a:pt x="441" y="470"/>
                  </a:lnTo>
                  <a:lnTo>
                    <a:pt x="441" y="468"/>
                  </a:lnTo>
                  <a:lnTo>
                    <a:pt x="441" y="466"/>
                  </a:lnTo>
                  <a:lnTo>
                    <a:pt x="439" y="466"/>
                  </a:lnTo>
                  <a:lnTo>
                    <a:pt x="439" y="466"/>
                  </a:lnTo>
                  <a:lnTo>
                    <a:pt x="439" y="465"/>
                  </a:lnTo>
                  <a:lnTo>
                    <a:pt x="439" y="465"/>
                  </a:lnTo>
                  <a:lnTo>
                    <a:pt x="439" y="465"/>
                  </a:lnTo>
                  <a:lnTo>
                    <a:pt x="439" y="466"/>
                  </a:lnTo>
                  <a:lnTo>
                    <a:pt x="441" y="466"/>
                  </a:lnTo>
                  <a:lnTo>
                    <a:pt x="441" y="465"/>
                  </a:lnTo>
                  <a:lnTo>
                    <a:pt x="441" y="465"/>
                  </a:lnTo>
                  <a:lnTo>
                    <a:pt x="441" y="463"/>
                  </a:lnTo>
                  <a:lnTo>
                    <a:pt x="441" y="461"/>
                  </a:lnTo>
                  <a:lnTo>
                    <a:pt x="441" y="459"/>
                  </a:lnTo>
                  <a:lnTo>
                    <a:pt x="441" y="459"/>
                  </a:lnTo>
                  <a:lnTo>
                    <a:pt x="441" y="459"/>
                  </a:lnTo>
                  <a:lnTo>
                    <a:pt x="441" y="457"/>
                  </a:lnTo>
                  <a:lnTo>
                    <a:pt x="441" y="454"/>
                  </a:lnTo>
                  <a:lnTo>
                    <a:pt x="441" y="452"/>
                  </a:lnTo>
                  <a:lnTo>
                    <a:pt x="439" y="450"/>
                  </a:lnTo>
                  <a:lnTo>
                    <a:pt x="441" y="448"/>
                  </a:lnTo>
                  <a:lnTo>
                    <a:pt x="441" y="448"/>
                  </a:lnTo>
                  <a:lnTo>
                    <a:pt x="443" y="450"/>
                  </a:lnTo>
                  <a:lnTo>
                    <a:pt x="443" y="450"/>
                  </a:lnTo>
                  <a:lnTo>
                    <a:pt x="443" y="454"/>
                  </a:lnTo>
                  <a:lnTo>
                    <a:pt x="443" y="454"/>
                  </a:lnTo>
                  <a:lnTo>
                    <a:pt x="443" y="454"/>
                  </a:lnTo>
                  <a:lnTo>
                    <a:pt x="445" y="454"/>
                  </a:lnTo>
                  <a:lnTo>
                    <a:pt x="446" y="447"/>
                  </a:lnTo>
                  <a:lnTo>
                    <a:pt x="448" y="447"/>
                  </a:lnTo>
                  <a:lnTo>
                    <a:pt x="448" y="447"/>
                  </a:lnTo>
                  <a:lnTo>
                    <a:pt x="448" y="447"/>
                  </a:lnTo>
                  <a:lnTo>
                    <a:pt x="448" y="448"/>
                  </a:lnTo>
                  <a:lnTo>
                    <a:pt x="445" y="454"/>
                  </a:lnTo>
                  <a:lnTo>
                    <a:pt x="443" y="459"/>
                  </a:lnTo>
                  <a:lnTo>
                    <a:pt x="443" y="459"/>
                  </a:lnTo>
                  <a:lnTo>
                    <a:pt x="443" y="463"/>
                  </a:lnTo>
                  <a:lnTo>
                    <a:pt x="443" y="465"/>
                  </a:lnTo>
                  <a:lnTo>
                    <a:pt x="443" y="466"/>
                  </a:lnTo>
                  <a:lnTo>
                    <a:pt x="445" y="466"/>
                  </a:lnTo>
                  <a:lnTo>
                    <a:pt x="446" y="466"/>
                  </a:lnTo>
                  <a:lnTo>
                    <a:pt x="446" y="466"/>
                  </a:lnTo>
                  <a:lnTo>
                    <a:pt x="446" y="465"/>
                  </a:lnTo>
                  <a:lnTo>
                    <a:pt x="446" y="463"/>
                  </a:lnTo>
                  <a:lnTo>
                    <a:pt x="445" y="459"/>
                  </a:lnTo>
                  <a:lnTo>
                    <a:pt x="445" y="459"/>
                  </a:lnTo>
                  <a:lnTo>
                    <a:pt x="445" y="457"/>
                  </a:lnTo>
                  <a:lnTo>
                    <a:pt x="445" y="457"/>
                  </a:lnTo>
                  <a:lnTo>
                    <a:pt x="445" y="457"/>
                  </a:lnTo>
                  <a:lnTo>
                    <a:pt x="445" y="457"/>
                  </a:lnTo>
                  <a:lnTo>
                    <a:pt x="446" y="461"/>
                  </a:lnTo>
                  <a:lnTo>
                    <a:pt x="446" y="461"/>
                  </a:lnTo>
                  <a:lnTo>
                    <a:pt x="446" y="463"/>
                  </a:lnTo>
                  <a:lnTo>
                    <a:pt x="448" y="465"/>
                  </a:lnTo>
                  <a:lnTo>
                    <a:pt x="450" y="465"/>
                  </a:lnTo>
                  <a:lnTo>
                    <a:pt x="452" y="468"/>
                  </a:lnTo>
                  <a:lnTo>
                    <a:pt x="455" y="470"/>
                  </a:lnTo>
                  <a:lnTo>
                    <a:pt x="457" y="470"/>
                  </a:lnTo>
                  <a:lnTo>
                    <a:pt x="463" y="470"/>
                  </a:lnTo>
                  <a:lnTo>
                    <a:pt x="461" y="472"/>
                  </a:lnTo>
                  <a:lnTo>
                    <a:pt x="452" y="470"/>
                  </a:lnTo>
                  <a:lnTo>
                    <a:pt x="452" y="470"/>
                  </a:lnTo>
                  <a:lnTo>
                    <a:pt x="450" y="470"/>
                  </a:lnTo>
                  <a:lnTo>
                    <a:pt x="450" y="470"/>
                  </a:lnTo>
                  <a:lnTo>
                    <a:pt x="446" y="468"/>
                  </a:lnTo>
                  <a:lnTo>
                    <a:pt x="446" y="468"/>
                  </a:lnTo>
                  <a:lnTo>
                    <a:pt x="445" y="468"/>
                  </a:lnTo>
                  <a:lnTo>
                    <a:pt x="443" y="470"/>
                  </a:lnTo>
                  <a:lnTo>
                    <a:pt x="443" y="470"/>
                  </a:lnTo>
                  <a:lnTo>
                    <a:pt x="441" y="472"/>
                  </a:lnTo>
                  <a:lnTo>
                    <a:pt x="441" y="474"/>
                  </a:lnTo>
                  <a:lnTo>
                    <a:pt x="441" y="477"/>
                  </a:lnTo>
                  <a:lnTo>
                    <a:pt x="441" y="477"/>
                  </a:lnTo>
                  <a:lnTo>
                    <a:pt x="443" y="481"/>
                  </a:lnTo>
                  <a:lnTo>
                    <a:pt x="443" y="481"/>
                  </a:lnTo>
                  <a:lnTo>
                    <a:pt x="443" y="483"/>
                  </a:lnTo>
                  <a:lnTo>
                    <a:pt x="443" y="483"/>
                  </a:lnTo>
                  <a:lnTo>
                    <a:pt x="443" y="486"/>
                  </a:lnTo>
                  <a:lnTo>
                    <a:pt x="443" y="488"/>
                  </a:lnTo>
                  <a:lnTo>
                    <a:pt x="439" y="490"/>
                  </a:lnTo>
                  <a:lnTo>
                    <a:pt x="441" y="492"/>
                  </a:lnTo>
                  <a:lnTo>
                    <a:pt x="443" y="494"/>
                  </a:lnTo>
                  <a:lnTo>
                    <a:pt x="446" y="495"/>
                  </a:lnTo>
                  <a:lnTo>
                    <a:pt x="446" y="495"/>
                  </a:lnTo>
                  <a:lnTo>
                    <a:pt x="445" y="497"/>
                  </a:lnTo>
                  <a:lnTo>
                    <a:pt x="446" y="497"/>
                  </a:lnTo>
                  <a:lnTo>
                    <a:pt x="446" y="497"/>
                  </a:lnTo>
                  <a:lnTo>
                    <a:pt x="450" y="499"/>
                  </a:lnTo>
                  <a:lnTo>
                    <a:pt x="452" y="499"/>
                  </a:lnTo>
                  <a:lnTo>
                    <a:pt x="452" y="501"/>
                  </a:lnTo>
                  <a:lnTo>
                    <a:pt x="454" y="503"/>
                  </a:lnTo>
                  <a:lnTo>
                    <a:pt x="454" y="503"/>
                  </a:lnTo>
                  <a:lnTo>
                    <a:pt x="452" y="504"/>
                  </a:lnTo>
                  <a:lnTo>
                    <a:pt x="454" y="506"/>
                  </a:lnTo>
                  <a:lnTo>
                    <a:pt x="455" y="508"/>
                  </a:lnTo>
                  <a:lnTo>
                    <a:pt x="455" y="510"/>
                  </a:lnTo>
                  <a:lnTo>
                    <a:pt x="455" y="512"/>
                  </a:lnTo>
                  <a:lnTo>
                    <a:pt x="454" y="513"/>
                  </a:lnTo>
                  <a:lnTo>
                    <a:pt x="450" y="515"/>
                  </a:lnTo>
                  <a:lnTo>
                    <a:pt x="448" y="517"/>
                  </a:lnTo>
                  <a:lnTo>
                    <a:pt x="448" y="517"/>
                  </a:lnTo>
                  <a:lnTo>
                    <a:pt x="448" y="519"/>
                  </a:lnTo>
                  <a:lnTo>
                    <a:pt x="448" y="521"/>
                  </a:lnTo>
                  <a:lnTo>
                    <a:pt x="446" y="521"/>
                  </a:lnTo>
                  <a:lnTo>
                    <a:pt x="446" y="522"/>
                  </a:lnTo>
                  <a:lnTo>
                    <a:pt x="445" y="524"/>
                  </a:lnTo>
                  <a:lnTo>
                    <a:pt x="445" y="524"/>
                  </a:lnTo>
                  <a:lnTo>
                    <a:pt x="445" y="526"/>
                  </a:lnTo>
                  <a:lnTo>
                    <a:pt x="445" y="528"/>
                  </a:lnTo>
                  <a:lnTo>
                    <a:pt x="445" y="528"/>
                  </a:lnTo>
                  <a:lnTo>
                    <a:pt x="445" y="528"/>
                  </a:lnTo>
                  <a:lnTo>
                    <a:pt x="443" y="531"/>
                  </a:lnTo>
                  <a:lnTo>
                    <a:pt x="443" y="531"/>
                  </a:lnTo>
                  <a:lnTo>
                    <a:pt x="443" y="533"/>
                  </a:lnTo>
                  <a:lnTo>
                    <a:pt x="443" y="533"/>
                  </a:lnTo>
                  <a:lnTo>
                    <a:pt x="443" y="533"/>
                  </a:lnTo>
                  <a:lnTo>
                    <a:pt x="443" y="533"/>
                  </a:lnTo>
                  <a:lnTo>
                    <a:pt x="439" y="539"/>
                  </a:lnTo>
                  <a:lnTo>
                    <a:pt x="437" y="539"/>
                  </a:lnTo>
                  <a:lnTo>
                    <a:pt x="436" y="540"/>
                  </a:lnTo>
                  <a:lnTo>
                    <a:pt x="436" y="542"/>
                  </a:lnTo>
                  <a:lnTo>
                    <a:pt x="436" y="544"/>
                  </a:lnTo>
                  <a:lnTo>
                    <a:pt x="436" y="544"/>
                  </a:lnTo>
                  <a:lnTo>
                    <a:pt x="434" y="548"/>
                  </a:lnTo>
                  <a:lnTo>
                    <a:pt x="434" y="548"/>
                  </a:lnTo>
                  <a:lnTo>
                    <a:pt x="434" y="548"/>
                  </a:lnTo>
                  <a:lnTo>
                    <a:pt x="434" y="550"/>
                  </a:lnTo>
                  <a:lnTo>
                    <a:pt x="434" y="551"/>
                  </a:lnTo>
                  <a:lnTo>
                    <a:pt x="434" y="553"/>
                  </a:lnTo>
                  <a:lnTo>
                    <a:pt x="434" y="553"/>
                  </a:lnTo>
                  <a:lnTo>
                    <a:pt x="434" y="553"/>
                  </a:lnTo>
                  <a:lnTo>
                    <a:pt x="436" y="555"/>
                  </a:lnTo>
                  <a:lnTo>
                    <a:pt x="437" y="559"/>
                  </a:lnTo>
                  <a:lnTo>
                    <a:pt x="437" y="559"/>
                  </a:lnTo>
                  <a:lnTo>
                    <a:pt x="437" y="559"/>
                  </a:lnTo>
                  <a:lnTo>
                    <a:pt x="436" y="560"/>
                  </a:lnTo>
                  <a:lnTo>
                    <a:pt x="436" y="560"/>
                  </a:lnTo>
                  <a:lnTo>
                    <a:pt x="434" y="560"/>
                  </a:lnTo>
                  <a:lnTo>
                    <a:pt x="434" y="560"/>
                  </a:lnTo>
                  <a:lnTo>
                    <a:pt x="434" y="559"/>
                  </a:lnTo>
                  <a:lnTo>
                    <a:pt x="432" y="559"/>
                  </a:lnTo>
                  <a:lnTo>
                    <a:pt x="434" y="555"/>
                  </a:lnTo>
                  <a:lnTo>
                    <a:pt x="434" y="555"/>
                  </a:lnTo>
                  <a:lnTo>
                    <a:pt x="432" y="553"/>
                  </a:lnTo>
                  <a:lnTo>
                    <a:pt x="432" y="553"/>
                  </a:lnTo>
                  <a:lnTo>
                    <a:pt x="432" y="551"/>
                  </a:lnTo>
                  <a:lnTo>
                    <a:pt x="432" y="551"/>
                  </a:lnTo>
                  <a:lnTo>
                    <a:pt x="430" y="551"/>
                  </a:lnTo>
                  <a:lnTo>
                    <a:pt x="430" y="550"/>
                  </a:lnTo>
                  <a:lnTo>
                    <a:pt x="430" y="551"/>
                  </a:lnTo>
                  <a:lnTo>
                    <a:pt x="430" y="551"/>
                  </a:lnTo>
                  <a:lnTo>
                    <a:pt x="430" y="551"/>
                  </a:lnTo>
                  <a:lnTo>
                    <a:pt x="428" y="551"/>
                  </a:lnTo>
                  <a:lnTo>
                    <a:pt x="428" y="551"/>
                  </a:lnTo>
                  <a:lnTo>
                    <a:pt x="426" y="553"/>
                  </a:lnTo>
                  <a:lnTo>
                    <a:pt x="426" y="557"/>
                  </a:lnTo>
                  <a:lnTo>
                    <a:pt x="426" y="560"/>
                  </a:lnTo>
                  <a:lnTo>
                    <a:pt x="428" y="564"/>
                  </a:lnTo>
                  <a:lnTo>
                    <a:pt x="430" y="566"/>
                  </a:lnTo>
                  <a:lnTo>
                    <a:pt x="434" y="571"/>
                  </a:lnTo>
                  <a:lnTo>
                    <a:pt x="436" y="573"/>
                  </a:lnTo>
                  <a:lnTo>
                    <a:pt x="436" y="573"/>
                  </a:lnTo>
                  <a:lnTo>
                    <a:pt x="436" y="573"/>
                  </a:lnTo>
                  <a:lnTo>
                    <a:pt x="436" y="575"/>
                  </a:lnTo>
                  <a:lnTo>
                    <a:pt x="437" y="577"/>
                  </a:lnTo>
                  <a:lnTo>
                    <a:pt x="437" y="577"/>
                  </a:lnTo>
                  <a:lnTo>
                    <a:pt x="437" y="577"/>
                  </a:lnTo>
                  <a:lnTo>
                    <a:pt x="439" y="577"/>
                  </a:lnTo>
                  <a:lnTo>
                    <a:pt x="437" y="577"/>
                  </a:lnTo>
                  <a:lnTo>
                    <a:pt x="437" y="578"/>
                  </a:lnTo>
                  <a:lnTo>
                    <a:pt x="439" y="578"/>
                  </a:lnTo>
                  <a:lnTo>
                    <a:pt x="439" y="578"/>
                  </a:lnTo>
                  <a:lnTo>
                    <a:pt x="437" y="580"/>
                  </a:lnTo>
                  <a:lnTo>
                    <a:pt x="437" y="580"/>
                  </a:lnTo>
                  <a:lnTo>
                    <a:pt x="439" y="582"/>
                  </a:lnTo>
                  <a:lnTo>
                    <a:pt x="439" y="582"/>
                  </a:lnTo>
                  <a:lnTo>
                    <a:pt x="439" y="584"/>
                  </a:lnTo>
                  <a:lnTo>
                    <a:pt x="443" y="584"/>
                  </a:lnTo>
                  <a:lnTo>
                    <a:pt x="443" y="584"/>
                  </a:lnTo>
                  <a:lnTo>
                    <a:pt x="443" y="584"/>
                  </a:lnTo>
                  <a:lnTo>
                    <a:pt x="443" y="582"/>
                  </a:lnTo>
                  <a:lnTo>
                    <a:pt x="443" y="582"/>
                  </a:lnTo>
                  <a:lnTo>
                    <a:pt x="443" y="580"/>
                  </a:lnTo>
                  <a:lnTo>
                    <a:pt x="443" y="580"/>
                  </a:lnTo>
                  <a:lnTo>
                    <a:pt x="441" y="578"/>
                  </a:lnTo>
                  <a:lnTo>
                    <a:pt x="441" y="577"/>
                  </a:lnTo>
                  <a:lnTo>
                    <a:pt x="439" y="575"/>
                  </a:lnTo>
                  <a:lnTo>
                    <a:pt x="439" y="573"/>
                  </a:lnTo>
                  <a:lnTo>
                    <a:pt x="439" y="573"/>
                  </a:lnTo>
                  <a:lnTo>
                    <a:pt x="439" y="571"/>
                  </a:lnTo>
                  <a:lnTo>
                    <a:pt x="439" y="571"/>
                  </a:lnTo>
                  <a:lnTo>
                    <a:pt x="439" y="571"/>
                  </a:lnTo>
                  <a:lnTo>
                    <a:pt x="439" y="569"/>
                  </a:lnTo>
                  <a:lnTo>
                    <a:pt x="439" y="569"/>
                  </a:lnTo>
                  <a:lnTo>
                    <a:pt x="439" y="569"/>
                  </a:lnTo>
                  <a:lnTo>
                    <a:pt x="439" y="568"/>
                  </a:lnTo>
                  <a:lnTo>
                    <a:pt x="439" y="568"/>
                  </a:lnTo>
                  <a:lnTo>
                    <a:pt x="441" y="566"/>
                  </a:lnTo>
                  <a:lnTo>
                    <a:pt x="443" y="566"/>
                  </a:lnTo>
                  <a:lnTo>
                    <a:pt x="443" y="564"/>
                  </a:lnTo>
                  <a:lnTo>
                    <a:pt x="445" y="564"/>
                  </a:lnTo>
                  <a:lnTo>
                    <a:pt x="446" y="564"/>
                  </a:lnTo>
                  <a:lnTo>
                    <a:pt x="446" y="568"/>
                  </a:lnTo>
                  <a:lnTo>
                    <a:pt x="448" y="568"/>
                  </a:lnTo>
                  <a:lnTo>
                    <a:pt x="450" y="569"/>
                  </a:lnTo>
                  <a:lnTo>
                    <a:pt x="455" y="573"/>
                  </a:lnTo>
                  <a:lnTo>
                    <a:pt x="457" y="573"/>
                  </a:lnTo>
                  <a:lnTo>
                    <a:pt x="461" y="578"/>
                  </a:lnTo>
                  <a:lnTo>
                    <a:pt x="461" y="578"/>
                  </a:lnTo>
                  <a:lnTo>
                    <a:pt x="463" y="578"/>
                  </a:lnTo>
                  <a:lnTo>
                    <a:pt x="463" y="578"/>
                  </a:lnTo>
                  <a:lnTo>
                    <a:pt x="464" y="580"/>
                  </a:lnTo>
                  <a:lnTo>
                    <a:pt x="466" y="580"/>
                  </a:lnTo>
                  <a:lnTo>
                    <a:pt x="466" y="580"/>
                  </a:lnTo>
                  <a:lnTo>
                    <a:pt x="468" y="580"/>
                  </a:lnTo>
                  <a:lnTo>
                    <a:pt x="468" y="580"/>
                  </a:lnTo>
                  <a:lnTo>
                    <a:pt x="468" y="580"/>
                  </a:lnTo>
                  <a:lnTo>
                    <a:pt x="468" y="578"/>
                  </a:lnTo>
                  <a:lnTo>
                    <a:pt x="468" y="578"/>
                  </a:lnTo>
                  <a:lnTo>
                    <a:pt x="468" y="577"/>
                  </a:lnTo>
                  <a:lnTo>
                    <a:pt x="468" y="575"/>
                  </a:lnTo>
                  <a:lnTo>
                    <a:pt x="468" y="573"/>
                  </a:lnTo>
                  <a:lnTo>
                    <a:pt x="468" y="573"/>
                  </a:lnTo>
                  <a:lnTo>
                    <a:pt x="468" y="571"/>
                  </a:lnTo>
                  <a:lnTo>
                    <a:pt x="468" y="571"/>
                  </a:lnTo>
                  <a:lnTo>
                    <a:pt x="468" y="569"/>
                  </a:lnTo>
                  <a:lnTo>
                    <a:pt x="468" y="569"/>
                  </a:lnTo>
                  <a:lnTo>
                    <a:pt x="468" y="568"/>
                  </a:lnTo>
                  <a:lnTo>
                    <a:pt x="466" y="568"/>
                  </a:lnTo>
                  <a:lnTo>
                    <a:pt x="466" y="568"/>
                  </a:lnTo>
                  <a:lnTo>
                    <a:pt x="466" y="568"/>
                  </a:lnTo>
                  <a:lnTo>
                    <a:pt x="464" y="566"/>
                  </a:lnTo>
                  <a:lnTo>
                    <a:pt x="464" y="564"/>
                  </a:lnTo>
                  <a:lnTo>
                    <a:pt x="464" y="564"/>
                  </a:lnTo>
                  <a:lnTo>
                    <a:pt x="464" y="562"/>
                  </a:lnTo>
                  <a:lnTo>
                    <a:pt x="466" y="560"/>
                  </a:lnTo>
                  <a:lnTo>
                    <a:pt x="466" y="560"/>
                  </a:lnTo>
                  <a:lnTo>
                    <a:pt x="466" y="560"/>
                  </a:lnTo>
                  <a:lnTo>
                    <a:pt x="466" y="562"/>
                  </a:lnTo>
                  <a:lnTo>
                    <a:pt x="468" y="562"/>
                  </a:lnTo>
                  <a:lnTo>
                    <a:pt x="468" y="564"/>
                  </a:lnTo>
                  <a:lnTo>
                    <a:pt x="468" y="564"/>
                  </a:lnTo>
                  <a:lnTo>
                    <a:pt x="468" y="566"/>
                  </a:lnTo>
                  <a:lnTo>
                    <a:pt x="473" y="568"/>
                  </a:lnTo>
                  <a:lnTo>
                    <a:pt x="473" y="568"/>
                  </a:lnTo>
                  <a:lnTo>
                    <a:pt x="473" y="566"/>
                  </a:lnTo>
                  <a:lnTo>
                    <a:pt x="475" y="564"/>
                  </a:lnTo>
                  <a:lnTo>
                    <a:pt x="475" y="564"/>
                  </a:lnTo>
                  <a:lnTo>
                    <a:pt x="475" y="568"/>
                  </a:lnTo>
                  <a:lnTo>
                    <a:pt x="477" y="571"/>
                  </a:lnTo>
                  <a:lnTo>
                    <a:pt x="481" y="573"/>
                  </a:lnTo>
                  <a:lnTo>
                    <a:pt x="482" y="573"/>
                  </a:lnTo>
                  <a:lnTo>
                    <a:pt x="481" y="571"/>
                  </a:lnTo>
                  <a:lnTo>
                    <a:pt x="482" y="569"/>
                  </a:lnTo>
                  <a:lnTo>
                    <a:pt x="482" y="568"/>
                  </a:lnTo>
                  <a:lnTo>
                    <a:pt x="482" y="568"/>
                  </a:lnTo>
                  <a:lnTo>
                    <a:pt x="482" y="568"/>
                  </a:lnTo>
                  <a:lnTo>
                    <a:pt x="484" y="568"/>
                  </a:lnTo>
                  <a:lnTo>
                    <a:pt x="484" y="569"/>
                  </a:lnTo>
                  <a:lnTo>
                    <a:pt x="484" y="569"/>
                  </a:lnTo>
                  <a:lnTo>
                    <a:pt x="484" y="571"/>
                  </a:lnTo>
                  <a:lnTo>
                    <a:pt x="484" y="571"/>
                  </a:lnTo>
                  <a:lnTo>
                    <a:pt x="484" y="571"/>
                  </a:lnTo>
                  <a:lnTo>
                    <a:pt x="482" y="571"/>
                  </a:lnTo>
                  <a:lnTo>
                    <a:pt x="484" y="571"/>
                  </a:lnTo>
                  <a:lnTo>
                    <a:pt x="484" y="571"/>
                  </a:lnTo>
                  <a:lnTo>
                    <a:pt x="484" y="571"/>
                  </a:lnTo>
                  <a:lnTo>
                    <a:pt x="484" y="573"/>
                  </a:lnTo>
                  <a:lnTo>
                    <a:pt x="484" y="573"/>
                  </a:lnTo>
                  <a:lnTo>
                    <a:pt x="486" y="573"/>
                  </a:lnTo>
                  <a:lnTo>
                    <a:pt x="488" y="573"/>
                  </a:lnTo>
                  <a:lnTo>
                    <a:pt x="492" y="569"/>
                  </a:lnTo>
                  <a:lnTo>
                    <a:pt x="495" y="568"/>
                  </a:lnTo>
                  <a:lnTo>
                    <a:pt x="495" y="568"/>
                  </a:lnTo>
                  <a:lnTo>
                    <a:pt x="493" y="566"/>
                  </a:lnTo>
                  <a:lnTo>
                    <a:pt x="493" y="566"/>
                  </a:lnTo>
                  <a:lnTo>
                    <a:pt x="495" y="566"/>
                  </a:lnTo>
                  <a:lnTo>
                    <a:pt x="493" y="566"/>
                  </a:lnTo>
                  <a:lnTo>
                    <a:pt x="493" y="564"/>
                  </a:lnTo>
                  <a:lnTo>
                    <a:pt x="495" y="564"/>
                  </a:lnTo>
                  <a:lnTo>
                    <a:pt x="495" y="562"/>
                  </a:lnTo>
                  <a:lnTo>
                    <a:pt x="495" y="562"/>
                  </a:lnTo>
                  <a:lnTo>
                    <a:pt x="495" y="564"/>
                  </a:lnTo>
                  <a:lnTo>
                    <a:pt x="495" y="564"/>
                  </a:lnTo>
                  <a:lnTo>
                    <a:pt x="495" y="564"/>
                  </a:lnTo>
                  <a:lnTo>
                    <a:pt x="495" y="564"/>
                  </a:lnTo>
                  <a:lnTo>
                    <a:pt x="495" y="564"/>
                  </a:lnTo>
                  <a:lnTo>
                    <a:pt x="495" y="566"/>
                  </a:lnTo>
                  <a:lnTo>
                    <a:pt x="495" y="566"/>
                  </a:lnTo>
                  <a:lnTo>
                    <a:pt x="495" y="566"/>
                  </a:lnTo>
                  <a:lnTo>
                    <a:pt x="495" y="566"/>
                  </a:lnTo>
                  <a:lnTo>
                    <a:pt x="495" y="564"/>
                  </a:lnTo>
                  <a:lnTo>
                    <a:pt x="495" y="564"/>
                  </a:lnTo>
                  <a:lnTo>
                    <a:pt x="495" y="564"/>
                  </a:lnTo>
                  <a:lnTo>
                    <a:pt x="499" y="566"/>
                  </a:lnTo>
                  <a:lnTo>
                    <a:pt x="501" y="564"/>
                  </a:lnTo>
                  <a:lnTo>
                    <a:pt x="502" y="562"/>
                  </a:lnTo>
                  <a:lnTo>
                    <a:pt x="506" y="564"/>
                  </a:lnTo>
                  <a:lnTo>
                    <a:pt x="508" y="562"/>
                  </a:lnTo>
                  <a:lnTo>
                    <a:pt x="508" y="562"/>
                  </a:lnTo>
                  <a:lnTo>
                    <a:pt x="508" y="560"/>
                  </a:lnTo>
                  <a:lnTo>
                    <a:pt x="508" y="559"/>
                  </a:lnTo>
                  <a:lnTo>
                    <a:pt x="508" y="557"/>
                  </a:lnTo>
                  <a:lnTo>
                    <a:pt x="508" y="555"/>
                  </a:lnTo>
                  <a:lnTo>
                    <a:pt x="508" y="553"/>
                  </a:lnTo>
                  <a:lnTo>
                    <a:pt x="510" y="555"/>
                  </a:lnTo>
                  <a:lnTo>
                    <a:pt x="510" y="555"/>
                  </a:lnTo>
                  <a:lnTo>
                    <a:pt x="511" y="555"/>
                  </a:lnTo>
                  <a:lnTo>
                    <a:pt x="511" y="553"/>
                  </a:lnTo>
                  <a:lnTo>
                    <a:pt x="511" y="553"/>
                  </a:lnTo>
                  <a:lnTo>
                    <a:pt x="511" y="553"/>
                  </a:lnTo>
                  <a:lnTo>
                    <a:pt x="510" y="553"/>
                  </a:lnTo>
                  <a:lnTo>
                    <a:pt x="511" y="553"/>
                  </a:lnTo>
                  <a:lnTo>
                    <a:pt x="511" y="553"/>
                  </a:lnTo>
                  <a:lnTo>
                    <a:pt x="513" y="555"/>
                  </a:lnTo>
                  <a:lnTo>
                    <a:pt x="513" y="555"/>
                  </a:lnTo>
                  <a:lnTo>
                    <a:pt x="529" y="555"/>
                  </a:lnTo>
                  <a:lnTo>
                    <a:pt x="533" y="555"/>
                  </a:lnTo>
                  <a:lnTo>
                    <a:pt x="533" y="555"/>
                  </a:lnTo>
                  <a:lnTo>
                    <a:pt x="533" y="555"/>
                  </a:lnTo>
                  <a:lnTo>
                    <a:pt x="535" y="555"/>
                  </a:lnTo>
                  <a:lnTo>
                    <a:pt x="535" y="555"/>
                  </a:lnTo>
                  <a:lnTo>
                    <a:pt x="535" y="555"/>
                  </a:lnTo>
                  <a:lnTo>
                    <a:pt x="533" y="555"/>
                  </a:lnTo>
                  <a:lnTo>
                    <a:pt x="533" y="557"/>
                  </a:lnTo>
                  <a:lnTo>
                    <a:pt x="531" y="557"/>
                  </a:lnTo>
                  <a:lnTo>
                    <a:pt x="531" y="557"/>
                  </a:lnTo>
                  <a:lnTo>
                    <a:pt x="535" y="557"/>
                  </a:lnTo>
                  <a:lnTo>
                    <a:pt x="535" y="557"/>
                  </a:lnTo>
                  <a:lnTo>
                    <a:pt x="529" y="559"/>
                  </a:lnTo>
                  <a:lnTo>
                    <a:pt x="529" y="559"/>
                  </a:lnTo>
                  <a:lnTo>
                    <a:pt x="528" y="559"/>
                  </a:lnTo>
                  <a:lnTo>
                    <a:pt x="528" y="557"/>
                  </a:lnTo>
                  <a:lnTo>
                    <a:pt x="526" y="557"/>
                  </a:lnTo>
                  <a:lnTo>
                    <a:pt x="526" y="557"/>
                  </a:lnTo>
                  <a:lnTo>
                    <a:pt x="526" y="557"/>
                  </a:lnTo>
                  <a:lnTo>
                    <a:pt x="522" y="559"/>
                  </a:lnTo>
                  <a:lnTo>
                    <a:pt x="522" y="559"/>
                  </a:lnTo>
                  <a:lnTo>
                    <a:pt x="520" y="560"/>
                  </a:lnTo>
                  <a:lnTo>
                    <a:pt x="522" y="560"/>
                  </a:lnTo>
                  <a:lnTo>
                    <a:pt x="524" y="562"/>
                  </a:lnTo>
                  <a:lnTo>
                    <a:pt x="522" y="562"/>
                  </a:lnTo>
                  <a:lnTo>
                    <a:pt x="520" y="562"/>
                  </a:lnTo>
                  <a:lnTo>
                    <a:pt x="520" y="562"/>
                  </a:lnTo>
                  <a:lnTo>
                    <a:pt x="519" y="562"/>
                  </a:lnTo>
                  <a:lnTo>
                    <a:pt x="519" y="560"/>
                  </a:lnTo>
                  <a:lnTo>
                    <a:pt x="519" y="562"/>
                  </a:lnTo>
                  <a:lnTo>
                    <a:pt x="517" y="562"/>
                  </a:lnTo>
                  <a:lnTo>
                    <a:pt x="515" y="566"/>
                  </a:lnTo>
                  <a:lnTo>
                    <a:pt x="515" y="571"/>
                  </a:lnTo>
                  <a:lnTo>
                    <a:pt x="515" y="571"/>
                  </a:lnTo>
                  <a:lnTo>
                    <a:pt x="515" y="573"/>
                  </a:lnTo>
                  <a:lnTo>
                    <a:pt x="513" y="575"/>
                  </a:lnTo>
                  <a:lnTo>
                    <a:pt x="513" y="577"/>
                  </a:lnTo>
                  <a:lnTo>
                    <a:pt x="511" y="577"/>
                  </a:lnTo>
                  <a:lnTo>
                    <a:pt x="511" y="577"/>
                  </a:lnTo>
                  <a:lnTo>
                    <a:pt x="511" y="577"/>
                  </a:lnTo>
                  <a:lnTo>
                    <a:pt x="510" y="578"/>
                  </a:lnTo>
                  <a:lnTo>
                    <a:pt x="510" y="580"/>
                  </a:lnTo>
                  <a:lnTo>
                    <a:pt x="508" y="584"/>
                  </a:lnTo>
                  <a:lnTo>
                    <a:pt x="506" y="591"/>
                  </a:lnTo>
                  <a:lnTo>
                    <a:pt x="506" y="593"/>
                  </a:lnTo>
                  <a:lnTo>
                    <a:pt x="506" y="593"/>
                  </a:lnTo>
                  <a:lnTo>
                    <a:pt x="504" y="595"/>
                  </a:lnTo>
                  <a:lnTo>
                    <a:pt x="504" y="595"/>
                  </a:lnTo>
                  <a:lnTo>
                    <a:pt x="504" y="595"/>
                  </a:lnTo>
                  <a:lnTo>
                    <a:pt x="506" y="596"/>
                  </a:lnTo>
                  <a:lnTo>
                    <a:pt x="506" y="596"/>
                  </a:lnTo>
                  <a:lnTo>
                    <a:pt x="506" y="598"/>
                  </a:lnTo>
                  <a:lnTo>
                    <a:pt x="511" y="604"/>
                  </a:lnTo>
                  <a:lnTo>
                    <a:pt x="513" y="606"/>
                  </a:lnTo>
                  <a:lnTo>
                    <a:pt x="515" y="609"/>
                  </a:lnTo>
                  <a:lnTo>
                    <a:pt x="515" y="609"/>
                  </a:lnTo>
                  <a:lnTo>
                    <a:pt x="515" y="609"/>
                  </a:lnTo>
                  <a:lnTo>
                    <a:pt x="515" y="611"/>
                  </a:lnTo>
                  <a:lnTo>
                    <a:pt x="517" y="611"/>
                  </a:lnTo>
                  <a:lnTo>
                    <a:pt x="515" y="613"/>
                  </a:lnTo>
                  <a:lnTo>
                    <a:pt x="515" y="613"/>
                  </a:lnTo>
                  <a:lnTo>
                    <a:pt x="515" y="615"/>
                  </a:lnTo>
                  <a:lnTo>
                    <a:pt x="515" y="615"/>
                  </a:lnTo>
                  <a:lnTo>
                    <a:pt x="517" y="616"/>
                  </a:lnTo>
                  <a:lnTo>
                    <a:pt x="519" y="618"/>
                  </a:lnTo>
                  <a:lnTo>
                    <a:pt x="520" y="622"/>
                  </a:lnTo>
                  <a:lnTo>
                    <a:pt x="520" y="622"/>
                  </a:lnTo>
                  <a:lnTo>
                    <a:pt x="522" y="622"/>
                  </a:lnTo>
                  <a:lnTo>
                    <a:pt x="522" y="622"/>
                  </a:lnTo>
                  <a:lnTo>
                    <a:pt x="524" y="622"/>
                  </a:lnTo>
                  <a:lnTo>
                    <a:pt x="524" y="622"/>
                  </a:lnTo>
                  <a:lnTo>
                    <a:pt x="524" y="620"/>
                  </a:lnTo>
                  <a:lnTo>
                    <a:pt x="524" y="618"/>
                  </a:lnTo>
                  <a:lnTo>
                    <a:pt x="526" y="616"/>
                  </a:lnTo>
                  <a:lnTo>
                    <a:pt x="526" y="616"/>
                  </a:lnTo>
                  <a:lnTo>
                    <a:pt x="526" y="618"/>
                  </a:lnTo>
                  <a:lnTo>
                    <a:pt x="526" y="622"/>
                  </a:lnTo>
                  <a:lnTo>
                    <a:pt x="526" y="624"/>
                  </a:lnTo>
                  <a:lnTo>
                    <a:pt x="524" y="624"/>
                  </a:lnTo>
                  <a:lnTo>
                    <a:pt x="524" y="625"/>
                  </a:lnTo>
                  <a:lnTo>
                    <a:pt x="524" y="625"/>
                  </a:lnTo>
                  <a:lnTo>
                    <a:pt x="524" y="627"/>
                  </a:lnTo>
                  <a:lnTo>
                    <a:pt x="524" y="627"/>
                  </a:lnTo>
                  <a:lnTo>
                    <a:pt x="524" y="629"/>
                  </a:lnTo>
                  <a:lnTo>
                    <a:pt x="524" y="629"/>
                  </a:lnTo>
                  <a:lnTo>
                    <a:pt x="526" y="631"/>
                  </a:lnTo>
                  <a:lnTo>
                    <a:pt x="526" y="631"/>
                  </a:lnTo>
                  <a:lnTo>
                    <a:pt x="526" y="631"/>
                  </a:lnTo>
                  <a:lnTo>
                    <a:pt x="528" y="631"/>
                  </a:lnTo>
                  <a:lnTo>
                    <a:pt x="529" y="633"/>
                  </a:lnTo>
                  <a:lnTo>
                    <a:pt x="529" y="633"/>
                  </a:lnTo>
                  <a:lnTo>
                    <a:pt x="529" y="631"/>
                  </a:lnTo>
                  <a:lnTo>
                    <a:pt x="529" y="631"/>
                  </a:lnTo>
                  <a:lnTo>
                    <a:pt x="529" y="629"/>
                  </a:lnTo>
                  <a:lnTo>
                    <a:pt x="531" y="629"/>
                  </a:lnTo>
                  <a:lnTo>
                    <a:pt x="531" y="627"/>
                  </a:lnTo>
                  <a:lnTo>
                    <a:pt x="533" y="625"/>
                  </a:lnTo>
                  <a:lnTo>
                    <a:pt x="533" y="624"/>
                  </a:lnTo>
                  <a:lnTo>
                    <a:pt x="533" y="624"/>
                  </a:lnTo>
                  <a:lnTo>
                    <a:pt x="533" y="622"/>
                  </a:lnTo>
                  <a:lnTo>
                    <a:pt x="533" y="622"/>
                  </a:lnTo>
                  <a:lnTo>
                    <a:pt x="533" y="620"/>
                  </a:lnTo>
                  <a:lnTo>
                    <a:pt x="535" y="620"/>
                  </a:lnTo>
                  <a:lnTo>
                    <a:pt x="535" y="620"/>
                  </a:lnTo>
                  <a:lnTo>
                    <a:pt x="535" y="620"/>
                  </a:lnTo>
                  <a:lnTo>
                    <a:pt x="537" y="622"/>
                  </a:lnTo>
                  <a:lnTo>
                    <a:pt x="535" y="622"/>
                  </a:lnTo>
                  <a:lnTo>
                    <a:pt x="535" y="624"/>
                  </a:lnTo>
                  <a:lnTo>
                    <a:pt x="537" y="625"/>
                  </a:lnTo>
                  <a:lnTo>
                    <a:pt x="537" y="625"/>
                  </a:lnTo>
                  <a:lnTo>
                    <a:pt x="538" y="625"/>
                  </a:lnTo>
                  <a:lnTo>
                    <a:pt x="540" y="625"/>
                  </a:lnTo>
                  <a:lnTo>
                    <a:pt x="540" y="624"/>
                  </a:lnTo>
                  <a:lnTo>
                    <a:pt x="540" y="624"/>
                  </a:lnTo>
                  <a:lnTo>
                    <a:pt x="542" y="622"/>
                  </a:lnTo>
                  <a:lnTo>
                    <a:pt x="544" y="622"/>
                  </a:lnTo>
                  <a:lnTo>
                    <a:pt x="546" y="620"/>
                  </a:lnTo>
                  <a:lnTo>
                    <a:pt x="546" y="618"/>
                  </a:lnTo>
                  <a:lnTo>
                    <a:pt x="546" y="618"/>
                  </a:lnTo>
                  <a:lnTo>
                    <a:pt x="546" y="618"/>
                  </a:lnTo>
                  <a:lnTo>
                    <a:pt x="546" y="620"/>
                  </a:lnTo>
                  <a:lnTo>
                    <a:pt x="546" y="620"/>
                  </a:lnTo>
                  <a:lnTo>
                    <a:pt x="544" y="622"/>
                  </a:lnTo>
                  <a:lnTo>
                    <a:pt x="544" y="622"/>
                  </a:lnTo>
                  <a:lnTo>
                    <a:pt x="544" y="624"/>
                  </a:lnTo>
                  <a:lnTo>
                    <a:pt x="544" y="625"/>
                  </a:lnTo>
                  <a:lnTo>
                    <a:pt x="546" y="627"/>
                  </a:lnTo>
                  <a:lnTo>
                    <a:pt x="546" y="629"/>
                  </a:lnTo>
                  <a:lnTo>
                    <a:pt x="546" y="631"/>
                  </a:lnTo>
                  <a:lnTo>
                    <a:pt x="546" y="631"/>
                  </a:lnTo>
                  <a:lnTo>
                    <a:pt x="544" y="633"/>
                  </a:lnTo>
                  <a:lnTo>
                    <a:pt x="542" y="633"/>
                  </a:lnTo>
                  <a:lnTo>
                    <a:pt x="542" y="634"/>
                  </a:lnTo>
                  <a:lnTo>
                    <a:pt x="540" y="634"/>
                  </a:lnTo>
                  <a:lnTo>
                    <a:pt x="540" y="636"/>
                  </a:lnTo>
                  <a:lnTo>
                    <a:pt x="540" y="636"/>
                  </a:lnTo>
                  <a:lnTo>
                    <a:pt x="540" y="636"/>
                  </a:lnTo>
                  <a:lnTo>
                    <a:pt x="540" y="638"/>
                  </a:lnTo>
                  <a:lnTo>
                    <a:pt x="542" y="638"/>
                  </a:lnTo>
                  <a:lnTo>
                    <a:pt x="542" y="638"/>
                  </a:lnTo>
                  <a:lnTo>
                    <a:pt x="544" y="638"/>
                  </a:lnTo>
                  <a:lnTo>
                    <a:pt x="544" y="638"/>
                  </a:lnTo>
                  <a:lnTo>
                    <a:pt x="544" y="638"/>
                  </a:lnTo>
                  <a:lnTo>
                    <a:pt x="542" y="640"/>
                  </a:lnTo>
                  <a:lnTo>
                    <a:pt x="544" y="642"/>
                  </a:lnTo>
                  <a:lnTo>
                    <a:pt x="542" y="642"/>
                  </a:lnTo>
                  <a:lnTo>
                    <a:pt x="542" y="642"/>
                  </a:lnTo>
                  <a:lnTo>
                    <a:pt x="542" y="642"/>
                  </a:lnTo>
                  <a:lnTo>
                    <a:pt x="542" y="643"/>
                  </a:lnTo>
                  <a:lnTo>
                    <a:pt x="542" y="643"/>
                  </a:lnTo>
                  <a:lnTo>
                    <a:pt x="542" y="643"/>
                  </a:lnTo>
                  <a:lnTo>
                    <a:pt x="540" y="643"/>
                  </a:lnTo>
                  <a:lnTo>
                    <a:pt x="540" y="643"/>
                  </a:lnTo>
                  <a:lnTo>
                    <a:pt x="535" y="645"/>
                  </a:lnTo>
                  <a:lnTo>
                    <a:pt x="535" y="645"/>
                  </a:lnTo>
                  <a:lnTo>
                    <a:pt x="533" y="647"/>
                  </a:lnTo>
                  <a:lnTo>
                    <a:pt x="533" y="649"/>
                  </a:lnTo>
                  <a:lnTo>
                    <a:pt x="533" y="656"/>
                  </a:lnTo>
                  <a:lnTo>
                    <a:pt x="533" y="658"/>
                  </a:lnTo>
                  <a:lnTo>
                    <a:pt x="535" y="660"/>
                  </a:lnTo>
                  <a:lnTo>
                    <a:pt x="537" y="662"/>
                  </a:lnTo>
                  <a:lnTo>
                    <a:pt x="542" y="662"/>
                  </a:lnTo>
                  <a:lnTo>
                    <a:pt x="540" y="662"/>
                  </a:lnTo>
                  <a:lnTo>
                    <a:pt x="538" y="663"/>
                  </a:lnTo>
                  <a:lnTo>
                    <a:pt x="538" y="665"/>
                  </a:lnTo>
                  <a:lnTo>
                    <a:pt x="538" y="665"/>
                  </a:lnTo>
                  <a:lnTo>
                    <a:pt x="535" y="669"/>
                  </a:lnTo>
                  <a:lnTo>
                    <a:pt x="531" y="674"/>
                  </a:lnTo>
                  <a:lnTo>
                    <a:pt x="531" y="674"/>
                  </a:lnTo>
                  <a:lnTo>
                    <a:pt x="531" y="676"/>
                  </a:lnTo>
                  <a:lnTo>
                    <a:pt x="531" y="678"/>
                  </a:lnTo>
                  <a:lnTo>
                    <a:pt x="537" y="690"/>
                  </a:lnTo>
                  <a:lnTo>
                    <a:pt x="538" y="692"/>
                  </a:lnTo>
                  <a:lnTo>
                    <a:pt x="540" y="694"/>
                  </a:lnTo>
                  <a:lnTo>
                    <a:pt x="542" y="696"/>
                  </a:lnTo>
                  <a:lnTo>
                    <a:pt x="544" y="696"/>
                  </a:lnTo>
                  <a:lnTo>
                    <a:pt x="546" y="696"/>
                  </a:lnTo>
                  <a:lnTo>
                    <a:pt x="546" y="696"/>
                  </a:lnTo>
                  <a:lnTo>
                    <a:pt x="547" y="696"/>
                  </a:lnTo>
                  <a:lnTo>
                    <a:pt x="547" y="694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4"/>
                  </a:lnTo>
                  <a:lnTo>
                    <a:pt x="551" y="694"/>
                  </a:lnTo>
                  <a:lnTo>
                    <a:pt x="551" y="694"/>
                  </a:lnTo>
                  <a:lnTo>
                    <a:pt x="549" y="694"/>
                  </a:lnTo>
                  <a:lnTo>
                    <a:pt x="549" y="694"/>
                  </a:lnTo>
                  <a:lnTo>
                    <a:pt x="549" y="694"/>
                  </a:lnTo>
                  <a:lnTo>
                    <a:pt x="549" y="696"/>
                  </a:lnTo>
                  <a:lnTo>
                    <a:pt x="549" y="696"/>
                  </a:lnTo>
                  <a:lnTo>
                    <a:pt x="549" y="698"/>
                  </a:lnTo>
                  <a:lnTo>
                    <a:pt x="547" y="698"/>
                  </a:lnTo>
                  <a:lnTo>
                    <a:pt x="547" y="698"/>
                  </a:lnTo>
                  <a:lnTo>
                    <a:pt x="546" y="698"/>
                  </a:lnTo>
                  <a:lnTo>
                    <a:pt x="546" y="698"/>
                  </a:lnTo>
                  <a:lnTo>
                    <a:pt x="544" y="698"/>
                  </a:lnTo>
                  <a:lnTo>
                    <a:pt x="544" y="698"/>
                  </a:lnTo>
                  <a:lnTo>
                    <a:pt x="544" y="698"/>
                  </a:lnTo>
                  <a:lnTo>
                    <a:pt x="544" y="698"/>
                  </a:lnTo>
                  <a:lnTo>
                    <a:pt x="544" y="698"/>
                  </a:lnTo>
                  <a:lnTo>
                    <a:pt x="544" y="699"/>
                  </a:lnTo>
                  <a:lnTo>
                    <a:pt x="542" y="699"/>
                  </a:lnTo>
                  <a:lnTo>
                    <a:pt x="540" y="698"/>
                  </a:lnTo>
                  <a:lnTo>
                    <a:pt x="540" y="698"/>
                  </a:lnTo>
                  <a:lnTo>
                    <a:pt x="538" y="696"/>
                  </a:lnTo>
                  <a:lnTo>
                    <a:pt x="535" y="689"/>
                  </a:lnTo>
                  <a:lnTo>
                    <a:pt x="535" y="687"/>
                  </a:lnTo>
                  <a:lnTo>
                    <a:pt x="533" y="687"/>
                  </a:lnTo>
                  <a:lnTo>
                    <a:pt x="531" y="689"/>
                  </a:lnTo>
                  <a:lnTo>
                    <a:pt x="531" y="689"/>
                  </a:lnTo>
                  <a:lnTo>
                    <a:pt x="528" y="689"/>
                  </a:lnTo>
                  <a:lnTo>
                    <a:pt x="528" y="689"/>
                  </a:lnTo>
                  <a:lnTo>
                    <a:pt x="528" y="690"/>
                  </a:lnTo>
                  <a:lnTo>
                    <a:pt x="528" y="690"/>
                  </a:lnTo>
                  <a:lnTo>
                    <a:pt x="528" y="692"/>
                  </a:lnTo>
                  <a:lnTo>
                    <a:pt x="529" y="696"/>
                  </a:lnTo>
                  <a:lnTo>
                    <a:pt x="531" y="698"/>
                  </a:lnTo>
                  <a:lnTo>
                    <a:pt x="531" y="699"/>
                  </a:lnTo>
                  <a:lnTo>
                    <a:pt x="531" y="699"/>
                  </a:lnTo>
                  <a:lnTo>
                    <a:pt x="531" y="703"/>
                  </a:lnTo>
                  <a:lnTo>
                    <a:pt x="531" y="703"/>
                  </a:lnTo>
                  <a:lnTo>
                    <a:pt x="531" y="703"/>
                  </a:lnTo>
                  <a:lnTo>
                    <a:pt x="531" y="701"/>
                  </a:lnTo>
                  <a:lnTo>
                    <a:pt x="529" y="701"/>
                  </a:lnTo>
                  <a:lnTo>
                    <a:pt x="524" y="696"/>
                  </a:lnTo>
                  <a:lnTo>
                    <a:pt x="522" y="696"/>
                  </a:lnTo>
                  <a:lnTo>
                    <a:pt x="522" y="696"/>
                  </a:lnTo>
                  <a:lnTo>
                    <a:pt x="522" y="694"/>
                  </a:lnTo>
                  <a:lnTo>
                    <a:pt x="520" y="694"/>
                  </a:lnTo>
                  <a:lnTo>
                    <a:pt x="517" y="694"/>
                  </a:lnTo>
                  <a:lnTo>
                    <a:pt x="508" y="698"/>
                  </a:lnTo>
                  <a:lnTo>
                    <a:pt x="506" y="699"/>
                  </a:lnTo>
                  <a:lnTo>
                    <a:pt x="501" y="699"/>
                  </a:lnTo>
                  <a:lnTo>
                    <a:pt x="499" y="698"/>
                  </a:lnTo>
                  <a:lnTo>
                    <a:pt x="499" y="698"/>
                  </a:lnTo>
                  <a:lnTo>
                    <a:pt x="497" y="696"/>
                  </a:lnTo>
                  <a:lnTo>
                    <a:pt x="497" y="696"/>
                  </a:lnTo>
                  <a:lnTo>
                    <a:pt x="495" y="696"/>
                  </a:lnTo>
                  <a:lnTo>
                    <a:pt x="495" y="696"/>
                  </a:lnTo>
                  <a:lnTo>
                    <a:pt x="493" y="696"/>
                  </a:lnTo>
                  <a:lnTo>
                    <a:pt x="493" y="694"/>
                  </a:lnTo>
                  <a:lnTo>
                    <a:pt x="492" y="694"/>
                  </a:lnTo>
                  <a:lnTo>
                    <a:pt x="493" y="696"/>
                  </a:lnTo>
                  <a:lnTo>
                    <a:pt x="493" y="698"/>
                  </a:lnTo>
                  <a:lnTo>
                    <a:pt x="495" y="699"/>
                  </a:lnTo>
                  <a:lnTo>
                    <a:pt x="493" y="699"/>
                  </a:lnTo>
                  <a:lnTo>
                    <a:pt x="488" y="701"/>
                  </a:lnTo>
                  <a:lnTo>
                    <a:pt x="486" y="703"/>
                  </a:lnTo>
                  <a:lnTo>
                    <a:pt x="484" y="703"/>
                  </a:lnTo>
                  <a:lnTo>
                    <a:pt x="484" y="703"/>
                  </a:lnTo>
                  <a:lnTo>
                    <a:pt x="482" y="703"/>
                  </a:lnTo>
                  <a:lnTo>
                    <a:pt x="482" y="703"/>
                  </a:lnTo>
                  <a:lnTo>
                    <a:pt x="482" y="703"/>
                  </a:lnTo>
                  <a:lnTo>
                    <a:pt x="481" y="703"/>
                  </a:lnTo>
                  <a:lnTo>
                    <a:pt x="481" y="703"/>
                  </a:lnTo>
                  <a:lnTo>
                    <a:pt x="479" y="703"/>
                  </a:lnTo>
                  <a:lnTo>
                    <a:pt x="477" y="705"/>
                  </a:lnTo>
                  <a:lnTo>
                    <a:pt x="475" y="707"/>
                  </a:lnTo>
                  <a:lnTo>
                    <a:pt x="475" y="708"/>
                  </a:lnTo>
                  <a:lnTo>
                    <a:pt x="475" y="708"/>
                  </a:lnTo>
                  <a:lnTo>
                    <a:pt x="473" y="710"/>
                  </a:lnTo>
                  <a:lnTo>
                    <a:pt x="473" y="710"/>
                  </a:lnTo>
                  <a:lnTo>
                    <a:pt x="472" y="712"/>
                  </a:lnTo>
                  <a:lnTo>
                    <a:pt x="472" y="712"/>
                  </a:lnTo>
                  <a:lnTo>
                    <a:pt x="470" y="714"/>
                  </a:lnTo>
                  <a:lnTo>
                    <a:pt x="470" y="714"/>
                  </a:lnTo>
                  <a:lnTo>
                    <a:pt x="470" y="714"/>
                  </a:lnTo>
                  <a:lnTo>
                    <a:pt x="470" y="714"/>
                  </a:lnTo>
                  <a:lnTo>
                    <a:pt x="470" y="714"/>
                  </a:lnTo>
                  <a:lnTo>
                    <a:pt x="470" y="714"/>
                  </a:lnTo>
                  <a:lnTo>
                    <a:pt x="468" y="714"/>
                  </a:lnTo>
                  <a:lnTo>
                    <a:pt x="468" y="718"/>
                  </a:lnTo>
                  <a:lnTo>
                    <a:pt x="468" y="719"/>
                  </a:lnTo>
                  <a:lnTo>
                    <a:pt x="468" y="721"/>
                  </a:lnTo>
                  <a:lnTo>
                    <a:pt x="464" y="723"/>
                  </a:lnTo>
                  <a:lnTo>
                    <a:pt x="464" y="725"/>
                  </a:lnTo>
                  <a:lnTo>
                    <a:pt x="459" y="727"/>
                  </a:lnTo>
                  <a:lnTo>
                    <a:pt x="459" y="728"/>
                  </a:lnTo>
                  <a:lnTo>
                    <a:pt x="457" y="728"/>
                  </a:lnTo>
                  <a:lnTo>
                    <a:pt x="457" y="728"/>
                  </a:lnTo>
                  <a:lnTo>
                    <a:pt x="455" y="728"/>
                  </a:lnTo>
                  <a:lnTo>
                    <a:pt x="450" y="737"/>
                  </a:lnTo>
                  <a:lnTo>
                    <a:pt x="448" y="737"/>
                  </a:lnTo>
                  <a:lnTo>
                    <a:pt x="448" y="739"/>
                  </a:lnTo>
                  <a:lnTo>
                    <a:pt x="448" y="739"/>
                  </a:lnTo>
                  <a:lnTo>
                    <a:pt x="448" y="739"/>
                  </a:lnTo>
                  <a:lnTo>
                    <a:pt x="448" y="741"/>
                  </a:lnTo>
                  <a:lnTo>
                    <a:pt x="448" y="741"/>
                  </a:lnTo>
                  <a:lnTo>
                    <a:pt x="450" y="741"/>
                  </a:lnTo>
                  <a:lnTo>
                    <a:pt x="450" y="739"/>
                  </a:lnTo>
                  <a:lnTo>
                    <a:pt x="450" y="739"/>
                  </a:lnTo>
                  <a:lnTo>
                    <a:pt x="454" y="739"/>
                  </a:lnTo>
                  <a:lnTo>
                    <a:pt x="455" y="739"/>
                  </a:lnTo>
                  <a:lnTo>
                    <a:pt x="455" y="739"/>
                  </a:lnTo>
                  <a:lnTo>
                    <a:pt x="455" y="739"/>
                  </a:lnTo>
                  <a:lnTo>
                    <a:pt x="455" y="737"/>
                  </a:lnTo>
                  <a:lnTo>
                    <a:pt x="457" y="737"/>
                  </a:lnTo>
                  <a:lnTo>
                    <a:pt x="457" y="737"/>
                  </a:lnTo>
                  <a:lnTo>
                    <a:pt x="457" y="739"/>
                  </a:lnTo>
                  <a:lnTo>
                    <a:pt x="459" y="739"/>
                  </a:lnTo>
                  <a:lnTo>
                    <a:pt x="459" y="741"/>
                  </a:lnTo>
                  <a:lnTo>
                    <a:pt x="461" y="741"/>
                  </a:lnTo>
                  <a:lnTo>
                    <a:pt x="461" y="739"/>
                  </a:lnTo>
                  <a:lnTo>
                    <a:pt x="461" y="739"/>
                  </a:lnTo>
                  <a:lnTo>
                    <a:pt x="461" y="739"/>
                  </a:lnTo>
                  <a:lnTo>
                    <a:pt x="461" y="737"/>
                  </a:lnTo>
                  <a:lnTo>
                    <a:pt x="461" y="737"/>
                  </a:lnTo>
                  <a:lnTo>
                    <a:pt x="461" y="736"/>
                  </a:lnTo>
                  <a:lnTo>
                    <a:pt x="463" y="736"/>
                  </a:lnTo>
                  <a:lnTo>
                    <a:pt x="463" y="736"/>
                  </a:lnTo>
                  <a:lnTo>
                    <a:pt x="463" y="736"/>
                  </a:lnTo>
                  <a:lnTo>
                    <a:pt x="464" y="734"/>
                  </a:lnTo>
                  <a:lnTo>
                    <a:pt x="464" y="732"/>
                  </a:lnTo>
                  <a:lnTo>
                    <a:pt x="466" y="732"/>
                  </a:lnTo>
                  <a:lnTo>
                    <a:pt x="470" y="732"/>
                  </a:lnTo>
                  <a:lnTo>
                    <a:pt x="470" y="732"/>
                  </a:lnTo>
                  <a:lnTo>
                    <a:pt x="472" y="730"/>
                  </a:lnTo>
                  <a:lnTo>
                    <a:pt x="475" y="730"/>
                  </a:lnTo>
                  <a:lnTo>
                    <a:pt x="477" y="730"/>
                  </a:lnTo>
                  <a:lnTo>
                    <a:pt x="479" y="730"/>
                  </a:lnTo>
                  <a:lnTo>
                    <a:pt x="481" y="728"/>
                  </a:lnTo>
                  <a:lnTo>
                    <a:pt x="481" y="730"/>
                  </a:lnTo>
                  <a:lnTo>
                    <a:pt x="481" y="730"/>
                  </a:lnTo>
                  <a:lnTo>
                    <a:pt x="482" y="730"/>
                  </a:lnTo>
                  <a:lnTo>
                    <a:pt x="482" y="728"/>
                  </a:lnTo>
                  <a:lnTo>
                    <a:pt x="482" y="728"/>
                  </a:lnTo>
                  <a:lnTo>
                    <a:pt x="482" y="730"/>
                  </a:lnTo>
                  <a:lnTo>
                    <a:pt x="482" y="730"/>
                  </a:lnTo>
                  <a:lnTo>
                    <a:pt x="481" y="732"/>
                  </a:lnTo>
                  <a:lnTo>
                    <a:pt x="479" y="732"/>
                  </a:lnTo>
                  <a:lnTo>
                    <a:pt x="479" y="732"/>
                  </a:lnTo>
                  <a:lnTo>
                    <a:pt x="479" y="734"/>
                  </a:lnTo>
                  <a:lnTo>
                    <a:pt x="479" y="734"/>
                  </a:lnTo>
                  <a:lnTo>
                    <a:pt x="481" y="736"/>
                  </a:lnTo>
                  <a:lnTo>
                    <a:pt x="481" y="737"/>
                  </a:lnTo>
                  <a:lnTo>
                    <a:pt x="479" y="737"/>
                  </a:lnTo>
                  <a:lnTo>
                    <a:pt x="479" y="737"/>
                  </a:lnTo>
                  <a:lnTo>
                    <a:pt x="479" y="739"/>
                  </a:lnTo>
                  <a:lnTo>
                    <a:pt x="479" y="739"/>
                  </a:lnTo>
                  <a:lnTo>
                    <a:pt x="481" y="741"/>
                  </a:lnTo>
                  <a:lnTo>
                    <a:pt x="484" y="746"/>
                  </a:lnTo>
                  <a:lnTo>
                    <a:pt x="484" y="746"/>
                  </a:lnTo>
                  <a:lnTo>
                    <a:pt x="486" y="745"/>
                  </a:lnTo>
                  <a:lnTo>
                    <a:pt x="486" y="745"/>
                  </a:lnTo>
                  <a:lnTo>
                    <a:pt x="486" y="746"/>
                  </a:lnTo>
                  <a:lnTo>
                    <a:pt x="484" y="746"/>
                  </a:lnTo>
                  <a:lnTo>
                    <a:pt x="484" y="748"/>
                  </a:lnTo>
                  <a:lnTo>
                    <a:pt x="482" y="748"/>
                  </a:lnTo>
                  <a:lnTo>
                    <a:pt x="482" y="748"/>
                  </a:lnTo>
                  <a:lnTo>
                    <a:pt x="482" y="748"/>
                  </a:lnTo>
                  <a:lnTo>
                    <a:pt x="482" y="750"/>
                  </a:lnTo>
                  <a:lnTo>
                    <a:pt x="482" y="750"/>
                  </a:lnTo>
                  <a:lnTo>
                    <a:pt x="481" y="752"/>
                  </a:lnTo>
                  <a:lnTo>
                    <a:pt x="481" y="754"/>
                  </a:lnTo>
                  <a:lnTo>
                    <a:pt x="481" y="755"/>
                  </a:lnTo>
                  <a:lnTo>
                    <a:pt x="481" y="757"/>
                  </a:lnTo>
                  <a:lnTo>
                    <a:pt x="482" y="759"/>
                  </a:lnTo>
                  <a:lnTo>
                    <a:pt x="484" y="761"/>
                  </a:lnTo>
                  <a:lnTo>
                    <a:pt x="484" y="761"/>
                  </a:lnTo>
                  <a:lnTo>
                    <a:pt x="488" y="759"/>
                  </a:lnTo>
                  <a:lnTo>
                    <a:pt x="488" y="759"/>
                  </a:lnTo>
                  <a:lnTo>
                    <a:pt x="488" y="761"/>
                  </a:lnTo>
                  <a:lnTo>
                    <a:pt x="486" y="763"/>
                  </a:lnTo>
                  <a:lnTo>
                    <a:pt x="486" y="763"/>
                  </a:lnTo>
                  <a:lnTo>
                    <a:pt x="484" y="763"/>
                  </a:lnTo>
                  <a:lnTo>
                    <a:pt x="484" y="761"/>
                  </a:lnTo>
                  <a:lnTo>
                    <a:pt x="482" y="761"/>
                  </a:lnTo>
                  <a:lnTo>
                    <a:pt x="482" y="763"/>
                  </a:lnTo>
                  <a:lnTo>
                    <a:pt x="482" y="763"/>
                  </a:lnTo>
                  <a:lnTo>
                    <a:pt x="482" y="764"/>
                  </a:lnTo>
                  <a:lnTo>
                    <a:pt x="482" y="764"/>
                  </a:lnTo>
                  <a:lnTo>
                    <a:pt x="482" y="766"/>
                  </a:lnTo>
                  <a:lnTo>
                    <a:pt x="482" y="768"/>
                  </a:lnTo>
                  <a:lnTo>
                    <a:pt x="482" y="770"/>
                  </a:lnTo>
                  <a:lnTo>
                    <a:pt x="481" y="774"/>
                  </a:lnTo>
                  <a:lnTo>
                    <a:pt x="481" y="775"/>
                  </a:lnTo>
                  <a:lnTo>
                    <a:pt x="479" y="777"/>
                  </a:lnTo>
                  <a:lnTo>
                    <a:pt x="477" y="783"/>
                  </a:lnTo>
                  <a:lnTo>
                    <a:pt x="470" y="788"/>
                  </a:lnTo>
                  <a:lnTo>
                    <a:pt x="470" y="788"/>
                  </a:lnTo>
                  <a:lnTo>
                    <a:pt x="468" y="788"/>
                  </a:lnTo>
                  <a:lnTo>
                    <a:pt x="468" y="788"/>
                  </a:lnTo>
                  <a:lnTo>
                    <a:pt x="466" y="788"/>
                  </a:lnTo>
                  <a:lnTo>
                    <a:pt x="464" y="790"/>
                  </a:lnTo>
                  <a:lnTo>
                    <a:pt x="464" y="792"/>
                  </a:lnTo>
                  <a:lnTo>
                    <a:pt x="463" y="792"/>
                  </a:lnTo>
                  <a:lnTo>
                    <a:pt x="463" y="792"/>
                  </a:lnTo>
                  <a:lnTo>
                    <a:pt x="461" y="793"/>
                  </a:lnTo>
                  <a:lnTo>
                    <a:pt x="461" y="793"/>
                  </a:lnTo>
                  <a:lnTo>
                    <a:pt x="461" y="793"/>
                  </a:lnTo>
                  <a:lnTo>
                    <a:pt x="461" y="793"/>
                  </a:lnTo>
                  <a:lnTo>
                    <a:pt x="454" y="793"/>
                  </a:lnTo>
                  <a:lnTo>
                    <a:pt x="452" y="795"/>
                  </a:lnTo>
                  <a:lnTo>
                    <a:pt x="452" y="797"/>
                  </a:lnTo>
                  <a:lnTo>
                    <a:pt x="450" y="795"/>
                  </a:lnTo>
                  <a:lnTo>
                    <a:pt x="450" y="795"/>
                  </a:lnTo>
                  <a:lnTo>
                    <a:pt x="450" y="797"/>
                  </a:lnTo>
                  <a:lnTo>
                    <a:pt x="448" y="799"/>
                  </a:lnTo>
                  <a:lnTo>
                    <a:pt x="446" y="799"/>
                  </a:lnTo>
                  <a:lnTo>
                    <a:pt x="446" y="801"/>
                  </a:lnTo>
                  <a:lnTo>
                    <a:pt x="445" y="801"/>
                  </a:lnTo>
                  <a:lnTo>
                    <a:pt x="445" y="801"/>
                  </a:lnTo>
                  <a:lnTo>
                    <a:pt x="445" y="802"/>
                  </a:lnTo>
                  <a:lnTo>
                    <a:pt x="445" y="802"/>
                  </a:lnTo>
                  <a:lnTo>
                    <a:pt x="445" y="802"/>
                  </a:lnTo>
                  <a:lnTo>
                    <a:pt x="445" y="804"/>
                  </a:lnTo>
                  <a:lnTo>
                    <a:pt x="443" y="804"/>
                  </a:lnTo>
                  <a:lnTo>
                    <a:pt x="441" y="802"/>
                  </a:lnTo>
                  <a:lnTo>
                    <a:pt x="439" y="802"/>
                  </a:lnTo>
                  <a:lnTo>
                    <a:pt x="441" y="804"/>
                  </a:lnTo>
                  <a:lnTo>
                    <a:pt x="439" y="804"/>
                  </a:lnTo>
                  <a:lnTo>
                    <a:pt x="437" y="804"/>
                  </a:lnTo>
                  <a:lnTo>
                    <a:pt x="436" y="802"/>
                  </a:lnTo>
                  <a:lnTo>
                    <a:pt x="436" y="802"/>
                  </a:lnTo>
                  <a:lnTo>
                    <a:pt x="434" y="802"/>
                  </a:lnTo>
                  <a:lnTo>
                    <a:pt x="432" y="802"/>
                  </a:lnTo>
                  <a:lnTo>
                    <a:pt x="432" y="802"/>
                  </a:lnTo>
                  <a:lnTo>
                    <a:pt x="432" y="804"/>
                  </a:lnTo>
                  <a:lnTo>
                    <a:pt x="432" y="804"/>
                  </a:lnTo>
                  <a:lnTo>
                    <a:pt x="432" y="804"/>
                  </a:lnTo>
                  <a:lnTo>
                    <a:pt x="432" y="804"/>
                  </a:lnTo>
                  <a:lnTo>
                    <a:pt x="432" y="806"/>
                  </a:lnTo>
                  <a:lnTo>
                    <a:pt x="430" y="808"/>
                  </a:lnTo>
                  <a:lnTo>
                    <a:pt x="428" y="810"/>
                  </a:lnTo>
                  <a:lnTo>
                    <a:pt x="426" y="810"/>
                  </a:lnTo>
                  <a:lnTo>
                    <a:pt x="426" y="810"/>
                  </a:lnTo>
                  <a:lnTo>
                    <a:pt x="425" y="811"/>
                  </a:lnTo>
                  <a:lnTo>
                    <a:pt x="423" y="811"/>
                  </a:lnTo>
                  <a:lnTo>
                    <a:pt x="421" y="811"/>
                  </a:lnTo>
                  <a:lnTo>
                    <a:pt x="421" y="811"/>
                  </a:lnTo>
                  <a:lnTo>
                    <a:pt x="421" y="813"/>
                  </a:lnTo>
                  <a:lnTo>
                    <a:pt x="421" y="813"/>
                  </a:lnTo>
                  <a:lnTo>
                    <a:pt x="421" y="813"/>
                  </a:lnTo>
                  <a:lnTo>
                    <a:pt x="421" y="813"/>
                  </a:lnTo>
                  <a:lnTo>
                    <a:pt x="421" y="815"/>
                  </a:lnTo>
                  <a:lnTo>
                    <a:pt x="421" y="815"/>
                  </a:lnTo>
                  <a:lnTo>
                    <a:pt x="421" y="815"/>
                  </a:lnTo>
                  <a:lnTo>
                    <a:pt x="421" y="815"/>
                  </a:lnTo>
                  <a:lnTo>
                    <a:pt x="421" y="815"/>
                  </a:lnTo>
                  <a:lnTo>
                    <a:pt x="421" y="815"/>
                  </a:lnTo>
                  <a:lnTo>
                    <a:pt x="425" y="815"/>
                  </a:lnTo>
                  <a:lnTo>
                    <a:pt x="425" y="815"/>
                  </a:lnTo>
                  <a:lnTo>
                    <a:pt x="426" y="815"/>
                  </a:lnTo>
                  <a:lnTo>
                    <a:pt x="428" y="815"/>
                  </a:lnTo>
                  <a:lnTo>
                    <a:pt x="428" y="817"/>
                  </a:lnTo>
                  <a:lnTo>
                    <a:pt x="428" y="815"/>
                  </a:lnTo>
                  <a:lnTo>
                    <a:pt x="430" y="817"/>
                  </a:lnTo>
                  <a:lnTo>
                    <a:pt x="430" y="817"/>
                  </a:lnTo>
                  <a:lnTo>
                    <a:pt x="430" y="819"/>
                  </a:lnTo>
                  <a:lnTo>
                    <a:pt x="430" y="820"/>
                  </a:lnTo>
                  <a:lnTo>
                    <a:pt x="430" y="822"/>
                  </a:lnTo>
                  <a:lnTo>
                    <a:pt x="430" y="822"/>
                  </a:lnTo>
                  <a:lnTo>
                    <a:pt x="430" y="824"/>
                  </a:lnTo>
                  <a:lnTo>
                    <a:pt x="428" y="824"/>
                  </a:lnTo>
                  <a:lnTo>
                    <a:pt x="426" y="824"/>
                  </a:lnTo>
                  <a:lnTo>
                    <a:pt x="426" y="824"/>
                  </a:lnTo>
                  <a:lnTo>
                    <a:pt x="426" y="826"/>
                  </a:lnTo>
                  <a:lnTo>
                    <a:pt x="425" y="826"/>
                  </a:lnTo>
                  <a:lnTo>
                    <a:pt x="425" y="826"/>
                  </a:lnTo>
                  <a:lnTo>
                    <a:pt x="423" y="826"/>
                  </a:lnTo>
                  <a:lnTo>
                    <a:pt x="425" y="826"/>
                  </a:lnTo>
                  <a:lnTo>
                    <a:pt x="426" y="828"/>
                  </a:lnTo>
                  <a:lnTo>
                    <a:pt x="426" y="830"/>
                  </a:lnTo>
                  <a:lnTo>
                    <a:pt x="426" y="830"/>
                  </a:lnTo>
                  <a:lnTo>
                    <a:pt x="428" y="830"/>
                  </a:lnTo>
                  <a:lnTo>
                    <a:pt x="428" y="830"/>
                  </a:lnTo>
                  <a:lnTo>
                    <a:pt x="428" y="828"/>
                  </a:lnTo>
                  <a:lnTo>
                    <a:pt x="428" y="828"/>
                  </a:lnTo>
                  <a:lnTo>
                    <a:pt x="436" y="828"/>
                  </a:lnTo>
                  <a:lnTo>
                    <a:pt x="437" y="828"/>
                  </a:lnTo>
                  <a:lnTo>
                    <a:pt x="441" y="828"/>
                  </a:lnTo>
                  <a:lnTo>
                    <a:pt x="441" y="826"/>
                  </a:lnTo>
                  <a:lnTo>
                    <a:pt x="441" y="826"/>
                  </a:lnTo>
                  <a:lnTo>
                    <a:pt x="441" y="826"/>
                  </a:lnTo>
                  <a:lnTo>
                    <a:pt x="441" y="824"/>
                  </a:lnTo>
                  <a:lnTo>
                    <a:pt x="441" y="824"/>
                  </a:lnTo>
                  <a:lnTo>
                    <a:pt x="441" y="822"/>
                  </a:lnTo>
                  <a:lnTo>
                    <a:pt x="439" y="822"/>
                  </a:lnTo>
                  <a:lnTo>
                    <a:pt x="439" y="822"/>
                  </a:lnTo>
                  <a:lnTo>
                    <a:pt x="443" y="822"/>
                  </a:lnTo>
                  <a:lnTo>
                    <a:pt x="445" y="822"/>
                  </a:lnTo>
                  <a:lnTo>
                    <a:pt x="445" y="820"/>
                  </a:lnTo>
                  <a:lnTo>
                    <a:pt x="445" y="822"/>
                  </a:lnTo>
                  <a:lnTo>
                    <a:pt x="443" y="822"/>
                  </a:lnTo>
                  <a:lnTo>
                    <a:pt x="443" y="824"/>
                  </a:lnTo>
                  <a:lnTo>
                    <a:pt x="443" y="826"/>
                  </a:lnTo>
                  <a:lnTo>
                    <a:pt x="445" y="828"/>
                  </a:lnTo>
                  <a:lnTo>
                    <a:pt x="445" y="828"/>
                  </a:lnTo>
                  <a:lnTo>
                    <a:pt x="443" y="828"/>
                  </a:lnTo>
                  <a:lnTo>
                    <a:pt x="443" y="828"/>
                  </a:lnTo>
                  <a:lnTo>
                    <a:pt x="441" y="828"/>
                  </a:lnTo>
                  <a:lnTo>
                    <a:pt x="439" y="830"/>
                  </a:lnTo>
                  <a:lnTo>
                    <a:pt x="437" y="830"/>
                  </a:lnTo>
                  <a:lnTo>
                    <a:pt x="437" y="830"/>
                  </a:lnTo>
                  <a:lnTo>
                    <a:pt x="436" y="830"/>
                  </a:lnTo>
                  <a:lnTo>
                    <a:pt x="434" y="830"/>
                  </a:lnTo>
                  <a:lnTo>
                    <a:pt x="434" y="830"/>
                  </a:lnTo>
                  <a:lnTo>
                    <a:pt x="434" y="830"/>
                  </a:lnTo>
                  <a:lnTo>
                    <a:pt x="434" y="831"/>
                  </a:lnTo>
                  <a:lnTo>
                    <a:pt x="434" y="831"/>
                  </a:lnTo>
                  <a:lnTo>
                    <a:pt x="430" y="830"/>
                  </a:lnTo>
                  <a:lnTo>
                    <a:pt x="430" y="831"/>
                  </a:lnTo>
                  <a:lnTo>
                    <a:pt x="432" y="831"/>
                  </a:lnTo>
                  <a:lnTo>
                    <a:pt x="434" y="833"/>
                  </a:lnTo>
                  <a:lnTo>
                    <a:pt x="434" y="835"/>
                  </a:lnTo>
                  <a:lnTo>
                    <a:pt x="434" y="835"/>
                  </a:lnTo>
                  <a:lnTo>
                    <a:pt x="436" y="835"/>
                  </a:lnTo>
                  <a:lnTo>
                    <a:pt x="439" y="837"/>
                  </a:lnTo>
                  <a:lnTo>
                    <a:pt x="439" y="837"/>
                  </a:lnTo>
                  <a:lnTo>
                    <a:pt x="439" y="837"/>
                  </a:lnTo>
                  <a:lnTo>
                    <a:pt x="439" y="837"/>
                  </a:lnTo>
                  <a:lnTo>
                    <a:pt x="439" y="837"/>
                  </a:lnTo>
                  <a:lnTo>
                    <a:pt x="441" y="837"/>
                  </a:lnTo>
                  <a:lnTo>
                    <a:pt x="441" y="835"/>
                  </a:lnTo>
                  <a:lnTo>
                    <a:pt x="441" y="835"/>
                  </a:lnTo>
                  <a:lnTo>
                    <a:pt x="443" y="835"/>
                  </a:lnTo>
                  <a:lnTo>
                    <a:pt x="443" y="833"/>
                  </a:lnTo>
                  <a:lnTo>
                    <a:pt x="443" y="833"/>
                  </a:lnTo>
                  <a:lnTo>
                    <a:pt x="448" y="833"/>
                  </a:lnTo>
                  <a:lnTo>
                    <a:pt x="448" y="833"/>
                  </a:lnTo>
                  <a:lnTo>
                    <a:pt x="450" y="833"/>
                  </a:lnTo>
                  <a:lnTo>
                    <a:pt x="450" y="833"/>
                  </a:lnTo>
                  <a:lnTo>
                    <a:pt x="450" y="833"/>
                  </a:lnTo>
                  <a:lnTo>
                    <a:pt x="452" y="831"/>
                  </a:lnTo>
                  <a:lnTo>
                    <a:pt x="452" y="830"/>
                  </a:lnTo>
                  <a:lnTo>
                    <a:pt x="452" y="830"/>
                  </a:lnTo>
                  <a:lnTo>
                    <a:pt x="452" y="830"/>
                  </a:lnTo>
                  <a:lnTo>
                    <a:pt x="452" y="830"/>
                  </a:lnTo>
                  <a:lnTo>
                    <a:pt x="452" y="828"/>
                  </a:lnTo>
                  <a:lnTo>
                    <a:pt x="454" y="826"/>
                  </a:lnTo>
                  <a:lnTo>
                    <a:pt x="454" y="826"/>
                  </a:lnTo>
                  <a:lnTo>
                    <a:pt x="455" y="826"/>
                  </a:lnTo>
                  <a:lnTo>
                    <a:pt x="457" y="826"/>
                  </a:lnTo>
                  <a:lnTo>
                    <a:pt x="461" y="826"/>
                  </a:lnTo>
                  <a:lnTo>
                    <a:pt x="463" y="826"/>
                  </a:lnTo>
                  <a:lnTo>
                    <a:pt x="464" y="826"/>
                  </a:lnTo>
                  <a:lnTo>
                    <a:pt x="464" y="824"/>
                  </a:lnTo>
                  <a:lnTo>
                    <a:pt x="464" y="824"/>
                  </a:lnTo>
                  <a:lnTo>
                    <a:pt x="464" y="822"/>
                  </a:lnTo>
                  <a:lnTo>
                    <a:pt x="464" y="822"/>
                  </a:lnTo>
                  <a:lnTo>
                    <a:pt x="464" y="824"/>
                  </a:lnTo>
                  <a:lnTo>
                    <a:pt x="466" y="824"/>
                  </a:lnTo>
                  <a:lnTo>
                    <a:pt x="466" y="824"/>
                  </a:lnTo>
                  <a:lnTo>
                    <a:pt x="466" y="824"/>
                  </a:lnTo>
                  <a:lnTo>
                    <a:pt x="466" y="824"/>
                  </a:lnTo>
                  <a:lnTo>
                    <a:pt x="468" y="822"/>
                  </a:lnTo>
                  <a:lnTo>
                    <a:pt x="468" y="822"/>
                  </a:lnTo>
                  <a:lnTo>
                    <a:pt x="468" y="822"/>
                  </a:lnTo>
                  <a:lnTo>
                    <a:pt x="468" y="822"/>
                  </a:lnTo>
                  <a:lnTo>
                    <a:pt x="468" y="822"/>
                  </a:lnTo>
                  <a:lnTo>
                    <a:pt x="468" y="824"/>
                  </a:lnTo>
                  <a:lnTo>
                    <a:pt x="468" y="824"/>
                  </a:lnTo>
                  <a:lnTo>
                    <a:pt x="468" y="824"/>
                  </a:lnTo>
                  <a:lnTo>
                    <a:pt x="468" y="826"/>
                  </a:lnTo>
                  <a:lnTo>
                    <a:pt x="468" y="826"/>
                  </a:lnTo>
                  <a:lnTo>
                    <a:pt x="470" y="826"/>
                  </a:lnTo>
                  <a:lnTo>
                    <a:pt x="470" y="826"/>
                  </a:lnTo>
                  <a:lnTo>
                    <a:pt x="470" y="828"/>
                  </a:lnTo>
                  <a:lnTo>
                    <a:pt x="470" y="828"/>
                  </a:lnTo>
                  <a:lnTo>
                    <a:pt x="468" y="828"/>
                  </a:lnTo>
                  <a:lnTo>
                    <a:pt x="468" y="828"/>
                  </a:lnTo>
                  <a:lnTo>
                    <a:pt x="470" y="830"/>
                  </a:lnTo>
                  <a:lnTo>
                    <a:pt x="470" y="831"/>
                  </a:lnTo>
                  <a:lnTo>
                    <a:pt x="472" y="831"/>
                  </a:lnTo>
                  <a:lnTo>
                    <a:pt x="475" y="831"/>
                  </a:lnTo>
                  <a:lnTo>
                    <a:pt x="475" y="830"/>
                  </a:lnTo>
                  <a:lnTo>
                    <a:pt x="479" y="831"/>
                  </a:lnTo>
                  <a:lnTo>
                    <a:pt x="481" y="831"/>
                  </a:lnTo>
                  <a:lnTo>
                    <a:pt x="481" y="831"/>
                  </a:lnTo>
                  <a:lnTo>
                    <a:pt x="482" y="831"/>
                  </a:lnTo>
                  <a:lnTo>
                    <a:pt x="482" y="831"/>
                  </a:lnTo>
                  <a:lnTo>
                    <a:pt x="482" y="831"/>
                  </a:lnTo>
                  <a:lnTo>
                    <a:pt x="482" y="831"/>
                  </a:lnTo>
                  <a:lnTo>
                    <a:pt x="482" y="831"/>
                  </a:lnTo>
                  <a:lnTo>
                    <a:pt x="482" y="831"/>
                  </a:lnTo>
                  <a:lnTo>
                    <a:pt x="481" y="833"/>
                  </a:lnTo>
                  <a:lnTo>
                    <a:pt x="479" y="835"/>
                  </a:lnTo>
                  <a:lnTo>
                    <a:pt x="477" y="835"/>
                  </a:lnTo>
                  <a:lnTo>
                    <a:pt x="475" y="835"/>
                  </a:lnTo>
                  <a:lnTo>
                    <a:pt x="475" y="835"/>
                  </a:lnTo>
                  <a:lnTo>
                    <a:pt x="475" y="835"/>
                  </a:lnTo>
                  <a:lnTo>
                    <a:pt x="475" y="835"/>
                  </a:lnTo>
                  <a:lnTo>
                    <a:pt x="475" y="835"/>
                  </a:lnTo>
                  <a:lnTo>
                    <a:pt x="475" y="833"/>
                  </a:lnTo>
                  <a:lnTo>
                    <a:pt x="473" y="833"/>
                  </a:lnTo>
                  <a:lnTo>
                    <a:pt x="473" y="835"/>
                  </a:lnTo>
                  <a:lnTo>
                    <a:pt x="473" y="835"/>
                  </a:lnTo>
                  <a:lnTo>
                    <a:pt x="472" y="835"/>
                  </a:lnTo>
                  <a:lnTo>
                    <a:pt x="472" y="837"/>
                  </a:lnTo>
                  <a:lnTo>
                    <a:pt x="472" y="839"/>
                  </a:lnTo>
                  <a:lnTo>
                    <a:pt x="472" y="839"/>
                  </a:lnTo>
                  <a:lnTo>
                    <a:pt x="472" y="840"/>
                  </a:lnTo>
                  <a:lnTo>
                    <a:pt x="472" y="840"/>
                  </a:lnTo>
                  <a:lnTo>
                    <a:pt x="472" y="840"/>
                  </a:lnTo>
                  <a:lnTo>
                    <a:pt x="472" y="840"/>
                  </a:lnTo>
                  <a:lnTo>
                    <a:pt x="472" y="840"/>
                  </a:lnTo>
                  <a:lnTo>
                    <a:pt x="475" y="842"/>
                  </a:lnTo>
                  <a:lnTo>
                    <a:pt x="475" y="842"/>
                  </a:lnTo>
                  <a:lnTo>
                    <a:pt x="477" y="840"/>
                  </a:lnTo>
                  <a:lnTo>
                    <a:pt x="477" y="840"/>
                  </a:lnTo>
                  <a:lnTo>
                    <a:pt x="477" y="842"/>
                  </a:lnTo>
                  <a:lnTo>
                    <a:pt x="477" y="842"/>
                  </a:lnTo>
                  <a:lnTo>
                    <a:pt x="479" y="842"/>
                  </a:lnTo>
                  <a:lnTo>
                    <a:pt x="479" y="840"/>
                  </a:lnTo>
                  <a:lnTo>
                    <a:pt x="479" y="840"/>
                  </a:lnTo>
                  <a:lnTo>
                    <a:pt x="481" y="840"/>
                  </a:lnTo>
                  <a:lnTo>
                    <a:pt x="481" y="840"/>
                  </a:lnTo>
                  <a:lnTo>
                    <a:pt x="482" y="840"/>
                  </a:lnTo>
                  <a:lnTo>
                    <a:pt x="482" y="840"/>
                  </a:lnTo>
                  <a:lnTo>
                    <a:pt x="482" y="840"/>
                  </a:lnTo>
                  <a:lnTo>
                    <a:pt x="482" y="840"/>
                  </a:lnTo>
                  <a:lnTo>
                    <a:pt x="482" y="840"/>
                  </a:lnTo>
                  <a:lnTo>
                    <a:pt x="484" y="840"/>
                  </a:lnTo>
                  <a:lnTo>
                    <a:pt x="484" y="840"/>
                  </a:lnTo>
                  <a:lnTo>
                    <a:pt x="484" y="840"/>
                  </a:lnTo>
                  <a:lnTo>
                    <a:pt x="484" y="840"/>
                  </a:lnTo>
                  <a:lnTo>
                    <a:pt x="484" y="840"/>
                  </a:lnTo>
                  <a:lnTo>
                    <a:pt x="484" y="840"/>
                  </a:lnTo>
                  <a:lnTo>
                    <a:pt x="484" y="840"/>
                  </a:lnTo>
                  <a:lnTo>
                    <a:pt x="486" y="840"/>
                  </a:lnTo>
                  <a:lnTo>
                    <a:pt x="486" y="840"/>
                  </a:lnTo>
                  <a:lnTo>
                    <a:pt x="488" y="840"/>
                  </a:lnTo>
                  <a:lnTo>
                    <a:pt x="488" y="839"/>
                  </a:lnTo>
                  <a:lnTo>
                    <a:pt x="486" y="839"/>
                  </a:lnTo>
                  <a:lnTo>
                    <a:pt x="486" y="839"/>
                  </a:lnTo>
                  <a:lnTo>
                    <a:pt x="486" y="837"/>
                  </a:lnTo>
                  <a:lnTo>
                    <a:pt x="486" y="837"/>
                  </a:lnTo>
                  <a:lnTo>
                    <a:pt x="488" y="837"/>
                  </a:lnTo>
                  <a:lnTo>
                    <a:pt x="488" y="837"/>
                  </a:lnTo>
                  <a:lnTo>
                    <a:pt x="492" y="835"/>
                  </a:lnTo>
                  <a:lnTo>
                    <a:pt x="493" y="835"/>
                  </a:lnTo>
                  <a:lnTo>
                    <a:pt x="493" y="835"/>
                  </a:lnTo>
                  <a:lnTo>
                    <a:pt x="495" y="837"/>
                  </a:lnTo>
                  <a:lnTo>
                    <a:pt x="495" y="837"/>
                  </a:lnTo>
                  <a:lnTo>
                    <a:pt x="495" y="839"/>
                  </a:lnTo>
                  <a:lnTo>
                    <a:pt x="497" y="839"/>
                  </a:lnTo>
                  <a:lnTo>
                    <a:pt x="497" y="839"/>
                  </a:lnTo>
                  <a:lnTo>
                    <a:pt x="497" y="840"/>
                  </a:lnTo>
                  <a:lnTo>
                    <a:pt x="499" y="842"/>
                  </a:lnTo>
                  <a:lnTo>
                    <a:pt x="499" y="842"/>
                  </a:lnTo>
                  <a:lnTo>
                    <a:pt x="499" y="842"/>
                  </a:lnTo>
                  <a:lnTo>
                    <a:pt x="499" y="844"/>
                  </a:lnTo>
                  <a:lnTo>
                    <a:pt x="499" y="844"/>
                  </a:lnTo>
                  <a:lnTo>
                    <a:pt x="499" y="844"/>
                  </a:lnTo>
                  <a:lnTo>
                    <a:pt x="499" y="844"/>
                  </a:lnTo>
                  <a:lnTo>
                    <a:pt x="499" y="846"/>
                  </a:lnTo>
                  <a:lnTo>
                    <a:pt x="499" y="846"/>
                  </a:lnTo>
                  <a:lnTo>
                    <a:pt x="501" y="848"/>
                  </a:lnTo>
                  <a:lnTo>
                    <a:pt x="501" y="848"/>
                  </a:lnTo>
                  <a:lnTo>
                    <a:pt x="502" y="848"/>
                  </a:lnTo>
                  <a:lnTo>
                    <a:pt x="502" y="848"/>
                  </a:lnTo>
                  <a:lnTo>
                    <a:pt x="506" y="849"/>
                  </a:lnTo>
                  <a:lnTo>
                    <a:pt x="508" y="851"/>
                  </a:lnTo>
                  <a:lnTo>
                    <a:pt x="508" y="853"/>
                  </a:lnTo>
                  <a:lnTo>
                    <a:pt x="510" y="853"/>
                  </a:lnTo>
                  <a:lnTo>
                    <a:pt x="522" y="855"/>
                  </a:lnTo>
                  <a:lnTo>
                    <a:pt x="526" y="853"/>
                  </a:lnTo>
                  <a:lnTo>
                    <a:pt x="526" y="853"/>
                  </a:lnTo>
                  <a:lnTo>
                    <a:pt x="528" y="853"/>
                  </a:lnTo>
                  <a:lnTo>
                    <a:pt x="528" y="853"/>
                  </a:lnTo>
                  <a:lnTo>
                    <a:pt x="528" y="851"/>
                  </a:lnTo>
                  <a:lnTo>
                    <a:pt x="528" y="849"/>
                  </a:lnTo>
                  <a:lnTo>
                    <a:pt x="528" y="849"/>
                  </a:lnTo>
                  <a:lnTo>
                    <a:pt x="528" y="849"/>
                  </a:lnTo>
                  <a:lnTo>
                    <a:pt x="529" y="849"/>
                  </a:lnTo>
                  <a:lnTo>
                    <a:pt x="529" y="848"/>
                  </a:lnTo>
                  <a:lnTo>
                    <a:pt x="529" y="848"/>
                  </a:lnTo>
                  <a:lnTo>
                    <a:pt x="529" y="848"/>
                  </a:lnTo>
                  <a:lnTo>
                    <a:pt x="529" y="848"/>
                  </a:lnTo>
                  <a:lnTo>
                    <a:pt x="531" y="846"/>
                  </a:lnTo>
                  <a:lnTo>
                    <a:pt x="531" y="844"/>
                  </a:lnTo>
                  <a:lnTo>
                    <a:pt x="533" y="844"/>
                  </a:lnTo>
                  <a:lnTo>
                    <a:pt x="533" y="844"/>
                  </a:lnTo>
                  <a:lnTo>
                    <a:pt x="535" y="842"/>
                  </a:lnTo>
                  <a:lnTo>
                    <a:pt x="535" y="842"/>
                  </a:lnTo>
                  <a:lnTo>
                    <a:pt x="537" y="840"/>
                  </a:lnTo>
                  <a:lnTo>
                    <a:pt x="537" y="840"/>
                  </a:lnTo>
                  <a:lnTo>
                    <a:pt x="538" y="840"/>
                  </a:lnTo>
                  <a:lnTo>
                    <a:pt x="538" y="840"/>
                  </a:lnTo>
                  <a:lnTo>
                    <a:pt x="538" y="842"/>
                  </a:lnTo>
                  <a:lnTo>
                    <a:pt x="538" y="842"/>
                  </a:lnTo>
                  <a:lnTo>
                    <a:pt x="544" y="842"/>
                  </a:lnTo>
                  <a:lnTo>
                    <a:pt x="546" y="840"/>
                  </a:lnTo>
                  <a:lnTo>
                    <a:pt x="546" y="840"/>
                  </a:lnTo>
                  <a:lnTo>
                    <a:pt x="547" y="839"/>
                  </a:lnTo>
                  <a:lnTo>
                    <a:pt x="551" y="839"/>
                  </a:lnTo>
                  <a:lnTo>
                    <a:pt x="551" y="837"/>
                  </a:lnTo>
                  <a:lnTo>
                    <a:pt x="553" y="835"/>
                  </a:lnTo>
                  <a:lnTo>
                    <a:pt x="553" y="835"/>
                  </a:lnTo>
                  <a:lnTo>
                    <a:pt x="557" y="831"/>
                  </a:lnTo>
                  <a:lnTo>
                    <a:pt x="557" y="831"/>
                  </a:lnTo>
                  <a:lnTo>
                    <a:pt x="557" y="831"/>
                  </a:lnTo>
                  <a:lnTo>
                    <a:pt x="560" y="828"/>
                  </a:lnTo>
                  <a:lnTo>
                    <a:pt x="560" y="828"/>
                  </a:lnTo>
                  <a:lnTo>
                    <a:pt x="562" y="826"/>
                  </a:lnTo>
                  <a:lnTo>
                    <a:pt x="562" y="826"/>
                  </a:lnTo>
                  <a:lnTo>
                    <a:pt x="564" y="826"/>
                  </a:lnTo>
                  <a:lnTo>
                    <a:pt x="564" y="826"/>
                  </a:lnTo>
                  <a:lnTo>
                    <a:pt x="566" y="824"/>
                  </a:lnTo>
                  <a:lnTo>
                    <a:pt x="566" y="824"/>
                  </a:lnTo>
                  <a:lnTo>
                    <a:pt x="566" y="822"/>
                  </a:lnTo>
                  <a:lnTo>
                    <a:pt x="567" y="822"/>
                  </a:lnTo>
                  <a:lnTo>
                    <a:pt x="567" y="824"/>
                  </a:lnTo>
                  <a:lnTo>
                    <a:pt x="567" y="824"/>
                  </a:lnTo>
                  <a:lnTo>
                    <a:pt x="566" y="826"/>
                  </a:lnTo>
                  <a:lnTo>
                    <a:pt x="564" y="826"/>
                  </a:lnTo>
                  <a:lnTo>
                    <a:pt x="564" y="828"/>
                  </a:lnTo>
                  <a:lnTo>
                    <a:pt x="562" y="830"/>
                  </a:lnTo>
                  <a:lnTo>
                    <a:pt x="558" y="833"/>
                  </a:lnTo>
                  <a:lnTo>
                    <a:pt x="558" y="833"/>
                  </a:lnTo>
                  <a:lnTo>
                    <a:pt x="558" y="833"/>
                  </a:lnTo>
                  <a:lnTo>
                    <a:pt x="558" y="835"/>
                  </a:lnTo>
                  <a:lnTo>
                    <a:pt x="557" y="835"/>
                  </a:lnTo>
                  <a:lnTo>
                    <a:pt x="557" y="835"/>
                  </a:lnTo>
                  <a:lnTo>
                    <a:pt x="557" y="837"/>
                  </a:lnTo>
                  <a:lnTo>
                    <a:pt x="557" y="837"/>
                  </a:lnTo>
                  <a:lnTo>
                    <a:pt x="557" y="837"/>
                  </a:lnTo>
                  <a:lnTo>
                    <a:pt x="551" y="844"/>
                  </a:lnTo>
                  <a:lnTo>
                    <a:pt x="551" y="846"/>
                  </a:lnTo>
                  <a:lnTo>
                    <a:pt x="549" y="846"/>
                  </a:lnTo>
                  <a:lnTo>
                    <a:pt x="547" y="846"/>
                  </a:lnTo>
                  <a:lnTo>
                    <a:pt x="547" y="846"/>
                  </a:lnTo>
                  <a:lnTo>
                    <a:pt x="546" y="846"/>
                  </a:lnTo>
                  <a:lnTo>
                    <a:pt x="546" y="848"/>
                  </a:lnTo>
                  <a:lnTo>
                    <a:pt x="542" y="851"/>
                  </a:lnTo>
                  <a:lnTo>
                    <a:pt x="540" y="853"/>
                  </a:lnTo>
                  <a:lnTo>
                    <a:pt x="538" y="853"/>
                  </a:lnTo>
                  <a:lnTo>
                    <a:pt x="537" y="855"/>
                  </a:lnTo>
                  <a:lnTo>
                    <a:pt x="538" y="855"/>
                  </a:lnTo>
                  <a:lnTo>
                    <a:pt x="538" y="857"/>
                  </a:lnTo>
                  <a:lnTo>
                    <a:pt x="537" y="857"/>
                  </a:lnTo>
                  <a:lnTo>
                    <a:pt x="537" y="857"/>
                  </a:lnTo>
                  <a:lnTo>
                    <a:pt x="537" y="858"/>
                  </a:lnTo>
                  <a:lnTo>
                    <a:pt x="537" y="860"/>
                  </a:lnTo>
                  <a:lnTo>
                    <a:pt x="537" y="860"/>
                  </a:lnTo>
                  <a:lnTo>
                    <a:pt x="537" y="860"/>
                  </a:lnTo>
                  <a:lnTo>
                    <a:pt x="535" y="860"/>
                  </a:lnTo>
                  <a:lnTo>
                    <a:pt x="535" y="860"/>
                  </a:lnTo>
                  <a:lnTo>
                    <a:pt x="537" y="862"/>
                  </a:lnTo>
                  <a:lnTo>
                    <a:pt x="537" y="866"/>
                  </a:lnTo>
                  <a:lnTo>
                    <a:pt x="537" y="866"/>
                  </a:lnTo>
                  <a:lnTo>
                    <a:pt x="537" y="866"/>
                  </a:lnTo>
                  <a:lnTo>
                    <a:pt x="537" y="866"/>
                  </a:lnTo>
                  <a:lnTo>
                    <a:pt x="537" y="867"/>
                  </a:lnTo>
                  <a:lnTo>
                    <a:pt x="537" y="867"/>
                  </a:lnTo>
                  <a:lnTo>
                    <a:pt x="535" y="869"/>
                  </a:lnTo>
                  <a:lnTo>
                    <a:pt x="535" y="869"/>
                  </a:lnTo>
                  <a:lnTo>
                    <a:pt x="535" y="867"/>
                  </a:lnTo>
                  <a:lnTo>
                    <a:pt x="535" y="867"/>
                  </a:lnTo>
                  <a:lnTo>
                    <a:pt x="533" y="869"/>
                  </a:lnTo>
                  <a:lnTo>
                    <a:pt x="531" y="869"/>
                  </a:lnTo>
                  <a:lnTo>
                    <a:pt x="528" y="869"/>
                  </a:lnTo>
                  <a:lnTo>
                    <a:pt x="526" y="869"/>
                  </a:lnTo>
                  <a:lnTo>
                    <a:pt x="522" y="869"/>
                  </a:lnTo>
                  <a:lnTo>
                    <a:pt x="517" y="871"/>
                  </a:lnTo>
                  <a:lnTo>
                    <a:pt x="517" y="869"/>
                  </a:lnTo>
                  <a:lnTo>
                    <a:pt x="515" y="867"/>
                  </a:lnTo>
                  <a:lnTo>
                    <a:pt x="508" y="867"/>
                  </a:lnTo>
                  <a:lnTo>
                    <a:pt x="504" y="867"/>
                  </a:lnTo>
                  <a:lnTo>
                    <a:pt x="497" y="866"/>
                  </a:lnTo>
                  <a:lnTo>
                    <a:pt x="497" y="866"/>
                  </a:lnTo>
                  <a:lnTo>
                    <a:pt x="495" y="866"/>
                  </a:lnTo>
                  <a:lnTo>
                    <a:pt x="493" y="866"/>
                  </a:lnTo>
                  <a:lnTo>
                    <a:pt x="490" y="866"/>
                  </a:lnTo>
                  <a:lnTo>
                    <a:pt x="490" y="867"/>
                  </a:lnTo>
                  <a:lnTo>
                    <a:pt x="488" y="867"/>
                  </a:lnTo>
                  <a:lnTo>
                    <a:pt x="479" y="867"/>
                  </a:lnTo>
                  <a:lnTo>
                    <a:pt x="475" y="869"/>
                  </a:lnTo>
                  <a:lnTo>
                    <a:pt x="475" y="871"/>
                  </a:lnTo>
                  <a:lnTo>
                    <a:pt x="475" y="871"/>
                  </a:lnTo>
                  <a:lnTo>
                    <a:pt x="475" y="871"/>
                  </a:lnTo>
                  <a:lnTo>
                    <a:pt x="475" y="873"/>
                  </a:lnTo>
                  <a:lnTo>
                    <a:pt x="475" y="873"/>
                  </a:lnTo>
                  <a:lnTo>
                    <a:pt x="475" y="873"/>
                  </a:lnTo>
                  <a:lnTo>
                    <a:pt x="473" y="873"/>
                  </a:lnTo>
                  <a:lnTo>
                    <a:pt x="473" y="873"/>
                  </a:lnTo>
                  <a:lnTo>
                    <a:pt x="475" y="875"/>
                  </a:lnTo>
                  <a:lnTo>
                    <a:pt x="475" y="875"/>
                  </a:lnTo>
                  <a:lnTo>
                    <a:pt x="475" y="876"/>
                  </a:lnTo>
                  <a:lnTo>
                    <a:pt x="475" y="878"/>
                  </a:lnTo>
                  <a:lnTo>
                    <a:pt x="475" y="878"/>
                  </a:lnTo>
                  <a:lnTo>
                    <a:pt x="475" y="880"/>
                  </a:lnTo>
                  <a:lnTo>
                    <a:pt x="475" y="880"/>
                  </a:lnTo>
                  <a:lnTo>
                    <a:pt x="475" y="880"/>
                  </a:lnTo>
                  <a:lnTo>
                    <a:pt x="475" y="880"/>
                  </a:lnTo>
                  <a:lnTo>
                    <a:pt x="472" y="884"/>
                  </a:lnTo>
                  <a:lnTo>
                    <a:pt x="470" y="885"/>
                  </a:lnTo>
                  <a:lnTo>
                    <a:pt x="470" y="885"/>
                  </a:lnTo>
                  <a:lnTo>
                    <a:pt x="466" y="885"/>
                  </a:lnTo>
                  <a:lnTo>
                    <a:pt x="466" y="885"/>
                  </a:lnTo>
                  <a:lnTo>
                    <a:pt x="464" y="884"/>
                  </a:lnTo>
                  <a:lnTo>
                    <a:pt x="464" y="884"/>
                  </a:lnTo>
                  <a:lnTo>
                    <a:pt x="459" y="884"/>
                  </a:lnTo>
                  <a:lnTo>
                    <a:pt x="459" y="884"/>
                  </a:lnTo>
                  <a:lnTo>
                    <a:pt x="459" y="885"/>
                  </a:lnTo>
                  <a:lnTo>
                    <a:pt x="459" y="887"/>
                  </a:lnTo>
                  <a:lnTo>
                    <a:pt x="461" y="887"/>
                  </a:lnTo>
                  <a:lnTo>
                    <a:pt x="459" y="889"/>
                  </a:lnTo>
                  <a:lnTo>
                    <a:pt x="459" y="889"/>
                  </a:lnTo>
                  <a:lnTo>
                    <a:pt x="459" y="893"/>
                  </a:lnTo>
                  <a:lnTo>
                    <a:pt x="459" y="900"/>
                  </a:lnTo>
                  <a:lnTo>
                    <a:pt x="457" y="904"/>
                  </a:lnTo>
                  <a:lnTo>
                    <a:pt x="455" y="904"/>
                  </a:lnTo>
                  <a:lnTo>
                    <a:pt x="454" y="905"/>
                  </a:lnTo>
                  <a:lnTo>
                    <a:pt x="454" y="907"/>
                  </a:lnTo>
                  <a:lnTo>
                    <a:pt x="454" y="907"/>
                  </a:lnTo>
                  <a:lnTo>
                    <a:pt x="450" y="911"/>
                  </a:lnTo>
                  <a:lnTo>
                    <a:pt x="448" y="911"/>
                  </a:lnTo>
                  <a:lnTo>
                    <a:pt x="448" y="911"/>
                  </a:lnTo>
                  <a:lnTo>
                    <a:pt x="448" y="913"/>
                  </a:lnTo>
                  <a:lnTo>
                    <a:pt x="448" y="913"/>
                  </a:lnTo>
                  <a:lnTo>
                    <a:pt x="448" y="914"/>
                  </a:lnTo>
                  <a:lnTo>
                    <a:pt x="446" y="916"/>
                  </a:lnTo>
                  <a:lnTo>
                    <a:pt x="446" y="916"/>
                  </a:lnTo>
                  <a:lnTo>
                    <a:pt x="445" y="918"/>
                  </a:lnTo>
                  <a:lnTo>
                    <a:pt x="441" y="918"/>
                  </a:lnTo>
                  <a:lnTo>
                    <a:pt x="439" y="918"/>
                  </a:lnTo>
                  <a:lnTo>
                    <a:pt x="439" y="918"/>
                  </a:lnTo>
                  <a:lnTo>
                    <a:pt x="441" y="918"/>
                  </a:lnTo>
                  <a:lnTo>
                    <a:pt x="441" y="920"/>
                  </a:lnTo>
                  <a:lnTo>
                    <a:pt x="439" y="920"/>
                  </a:lnTo>
                  <a:lnTo>
                    <a:pt x="441" y="922"/>
                  </a:lnTo>
                  <a:lnTo>
                    <a:pt x="443" y="922"/>
                  </a:lnTo>
                  <a:lnTo>
                    <a:pt x="443" y="922"/>
                  </a:lnTo>
                  <a:lnTo>
                    <a:pt x="445" y="923"/>
                  </a:lnTo>
                  <a:lnTo>
                    <a:pt x="443" y="923"/>
                  </a:lnTo>
                  <a:lnTo>
                    <a:pt x="441" y="923"/>
                  </a:lnTo>
                  <a:lnTo>
                    <a:pt x="439" y="922"/>
                  </a:lnTo>
                  <a:lnTo>
                    <a:pt x="439" y="923"/>
                  </a:lnTo>
                  <a:lnTo>
                    <a:pt x="439" y="923"/>
                  </a:lnTo>
                  <a:lnTo>
                    <a:pt x="439" y="923"/>
                  </a:lnTo>
                  <a:lnTo>
                    <a:pt x="439" y="922"/>
                  </a:lnTo>
                  <a:lnTo>
                    <a:pt x="439" y="922"/>
                  </a:lnTo>
                  <a:lnTo>
                    <a:pt x="439" y="920"/>
                  </a:lnTo>
                  <a:lnTo>
                    <a:pt x="439" y="920"/>
                  </a:lnTo>
                  <a:lnTo>
                    <a:pt x="439" y="920"/>
                  </a:lnTo>
                  <a:lnTo>
                    <a:pt x="437" y="920"/>
                  </a:lnTo>
                  <a:lnTo>
                    <a:pt x="437" y="920"/>
                  </a:lnTo>
                  <a:lnTo>
                    <a:pt x="436" y="920"/>
                  </a:lnTo>
                  <a:lnTo>
                    <a:pt x="436" y="922"/>
                  </a:lnTo>
                  <a:lnTo>
                    <a:pt x="436" y="923"/>
                  </a:lnTo>
                  <a:lnTo>
                    <a:pt x="436" y="923"/>
                  </a:lnTo>
                  <a:lnTo>
                    <a:pt x="434" y="925"/>
                  </a:lnTo>
                  <a:lnTo>
                    <a:pt x="434" y="929"/>
                  </a:lnTo>
                  <a:lnTo>
                    <a:pt x="434" y="929"/>
                  </a:lnTo>
                  <a:lnTo>
                    <a:pt x="434" y="931"/>
                  </a:lnTo>
                  <a:lnTo>
                    <a:pt x="430" y="932"/>
                  </a:lnTo>
                  <a:lnTo>
                    <a:pt x="430" y="932"/>
                  </a:lnTo>
                  <a:lnTo>
                    <a:pt x="428" y="932"/>
                  </a:lnTo>
                  <a:lnTo>
                    <a:pt x="428" y="932"/>
                  </a:lnTo>
                  <a:lnTo>
                    <a:pt x="428" y="934"/>
                  </a:lnTo>
                  <a:lnTo>
                    <a:pt x="428" y="934"/>
                  </a:lnTo>
                  <a:lnTo>
                    <a:pt x="428" y="936"/>
                  </a:lnTo>
                  <a:lnTo>
                    <a:pt x="428" y="936"/>
                  </a:lnTo>
                  <a:lnTo>
                    <a:pt x="428" y="936"/>
                  </a:lnTo>
                  <a:lnTo>
                    <a:pt x="426" y="938"/>
                  </a:lnTo>
                  <a:lnTo>
                    <a:pt x="421" y="943"/>
                  </a:lnTo>
                  <a:lnTo>
                    <a:pt x="419" y="945"/>
                  </a:lnTo>
                  <a:lnTo>
                    <a:pt x="417" y="945"/>
                  </a:lnTo>
                  <a:lnTo>
                    <a:pt x="416" y="945"/>
                  </a:lnTo>
                  <a:lnTo>
                    <a:pt x="416" y="945"/>
                  </a:lnTo>
                  <a:lnTo>
                    <a:pt x="416" y="947"/>
                  </a:lnTo>
                  <a:lnTo>
                    <a:pt x="416" y="947"/>
                  </a:lnTo>
                  <a:lnTo>
                    <a:pt x="414" y="949"/>
                  </a:lnTo>
                  <a:lnTo>
                    <a:pt x="414" y="949"/>
                  </a:lnTo>
                  <a:lnTo>
                    <a:pt x="412" y="947"/>
                  </a:lnTo>
                  <a:lnTo>
                    <a:pt x="410" y="947"/>
                  </a:lnTo>
                  <a:lnTo>
                    <a:pt x="408" y="947"/>
                  </a:lnTo>
                  <a:lnTo>
                    <a:pt x="407" y="949"/>
                  </a:lnTo>
                  <a:lnTo>
                    <a:pt x="403" y="951"/>
                  </a:lnTo>
                  <a:lnTo>
                    <a:pt x="403" y="951"/>
                  </a:lnTo>
                  <a:lnTo>
                    <a:pt x="401" y="951"/>
                  </a:lnTo>
                  <a:lnTo>
                    <a:pt x="401" y="952"/>
                  </a:lnTo>
                  <a:lnTo>
                    <a:pt x="401" y="952"/>
                  </a:lnTo>
                  <a:lnTo>
                    <a:pt x="401" y="952"/>
                  </a:lnTo>
                  <a:lnTo>
                    <a:pt x="401" y="954"/>
                  </a:lnTo>
                  <a:lnTo>
                    <a:pt x="401" y="956"/>
                  </a:lnTo>
                  <a:lnTo>
                    <a:pt x="401" y="956"/>
                  </a:lnTo>
                  <a:lnTo>
                    <a:pt x="401" y="956"/>
                  </a:lnTo>
                  <a:lnTo>
                    <a:pt x="401" y="956"/>
                  </a:lnTo>
                  <a:lnTo>
                    <a:pt x="401" y="956"/>
                  </a:lnTo>
                  <a:lnTo>
                    <a:pt x="401" y="958"/>
                  </a:lnTo>
                  <a:lnTo>
                    <a:pt x="401" y="958"/>
                  </a:lnTo>
                  <a:lnTo>
                    <a:pt x="399" y="958"/>
                  </a:lnTo>
                  <a:lnTo>
                    <a:pt x="401" y="960"/>
                  </a:lnTo>
                  <a:lnTo>
                    <a:pt x="403" y="960"/>
                  </a:lnTo>
                  <a:lnTo>
                    <a:pt x="405" y="960"/>
                  </a:lnTo>
                  <a:lnTo>
                    <a:pt x="407" y="960"/>
                  </a:lnTo>
                  <a:lnTo>
                    <a:pt x="408" y="960"/>
                  </a:lnTo>
                  <a:lnTo>
                    <a:pt x="408" y="958"/>
                  </a:lnTo>
                  <a:lnTo>
                    <a:pt x="408" y="958"/>
                  </a:lnTo>
                  <a:lnTo>
                    <a:pt x="408" y="956"/>
                  </a:lnTo>
                  <a:lnTo>
                    <a:pt x="408" y="954"/>
                  </a:lnTo>
                  <a:lnTo>
                    <a:pt x="410" y="954"/>
                  </a:lnTo>
                  <a:lnTo>
                    <a:pt x="412" y="954"/>
                  </a:lnTo>
                  <a:lnTo>
                    <a:pt x="412" y="954"/>
                  </a:lnTo>
                  <a:lnTo>
                    <a:pt x="414" y="954"/>
                  </a:lnTo>
                  <a:lnTo>
                    <a:pt x="416" y="954"/>
                  </a:lnTo>
                  <a:lnTo>
                    <a:pt x="417" y="956"/>
                  </a:lnTo>
                  <a:lnTo>
                    <a:pt x="419" y="956"/>
                  </a:lnTo>
                  <a:lnTo>
                    <a:pt x="421" y="958"/>
                  </a:lnTo>
                  <a:lnTo>
                    <a:pt x="421" y="958"/>
                  </a:lnTo>
                  <a:lnTo>
                    <a:pt x="423" y="961"/>
                  </a:lnTo>
                  <a:lnTo>
                    <a:pt x="423" y="961"/>
                  </a:lnTo>
                  <a:lnTo>
                    <a:pt x="423" y="961"/>
                  </a:lnTo>
                  <a:lnTo>
                    <a:pt x="423" y="963"/>
                  </a:lnTo>
                  <a:lnTo>
                    <a:pt x="423" y="963"/>
                  </a:lnTo>
                  <a:lnTo>
                    <a:pt x="423" y="963"/>
                  </a:lnTo>
                  <a:lnTo>
                    <a:pt x="425" y="965"/>
                  </a:lnTo>
                  <a:lnTo>
                    <a:pt x="425" y="967"/>
                  </a:lnTo>
                  <a:lnTo>
                    <a:pt x="426" y="967"/>
                  </a:lnTo>
                  <a:lnTo>
                    <a:pt x="426" y="967"/>
                  </a:lnTo>
                  <a:lnTo>
                    <a:pt x="426" y="967"/>
                  </a:lnTo>
                  <a:lnTo>
                    <a:pt x="426" y="965"/>
                  </a:lnTo>
                  <a:lnTo>
                    <a:pt x="428" y="963"/>
                  </a:lnTo>
                  <a:lnTo>
                    <a:pt x="428" y="963"/>
                  </a:lnTo>
                  <a:lnTo>
                    <a:pt x="430" y="963"/>
                  </a:lnTo>
                  <a:lnTo>
                    <a:pt x="430" y="963"/>
                  </a:lnTo>
                  <a:lnTo>
                    <a:pt x="432" y="963"/>
                  </a:lnTo>
                  <a:lnTo>
                    <a:pt x="432" y="960"/>
                  </a:lnTo>
                  <a:lnTo>
                    <a:pt x="434" y="960"/>
                  </a:lnTo>
                  <a:lnTo>
                    <a:pt x="434" y="958"/>
                  </a:lnTo>
                  <a:lnTo>
                    <a:pt x="432" y="958"/>
                  </a:lnTo>
                  <a:lnTo>
                    <a:pt x="432" y="958"/>
                  </a:lnTo>
                  <a:lnTo>
                    <a:pt x="432" y="956"/>
                  </a:lnTo>
                  <a:lnTo>
                    <a:pt x="432" y="956"/>
                  </a:lnTo>
                  <a:lnTo>
                    <a:pt x="432" y="956"/>
                  </a:lnTo>
                  <a:lnTo>
                    <a:pt x="432" y="956"/>
                  </a:lnTo>
                  <a:lnTo>
                    <a:pt x="430" y="956"/>
                  </a:lnTo>
                  <a:lnTo>
                    <a:pt x="430" y="956"/>
                  </a:lnTo>
                  <a:lnTo>
                    <a:pt x="430" y="956"/>
                  </a:lnTo>
                  <a:lnTo>
                    <a:pt x="432" y="956"/>
                  </a:lnTo>
                  <a:lnTo>
                    <a:pt x="432" y="954"/>
                  </a:lnTo>
                  <a:lnTo>
                    <a:pt x="432" y="954"/>
                  </a:lnTo>
                  <a:lnTo>
                    <a:pt x="432" y="954"/>
                  </a:lnTo>
                  <a:lnTo>
                    <a:pt x="432" y="952"/>
                  </a:lnTo>
                  <a:lnTo>
                    <a:pt x="432" y="952"/>
                  </a:lnTo>
                  <a:lnTo>
                    <a:pt x="434" y="952"/>
                  </a:lnTo>
                  <a:lnTo>
                    <a:pt x="434" y="952"/>
                  </a:lnTo>
                  <a:lnTo>
                    <a:pt x="434" y="952"/>
                  </a:lnTo>
                  <a:lnTo>
                    <a:pt x="434" y="952"/>
                  </a:lnTo>
                  <a:lnTo>
                    <a:pt x="434" y="951"/>
                  </a:lnTo>
                  <a:lnTo>
                    <a:pt x="434" y="951"/>
                  </a:lnTo>
                  <a:lnTo>
                    <a:pt x="434" y="951"/>
                  </a:lnTo>
                  <a:lnTo>
                    <a:pt x="434" y="949"/>
                  </a:lnTo>
                  <a:lnTo>
                    <a:pt x="434" y="949"/>
                  </a:lnTo>
                  <a:lnTo>
                    <a:pt x="434" y="949"/>
                  </a:lnTo>
                  <a:lnTo>
                    <a:pt x="436" y="949"/>
                  </a:lnTo>
                  <a:lnTo>
                    <a:pt x="436" y="951"/>
                  </a:lnTo>
                  <a:lnTo>
                    <a:pt x="436" y="952"/>
                  </a:lnTo>
                  <a:lnTo>
                    <a:pt x="437" y="949"/>
                  </a:lnTo>
                  <a:lnTo>
                    <a:pt x="439" y="949"/>
                  </a:lnTo>
                  <a:lnTo>
                    <a:pt x="441" y="947"/>
                  </a:lnTo>
                  <a:lnTo>
                    <a:pt x="441" y="947"/>
                  </a:lnTo>
                  <a:lnTo>
                    <a:pt x="443" y="945"/>
                  </a:lnTo>
                  <a:lnTo>
                    <a:pt x="443" y="945"/>
                  </a:lnTo>
                  <a:lnTo>
                    <a:pt x="446" y="945"/>
                  </a:lnTo>
                  <a:lnTo>
                    <a:pt x="446" y="945"/>
                  </a:lnTo>
                  <a:lnTo>
                    <a:pt x="446" y="945"/>
                  </a:lnTo>
                  <a:lnTo>
                    <a:pt x="446" y="943"/>
                  </a:lnTo>
                  <a:lnTo>
                    <a:pt x="446" y="943"/>
                  </a:lnTo>
                  <a:lnTo>
                    <a:pt x="446" y="941"/>
                  </a:lnTo>
                  <a:lnTo>
                    <a:pt x="446" y="941"/>
                  </a:lnTo>
                  <a:lnTo>
                    <a:pt x="446" y="941"/>
                  </a:lnTo>
                  <a:lnTo>
                    <a:pt x="448" y="941"/>
                  </a:lnTo>
                  <a:lnTo>
                    <a:pt x="448" y="940"/>
                  </a:lnTo>
                  <a:lnTo>
                    <a:pt x="448" y="940"/>
                  </a:lnTo>
                  <a:lnTo>
                    <a:pt x="448" y="940"/>
                  </a:lnTo>
                  <a:lnTo>
                    <a:pt x="448" y="938"/>
                  </a:lnTo>
                  <a:lnTo>
                    <a:pt x="448" y="938"/>
                  </a:lnTo>
                  <a:lnTo>
                    <a:pt x="450" y="938"/>
                  </a:lnTo>
                  <a:lnTo>
                    <a:pt x="450" y="938"/>
                  </a:lnTo>
                  <a:lnTo>
                    <a:pt x="450" y="938"/>
                  </a:lnTo>
                  <a:lnTo>
                    <a:pt x="452" y="936"/>
                  </a:lnTo>
                  <a:lnTo>
                    <a:pt x="452" y="936"/>
                  </a:lnTo>
                  <a:lnTo>
                    <a:pt x="452" y="936"/>
                  </a:lnTo>
                  <a:lnTo>
                    <a:pt x="452" y="940"/>
                  </a:lnTo>
                  <a:lnTo>
                    <a:pt x="454" y="940"/>
                  </a:lnTo>
                  <a:lnTo>
                    <a:pt x="454" y="938"/>
                  </a:lnTo>
                  <a:lnTo>
                    <a:pt x="454" y="938"/>
                  </a:lnTo>
                  <a:lnTo>
                    <a:pt x="454" y="938"/>
                  </a:lnTo>
                  <a:lnTo>
                    <a:pt x="461" y="938"/>
                  </a:lnTo>
                  <a:lnTo>
                    <a:pt x="463" y="938"/>
                  </a:lnTo>
                  <a:lnTo>
                    <a:pt x="466" y="934"/>
                  </a:lnTo>
                  <a:lnTo>
                    <a:pt x="470" y="934"/>
                  </a:lnTo>
                  <a:lnTo>
                    <a:pt x="473" y="936"/>
                  </a:lnTo>
                  <a:lnTo>
                    <a:pt x="473" y="936"/>
                  </a:lnTo>
                  <a:lnTo>
                    <a:pt x="475" y="938"/>
                  </a:lnTo>
                  <a:lnTo>
                    <a:pt x="475" y="938"/>
                  </a:lnTo>
                  <a:lnTo>
                    <a:pt x="477" y="938"/>
                  </a:lnTo>
                  <a:lnTo>
                    <a:pt x="477" y="938"/>
                  </a:lnTo>
                  <a:lnTo>
                    <a:pt x="475" y="938"/>
                  </a:lnTo>
                  <a:lnTo>
                    <a:pt x="477" y="936"/>
                  </a:lnTo>
                  <a:lnTo>
                    <a:pt x="477" y="936"/>
                  </a:lnTo>
                  <a:lnTo>
                    <a:pt x="477" y="936"/>
                  </a:lnTo>
                  <a:lnTo>
                    <a:pt x="477" y="936"/>
                  </a:lnTo>
                  <a:lnTo>
                    <a:pt x="475" y="936"/>
                  </a:lnTo>
                  <a:lnTo>
                    <a:pt x="475" y="934"/>
                  </a:lnTo>
                  <a:lnTo>
                    <a:pt x="475" y="934"/>
                  </a:lnTo>
                  <a:lnTo>
                    <a:pt x="475" y="934"/>
                  </a:lnTo>
                  <a:lnTo>
                    <a:pt x="475" y="934"/>
                  </a:lnTo>
                  <a:lnTo>
                    <a:pt x="477" y="934"/>
                  </a:lnTo>
                  <a:lnTo>
                    <a:pt x="475" y="932"/>
                  </a:lnTo>
                  <a:lnTo>
                    <a:pt x="472" y="934"/>
                  </a:lnTo>
                  <a:lnTo>
                    <a:pt x="472" y="932"/>
                  </a:lnTo>
                  <a:lnTo>
                    <a:pt x="473" y="932"/>
                  </a:lnTo>
                  <a:lnTo>
                    <a:pt x="475" y="932"/>
                  </a:lnTo>
                  <a:lnTo>
                    <a:pt x="475" y="932"/>
                  </a:lnTo>
                  <a:lnTo>
                    <a:pt x="475" y="931"/>
                  </a:lnTo>
                  <a:lnTo>
                    <a:pt x="475" y="931"/>
                  </a:lnTo>
                  <a:lnTo>
                    <a:pt x="475" y="931"/>
                  </a:lnTo>
                  <a:lnTo>
                    <a:pt x="475" y="929"/>
                  </a:lnTo>
                  <a:lnTo>
                    <a:pt x="475" y="929"/>
                  </a:lnTo>
                  <a:lnTo>
                    <a:pt x="475" y="929"/>
                  </a:lnTo>
                  <a:lnTo>
                    <a:pt x="475" y="929"/>
                  </a:lnTo>
                  <a:lnTo>
                    <a:pt x="475" y="929"/>
                  </a:lnTo>
                  <a:lnTo>
                    <a:pt x="475" y="927"/>
                  </a:lnTo>
                  <a:lnTo>
                    <a:pt x="477" y="929"/>
                  </a:lnTo>
                  <a:lnTo>
                    <a:pt x="477" y="929"/>
                  </a:lnTo>
                  <a:lnTo>
                    <a:pt x="479" y="927"/>
                  </a:lnTo>
                  <a:lnTo>
                    <a:pt x="477" y="929"/>
                  </a:lnTo>
                  <a:lnTo>
                    <a:pt x="477" y="931"/>
                  </a:lnTo>
                  <a:lnTo>
                    <a:pt x="477" y="931"/>
                  </a:lnTo>
                  <a:lnTo>
                    <a:pt x="477" y="932"/>
                  </a:lnTo>
                  <a:lnTo>
                    <a:pt x="477" y="932"/>
                  </a:lnTo>
                  <a:lnTo>
                    <a:pt x="477" y="934"/>
                  </a:lnTo>
                  <a:lnTo>
                    <a:pt x="477" y="934"/>
                  </a:lnTo>
                  <a:lnTo>
                    <a:pt x="479" y="934"/>
                  </a:lnTo>
                  <a:lnTo>
                    <a:pt x="479" y="934"/>
                  </a:lnTo>
                  <a:lnTo>
                    <a:pt x="481" y="934"/>
                  </a:lnTo>
                  <a:lnTo>
                    <a:pt x="481" y="936"/>
                  </a:lnTo>
                  <a:lnTo>
                    <a:pt x="481" y="938"/>
                  </a:lnTo>
                  <a:lnTo>
                    <a:pt x="482" y="938"/>
                  </a:lnTo>
                  <a:lnTo>
                    <a:pt x="482" y="938"/>
                  </a:lnTo>
                  <a:lnTo>
                    <a:pt x="482" y="940"/>
                  </a:lnTo>
                  <a:lnTo>
                    <a:pt x="482" y="940"/>
                  </a:lnTo>
                  <a:lnTo>
                    <a:pt x="484" y="940"/>
                  </a:lnTo>
                  <a:lnTo>
                    <a:pt x="484" y="940"/>
                  </a:lnTo>
                  <a:lnTo>
                    <a:pt x="484" y="940"/>
                  </a:lnTo>
                  <a:lnTo>
                    <a:pt x="484" y="940"/>
                  </a:lnTo>
                  <a:lnTo>
                    <a:pt x="486" y="940"/>
                  </a:lnTo>
                  <a:lnTo>
                    <a:pt x="486" y="940"/>
                  </a:lnTo>
                  <a:lnTo>
                    <a:pt x="486" y="940"/>
                  </a:lnTo>
                  <a:lnTo>
                    <a:pt x="488" y="938"/>
                  </a:lnTo>
                  <a:lnTo>
                    <a:pt x="488" y="938"/>
                  </a:lnTo>
                  <a:lnTo>
                    <a:pt x="488" y="938"/>
                  </a:lnTo>
                  <a:lnTo>
                    <a:pt x="492" y="941"/>
                  </a:lnTo>
                  <a:lnTo>
                    <a:pt x="495" y="945"/>
                  </a:lnTo>
                  <a:lnTo>
                    <a:pt x="497" y="947"/>
                  </a:lnTo>
                  <a:lnTo>
                    <a:pt x="497" y="947"/>
                  </a:lnTo>
                  <a:lnTo>
                    <a:pt x="499" y="947"/>
                  </a:lnTo>
                  <a:lnTo>
                    <a:pt x="499" y="947"/>
                  </a:lnTo>
                  <a:lnTo>
                    <a:pt x="501" y="947"/>
                  </a:lnTo>
                  <a:lnTo>
                    <a:pt x="501" y="947"/>
                  </a:lnTo>
                  <a:lnTo>
                    <a:pt x="502" y="947"/>
                  </a:lnTo>
                  <a:lnTo>
                    <a:pt x="504" y="945"/>
                  </a:lnTo>
                  <a:lnTo>
                    <a:pt x="504" y="943"/>
                  </a:lnTo>
                  <a:lnTo>
                    <a:pt x="504" y="941"/>
                  </a:lnTo>
                  <a:lnTo>
                    <a:pt x="504" y="940"/>
                  </a:lnTo>
                  <a:lnTo>
                    <a:pt x="504" y="940"/>
                  </a:lnTo>
                  <a:lnTo>
                    <a:pt x="506" y="938"/>
                  </a:lnTo>
                  <a:lnTo>
                    <a:pt x="506" y="938"/>
                  </a:lnTo>
                  <a:lnTo>
                    <a:pt x="508" y="938"/>
                  </a:lnTo>
                  <a:lnTo>
                    <a:pt x="508" y="936"/>
                  </a:lnTo>
                  <a:lnTo>
                    <a:pt x="508" y="936"/>
                  </a:lnTo>
                  <a:lnTo>
                    <a:pt x="510" y="936"/>
                  </a:lnTo>
                  <a:lnTo>
                    <a:pt x="510" y="936"/>
                  </a:lnTo>
                  <a:lnTo>
                    <a:pt x="510" y="934"/>
                  </a:lnTo>
                  <a:lnTo>
                    <a:pt x="510" y="934"/>
                  </a:lnTo>
                  <a:lnTo>
                    <a:pt x="511" y="934"/>
                  </a:lnTo>
                  <a:lnTo>
                    <a:pt x="511" y="934"/>
                  </a:lnTo>
                  <a:lnTo>
                    <a:pt x="511" y="932"/>
                  </a:lnTo>
                  <a:lnTo>
                    <a:pt x="511" y="932"/>
                  </a:lnTo>
                  <a:lnTo>
                    <a:pt x="511" y="931"/>
                  </a:lnTo>
                  <a:lnTo>
                    <a:pt x="510" y="931"/>
                  </a:lnTo>
                  <a:lnTo>
                    <a:pt x="510" y="931"/>
                  </a:lnTo>
                  <a:lnTo>
                    <a:pt x="508" y="931"/>
                  </a:lnTo>
                  <a:lnTo>
                    <a:pt x="510" y="929"/>
                  </a:lnTo>
                  <a:lnTo>
                    <a:pt x="510" y="929"/>
                  </a:lnTo>
                  <a:lnTo>
                    <a:pt x="511" y="927"/>
                  </a:lnTo>
                  <a:lnTo>
                    <a:pt x="511" y="927"/>
                  </a:lnTo>
                  <a:lnTo>
                    <a:pt x="511" y="925"/>
                  </a:lnTo>
                  <a:lnTo>
                    <a:pt x="511" y="923"/>
                  </a:lnTo>
                  <a:lnTo>
                    <a:pt x="511" y="920"/>
                  </a:lnTo>
                  <a:lnTo>
                    <a:pt x="511" y="920"/>
                  </a:lnTo>
                  <a:lnTo>
                    <a:pt x="513" y="918"/>
                  </a:lnTo>
                  <a:lnTo>
                    <a:pt x="513" y="916"/>
                  </a:lnTo>
                  <a:lnTo>
                    <a:pt x="515" y="916"/>
                  </a:lnTo>
                  <a:lnTo>
                    <a:pt x="513" y="914"/>
                  </a:lnTo>
                  <a:lnTo>
                    <a:pt x="513" y="913"/>
                  </a:lnTo>
                  <a:lnTo>
                    <a:pt x="513" y="911"/>
                  </a:lnTo>
                  <a:lnTo>
                    <a:pt x="513" y="911"/>
                  </a:lnTo>
                  <a:lnTo>
                    <a:pt x="513" y="911"/>
                  </a:lnTo>
                  <a:lnTo>
                    <a:pt x="513" y="911"/>
                  </a:lnTo>
                  <a:lnTo>
                    <a:pt x="513" y="911"/>
                  </a:lnTo>
                  <a:lnTo>
                    <a:pt x="513" y="911"/>
                  </a:lnTo>
                  <a:lnTo>
                    <a:pt x="513" y="911"/>
                  </a:lnTo>
                  <a:lnTo>
                    <a:pt x="513" y="911"/>
                  </a:lnTo>
                  <a:lnTo>
                    <a:pt x="513" y="911"/>
                  </a:lnTo>
                  <a:lnTo>
                    <a:pt x="515" y="913"/>
                  </a:lnTo>
                  <a:lnTo>
                    <a:pt x="515" y="914"/>
                  </a:lnTo>
                  <a:lnTo>
                    <a:pt x="515" y="914"/>
                  </a:lnTo>
                  <a:lnTo>
                    <a:pt x="517" y="914"/>
                  </a:lnTo>
                  <a:lnTo>
                    <a:pt x="519" y="914"/>
                  </a:lnTo>
                  <a:lnTo>
                    <a:pt x="522" y="914"/>
                  </a:lnTo>
                  <a:lnTo>
                    <a:pt x="522" y="913"/>
                  </a:lnTo>
                  <a:lnTo>
                    <a:pt x="522" y="911"/>
                  </a:lnTo>
                  <a:lnTo>
                    <a:pt x="524" y="911"/>
                  </a:lnTo>
                  <a:lnTo>
                    <a:pt x="526" y="911"/>
                  </a:lnTo>
                  <a:lnTo>
                    <a:pt x="528" y="909"/>
                  </a:lnTo>
                  <a:lnTo>
                    <a:pt x="528" y="909"/>
                  </a:lnTo>
                  <a:lnTo>
                    <a:pt x="528" y="909"/>
                  </a:lnTo>
                  <a:lnTo>
                    <a:pt x="529" y="909"/>
                  </a:lnTo>
                  <a:lnTo>
                    <a:pt x="529" y="911"/>
                  </a:lnTo>
                  <a:lnTo>
                    <a:pt x="531" y="909"/>
                  </a:lnTo>
                  <a:lnTo>
                    <a:pt x="531" y="909"/>
                  </a:lnTo>
                  <a:lnTo>
                    <a:pt x="531" y="909"/>
                  </a:lnTo>
                  <a:lnTo>
                    <a:pt x="533" y="907"/>
                  </a:lnTo>
                  <a:lnTo>
                    <a:pt x="533" y="907"/>
                  </a:lnTo>
                  <a:lnTo>
                    <a:pt x="535" y="909"/>
                  </a:lnTo>
                  <a:lnTo>
                    <a:pt x="537" y="909"/>
                  </a:lnTo>
                  <a:lnTo>
                    <a:pt x="538" y="907"/>
                  </a:lnTo>
                  <a:lnTo>
                    <a:pt x="538" y="907"/>
                  </a:lnTo>
                  <a:lnTo>
                    <a:pt x="542" y="905"/>
                  </a:lnTo>
                  <a:lnTo>
                    <a:pt x="542" y="905"/>
                  </a:lnTo>
                  <a:lnTo>
                    <a:pt x="551" y="909"/>
                  </a:lnTo>
                  <a:lnTo>
                    <a:pt x="562" y="918"/>
                  </a:lnTo>
                  <a:lnTo>
                    <a:pt x="564" y="920"/>
                  </a:lnTo>
                  <a:lnTo>
                    <a:pt x="564" y="922"/>
                  </a:lnTo>
                  <a:lnTo>
                    <a:pt x="564" y="922"/>
                  </a:lnTo>
                  <a:lnTo>
                    <a:pt x="564" y="922"/>
                  </a:lnTo>
                  <a:lnTo>
                    <a:pt x="566" y="920"/>
                  </a:lnTo>
                  <a:lnTo>
                    <a:pt x="564" y="920"/>
                  </a:lnTo>
                  <a:lnTo>
                    <a:pt x="564" y="918"/>
                  </a:lnTo>
                  <a:lnTo>
                    <a:pt x="564" y="918"/>
                  </a:lnTo>
                  <a:lnTo>
                    <a:pt x="564" y="916"/>
                  </a:lnTo>
                  <a:lnTo>
                    <a:pt x="564" y="914"/>
                  </a:lnTo>
                  <a:lnTo>
                    <a:pt x="564" y="914"/>
                  </a:lnTo>
                  <a:lnTo>
                    <a:pt x="566" y="913"/>
                  </a:lnTo>
                  <a:lnTo>
                    <a:pt x="567" y="913"/>
                  </a:lnTo>
                  <a:lnTo>
                    <a:pt x="569" y="914"/>
                  </a:lnTo>
                  <a:lnTo>
                    <a:pt x="578" y="914"/>
                  </a:lnTo>
                  <a:lnTo>
                    <a:pt x="582" y="916"/>
                  </a:lnTo>
                  <a:lnTo>
                    <a:pt x="584" y="916"/>
                  </a:lnTo>
                  <a:lnTo>
                    <a:pt x="587" y="916"/>
                  </a:lnTo>
                  <a:lnTo>
                    <a:pt x="587" y="916"/>
                  </a:lnTo>
                  <a:lnTo>
                    <a:pt x="587" y="914"/>
                  </a:lnTo>
                  <a:lnTo>
                    <a:pt x="589" y="913"/>
                  </a:lnTo>
                  <a:lnTo>
                    <a:pt x="589" y="913"/>
                  </a:lnTo>
                  <a:lnTo>
                    <a:pt x="589" y="913"/>
                  </a:lnTo>
                  <a:lnTo>
                    <a:pt x="589" y="911"/>
                  </a:lnTo>
                  <a:lnTo>
                    <a:pt x="589" y="911"/>
                  </a:lnTo>
                  <a:lnTo>
                    <a:pt x="587" y="911"/>
                  </a:lnTo>
                  <a:lnTo>
                    <a:pt x="587" y="911"/>
                  </a:lnTo>
                  <a:lnTo>
                    <a:pt x="585" y="911"/>
                  </a:lnTo>
                  <a:lnTo>
                    <a:pt x="585" y="909"/>
                  </a:lnTo>
                  <a:lnTo>
                    <a:pt x="584" y="907"/>
                  </a:lnTo>
                  <a:lnTo>
                    <a:pt x="584" y="909"/>
                  </a:lnTo>
                  <a:lnTo>
                    <a:pt x="584" y="909"/>
                  </a:lnTo>
                  <a:lnTo>
                    <a:pt x="584" y="909"/>
                  </a:lnTo>
                  <a:lnTo>
                    <a:pt x="582" y="909"/>
                  </a:lnTo>
                  <a:lnTo>
                    <a:pt x="584" y="905"/>
                  </a:lnTo>
                  <a:lnTo>
                    <a:pt x="584" y="905"/>
                  </a:lnTo>
                  <a:lnTo>
                    <a:pt x="585" y="905"/>
                  </a:lnTo>
                  <a:lnTo>
                    <a:pt x="585" y="907"/>
                  </a:lnTo>
                  <a:lnTo>
                    <a:pt x="585" y="907"/>
                  </a:lnTo>
                  <a:lnTo>
                    <a:pt x="585" y="907"/>
                  </a:lnTo>
                  <a:lnTo>
                    <a:pt x="585" y="907"/>
                  </a:lnTo>
                  <a:lnTo>
                    <a:pt x="587" y="907"/>
                  </a:lnTo>
                  <a:lnTo>
                    <a:pt x="589" y="907"/>
                  </a:lnTo>
                  <a:lnTo>
                    <a:pt x="589" y="909"/>
                  </a:lnTo>
                  <a:lnTo>
                    <a:pt x="589" y="909"/>
                  </a:lnTo>
                  <a:lnTo>
                    <a:pt x="589" y="909"/>
                  </a:lnTo>
                  <a:lnTo>
                    <a:pt x="589" y="909"/>
                  </a:lnTo>
                  <a:lnTo>
                    <a:pt x="591" y="909"/>
                  </a:lnTo>
                  <a:lnTo>
                    <a:pt x="591" y="907"/>
                  </a:lnTo>
                  <a:lnTo>
                    <a:pt x="591" y="907"/>
                  </a:lnTo>
                  <a:lnTo>
                    <a:pt x="593" y="907"/>
                  </a:lnTo>
                  <a:lnTo>
                    <a:pt x="593" y="907"/>
                  </a:lnTo>
                  <a:lnTo>
                    <a:pt x="594" y="907"/>
                  </a:lnTo>
                  <a:lnTo>
                    <a:pt x="596" y="907"/>
                  </a:lnTo>
                  <a:lnTo>
                    <a:pt x="598" y="907"/>
                  </a:lnTo>
                  <a:lnTo>
                    <a:pt x="598" y="907"/>
                  </a:lnTo>
                  <a:lnTo>
                    <a:pt x="600" y="905"/>
                  </a:lnTo>
                  <a:lnTo>
                    <a:pt x="602" y="905"/>
                  </a:lnTo>
                  <a:lnTo>
                    <a:pt x="603" y="905"/>
                  </a:lnTo>
                  <a:lnTo>
                    <a:pt x="603" y="905"/>
                  </a:lnTo>
                  <a:lnTo>
                    <a:pt x="605" y="905"/>
                  </a:lnTo>
                  <a:lnTo>
                    <a:pt x="607" y="907"/>
                  </a:lnTo>
                  <a:lnTo>
                    <a:pt x="609" y="907"/>
                  </a:lnTo>
                  <a:lnTo>
                    <a:pt x="609" y="907"/>
                  </a:lnTo>
                  <a:lnTo>
                    <a:pt x="609" y="907"/>
                  </a:lnTo>
                  <a:lnTo>
                    <a:pt x="611" y="904"/>
                  </a:lnTo>
                  <a:lnTo>
                    <a:pt x="612" y="904"/>
                  </a:lnTo>
                  <a:lnTo>
                    <a:pt x="612" y="904"/>
                  </a:lnTo>
                  <a:lnTo>
                    <a:pt x="612" y="904"/>
                  </a:lnTo>
                  <a:lnTo>
                    <a:pt x="614" y="904"/>
                  </a:lnTo>
                  <a:lnTo>
                    <a:pt x="616" y="904"/>
                  </a:lnTo>
                  <a:lnTo>
                    <a:pt x="616" y="902"/>
                  </a:lnTo>
                  <a:lnTo>
                    <a:pt x="616" y="902"/>
                  </a:lnTo>
                  <a:lnTo>
                    <a:pt x="616" y="902"/>
                  </a:lnTo>
                  <a:lnTo>
                    <a:pt x="616" y="902"/>
                  </a:lnTo>
                  <a:lnTo>
                    <a:pt x="620" y="902"/>
                  </a:lnTo>
                  <a:lnTo>
                    <a:pt x="620" y="900"/>
                  </a:lnTo>
                  <a:lnTo>
                    <a:pt x="620" y="900"/>
                  </a:lnTo>
                  <a:lnTo>
                    <a:pt x="620" y="898"/>
                  </a:lnTo>
                  <a:lnTo>
                    <a:pt x="616" y="895"/>
                  </a:lnTo>
                  <a:lnTo>
                    <a:pt x="614" y="893"/>
                  </a:lnTo>
                  <a:lnTo>
                    <a:pt x="614" y="893"/>
                  </a:lnTo>
                  <a:lnTo>
                    <a:pt x="614" y="893"/>
                  </a:lnTo>
                  <a:lnTo>
                    <a:pt x="612" y="893"/>
                  </a:lnTo>
                  <a:lnTo>
                    <a:pt x="612" y="891"/>
                  </a:lnTo>
                  <a:lnTo>
                    <a:pt x="614" y="893"/>
                  </a:lnTo>
                  <a:lnTo>
                    <a:pt x="620" y="895"/>
                  </a:lnTo>
                  <a:lnTo>
                    <a:pt x="620" y="896"/>
                  </a:lnTo>
                  <a:lnTo>
                    <a:pt x="622" y="898"/>
                  </a:lnTo>
                  <a:lnTo>
                    <a:pt x="622" y="898"/>
                  </a:lnTo>
                  <a:lnTo>
                    <a:pt x="623" y="898"/>
                  </a:lnTo>
                  <a:lnTo>
                    <a:pt x="625" y="900"/>
                  </a:lnTo>
                  <a:lnTo>
                    <a:pt x="627" y="900"/>
                  </a:lnTo>
                  <a:lnTo>
                    <a:pt x="627" y="902"/>
                  </a:lnTo>
                  <a:lnTo>
                    <a:pt x="627" y="902"/>
                  </a:lnTo>
                  <a:lnTo>
                    <a:pt x="627" y="902"/>
                  </a:lnTo>
                  <a:lnTo>
                    <a:pt x="629" y="902"/>
                  </a:lnTo>
                  <a:lnTo>
                    <a:pt x="629" y="902"/>
                  </a:lnTo>
                  <a:lnTo>
                    <a:pt x="631" y="902"/>
                  </a:lnTo>
                  <a:lnTo>
                    <a:pt x="631" y="902"/>
                  </a:lnTo>
                  <a:lnTo>
                    <a:pt x="631" y="900"/>
                  </a:lnTo>
                  <a:lnTo>
                    <a:pt x="631" y="898"/>
                  </a:lnTo>
                  <a:lnTo>
                    <a:pt x="629" y="898"/>
                  </a:lnTo>
                  <a:lnTo>
                    <a:pt x="629" y="896"/>
                  </a:lnTo>
                  <a:lnTo>
                    <a:pt x="632" y="896"/>
                  </a:lnTo>
                  <a:lnTo>
                    <a:pt x="632" y="896"/>
                  </a:lnTo>
                  <a:lnTo>
                    <a:pt x="632" y="898"/>
                  </a:lnTo>
                  <a:lnTo>
                    <a:pt x="632" y="898"/>
                  </a:lnTo>
                  <a:lnTo>
                    <a:pt x="632" y="900"/>
                  </a:lnTo>
                  <a:lnTo>
                    <a:pt x="631" y="902"/>
                  </a:lnTo>
                  <a:lnTo>
                    <a:pt x="632" y="902"/>
                  </a:lnTo>
                  <a:lnTo>
                    <a:pt x="634" y="902"/>
                  </a:lnTo>
                  <a:lnTo>
                    <a:pt x="634" y="900"/>
                  </a:lnTo>
                  <a:lnTo>
                    <a:pt x="634" y="898"/>
                  </a:lnTo>
                  <a:lnTo>
                    <a:pt x="636" y="898"/>
                  </a:lnTo>
                  <a:lnTo>
                    <a:pt x="636" y="896"/>
                  </a:lnTo>
                  <a:lnTo>
                    <a:pt x="636" y="896"/>
                  </a:lnTo>
                  <a:lnTo>
                    <a:pt x="638" y="896"/>
                  </a:lnTo>
                  <a:lnTo>
                    <a:pt x="640" y="898"/>
                  </a:lnTo>
                  <a:lnTo>
                    <a:pt x="640" y="898"/>
                  </a:lnTo>
                  <a:lnTo>
                    <a:pt x="640" y="898"/>
                  </a:lnTo>
                  <a:lnTo>
                    <a:pt x="640" y="900"/>
                  </a:lnTo>
                  <a:lnTo>
                    <a:pt x="640" y="900"/>
                  </a:lnTo>
                  <a:lnTo>
                    <a:pt x="641" y="898"/>
                  </a:lnTo>
                  <a:lnTo>
                    <a:pt x="641" y="898"/>
                  </a:lnTo>
                  <a:lnTo>
                    <a:pt x="641" y="898"/>
                  </a:lnTo>
                  <a:lnTo>
                    <a:pt x="643" y="900"/>
                  </a:lnTo>
                  <a:lnTo>
                    <a:pt x="643" y="900"/>
                  </a:lnTo>
                  <a:lnTo>
                    <a:pt x="643" y="900"/>
                  </a:lnTo>
                  <a:lnTo>
                    <a:pt x="641" y="902"/>
                  </a:lnTo>
                  <a:lnTo>
                    <a:pt x="641" y="902"/>
                  </a:lnTo>
                  <a:lnTo>
                    <a:pt x="641" y="902"/>
                  </a:lnTo>
                  <a:lnTo>
                    <a:pt x="641" y="904"/>
                  </a:lnTo>
                  <a:lnTo>
                    <a:pt x="645" y="905"/>
                  </a:lnTo>
                  <a:lnTo>
                    <a:pt x="647" y="907"/>
                  </a:lnTo>
                  <a:lnTo>
                    <a:pt x="649" y="905"/>
                  </a:lnTo>
                  <a:lnTo>
                    <a:pt x="649" y="905"/>
                  </a:lnTo>
                  <a:lnTo>
                    <a:pt x="647" y="904"/>
                  </a:lnTo>
                  <a:lnTo>
                    <a:pt x="649" y="904"/>
                  </a:lnTo>
                  <a:lnTo>
                    <a:pt x="649" y="904"/>
                  </a:lnTo>
                  <a:lnTo>
                    <a:pt x="649" y="904"/>
                  </a:lnTo>
                  <a:lnTo>
                    <a:pt x="649" y="904"/>
                  </a:lnTo>
                  <a:lnTo>
                    <a:pt x="650" y="904"/>
                  </a:lnTo>
                  <a:lnTo>
                    <a:pt x="658" y="900"/>
                  </a:lnTo>
                  <a:lnTo>
                    <a:pt x="667" y="900"/>
                  </a:lnTo>
                  <a:lnTo>
                    <a:pt x="672" y="898"/>
                  </a:lnTo>
                  <a:lnTo>
                    <a:pt x="674" y="900"/>
                  </a:lnTo>
                  <a:lnTo>
                    <a:pt x="676" y="898"/>
                  </a:lnTo>
                  <a:lnTo>
                    <a:pt x="676" y="898"/>
                  </a:lnTo>
                  <a:lnTo>
                    <a:pt x="678" y="898"/>
                  </a:lnTo>
                  <a:lnTo>
                    <a:pt x="687" y="902"/>
                  </a:lnTo>
                  <a:lnTo>
                    <a:pt x="688" y="902"/>
                  </a:lnTo>
                  <a:lnTo>
                    <a:pt x="690" y="902"/>
                  </a:lnTo>
                  <a:lnTo>
                    <a:pt x="692" y="904"/>
                  </a:lnTo>
                  <a:lnTo>
                    <a:pt x="692" y="904"/>
                  </a:lnTo>
                  <a:lnTo>
                    <a:pt x="692" y="904"/>
                  </a:lnTo>
                  <a:lnTo>
                    <a:pt x="694" y="904"/>
                  </a:lnTo>
                  <a:lnTo>
                    <a:pt x="696" y="904"/>
                  </a:lnTo>
                  <a:lnTo>
                    <a:pt x="697" y="905"/>
                  </a:lnTo>
                  <a:lnTo>
                    <a:pt x="697" y="905"/>
                  </a:lnTo>
                  <a:lnTo>
                    <a:pt x="699" y="905"/>
                  </a:lnTo>
                  <a:lnTo>
                    <a:pt x="701" y="902"/>
                  </a:lnTo>
                  <a:lnTo>
                    <a:pt x="703" y="902"/>
                  </a:lnTo>
                  <a:lnTo>
                    <a:pt x="703" y="902"/>
                  </a:lnTo>
                  <a:lnTo>
                    <a:pt x="705" y="900"/>
                  </a:lnTo>
                  <a:lnTo>
                    <a:pt x="705" y="900"/>
                  </a:lnTo>
                  <a:lnTo>
                    <a:pt x="705" y="900"/>
                  </a:lnTo>
                  <a:lnTo>
                    <a:pt x="706" y="898"/>
                  </a:lnTo>
                  <a:lnTo>
                    <a:pt x="717" y="896"/>
                  </a:lnTo>
                  <a:lnTo>
                    <a:pt x="719" y="895"/>
                  </a:lnTo>
                  <a:lnTo>
                    <a:pt x="724" y="891"/>
                  </a:lnTo>
                  <a:lnTo>
                    <a:pt x="726" y="889"/>
                  </a:lnTo>
                  <a:lnTo>
                    <a:pt x="730" y="891"/>
                  </a:lnTo>
                  <a:lnTo>
                    <a:pt x="733" y="893"/>
                  </a:lnTo>
                  <a:lnTo>
                    <a:pt x="735" y="891"/>
                  </a:lnTo>
                  <a:lnTo>
                    <a:pt x="735" y="889"/>
                  </a:lnTo>
                  <a:lnTo>
                    <a:pt x="735" y="885"/>
                  </a:lnTo>
                  <a:lnTo>
                    <a:pt x="735" y="885"/>
                  </a:lnTo>
                  <a:lnTo>
                    <a:pt x="737" y="882"/>
                  </a:lnTo>
                  <a:lnTo>
                    <a:pt x="739" y="880"/>
                  </a:lnTo>
                  <a:lnTo>
                    <a:pt x="741" y="880"/>
                  </a:lnTo>
                  <a:lnTo>
                    <a:pt x="743" y="878"/>
                  </a:lnTo>
                  <a:lnTo>
                    <a:pt x="744" y="878"/>
                  </a:lnTo>
                  <a:lnTo>
                    <a:pt x="746" y="878"/>
                  </a:lnTo>
                  <a:lnTo>
                    <a:pt x="746" y="878"/>
                  </a:lnTo>
                  <a:lnTo>
                    <a:pt x="746" y="878"/>
                  </a:lnTo>
                  <a:lnTo>
                    <a:pt x="748" y="876"/>
                  </a:lnTo>
                  <a:lnTo>
                    <a:pt x="748" y="876"/>
                  </a:lnTo>
                  <a:lnTo>
                    <a:pt x="750" y="876"/>
                  </a:lnTo>
                  <a:lnTo>
                    <a:pt x="750" y="876"/>
                  </a:lnTo>
                  <a:lnTo>
                    <a:pt x="752" y="876"/>
                  </a:lnTo>
                  <a:lnTo>
                    <a:pt x="755" y="875"/>
                  </a:lnTo>
                  <a:lnTo>
                    <a:pt x="755" y="873"/>
                  </a:lnTo>
                  <a:lnTo>
                    <a:pt x="757" y="871"/>
                  </a:lnTo>
                  <a:lnTo>
                    <a:pt x="757" y="867"/>
                  </a:lnTo>
                  <a:lnTo>
                    <a:pt x="757" y="864"/>
                  </a:lnTo>
                  <a:lnTo>
                    <a:pt x="755" y="862"/>
                  </a:lnTo>
                  <a:lnTo>
                    <a:pt x="755" y="860"/>
                  </a:lnTo>
                  <a:lnTo>
                    <a:pt x="755" y="858"/>
                  </a:lnTo>
                  <a:lnTo>
                    <a:pt x="755" y="858"/>
                  </a:lnTo>
                  <a:lnTo>
                    <a:pt x="757" y="858"/>
                  </a:lnTo>
                  <a:lnTo>
                    <a:pt x="757" y="858"/>
                  </a:lnTo>
                  <a:lnTo>
                    <a:pt x="759" y="858"/>
                  </a:lnTo>
                  <a:lnTo>
                    <a:pt x="759" y="858"/>
                  </a:lnTo>
                  <a:lnTo>
                    <a:pt x="759" y="857"/>
                  </a:lnTo>
                  <a:lnTo>
                    <a:pt x="759" y="855"/>
                  </a:lnTo>
                  <a:lnTo>
                    <a:pt x="757" y="853"/>
                  </a:lnTo>
                  <a:lnTo>
                    <a:pt x="741" y="855"/>
                  </a:lnTo>
                  <a:lnTo>
                    <a:pt x="735" y="857"/>
                  </a:lnTo>
                  <a:lnTo>
                    <a:pt x="724" y="857"/>
                  </a:lnTo>
                  <a:lnTo>
                    <a:pt x="724" y="855"/>
                  </a:lnTo>
                  <a:lnTo>
                    <a:pt x="723" y="855"/>
                  </a:lnTo>
                  <a:lnTo>
                    <a:pt x="723" y="853"/>
                  </a:lnTo>
                  <a:lnTo>
                    <a:pt x="723" y="851"/>
                  </a:lnTo>
                  <a:lnTo>
                    <a:pt x="721" y="851"/>
                  </a:lnTo>
                  <a:lnTo>
                    <a:pt x="721" y="853"/>
                  </a:lnTo>
                  <a:lnTo>
                    <a:pt x="721" y="853"/>
                  </a:lnTo>
                  <a:lnTo>
                    <a:pt x="723" y="855"/>
                  </a:lnTo>
                  <a:lnTo>
                    <a:pt x="721" y="853"/>
                  </a:lnTo>
                  <a:lnTo>
                    <a:pt x="715" y="853"/>
                  </a:lnTo>
                  <a:lnTo>
                    <a:pt x="715" y="853"/>
                  </a:lnTo>
                  <a:lnTo>
                    <a:pt x="715" y="853"/>
                  </a:lnTo>
                  <a:lnTo>
                    <a:pt x="714" y="853"/>
                  </a:lnTo>
                  <a:lnTo>
                    <a:pt x="714" y="853"/>
                  </a:lnTo>
                  <a:lnTo>
                    <a:pt x="715" y="851"/>
                  </a:lnTo>
                  <a:lnTo>
                    <a:pt x="717" y="851"/>
                  </a:lnTo>
                  <a:lnTo>
                    <a:pt x="719" y="849"/>
                  </a:lnTo>
                  <a:lnTo>
                    <a:pt x="719" y="849"/>
                  </a:lnTo>
                  <a:lnTo>
                    <a:pt x="721" y="849"/>
                  </a:lnTo>
                  <a:lnTo>
                    <a:pt x="723" y="849"/>
                  </a:lnTo>
                  <a:lnTo>
                    <a:pt x="723" y="849"/>
                  </a:lnTo>
                  <a:lnTo>
                    <a:pt x="723" y="849"/>
                  </a:lnTo>
                  <a:lnTo>
                    <a:pt x="723" y="848"/>
                  </a:lnTo>
                  <a:lnTo>
                    <a:pt x="721" y="848"/>
                  </a:lnTo>
                  <a:lnTo>
                    <a:pt x="714" y="846"/>
                  </a:lnTo>
                  <a:lnTo>
                    <a:pt x="710" y="848"/>
                  </a:lnTo>
                  <a:lnTo>
                    <a:pt x="710" y="848"/>
                  </a:lnTo>
                  <a:lnTo>
                    <a:pt x="710" y="848"/>
                  </a:lnTo>
                  <a:lnTo>
                    <a:pt x="710" y="848"/>
                  </a:lnTo>
                  <a:lnTo>
                    <a:pt x="708" y="848"/>
                  </a:lnTo>
                  <a:lnTo>
                    <a:pt x="706" y="849"/>
                  </a:lnTo>
                  <a:lnTo>
                    <a:pt x="706" y="848"/>
                  </a:lnTo>
                  <a:lnTo>
                    <a:pt x="706" y="848"/>
                  </a:lnTo>
                  <a:lnTo>
                    <a:pt x="708" y="848"/>
                  </a:lnTo>
                  <a:lnTo>
                    <a:pt x="708" y="848"/>
                  </a:lnTo>
                  <a:lnTo>
                    <a:pt x="708" y="846"/>
                  </a:lnTo>
                  <a:lnTo>
                    <a:pt x="708" y="846"/>
                  </a:lnTo>
                  <a:lnTo>
                    <a:pt x="710" y="844"/>
                  </a:lnTo>
                  <a:lnTo>
                    <a:pt x="712" y="844"/>
                  </a:lnTo>
                  <a:lnTo>
                    <a:pt x="714" y="844"/>
                  </a:lnTo>
                  <a:lnTo>
                    <a:pt x="714" y="844"/>
                  </a:lnTo>
                  <a:lnTo>
                    <a:pt x="715" y="844"/>
                  </a:lnTo>
                  <a:lnTo>
                    <a:pt x="715" y="844"/>
                  </a:lnTo>
                  <a:lnTo>
                    <a:pt x="715" y="844"/>
                  </a:lnTo>
                  <a:lnTo>
                    <a:pt x="717" y="844"/>
                  </a:lnTo>
                  <a:lnTo>
                    <a:pt x="717" y="844"/>
                  </a:lnTo>
                  <a:lnTo>
                    <a:pt x="719" y="842"/>
                  </a:lnTo>
                  <a:lnTo>
                    <a:pt x="719" y="842"/>
                  </a:lnTo>
                  <a:lnTo>
                    <a:pt x="719" y="842"/>
                  </a:lnTo>
                  <a:lnTo>
                    <a:pt x="719" y="842"/>
                  </a:lnTo>
                  <a:lnTo>
                    <a:pt x="719" y="842"/>
                  </a:lnTo>
                  <a:lnTo>
                    <a:pt x="719" y="842"/>
                  </a:lnTo>
                  <a:lnTo>
                    <a:pt x="721" y="842"/>
                  </a:lnTo>
                  <a:lnTo>
                    <a:pt x="724" y="842"/>
                  </a:lnTo>
                  <a:lnTo>
                    <a:pt x="728" y="842"/>
                  </a:lnTo>
                  <a:lnTo>
                    <a:pt x="728" y="842"/>
                  </a:lnTo>
                  <a:lnTo>
                    <a:pt x="730" y="840"/>
                  </a:lnTo>
                  <a:lnTo>
                    <a:pt x="733" y="839"/>
                  </a:lnTo>
                  <a:lnTo>
                    <a:pt x="733" y="835"/>
                  </a:lnTo>
                  <a:lnTo>
                    <a:pt x="733" y="835"/>
                  </a:lnTo>
                  <a:lnTo>
                    <a:pt x="733" y="835"/>
                  </a:lnTo>
                  <a:lnTo>
                    <a:pt x="732" y="835"/>
                  </a:lnTo>
                  <a:lnTo>
                    <a:pt x="733" y="835"/>
                  </a:lnTo>
                  <a:lnTo>
                    <a:pt x="733" y="835"/>
                  </a:lnTo>
                  <a:lnTo>
                    <a:pt x="733" y="833"/>
                  </a:lnTo>
                  <a:lnTo>
                    <a:pt x="733" y="831"/>
                  </a:lnTo>
                  <a:lnTo>
                    <a:pt x="733" y="831"/>
                  </a:lnTo>
                  <a:lnTo>
                    <a:pt x="733" y="831"/>
                  </a:lnTo>
                  <a:lnTo>
                    <a:pt x="733" y="830"/>
                  </a:lnTo>
                  <a:lnTo>
                    <a:pt x="733" y="830"/>
                  </a:lnTo>
                  <a:lnTo>
                    <a:pt x="733" y="828"/>
                  </a:lnTo>
                  <a:lnTo>
                    <a:pt x="733" y="828"/>
                  </a:lnTo>
                  <a:lnTo>
                    <a:pt x="733" y="828"/>
                  </a:lnTo>
                  <a:lnTo>
                    <a:pt x="733" y="828"/>
                  </a:lnTo>
                  <a:lnTo>
                    <a:pt x="733" y="826"/>
                  </a:lnTo>
                  <a:lnTo>
                    <a:pt x="733" y="826"/>
                  </a:lnTo>
                  <a:lnTo>
                    <a:pt x="732" y="826"/>
                  </a:lnTo>
                  <a:lnTo>
                    <a:pt x="730" y="828"/>
                  </a:lnTo>
                  <a:lnTo>
                    <a:pt x="730" y="828"/>
                  </a:lnTo>
                  <a:lnTo>
                    <a:pt x="726" y="828"/>
                  </a:lnTo>
                  <a:lnTo>
                    <a:pt x="724" y="830"/>
                  </a:lnTo>
                  <a:lnTo>
                    <a:pt x="724" y="828"/>
                  </a:lnTo>
                  <a:lnTo>
                    <a:pt x="723" y="828"/>
                  </a:lnTo>
                  <a:lnTo>
                    <a:pt x="723" y="828"/>
                  </a:lnTo>
                  <a:lnTo>
                    <a:pt x="721" y="828"/>
                  </a:lnTo>
                  <a:lnTo>
                    <a:pt x="723" y="826"/>
                  </a:lnTo>
                  <a:lnTo>
                    <a:pt x="724" y="826"/>
                  </a:lnTo>
                  <a:lnTo>
                    <a:pt x="726" y="826"/>
                  </a:lnTo>
                  <a:lnTo>
                    <a:pt x="726" y="826"/>
                  </a:lnTo>
                  <a:lnTo>
                    <a:pt x="728" y="826"/>
                  </a:lnTo>
                  <a:lnTo>
                    <a:pt x="728" y="826"/>
                  </a:lnTo>
                  <a:lnTo>
                    <a:pt x="728" y="826"/>
                  </a:lnTo>
                  <a:lnTo>
                    <a:pt x="730" y="826"/>
                  </a:lnTo>
                  <a:lnTo>
                    <a:pt x="730" y="826"/>
                  </a:lnTo>
                  <a:lnTo>
                    <a:pt x="730" y="824"/>
                  </a:lnTo>
                  <a:lnTo>
                    <a:pt x="730" y="824"/>
                  </a:lnTo>
                  <a:lnTo>
                    <a:pt x="730" y="822"/>
                  </a:lnTo>
                  <a:lnTo>
                    <a:pt x="730" y="822"/>
                  </a:lnTo>
                  <a:lnTo>
                    <a:pt x="732" y="822"/>
                  </a:lnTo>
                  <a:lnTo>
                    <a:pt x="733" y="820"/>
                  </a:lnTo>
                  <a:lnTo>
                    <a:pt x="735" y="820"/>
                  </a:lnTo>
                  <a:lnTo>
                    <a:pt x="735" y="819"/>
                  </a:lnTo>
                  <a:lnTo>
                    <a:pt x="735" y="817"/>
                  </a:lnTo>
                  <a:lnTo>
                    <a:pt x="735" y="819"/>
                  </a:lnTo>
                  <a:lnTo>
                    <a:pt x="737" y="820"/>
                  </a:lnTo>
                  <a:lnTo>
                    <a:pt x="739" y="822"/>
                  </a:lnTo>
                  <a:lnTo>
                    <a:pt x="739" y="822"/>
                  </a:lnTo>
                  <a:lnTo>
                    <a:pt x="739" y="822"/>
                  </a:lnTo>
                  <a:lnTo>
                    <a:pt x="743" y="822"/>
                  </a:lnTo>
                  <a:lnTo>
                    <a:pt x="744" y="822"/>
                  </a:lnTo>
                  <a:lnTo>
                    <a:pt x="748" y="820"/>
                  </a:lnTo>
                  <a:lnTo>
                    <a:pt x="750" y="817"/>
                  </a:lnTo>
                  <a:lnTo>
                    <a:pt x="752" y="817"/>
                  </a:lnTo>
                  <a:lnTo>
                    <a:pt x="752" y="815"/>
                  </a:lnTo>
                  <a:lnTo>
                    <a:pt x="750" y="815"/>
                  </a:lnTo>
                  <a:lnTo>
                    <a:pt x="750" y="815"/>
                  </a:lnTo>
                  <a:lnTo>
                    <a:pt x="750" y="815"/>
                  </a:lnTo>
                  <a:lnTo>
                    <a:pt x="748" y="815"/>
                  </a:lnTo>
                  <a:lnTo>
                    <a:pt x="746" y="815"/>
                  </a:lnTo>
                  <a:lnTo>
                    <a:pt x="746" y="815"/>
                  </a:lnTo>
                  <a:lnTo>
                    <a:pt x="750" y="811"/>
                  </a:lnTo>
                  <a:lnTo>
                    <a:pt x="750" y="810"/>
                  </a:lnTo>
                  <a:lnTo>
                    <a:pt x="750" y="810"/>
                  </a:lnTo>
                  <a:lnTo>
                    <a:pt x="741" y="810"/>
                  </a:lnTo>
                  <a:lnTo>
                    <a:pt x="741" y="808"/>
                  </a:lnTo>
                  <a:lnTo>
                    <a:pt x="741" y="808"/>
                  </a:lnTo>
                  <a:lnTo>
                    <a:pt x="744" y="808"/>
                  </a:lnTo>
                  <a:lnTo>
                    <a:pt x="744" y="808"/>
                  </a:lnTo>
                  <a:lnTo>
                    <a:pt x="746" y="808"/>
                  </a:lnTo>
                  <a:lnTo>
                    <a:pt x="746" y="808"/>
                  </a:lnTo>
                  <a:lnTo>
                    <a:pt x="748" y="808"/>
                  </a:lnTo>
                  <a:lnTo>
                    <a:pt x="748" y="808"/>
                  </a:lnTo>
                  <a:lnTo>
                    <a:pt x="750" y="808"/>
                  </a:lnTo>
                  <a:lnTo>
                    <a:pt x="750" y="808"/>
                  </a:lnTo>
                  <a:lnTo>
                    <a:pt x="750" y="808"/>
                  </a:lnTo>
                  <a:lnTo>
                    <a:pt x="750" y="806"/>
                  </a:lnTo>
                  <a:lnTo>
                    <a:pt x="750" y="806"/>
                  </a:lnTo>
                  <a:lnTo>
                    <a:pt x="750" y="806"/>
                  </a:lnTo>
                  <a:lnTo>
                    <a:pt x="748" y="806"/>
                  </a:lnTo>
                  <a:lnTo>
                    <a:pt x="746" y="804"/>
                  </a:lnTo>
                  <a:lnTo>
                    <a:pt x="744" y="802"/>
                  </a:lnTo>
                  <a:lnTo>
                    <a:pt x="744" y="802"/>
                  </a:lnTo>
                  <a:lnTo>
                    <a:pt x="746" y="802"/>
                  </a:lnTo>
                  <a:lnTo>
                    <a:pt x="748" y="804"/>
                  </a:lnTo>
                  <a:lnTo>
                    <a:pt x="750" y="806"/>
                  </a:lnTo>
                  <a:lnTo>
                    <a:pt x="753" y="810"/>
                  </a:lnTo>
                  <a:lnTo>
                    <a:pt x="753" y="810"/>
                  </a:lnTo>
                  <a:lnTo>
                    <a:pt x="753" y="808"/>
                  </a:lnTo>
                  <a:lnTo>
                    <a:pt x="757" y="804"/>
                  </a:lnTo>
                  <a:lnTo>
                    <a:pt x="759" y="802"/>
                  </a:lnTo>
                  <a:lnTo>
                    <a:pt x="759" y="802"/>
                  </a:lnTo>
                  <a:lnTo>
                    <a:pt x="759" y="802"/>
                  </a:lnTo>
                  <a:lnTo>
                    <a:pt x="761" y="801"/>
                  </a:lnTo>
                  <a:lnTo>
                    <a:pt x="761" y="801"/>
                  </a:lnTo>
                  <a:lnTo>
                    <a:pt x="761" y="801"/>
                  </a:lnTo>
                  <a:lnTo>
                    <a:pt x="762" y="801"/>
                  </a:lnTo>
                  <a:lnTo>
                    <a:pt x="766" y="799"/>
                  </a:lnTo>
                  <a:lnTo>
                    <a:pt x="766" y="797"/>
                  </a:lnTo>
                  <a:lnTo>
                    <a:pt x="766" y="797"/>
                  </a:lnTo>
                  <a:lnTo>
                    <a:pt x="766" y="795"/>
                  </a:lnTo>
                  <a:lnTo>
                    <a:pt x="766" y="793"/>
                  </a:lnTo>
                  <a:lnTo>
                    <a:pt x="768" y="790"/>
                  </a:lnTo>
                  <a:lnTo>
                    <a:pt x="768" y="788"/>
                  </a:lnTo>
                  <a:lnTo>
                    <a:pt x="768" y="784"/>
                  </a:lnTo>
                  <a:lnTo>
                    <a:pt x="768" y="783"/>
                  </a:lnTo>
                  <a:lnTo>
                    <a:pt x="768" y="783"/>
                  </a:lnTo>
                  <a:lnTo>
                    <a:pt x="770" y="781"/>
                  </a:lnTo>
                  <a:lnTo>
                    <a:pt x="771" y="779"/>
                  </a:lnTo>
                  <a:lnTo>
                    <a:pt x="773" y="772"/>
                  </a:lnTo>
                  <a:lnTo>
                    <a:pt x="773" y="772"/>
                  </a:lnTo>
                  <a:lnTo>
                    <a:pt x="773" y="772"/>
                  </a:lnTo>
                  <a:lnTo>
                    <a:pt x="775" y="766"/>
                  </a:lnTo>
                  <a:lnTo>
                    <a:pt x="775" y="766"/>
                  </a:lnTo>
                  <a:lnTo>
                    <a:pt x="775" y="764"/>
                  </a:lnTo>
                  <a:lnTo>
                    <a:pt x="773" y="761"/>
                  </a:lnTo>
                  <a:close/>
                  <a:moveTo>
                    <a:pt x="540" y="205"/>
                  </a:moveTo>
                  <a:lnTo>
                    <a:pt x="542" y="203"/>
                  </a:lnTo>
                  <a:lnTo>
                    <a:pt x="542" y="201"/>
                  </a:lnTo>
                  <a:lnTo>
                    <a:pt x="540" y="201"/>
                  </a:lnTo>
                  <a:lnTo>
                    <a:pt x="538" y="201"/>
                  </a:lnTo>
                  <a:lnTo>
                    <a:pt x="537" y="201"/>
                  </a:lnTo>
                  <a:lnTo>
                    <a:pt x="535" y="203"/>
                  </a:lnTo>
                  <a:lnTo>
                    <a:pt x="535" y="203"/>
                  </a:lnTo>
                  <a:lnTo>
                    <a:pt x="538" y="203"/>
                  </a:lnTo>
                  <a:lnTo>
                    <a:pt x="538" y="203"/>
                  </a:lnTo>
                  <a:lnTo>
                    <a:pt x="537" y="205"/>
                  </a:lnTo>
                  <a:lnTo>
                    <a:pt x="537" y="205"/>
                  </a:lnTo>
                  <a:lnTo>
                    <a:pt x="537" y="205"/>
                  </a:lnTo>
                  <a:lnTo>
                    <a:pt x="535" y="203"/>
                  </a:lnTo>
                  <a:lnTo>
                    <a:pt x="537" y="206"/>
                  </a:lnTo>
                  <a:lnTo>
                    <a:pt x="537" y="208"/>
                  </a:lnTo>
                  <a:lnTo>
                    <a:pt x="537" y="208"/>
                  </a:lnTo>
                  <a:lnTo>
                    <a:pt x="537" y="208"/>
                  </a:lnTo>
                  <a:lnTo>
                    <a:pt x="538" y="212"/>
                  </a:lnTo>
                  <a:lnTo>
                    <a:pt x="540" y="210"/>
                  </a:lnTo>
                  <a:lnTo>
                    <a:pt x="540" y="210"/>
                  </a:lnTo>
                  <a:lnTo>
                    <a:pt x="540" y="208"/>
                  </a:lnTo>
                  <a:lnTo>
                    <a:pt x="540" y="206"/>
                  </a:lnTo>
                  <a:lnTo>
                    <a:pt x="540" y="206"/>
                  </a:lnTo>
                  <a:lnTo>
                    <a:pt x="540" y="206"/>
                  </a:lnTo>
                  <a:lnTo>
                    <a:pt x="540" y="205"/>
                  </a:lnTo>
                  <a:lnTo>
                    <a:pt x="540" y="205"/>
                  </a:lnTo>
                  <a:lnTo>
                    <a:pt x="540" y="205"/>
                  </a:lnTo>
                  <a:close/>
                  <a:moveTo>
                    <a:pt x="515" y="197"/>
                  </a:moveTo>
                  <a:lnTo>
                    <a:pt x="515" y="197"/>
                  </a:lnTo>
                  <a:lnTo>
                    <a:pt x="517" y="197"/>
                  </a:lnTo>
                  <a:lnTo>
                    <a:pt x="517" y="197"/>
                  </a:lnTo>
                  <a:lnTo>
                    <a:pt x="517" y="197"/>
                  </a:lnTo>
                  <a:lnTo>
                    <a:pt x="517" y="197"/>
                  </a:lnTo>
                  <a:lnTo>
                    <a:pt x="517" y="197"/>
                  </a:lnTo>
                  <a:lnTo>
                    <a:pt x="517" y="199"/>
                  </a:lnTo>
                  <a:lnTo>
                    <a:pt x="517" y="199"/>
                  </a:lnTo>
                  <a:lnTo>
                    <a:pt x="517" y="199"/>
                  </a:lnTo>
                  <a:lnTo>
                    <a:pt x="519" y="201"/>
                  </a:lnTo>
                  <a:lnTo>
                    <a:pt x="519" y="203"/>
                  </a:lnTo>
                  <a:lnTo>
                    <a:pt x="519" y="203"/>
                  </a:lnTo>
                  <a:lnTo>
                    <a:pt x="520" y="203"/>
                  </a:lnTo>
                  <a:lnTo>
                    <a:pt x="520" y="205"/>
                  </a:lnTo>
                  <a:lnTo>
                    <a:pt x="520" y="206"/>
                  </a:lnTo>
                  <a:lnTo>
                    <a:pt x="520" y="206"/>
                  </a:lnTo>
                  <a:lnTo>
                    <a:pt x="526" y="206"/>
                  </a:lnTo>
                  <a:lnTo>
                    <a:pt x="528" y="206"/>
                  </a:lnTo>
                  <a:lnTo>
                    <a:pt x="529" y="205"/>
                  </a:lnTo>
                  <a:lnTo>
                    <a:pt x="528" y="205"/>
                  </a:lnTo>
                  <a:lnTo>
                    <a:pt x="526" y="205"/>
                  </a:lnTo>
                  <a:lnTo>
                    <a:pt x="524" y="206"/>
                  </a:lnTo>
                  <a:lnTo>
                    <a:pt x="524" y="205"/>
                  </a:lnTo>
                  <a:lnTo>
                    <a:pt x="526" y="203"/>
                  </a:lnTo>
                  <a:lnTo>
                    <a:pt x="526" y="203"/>
                  </a:lnTo>
                  <a:lnTo>
                    <a:pt x="528" y="203"/>
                  </a:lnTo>
                  <a:lnTo>
                    <a:pt x="528" y="203"/>
                  </a:lnTo>
                  <a:lnTo>
                    <a:pt x="528" y="201"/>
                  </a:lnTo>
                  <a:lnTo>
                    <a:pt x="526" y="201"/>
                  </a:lnTo>
                  <a:lnTo>
                    <a:pt x="526" y="201"/>
                  </a:lnTo>
                  <a:lnTo>
                    <a:pt x="526" y="201"/>
                  </a:lnTo>
                  <a:lnTo>
                    <a:pt x="526" y="199"/>
                  </a:lnTo>
                  <a:lnTo>
                    <a:pt x="524" y="195"/>
                  </a:lnTo>
                  <a:lnTo>
                    <a:pt x="522" y="195"/>
                  </a:lnTo>
                  <a:lnTo>
                    <a:pt x="522" y="194"/>
                  </a:lnTo>
                  <a:lnTo>
                    <a:pt x="520" y="192"/>
                  </a:lnTo>
                  <a:lnTo>
                    <a:pt x="519" y="192"/>
                  </a:lnTo>
                  <a:lnTo>
                    <a:pt x="519" y="192"/>
                  </a:lnTo>
                  <a:lnTo>
                    <a:pt x="517" y="194"/>
                  </a:lnTo>
                  <a:lnTo>
                    <a:pt x="515" y="194"/>
                  </a:lnTo>
                  <a:lnTo>
                    <a:pt x="515" y="194"/>
                  </a:lnTo>
                  <a:lnTo>
                    <a:pt x="515" y="197"/>
                  </a:lnTo>
                  <a:lnTo>
                    <a:pt x="515" y="197"/>
                  </a:lnTo>
                  <a:lnTo>
                    <a:pt x="515" y="197"/>
                  </a:lnTo>
                  <a:close/>
                  <a:moveTo>
                    <a:pt x="520" y="190"/>
                  </a:moveTo>
                  <a:lnTo>
                    <a:pt x="522" y="190"/>
                  </a:lnTo>
                  <a:lnTo>
                    <a:pt x="522" y="190"/>
                  </a:lnTo>
                  <a:lnTo>
                    <a:pt x="522" y="188"/>
                  </a:lnTo>
                  <a:lnTo>
                    <a:pt x="524" y="188"/>
                  </a:lnTo>
                  <a:lnTo>
                    <a:pt x="522" y="186"/>
                  </a:lnTo>
                  <a:lnTo>
                    <a:pt x="522" y="186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4" y="185"/>
                  </a:lnTo>
                  <a:lnTo>
                    <a:pt x="524" y="185"/>
                  </a:lnTo>
                  <a:lnTo>
                    <a:pt x="524" y="185"/>
                  </a:lnTo>
                  <a:lnTo>
                    <a:pt x="524" y="183"/>
                  </a:lnTo>
                  <a:lnTo>
                    <a:pt x="524" y="183"/>
                  </a:lnTo>
                  <a:lnTo>
                    <a:pt x="524" y="183"/>
                  </a:lnTo>
                  <a:lnTo>
                    <a:pt x="524" y="181"/>
                  </a:lnTo>
                  <a:lnTo>
                    <a:pt x="524" y="181"/>
                  </a:lnTo>
                  <a:lnTo>
                    <a:pt x="526" y="183"/>
                  </a:lnTo>
                  <a:lnTo>
                    <a:pt x="526" y="183"/>
                  </a:lnTo>
                  <a:lnTo>
                    <a:pt x="526" y="183"/>
                  </a:lnTo>
                  <a:lnTo>
                    <a:pt x="526" y="185"/>
                  </a:lnTo>
                  <a:lnTo>
                    <a:pt x="526" y="185"/>
                  </a:lnTo>
                  <a:lnTo>
                    <a:pt x="526" y="186"/>
                  </a:lnTo>
                  <a:lnTo>
                    <a:pt x="524" y="188"/>
                  </a:lnTo>
                  <a:lnTo>
                    <a:pt x="524" y="190"/>
                  </a:lnTo>
                  <a:lnTo>
                    <a:pt x="524" y="192"/>
                  </a:lnTo>
                  <a:lnTo>
                    <a:pt x="526" y="194"/>
                  </a:lnTo>
                  <a:lnTo>
                    <a:pt x="529" y="194"/>
                  </a:lnTo>
                  <a:lnTo>
                    <a:pt x="529" y="194"/>
                  </a:lnTo>
                  <a:lnTo>
                    <a:pt x="531" y="192"/>
                  </a:lnTo>
                  <a:lnTo>
                    <a:pt x="531" y="192"/>
                  </a:lnTo>
                  <a:lnTo>
                    <a:pt x="533" y="192"/>
                  </a:lnTo>
                  <a:lnTo>
                    <a:pt x="531" y="190"/>
                  </a:lnTo>
                  <a:lnTo>
                    <a:pt x="533" y="190"/>
                  </a:lnTo>
                  <a:lnTo>
                    <a:pt x="533" y="192"/>
                  </a:lnTo>
                  <a:lnTo>
                    <a:pt x="533" y="192"/>
                  </a:lnTo>
                  <a:lnTo>
                    <a:pt x="535" y="190"/>
                  </a:lnTo>
                  <a:lnTo>
                    <a:pt x="535" y="192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8" y="194"/>
                  </a:lnTo>
                  <a:lnTo>
                    <a:pt x="540" y="194"/>
                  </a:lnTo>
                  <a:lnTo>
                    <a:pt x="540" y="195"/>
                  </a:lnTo>
                  <a:lnTo>
                    <a:pt x="544" y="197"/>
                  </a:lnTo>
                  <a:lnTo>
                    <a:pt x="546" y="197"/>
                  </a:lnTo>
                  <a:lnTo>
                    <a:pt x="546" y="195"/>
                  </a:lnTo>
                  <a:lnTo>
                    <a:pt x="547" y="194"/>
                  </a:lnTo>
                  <a:lnTo>
                    <a:pt x="547" y="194"/>
                  </a:lnTo>
                  <a:lnTo>
                    <a:pt x="549" y="194"/>
                  </a:lnTo>
                  <a:lnTo>
                    <a:pt x="551" y="192"/>
                  </a:lnTo>
                  <a:lnTo>
                    <a:pt x="551" y="192"/>
                  </a:lnTo>
                  <a:lnTo>
                    <a:pt x="551" y="190"/>
                  </a:lnTo>
                  <a:lnTo>
                    <a:pt x="551" y="190"/>
                  </a:lnTo>
                  <a:lnTo>
                    <a:pt x="551" y="188"/>
                  </a:lnTo>
                  <a:lnTo>
                    <a:pt x="549" y="188"/>
                  </a:lnTo>
                  <a:lnTo>
                    <a:pt x="549" y="188"/>
                  </a:lnTo>
                  <a:lnTo>
                    <a:pt x="547" y="190"/>
                  </a:lnTo>
                  <a:lnTo>
                    <a:pt x="546" y="190"/>
                  </a:lnTo>
                  <a:lnTo>
                    <a:pt x="547" y="190"/>
                  </a:lnTo>
                  <a:lnTo>
                    <a:pt x="547" y="192"/>
                  </a:lnTo>
                  <a:lnTo>
                    <a:pt x="546" y="192"/>
                  </a:lnTo>
                  <a:lnTo>
                    <a:pt x="546" y="192"/>
                  </a:lnTo>
                  <a:lnTo>
                    <a:pt x="546" y="192"/>
                  </a:lnTo>
                  <a:lnTo>
                    <a:pt x="544" y="190"/>
                  </a:lnTo>
                  <a:lnTo>
                    <a:pt x="546" y="190"/>
                  </a:lnTo>
                  <a:lnTo>
                    <a:pt x="547" y="188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4" y="186"/>
                  </a:lnTo>
                  <a:lnTo>
                    <a:pt x="544" y="186"/>
                  </a:lnTo>
                  <a:lnTo>
                    <a:pt x="542" y="188"/>
                  </a:lnTo>
                  <a:lnTo>
                    <a:pt x="542" y="188"/>
                  </a:lnTo>
                  <a:lnTo>
                    <a:pt x="542" y="186"/>
                  </a:lnTo>
                  <a:lnTo>
                    <a:pt x="542" y="186"/>
                  </a:lnTo>
                  <a:lnTo>
                    <a:pt x="542" y="185"/>
                  </a:lnTo>
                  <a:lnTo>
                    <a:pt x="542" y="186"/>
                  </a:lnTo>
                  <a:lnTo>
                    <a:pt x="540" y="186"/>
                  </a:lnTo>
                  <a:lnTo>
                    <a:pt x="540" y="185"/>
                  </a:lnTo>
                  <a:lnTo>
                    <a:pt x="540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7" y="185"/>
                  </a:lnTo>
                  <a:lnTo>
                    <a:pt x="535" y="183"/>
                  </a:lnTo>
                  <a:lnTo>
                    <a:pt x="535" y="185"/>
                  </a:lnTo>
                  <a:lnTo>
                    <a:pt x="533" y="185"/>
                  </a:lnTo>
                  <a:lnTo>
                    <a:pt x="533" y="186"/>
                  </a:lnTo>
                  <a:lnTo>
                    <a:pt x="531" y="186"/>
                  </a:lnTo>
                  <a:lnTo>
                    <a:pt x="529" y="185"/>
                  </a:lnTo>
                  <a:lnTo>
                    <a:pt x="529" y="185"/>
                  </a:lnTo>
                  <a:lnTo>
                    <a:pt x="531" y="185"/>
                  </a:lnTo>
                  <a:lnTo>
                    <a:pt x="531" y="183"/>
                  </a:lnTo>
                  <a:lnTo>
                    <a:pt x="533" y="183"/>
                  </a:lnTo>
                  <a:lnTo>
                    <a:pt x="533" y="181"/>
                  </a:lnTo>
                  <a:lnTo>
                    <a:pt x="533" y="181"/>
                  </a:lnTo>
                  <a:lnTo>
                    <a:pt x="537" y="179"/>
                  </a:lnTo>
                  <a:lnTo>
                    <a:pt x="537" y="179"/>
                  </a:lnTo>
                  <a:lnTo>
                    <a:pt x="537" y="179"/>
                  </a:lnTo>
                  <a:lnTo>
                    <a:pt x="537" y="179"/>
                  </a:lnTo>
                  <a:lnTo>
                    <a:pt x="537" y="179"/>
                  </a:lnTo>
                  <a:lnTo>
                    <a:pt x="537" y="179"/>
                  </a:lnTo>
                  <a:lnTo>
                    <a:pt x="537" y="177"/>
                  </a:lnTo>
                  <a:lnTo>
                    <a:pt x="533" y="177"/>
                  </a:lnTo>
                  <a:lnTo>
                    <a:pt x="533" y="176"/>
                  </a:lnTo>
                  <a:lnTo>
                    <a:pt x="533" y="176"/>
                  </a:lnTo>
                  <a:lnTo>
                    <a:pt x="533" y="176"/>
                  </a:lnTo>
                  <a:lnTo>
                    <a:pt x="533" y="174"/>
                  </a:lnTo>
                  <a:lnTo>
                    <a:pt x="533" y="174"/>
                  </a:lnTo>
                  <a:lnTo>
                    <a:pt x="531" y="172"/>
                  </a:lnTo>
                  <a:lnTo>
                    <a:pt x="531" y="174"/>
                  </a:lnTo>
                  <a:lnTo>
                    <a:pt x="531" y="174"/>
                  </a:lnTo>
                  <a:lnTo>
                    <a:pt x="529" y="174"/>
                  </a:lnTo>
                  <a:lnTo>
                    <a:pt x="528" y="172"/>
                  </a:lnTo>
                  <a:lnTo>
                    <a:pt x="528" y="170"/>
                  </a:lnTo>
                  <a:lnTo>
                    <a:pt x="524" y="170"/>
                  </a:lnTo>
                  <a:lnTo>
                    <a:pt x="522" y="172"/>
                  </a:lnTo>
                  <a:lnTo>
                    <a:pt x="520" y="174"/>
                  </a:lnTo>
                  <a:lnTo>
                    <a:pt x="519" y="176"/>
                  </a:lnTo>
                  <a:lnTo>
                    <a:pt x="519" y="181"/>
                  </a:lnTo>
                  <a:lnTo>
                    <a:pt x="519" y="181"/>
                  </a:lnTo>
                  <a:lnTo>
                    <a:pt x="519" y="185"/>
                  </a:lnTo>
                  <a:lnTo>
                    <a:pt x="519" y="186"/>
                  </a:lnTo>
                  <a:lnTo>
                    <a:pt x="520" y="190"/>
                  </a:lnTo>
                  <a:close/>
                  <a:moveTo>
                    <a:pt x="555" y="176"/>
                  </a:moveTo>
                  <a:lnTo>
                    <a:pt x="557" y="176"/>
                  </a:lnTo>
                  <a:lnTo>
                    <a:pt x="557" y="177"/>
                  </a:lnTo>
                  <a:lnTo>
                    <a:pt x="557" y="177"/>
                  </a:lnTo>
                  <a:lnTo>
                    <a:pt x="560" y="177"/>
                  </a:lnTo>
                  <a:lnTo>
                    <a:pt x="560" y="176"/>
                  </a:lnTo>
                  <a:lnTo>
                    <a:pt x="558" y="176"/>
                  </a:lnTo>
                  <a:lnTo>
                    <a:pt x="558" y="176"/>
                  </a:lnTo>
                  <a:lnTo>
                    <a:pt x="558" y="174"/>
                  </a:lnTo>
                  <a:lnTo>
                    <a:pt x="560" y="174"/>
                  </a:lnTo>
                  <a:lnTo>
                    <a:pt x="560" y="174"/>
                  </a:lnTo>
                  <a:lnTo>
                    <a:pt x="560" y="174"/>
                  </a:lnTo>
                  <a:lnTo>
                    <a:pt x="560" y="172"/>
                  </a:lnTo>
                  <a:lnTo>
                    <a:pt x="558" y="174"/>
                  </a:lnTo>
                  <a:lnTo>
                    <a:pt x="558" y="174"/>
                  </a:lnTo>
                  <a:lnTo>
                    <a:pt x="557" y="174"/>
                  </a:lnTo>
                  <a:lnTo>
                    <a:pt x="557" y="172"/>
                  </a:lnTo>
                  <a:lnTo>
                    <a:pt x="557" y="172"/>
                  </a:lnTo>
                  <a:lnTo>
                    <a:pt x="557" y="172"/>
                  </a:lnTo>
                  <a:lnTo>
                    <a:pt x="558" y="172"/>
                  </a:lnTo>
                  <a:lnTo>
                    <a:pt x="557" y="170"/>
                  </a:lnTo>
                  <a:lnTo>
                    <a:pt x="557" y="170"/>
                  </a:lnTo>
                  <a:lnTo>
                    <a:pt x="555" y="170"/>
                  </a:lnTo>
                  <a:lnTo>
                    <a:pt x="555" y="170"/>
                  </a:lnTo>
                  <a:lnTo>
                    <a:pt x="555" y="170"/>
                  </a:lnTo>
                  <a:lnTo>
                    <a:pt x="555" y="170"/>
                  </a:lnTo>
                  <a:lnTo>
                    <a:pt x="555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5" y="172"/>
                  </a:lnTo>
                  <a:lnTo>
                    <a:pt x="555" y="172"/>
                  </a:lnTo>
                  <a:lnTo>
                    <a:pt x="555" y="174"/>
                  </a:lnTo>
                  <a:lnTo>
                    <a:pt x="555" y="174"/>
                  </a:lnTo>
                  <a:lnTo>
                    <a:pt x="553" y="174"/>
                  </a:lnTo>
                  <a:lnTo>
                    <a:pt x="553" y="176"/>
                  </a:lnTo>
                  <a:lnTo>
                    <a:pt x="551" y="177"/>
                  </a:lnTo>
                  <a:lnTo>
                    <a:pt x="553" y="177"/>
                  </a:lnTo>
                  <a:lnTo>
                    <a:pt x="553" y="177"/>
                  </a:lnTo>
                  <a:lnTo>
                    <a:pt x="553" y="176"/>
                  </a:lnTo>
                  <a:lnTo>
                    <a:pt x="555" y="176"/>
                  </a:lnTo>
                  <a:lnTo>
                    <a:pt x="555" y="176"/>
                  </a:lnTo>
                  <a:close/>
                  <a:moveTo>
                    <a:pt x="531" y="172"/>
                  </a:moveTo>
                  <a:lnTo>
                    <a:pt x="533" y="172"/>
                  </a:lnTo>
                  <a:lnTo>
                    <a:pt x="535" y="172"/>
                  </a:lnTo>
                  <a:lnTo>
                    <a:pt x="537" y="172"/>
                  </a:lnTo>
                  <a:lnTo>
                    <a:pt x="537" y="172"/>
                  </a:lnTo>
                  <a:lnTo>
                    <a:pt x="537" y="170"/>
                  </a:lnTo>
                  <a:lnTo>
                    <a:pt x="537" y="170"/>
                  </a:lnTo>
                  <a:lnTo>
                    <a:pt x="538" y="168"/>
                  </a:lnTo>
                  <a:lnTo>
                    <a:pt x="538" y="168"/>
                  </a:lnTo>
                  <a:lnTo>
                    <a:pt x="538" y="168"/>
                  </a:lnTo>
                  <a:lnTo>
                    <a:pt x="538" y="168"/>
                  </a:lnTo>
                  <a:lnTo>
                    <a:pt x="538" y="168"/>
                  </a:lnTo>
                  <a:lnTo>
                    <a:pt x="538" y="167"/>
                  </a:lnTo>
                  <a:lnTo>
                    <a:pt x="537" y="167"/>
                  </a:lnTo>
                  <a:lnTo>
                    <a:pt x="535" y="168"/>
                  </a:lnTo>
                  <a:lnTo>
                    <a:pt x="535" y="168"/>
                  </a:lnTo>
                  <a:lnTo>
                    <a:pt x="535" y="168"/>
                  </a:lnTo>
                  <a:lnTo>
                    <a:pt x="535" y="167"/>
                  </a:lnTo>
                  <a:lnTo>
                    <a:pt x="533" y="167"/>
                  </a:lnTo>
                  <a:lnTo>
                    <a:pt x="533" y="167"/>
                  </a:lnTo>
                  <a:lnTo>
                    <a:pt x="533" y="167"/>
                  </a:lnTo>
                  <a:lnTo>
                    <a:pt x="533" y="167"/>
                  </a:lnTo>
                  <a:lnTo>
                    <a:pt x="531" y="167"/>
                  </a:lnTo>
                  <a:lnTo>
                    <a:pt x="529" y="168"/>
                  </a:lnTo>
                  <a:lnTo>
                    <a:pt x="531" y="170"/>
                  </a:lnTo>
                  <a:lnTo>
                    <a:pt x="531" y="172"/>
                  </a:lnTo>
                  <a:close/>
                  <a:moveTo>
                    <a:pt x="544" y="168"/>
                  </a:moveTo>
                  <a:lnTo>
                    <a:pt x="546" y="168"/>
                  </a:lnTo>
                  <a:lnTo>
                    <a:pt x="546" y="168"/>
                  </a:lnTo>
                  <a:lnTo>
                    <a:pt x="546" y="170"/>
                  </a:lnTo>
                  <a:lnTo>
                    <a:pt x="547" y="172"/>
                  </a:lnTo>
                  <a:lnTo>
                    <a:pt x="547" y="172"/>
                  </a:lnTo>
                  <a:lnTo>
                    <a:pt x="547" y="172"/>
                  </a:lnTo>
                  <a:lnTo>
                    <a:pt x="549" y="170"/>
                  </a:lnTo>
                  <a:lnTo>
                    <a:pt x="549" y="170"/>
                  </a:lnTo>
                  <a:lnTo>
                    <a:pt x="549" y="170"/>
                  </a:lnTo>
                  <a:lnTo>
                    <a:pt x="547" y="170"/>
                  </a:lnTo>
                  <a:lnTo>
                    <a:pt x="547" y="168"/>
                  </a:lnTo>
                  <a:lnTo>
                    <a:pt x="547" y="167"/>
                  </a:lnTo>
                  <a:lnTo>
                    <a:pt x="547" y="167"/>
                  </a:lnTo>
                  <a:lnTo>
                    <a:pt x="549" y="165"/>
                  </a:lnTo>
                  <a:lnTo>
                    <a:pt x="549" y="163"/>
                  </a:lnTo>
                  <a:lnTo>
                    <a:pt x="549" y="163"/>
                  </a:lnTo>
                  <a:lnTo>
                    <a:pt x="549" y="163"/>
                  </a:lnTo>
                  <a:lnTo>
                    <a:pt x="549" y="161"/>
                  </a:lnTo>
                  <a:lnTo>
                    <a:pt x="547" y="163"/>
                  </a:lnTo>
                  <a:lnTo>
                    <a:pt x="547" y="161"/>
                  </a:lnTo>
                  <a:lnTo>
                    <a:pt x="547" y="161"/>
                  </a:lnTo>
                  <a:lnTo>
                    <a:pt x="547" y="161"/>
                  </a:lnTo>
                  <a:lnTo>
                    <a:pt x="547" y="161"/>
                  </a:lnTo>
                  <a:lnTo>
                    <a:pt x="547" y="161"/>
                  </a:lnTo>
                  <a:lnTo>
                    <a:pt x="546" y="163"/>
                  </a:lnTo>
                  <a:lnTo>
                    <a:pt x="547" y="163"/>
                  </a:lnTo>
                  <a:lnTo>
                    <a:pt x="547" y="165"/>
                  </a:lnTo>
                  <a:lnTo>
                    <a:pt x="547" y="167"/>
                  </a:lnTo>
                  <a:lnTo>
                    <a:pt x="547" y="167"/>
                  </a:lnTo>
                  <a:lnTo>
                    <a:pt x="546" y="167"/>
                  </a:lnTo>
                  <a:lnTo>
                    <a:pt x="546" y="167"/>
                  </a:lnTo>
                  <a:lnTo>
                    <a:pt x="546" y="167"/>
                  </a:lnTo>
                  <a:lnTo>
                    <a:pt x="544" y="167"/>
                  </a:lnTo>
                  <a:lnTo>
                    <a:pt x="544" y="168"/>
                  </a:lnTo>
                  <a:close/>
                  <a:moveTo>
                    <a:pt x="551" y="167"/>
                  </a:moveTo>
                  <a:lnTo>
                    <a:pt x="553" y="167"/>
                  </a:lnTo>
                  <a:lnTo>
                    <a:pt x="553" y="165"/>
                  </a:lnTo>
                  <a:lnTo>
                    <a:pt x="553" y="165"/>
                  </a:lnTo>
                  <a:lnTo>
                    <a:pt x="555" y="165"/>
                  </a:lnTo>
                  <a:lnTo>
                    <a:pt x="557" y="161"/>
                  </a:lnTo>
                  <a:lnTo>
                    <a:pt x="557" y="161"/>
                  </a:lnTo>
                  <a:lnTo>
                    <a:pt x="557" y="163"/>
                  </a:lnTo>
                  <a:lnTo>
                    <a:pt x="558" y="161"/>
                  </a:lnTo>
                  <a:lnTo>
                    <a:pt x="558" y="163"/>
                  </a:lnTo>
                  <a:lnTo>
                    <a:pt x="558" y="163"/>
                  </a:lnTo>
                  <a:lnTo>
                    <a:pt x="557" y="163"/>
                  </a:lnTo>
                  <a:lnTo>
                    <a:pt x="560" y="161"/>
                  </a:lnTo>
                  <a:lnTo>
                    <a:pt x="560" y="161"/>
                  </a:lnTo>
                  <a:lnTo>
                    <a:pt x="560" y="163"/>
                  </a:lnTo>
                  <a:lnTo>
                    <a:pt x="560" y="163"/>
                  </a:lnTo>
                  <a:lnTo>
                    <a:pt x="562" y="161"/>
                  </a:lnTo>
                  <a:lnTo>
                    <a:pt x="562" y="159"/>
                  </a:lnTo>
                  <a:lnTo>
                    <a:pt x="564" y="159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7" y="158"/>
                  </a:lnTo>
                  <a:lnTo>
                    <a:pt x="566" y="156"/>
                  </a:lnTo>
                  <a:lnTo>
                    <a:pt x="566" y="154"/>
                  </a:lnTo>
                  <a:lnTo>
                    <a:pt x="566" y="154"/>
                  </a:lnTo>
                  <a:lnTo>
                    <a:pt x="566" y="156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2" y="158"/>
                  </a:lnTo>
                  <a:lnTo>
                    <a:pt x="562" y="158"/>
                  </a:lnTo>
                  <a:lnTo>
                    <a:pt x="560" y="159"/>
                  </a:lnTo>
                  <a:lnTo>
                    <a:pt x="558" y="159"/>
                  </a:lnTo>
                  <a:lnTo>
                    <a:pt x="558" y="159"/>
                  </a:lnTo>
                  <a:lnTo>
                    <a:pt x="558" y="159"/>
                  </a:lnTo>
                  <a:lnTo>
                    <a:pt x="558" y="159"/>
                  </a:lnTo>
                  <a:lnTo>
                    <a:pt x="557" y="159"/>
                  </a:lnTo>
                  <a:lnTo>
                    <a:pt x="558" y="158"/>
                  </a:lnTo>
                  <a:lnTo>
                    <a:pt x="560" y="156"/>
                  </a:lnTo>
                  <a:lnTo>
                    <a:pt x="560" y="156"/>
                  </a:lnTo>
                  <a:lnTo>
                    <a:pt x="560" y="156"/>
                  </a:lnTo>
                  <a:lnTo>
                    <a:pt x="558" y="156"/>
                  </a:lnTo>
                  <a:lnTo>
                    <a:pt x="557" y="158"/>
                  </a:lnTo>
                  <a:lnTo>
                    <a:pt x="555" y="158"/>
                  </a:lnTo>
                  <a:lnTo>
                    <a:pt x="557" y="158"/>
                  </a:lnTo>
                  <a:lnTo>
                    <a:pt x="557" y="158"/>
                  </a:lnTo>
                  <a:lnTo>
                    <a:pt x="557" y="159"/>
                  </a:lnTo>
                  <a:lnTo>
                    <a:pt x="557" y="159"/>
                  </a:lnTo>
                  <a:lnTo>
                    <a:pt x="555" y="159"/>
                  </a:lnTo>
                  <a:lnTo>
                    <a:pt x="555" y="159"/>
                  </a:lnTo>
                  <a:lnTo>
                    <a:pt x="555" y="161"/>
                  </a:lnTo>
                  <a:lnTo>
                    <a:pt x="553" y="163"/>
                  </a:lnTo>
                  <a:lnTo>
                    <a:pt x="553" y="163"/>
                  </a:lnTo>
                  <a:lnTo>
                    <a:pt x="553" y="163"/>
                  </a:lnTo>
                  <a:lnTo>
                    <a:pt x="553" y="163"/>
                  </a:lnTo>
                  <a:lnTo>
                    <a:pt x="551" y="165"/>
                  </a:lnTo>
                  <a:lnTo>
                    <a:pt x="551" y="165"/>
                  </a:lnTo>
                  <a:lnTo>
                    <a:pt x="551" y="167"/>
                  </a:lnTo>
                  <a:lnTo>
                    <a:pt x="551" y="167"/>
                  </a:lnTo>
                  <a:close/>
                  <a:moveTo>
                    <a:pt x="533" y="154"/>
                  </a:moveTo>
                  <a:lnTo>
                    <a:pt x="533" y="154"/>
                  </a:lnTo>
                  <a:lnTo>
                    <a:pt x="533" y="154"/>
                  </a:lnTo>
                  <a:lnTo>
                    <a:pt x="535" y="156"/>
                  </a:lnTo>
                  <a:lnTo>
                    <a:pt x="535" y="156"/>
                  </a:lnTo>
                  <a:lnTo>
                    <a:pt x="535" y="156"/>
                  </a:lnTo>
                  <a:lnTo>
                    <a:pt x="535" y="158"/>
                  </a:lnTo>
                  <a:lnTo>
                    <a:pt x="535" y="159"/>
                  </a:lnTo>
                  <a:lnTo>
                    <a:pt x="537" y="159"/>
                  </a:lnTo>
                  <a:lnTo>
                    <a:pt x="537" y="159"/>
                  </a:lnTo>
                  <a:lnTo>
                    <a:pt x="537" y="159"/>
                  </a:lnTo>
                  <a:lnTo>
                    <a:pt x="537" y="159"/>
                  </a:lnTo>
                  <a:lnTo>
                    <a:pt x="537" y="158"/>
                  </a:lnTo>
                  <a:lnTo>
                    <a:pt x="538" y="159"/>
                  </a:lnTo>
                  <a:lnTo>
                    <a:pt x="538" y="158"/>
                  </a:lnTo>
                  <a:lnTo>
                    <a:pt x="537" y="158"/>
                  </a:lnTo>
                  <a:lnTo>
                    <a:pt x="537" y="158"/>
                  </a:lnTo>
                  <a:lnTo>
                    <a:pt x="538" y="158"/>
                  </a:lnTo>
                  <a:lnTo>
                    <a:pt x="540" y="158"/>
                  </a:lnTo>
                  <a:lnTo>
                    <a:pt x="542" y="159"/>
                  </a:lnTo>
                  <a:lnTo>
                    <a:pt x="542" y="161"/>
                  </a:lnTo>
                  <a:lnTo>
                    <a:pt x="542" y="161"/>
                  </a:lnTo>
                  <a:lnTo>
                    <a:pt x="542" y="161"/>
                  </a:lnTo>
                  <a:lnTo>
                    <a:pt x="542" y="163"/>
                  </a:lnTo>
                  <a:lnTo>
                    <a:pt x="544" y="161"/>
                  </a:lnTo>
                  <a:lnTo>
                    <a:pt x="544" y="161"/>
                  </a:lnTo>
                  <a:lnTo>
                    <a:pt x="544" y="161"/>
                  </a:lnTo>
                  <a:lnTo>
                    <a:pt x="544" y="159"/>
                  </a:lnTo>
                  <a:lnTo>
                    <a:pt x="544" y="159"/>
                  </a:lnTo>
                  <a:lnTo>
                    <a:pt x="544" y="159"/>
                  </a:lnTo>
                  <a:lnTo>
                    <a:pt x="544" y="159"/>
                  </a:lnTo>
                  <a:lnTo>
                    <a:pt x="542" y="159"/>
                  </a:lnTo>
                  <a:lnTo>
                    <a:pt x="542" y="158"/>
                  </a:lnTo>
                  <a:lnTo>
                    <a:pt x="542" y="156"/>
                  </a:lnTo>
                  <a:lnTo>
                    <a:pt x="540" y="156"/>
                  </a:lnTo>
                  <a:lnTo>
                    <a:pt x="537" y="154"/>
                  </a:lnTo>
                  <a:lnTo>
                    <a:pt x="537" y="154"/>
                  </a:lnTo>
                  <a:lnTo>
                    <a:pt x="537" y="154"/>
                  </a:lnTo>
                  <a:lnTo>
                    <a:pt x="538" y="154"/>
                  </a:lnTo>
                  <a:lnTo>
                    <a:pt x="538" y="152"/>
                  </a:lnTo>
                  <a:lnTo>
                    <a:pt x="538" y="152"/>
                  </a:lnTo>
                  <a:lnTo>
                    <a:pt x="538" y="152"/>
                  </a:lnTo>
                  <a:lnTo>
                    <a:pt x="538" y="152"/>
                  </a:lnTo>
                  <a:lnTo>
                    <a:pt x="538" y="152"/>
                  </a:lnTo>
                  <a:lnTo>
                    <a:pt x="538" y="150"/>
                  </a:lnTo>
                  <a:lnTo>
                    <a:pt x="538" y="150"/>
                  </a:lnTo>
                  <a:lnTo>
                    <a:pt x="538" y="150"/>
                  </a:lnTo>
                  <a:lnTo>
                    <a:pt x="537" y="150"/>
                  </a:lnTo>
                  <a:lnTo>
                    <a:pt x="537" y="152"/>
                  </a:lnTo>
                  <a:lnTo>
                    <a:pt x="535" y="154"/>
                  </a:lnTo>
                  <a:lnTo>
                    <a:pt x="533" y="152"/>
                  </a:lnTo>
                  <a:lnTo>
                    <a:pt x="533" y="152"/>
                  </a:lnTo>
                  <a:lnTo>
                    <a:pt x="533" y="154"/>
                  </a:lnTo>
                  <a:lnTo>
                    <a:pt x="533" y="154"/>
                  </a:lnTo>
                  <a:close/>
                  <a:moveTo>
                    <a:pt x="605" y="132"/>
                  </a:moveTo>
                  <a:lnTo>
                    <a:pt x="607" y="130"/>
                  </a:lnTo>
                  <a:lnTo>
                    <a:pt x="607" y="130"/>
                  </a:lnTo>
                  <a:lnTo>
                    <a:pt x="607" y="130"/>
                  </a:lnTo>
                  <a:lnTo>
                    <a:pt x="607" y="130"/>
                  </a:lnTo>
                  <a:lnTo>
                    <a:pt x="607" y="130"/>
                  </a:lnTo>
                  <a:lnTo>
                    <a:pt x="605" y="130"/>
                  </a:lnTo>
                  <a:lnTo>
                    <a:pt x="605" y="130"/>
                  </a:lnTo>
                  <a:lnTo>
                    <a:pt x="603" y="132"/>
                  </a:lnTo>
                  <a:lnTo>
                    <a:pt x="603" y="134"/>
                  </a:lnTo>
                  <a:lnTo>
                    <a:pt x="603" y="136"/>
                  </a:lnTo>
                  <a:lnTo>
                    <a:pt x="605" y="134"/>
                  </a:lnTo>
                  <a:lnTo>
                    <a:pt x="605" y="134"/>
                  </a:lnTo>
                  <a:lnTo>
                    <a:pt x="607" y="134"/>
                  </a:lnTo>
                  <a:lnTo>
                    <a:pt x="607" y="132"/>
                  </a:lnTo>
                  <a:lnTo>
                    <a:pt x="605" y="132"/>
                  </a:lnTo>
                  <a:lnTo>
                    <a:pt x="605" y="132"/>
                  </a:lnTo>
                  <a:lnTo>
                    <a:pt x="605" y="132"/>
                  </a:lnTo>
                  <a:close/>
                  <a:moveTo>
                    <a:pt x="618" y="80"/>
                  </a:moveTo>
                  <a:lnTo>
                    <a:pt x="618" y="82"/>
                  </a:lnTo>
                  <a:lnTo>
                    <a:pt x="618" y="82"/>
                  </a:lnTo>
                  <a:lnTo>
                    <a:pt x="618" y="82"/>
                  </a:lnTo>
                  <a:lnTo>
                    <a:pt x="618" y="82"/>
                  </a:lnTo>
                  <a:lnTo>
                    <a:pt x="620" y="80"/>
                  </a:lnTo>
                  <a:lnTo>
                    <a:pt x="620" y="80"/>
                  </a:lnTo>
                  <a:lnTo>
                    <a:pt x="620" y="80"/>
                  </a:lnTo>
                  <a:lnTo>
                    <a:pt x="620" y="80"/>
                  </a:lnTo>
                  <a:lnTo>
                    <a:pt x="620" y="80"/>
                  </a:lnTo>
                  <a:lnTo>
                    <a:pt x="620" y="82"/>
                  </a:lnTo>
                  <a:lnTo>
                    <a:pt x="620" y="82"/>
                  </a:lnTo>
                  <a:lnTo>
                    <a:pt x="620" y="82"/>
                  </a:lnTo>
                  <a:lnTo>
                    <a:pt x="620" y="82"/>
                  </a:lnTo>
                  <a:lnTo>
                    <a:pt x="620" y="80"/>
                  </a:lnTo>
                  <a:lnTo>
                    <a:pt x="622" y="80"/>
                  </a:lnTo>
                  <a:lnTo>
                    <a:pt x="622" y="78"/>
                  </a:lnTo>
                  <a:lnTo>
                    <a:pt x="622" y="78"/>
                  </a:lnTo>
                  <a:lnTo>
                    <a:pt x="620" y="78"/>
                  </a:lnTo>
                  <a:lnTo>
                    <a:pt x="620" y="78"/>
                  </a:lnTo>
                  <a:lnTo>
                    <a:pt x="620" y="78"/>
                  </a:lnTo>
                  <a:lnTo>
                    <a:pt x="620" y="76"/>
                  </a:lnTo>
                  <a:lnTo>
                    <a:pt x="620" y="74"/>
                  </a:lnTo>
                  <a:lnTo>
                    <a:pt x="620" y="74"/>
                  </a:lnTo>
                  <a:lnTo>
                    <a:pt x="620" y="76"/>
                  </a:lnTo>
                  <a:lnTo>
                    <a:pt x="620" y="76"/>
                  </a:lnTo>
                  <a:lnTo>
                    <a:pt x="620" y="76"/>
                  </a:lnTo>
                  <a:lnTo>
                    <a:pt x="620" y="76"/>
                  </a:lnTo>
                  <a:lnTo>
                    <a:pt x="620" y="78"/>
                  </a:lnTo>
                  <a:lnTo>
                    <a:pt x="620" y="78"/>
                  </a:lnTo>
                  <a:lnTo>
                    <a:pt x="618" y="80"/>
                  </a:lnTo>
                  <a:close/>
                  <a:moveTo>
                    <a:pt x="582" y="74"/>
                  </a:moveTo>
                  <a:lnTo>
                    <a:pt x="584" y="74"/>
                  </a:lnTo>
                  <a:lnTo>
                    <a:pt x="584" y="74"/>
                  </a:lnTo>
                  <a:lnTo>
                    <a:pt x="584" y="73"/>
                  </a:lnTo>
                  <a:lnTo>
                    <a:pt x="584" y="71"/>
                  </a:lnTo>
                  <a:lnTo>
                    <a:pt x="584" y="71"/>
                  </a:lnTo>
                  <a:lnTo>
                    <a:pt x="582" y="71"/>
                  </a:lnTo>
                  <a:lnTo>
                    <a:pt x="582" y="73"/>
                  </a:lnTo>
                  <a:lnTo>
                    <a:pt x="580" y="73"/>
                  </a:lnTo>
                  <a:lnTo>
                    <a:pt x="580" y="73"/>
                  </a:lnTo>
                  <a:lnTo>
                    <a:pt x="582" y="74"/>
                  </a:lnTo>
                  <a:lnTo>
                    <a:pt x="582" y="74"/>
                  </a:lnTo>
                  <a:close/>
                  <a:moveTo>
                    <a:pt x="631" y="74"/>
                  </a:moveTo>
                  <a:lnTo>
                    <a:pt x="632" y="76"/>
                  </a:lnTo>
                  <a:lnTo>
                    <a:pt x="632" y="76"/>
                  </a:lnTo>
                  <a:lnTo>
                    <a:pt x="632" y="74"/>
                  </a:lnTo>
                  <a:lnTo>
                    <a:pt x="634" y="73"/>
                  </a:lnTo>
                  <a:lnTo>
                    <a:pt x="634" y="73"/>
                  </a:lnTo>
                  <a:lnTo>
                    <a:pt x="634" y="71"/>
                  </a:lnTo>
                  <a:lnTo>
                    <a:pt x="634" y="69"/>
                  </a:lnTo>
                  <a:lnTo>
                    <a:pt x="632" y="71"/>
                  </a:lnTo>
                  <a:lnTo>
                    <a:pt x="632" y="71"/>
                  </a:lnTo>
                  <a:lnTo>
                    <a:pt x="632" y="69"/>
                  </a:lnTo>
                  <a:lnTo>
                    <a:pt x="632" y="69"/>
                  </a:lnTo>
                  <a:lnTo>
                    <a:pt x="632" y="67"/>
                  </a:lnTo>
                  <a:lnTo>
                    <a:pt x="632" y="69"/>
                  </a:lnTo>
                  <a:lnTo>
                    <a:pt x="632" y="69"/>
                  </a:lnTo>
                  <a:lnTo>
                    <a:pt x="631" y="69"/>
                  </a:lnTo>
                  <a:lnTo>
                    <a:pt x="631" y="69"/>
                  </a:lnTo>
                  <a:lnTo>
                    <a:pt x="629" y="69"/>
                  </a:lnTo>
                  <a:lnTo>
                    <a:pt x="629" y="71"/>
                  </a:lnTo>
                  <a:lnTo>
                    <a:pt x="631" y="71"/>
                  </a:lnTo>
                  <a:lnTo>
                    <a:pt x="631" y="74"/>
                  </a:lnTo>
                  <a:lnTo>
                    <a:pt x="631" y="74"/>
                  </a:lnTo>
                  <a:close/>
                  <a:moveTo>
                    <a:pt x="636" y="49"/>
                  </a:moveTo>
                  <a:lnTo>
                    <a:pt x="636" y="49"/>
                  </a:lnTo>
                  <a:lnTo>
                    <a:pt x="636" y="51"/>
                  </a:lnTo>
                  <a:lnTo>
                    <a:pt x="636" y="51"/>
                  </a:lnTo>
                  <a:lnTo>
                    <a:pt x="636" y="51"/>
                  </a:lnTo>
                  <a:lnTo>
                    <a:pt x="634" y="53"/>
                  </a:lnTo>
                  <a:lnTo>
                    <a:pt x="634" y="53"/>
                  </a:lnTo>
                  <a:lnTo>
                    <a:pt x="636" y="53"/>
                  </a:lnTo>
                  <a:lnTo>
                    <a:pt x="638" y="53"/>
                  </a:lnTo>
                  <a:lnTo>
                    <a:pt x="640" y="51"/>
                  </a:lnTo>
                  <a:lnTo>
                    <a:pt x="640" y="49"/>
                  </a:lnTo>
                  <a:lnTo>
                    <a:pt x="640" y="49"/>
                  </a:lnTo>
                  <a:lnTo>
                    <a:pt x="641" y="49"/>
                  </a:lnTo>
                  <a:lnTo>
                    <a:pt x="641" y="47"/>
                  </a:lnTo>
                  <a:lnTo>
                    <a:pt x="640" y="47"/>
                  </a:lnTo>
                  <a:lnTo>
                    <a:pt x="640" y="47"/>
                  </a:lnTo>
                  <a:lnTo>
                    <a:pt x="640" y="49"/>
                  </a:lnTo>
                  <a:lnTo>
                    <a:pt x="638" y="49"/>
                  </a:lnTo>
                  <a:lnTo>
                    <a:pt x="638" y="49"/>
                  </a:lnTo>
                  <a:lnTo>
                    <a:pt x="638" y="49"/>
                  </a:lnTo>
                  <a:lnTo>
                    <a:pt x="636" y="49"/>
                  </a:lnTo>
                  <a:close/>
                  <a:moveTo>
                    <a:pt x="647" y="24"/>
                  </a:moveTo>
                  <a:lnTo>
                    <a:pt x="647" y="26"/>
                  </a:lnTo>
                  <a:lnTo>
                    <a:pt x="647" y="26"/>
                  </a:lnTo>
                  <a:lnTo>
                    <a:pt x="647" y="26"/>
                  </a:lnTo>
                  <a:lnTo>
                    <a:pt x="645" y="26"/>
                  </a:lnTo>
                  <a:lnTo>
                    <a:pt x="645" y="26"/>
                  </a:lnTo>
                  <a:lnTo>
                    <a:pt x="645" y="24"/>
                  </a:lnTo>
                  <a:lnTo>
                    <a:pt x="645" y="24"/>
                  </a:lnTo>
                  <a:lnTo>
                    <a:pt x="645" y="24"/>
                  </a:lnTo>
                  <a:lnTo>
                    <a:pt x="640" y="24"/>
                  </a:lnTo>
                  <a:lnTo>
                    <a:pt x="640" y="24"/>
                  </a:lnTo>
                  <a:lnTo>
                    <a:pt x="641" y="27"/>
                  </a:lnTo>
                  <a:lnTo>
                    <a:pt x="641" y="29"/>
                  </a:lnTo>
                  <a:lnTo>
                    <a:pt x="643" y="29"/>
                  </a:lnTo>
                  <a:lnTo>
                    <a:pt x="643" y="29"/>
                  </a:lnTo>
                  <a:lnTo>
                    <a:pt x="643" y="29"/>
                  </a:lnTo>
                  <a:lnTo>
                    <a:pt x="643" y="29"/>
                  </a:lnTo>
                  <a:lnTo>
                    <a:pt x="643" y="27"/>
                  </a:lnTo>
                  <a:lnTo>
                    <a:pt x="643" y="27"/>
                  </a:lnTo>
                  <a:lnTo>
                    <a:pt x="645" y="27"/>
                  </a:lnTo>
                  <a:lnTo>
                    <a:pt x="645" y="27"/>
                  </a:lnTo>
                  <a:lnTo>
                    <a:pt x="647" y="29"/>
                  </a:lnTo>
                  <a:lnTo>
                    <a:pt x="649" y="27"/>
                  </a:lnTo>
                  <a:lnTo>
                    <a:pt x="649" y="26"/>
                  </a:lnTo>
                  <a:lnTo>
                    <a:pt x="649" y="26"/>
                  </a:lnTo>
                  <a:lnTo>
                    <a:pt x="649" y="26"/>
                  </a:lnTo>
                  <a:lnTo>
                    <a:pt x="647" y="24"/>
                  </a:lnTo>
                  <a:close/>
                  <a:moveTo>
                    <a:pt x="603" y="64"/>
                  </a:moveTo>
                  <a:lnTo>
                    <a:pt x="603" y="64"/>
                  </a:lnTo>
                  <a:lnTo>
                    <a:pt x="603" y="64"/>
                  </a:lnTo>
                  <a:lnTo>
                    <a:pt x="605" y="64"/>
                  </a:lnTo>
                  <a:lnTo>
                    <a:pt x="605" y="64"/>
                  </a:lnTo>
                  <a:lnTo>
                    <a:pt x="605" y="65"/>
                  </a:lnTo>
                  <a:lnTo>
                    <a:pt x="605" y="65"/>
                  </a:lnTo>
                  <a:lnTo>
                    <a:pt x="605" y="65"/>
                  </a:lnTo>
                  <a:lnTo>
                    <a:pt x="607" y="65"/>
                  </a:lnTo>
                  <a:lnTo>
                    <a:pt x="609" y="64"/>
                  </a:lnTo>
                  <a:lnTo>
                    <a:pt x="609" y="64"/>
                  </a:lnTo>
                  <a:lnTo>
                    <a:pt x="609" y="65"/>
                  </a:lnTo>
                  <a:lnTo>
                    <a:pt x="609" y="65"/>
                  </a:lnTo>
                  <a:lnTo>
                    <a:pt x="611" y="65"/>
                  </a:lnTo>
                  <a:lnTo>
                    <a:pt x="611" y="65"/>
                  </a:lnTo>
                  <a:lnTo>
                    <a:pt x="611" y="64"/>
                  </a:lnTo>
                  <a:lnTo>
                    <a:pt x="611" y="62"/>
                  </a:lnTo>
                  <a:lnTo>
                    <a:pt x="612" y="65"/>
                  </a:lnTo>
                  <a:lnTo>
                    <a:pt x="612" y="65"/>
                  </a:lnTo>
                  <a:lnTo>
                    <a:pt x="612" y="65"/>
                  </a:lnTo>
                  <a:lnTo>
                    <a:pt x="611" y="65"/>
                  </a:lnTo>
                  <a:lnTo>
                    <a:pt x="611" y="67"/>
                  </a:lnTo>
                  <a:lnTo>
                    <a:pt x="611" y="67"/>
                  </a:lnTo>
                  <a:lnTo>
                    <a:pt x="611" y="67"/>
                  </a:lnTo>
                  <a:lnTo>
                    <a:pt x="611" y="69"/>
                  </a:lnTo>
                  <a:lnTo>
                    <a:pt x="611" y="69"/>
                  </a:lnTo>
                  <a:lnTo>
                    <a:pt x="611" y="69"/>
                  </a:lnTo>
                  <a:lnTo>
                    <a:pt x="611" y="69"/>
                  </a:lnTo>
                  <a:lnTo>
                    <a:pt x="614" y="71"/>
                  </a:lnTo>
                  <a:lnTo>
                    <a:pt x="614" y="71"/>
                  </a:lnTo>
                  <a:lnTo>
                    <a:pt x="614" y="71"/>
                  </a:lnTo>
                  <a:lnTo>
                    <a:pt x="614" y="69"/>
                  </a:lnTo>
                  <a:lnTo>
                    <a:pt x="614" y="69"/>
                  </a:lnTo>
                  <a:lnTo>
                    <a:pt x="616" y="67"/>
                  </a:lnTo>
                  <a:lnTo>
                    <a:pt x="616" y="69"/>
                  </a:lnTo>
                  <a:lnTo>
                    <a:pt x="616" y="69"/>
                  </a:lnTo>
                  <a:lnTo>
                    <a:pt x="616" y="67"/>
                  </a:lnTo>
                  <a:lnTo>
                    <a:pt x="616" y="65"/>
                  </a:lnTo>
                  <a:lnTo>
                    <a:pt x="616" y="65"/>
                  </a:lnTo>
                  <a:lnTo>
                    <a:pt x="618" y="65"/>
                  </a:lnTo>
                  <a:lnTo>
                    <a:pt x="618" y="67"/>
                  </a:lnTo>
                  <a:lnTo>
                    <a:pt x="618" y="65"/>
                  </a:lnTo>
                  <a:lnTo>
                    <a:pt x="618" y="64"/>
                  </a:lnTo>
                  <a:lnTo>
                    <a:pt x="618" y="64"/>
                  </a:lnTo>
                  <a:lnTo>
                    <a:pt x="616" y="62"/>
                  </a:lnTo>
                  <a:lnTo>
                    <a:pt x="616" y="62"/>
                  </a:lnTo>
                  <a:lnTo>
                    <a:pt x="616" y="60"/>
                  </a:lnTo>
                  <a:lnTo>
                    <a:pt x="618" y="62"/>
                  </a:lnTo>
                  <a:lnTo>
                    <a:pt x="618" y="62"/>
                  </a:lnTo>
                  <a:lnTo>
                    <a:pt x="620" y="64"/>
                  </a:lnTo>
                  <a:lnTo>
                    <a:pt x="620" y="67"/>
                  </a:lnTo>
                  <a:lnTo>
                    <a:pt x="622" y="64"/>
                  </a:lnTo>
                  <a:lnTo>
                    <a:pt x="622" y="62"/>
                  </a:lnTo>
                  <a:lnTo>
                    <a:pt x="623" y="62"/>
                  </a:lnTo>
                  <a:lnTo>
                    <a:pt x="623" y="64"/>
                  </a:lnTo>
                  <a:lnTo>
                    <a:pt x="622" y="64"/>
                  </a:lnTo>
                  <a:lnTo>
                    <a:pt x="622" y="64"/>
                  </a:lnTo>
                  <a:lnTo>
                    <a:pt x="622" y="65"/>
                  </a:lnTo>
                  <a:lnTo>
                    <a:pt x="622" y="67"/>
                  </a:lnTo>
                  <a:lnTo>
                    <a:pt x="622" y="69"/>
                  </a:lnTo>
                  <a:lnTo>
                    <a:pt x="622" y="69"/>
                  </a:lnTo>
                  <a:lnTo>
                    <a:pt x="622" y="69"/>
                  </a:lnTo>
                  <a:lnTo>
                    <a:pt x="622" y="69"/>
                  </a:lnTo>
                  <a:lnTo>
                    <a:pt x="622" y="69"/>
                  </a:lnTo>
                  <a:lnTo>
                    <a:pt x="623" y="69"/>
                  </a:lnTo>
                  <a:lnTo>
                    <a:pt x="622" y="71"/>
                  </a:lnTo>
                  <a:lnTo>
                    <a:pt x="622" y="71"/>
                  </a:lnTo>
                  <a:lnTo>
                    <a:pt x="622" y="71"/>
                  </a:lnTo>
                  <a:lnTo>
                    <a:pt x="622" y="73"/>
                  </a:lnTo>
                  <a:lnTo>
                    <a:pt x="622" y="73"/>
                  </a:lnTo>
                  <a:lnTo>
                    <a:pt x="623" y="73"/>
                  </a:lnTo>
                  <a:lnTo>
                    <a:pt x="623" y="73"/>
                  </a:lnTo>
                  <a:lnTo>
                    <a:pt x="623" y="74"/>
                  </a:lnTo>
                  <a:lnTo>
                    <a:pt x="623" y="78"/>
                  </a:lnTo>
                  <a:lnTo>
                    <a:pt x="622" y="80"/>
                  </a:lnTo>
                  <a:lnTo>
                    <a:pt x="622" y="83"/>
                  </a:lnTo>
                  <a:lnTo>
                    <a:pt x="620" y="85"/>
                  </a:lnTo>
                  <a:lnTo>
                    <a:pt x="620" y="87"/>
                  </a:lnTo>
                  <a:lnTo>
                    <a:pt x="620" y="89"/>
                  </a:lnTo>
                  <a:lnTo>
                    <a:pt x="618" y="89"/>
                  </a:lnTo>
                  <a:lnTo>
                    <a:pt x="618" y="89"/>
                  </a:lnTo>
                  <a:lnTo>
                    <a:pt x="620" y="91"/>
                  </a:lnTo>
                  <a:lnTo>
                    <a:pt x="620" y="91"/>
                  </a:lnTo>
                  <a:lnTo>
                    <a:pt x="620" y="93"/>
                  </a:lnTo>
                  <a:lnTo>
                    <a:pt x="620" y="91"/>
                  </a:lnTo>
                  <a:lnTo>
                    <a:pt x="620" y="93"/>
                  </a:lnTo>
                  <a:lnTo>
                    <a:pt x="618" y="93"/>
                  </a:lnTo>
                  <a:lnTo>
                    <a:pt x="618" y="93"/>
                  </a:lnTo>
                  <a:lnTo>
                    <a:pt x="618" y="94"/>
                  </a:lnTo>
                  <a:lnTo>
                    <a:pt x="618" y="96"/>
                  </a:lnTo>
                  <a:lnTo>
                    <a:pt x="618" y="98"/>
                  </a:lnTo>
                  <a:lnTo>
                    <a:pt x="620" y="98"/>
                  </a:lnTo>
                  <a:lnTo>
                    <a:pt x="620" y="98"/>
                  </a:lnTo>
                  <a:lnTo>
                    <a:pt x="622" y="98"/>
                  </a:lnTo>
                  <a:lnTo>
                    <a:pt x="622" y="98"/>
                  </a:lnTo>
                  <a:lnTo>
                    <a:pt x="620" y="100"/>
                  </a:lnTo>
                  <a:lnTo>
                    <a:pt x="622" y="100"/>
                  </a:lnTo>
                  <a:lnTo>
                    <a:pt x="622" y="100"/>
                  </a:lnTo>
                  <a:lnTo>
                    <a:pt x="622" y="100"/>
                  </a:lnTo>
                  <a:lnTo>
                    <a:pt x="622" y="102"/>
                  </a:lnTo>
                  <a:lnTo>
                    <a:pt x="623" y="102"/>
                  </a:lnTo>
                  <a:lnTo>
                    <a:pt x="623" y="102"/>
                  </a:lnTo>
                  <a:lnTo>
                    <a:pt x="623" y="100"/>
                  </a:lnTo>
                  <a:lnTo>
                    <a:pt x="623" y="100"/>
                  </a:lnTo>
                  <a:lnTo>
                    <a:pt x="623" y="98"/>
                  </a:lnTo>
                  <a:lnTo>
                    <a:pt x="623" y="98"/>
                  </a:lnTo>
                  <a:lnTo>
                    <a:pt x="623" y="96"/>
                  </a:lnTo>
                  <a:lnTo>
                    <a:pt x="623" y="94"/>
                  </a:lnTo>
                  <a:lnTo>
                    <a:pt x="623" y="94"/>
                  </a:lnTo>
                  <a:lnTo>
                    <a:pt x="623" y="94"/>
                  </a:lnTo>
                  <a:lnTo>
                    <a:pt x="623" y="94"/>
                  </a:lnTo>
                  <a:lnTo>
                    <a:pt x="623" y="93"/>
                  </a:lnTo>
                  <a:lnTo>
                    <a:pt x="623" y="91"/>
                  </a:lnTo>
                  <a:lnTo>
                    <a:pt x="623" y="89"/>
                  </a:lnTo>
                  <a:lnTo>
                    <a:pt x="623" y="87"/>
                  </a:lnTo>
                  <a:lnTo>
                    <a:pt x="625" y="89"/>
                  </a:lnTo>
                  <a:lnTo>
                    <a:pt x="627" y="89"/>
                  </a:lnTo>
                  <a:lnTo>
                    <a:pt x="627" y="87"/>
                  </a:lnTo>
                  <a:lnTo>
                    <a:pt x="625" y="83"/>
                  </a:lnTo>
                  <a:lnTo>
                    <a:pt x="625" y="83"/>
                  </a:lnTo>
                  <a:lnTo>
                    <a:pt x="627" y="83"/>
                  </a:lnTo>
                  <a:lnTo>
                    <a:pt x="627" y="83"/>
                  </a:lnTo>
                  <a:lnTo>
                    <a:pt x="627" y="82"/>
                  </a:lnTo>
                  <a:lnTo>
                    <a:pt x="629" y="82"/>
                  </a:lnTo>
                  <a:lnTo>
                    <a:pt x="627" y="82"/>
                  </a:lnTo>
                  <a:lnTo>
                    <a:pt x="627" y="80"/>
                  </a:lnTo>
                  <a:lnTo>
                    <a:pt x="627" y="78"/>
                  </a:lnTo>
                  <a:lnTo>
                    <a:pt x="627" y="78"/>
                  </a:lnTo>
                  <a:lnTo>
                    <a:pt x="625" y="76"/>
                  </a:lnTo>
                  <a:lnTo>
                    <a:pt x="625" y="76"/>
                  </a:lnTo>
                  <a:lnTo>
                    <a:pt x="625" y="76"/>
                  </a:lnTo>
                  <a:lnTo>
                    <a:pt x="627" y="76"/>
                  </a:lnTo>
                  <a:lnTo>
                    <a:pt x="627" y="76"/>
                  </a:lnTo>
                  <a:lnTo>
                    <a:pt x="627" y="76"/>
                  </a:lnTo>
                  <a:lnTo>
                    <a:pt x="627" y="74"/>
                  </a:lnTo>
                  <a:lnTo>
                    <a:pt x="627" y="74"/>
                  </a:lnTo>
                  <a:lnTo>
                    <a:pt x="627" y="74"/>
                  </a:lnTo>
                  <a:lnTo>
                    <a:pt x="627" y="73"/>
                  </a:lnTo>
                  <a:lnTo>
                    <a:pt x="629" y="73"/>
                  </a:lnTo>
                  <a:lnTo>
                    <a:pt x="629" y="73"/>
                  </a:lnTo>
                  <a:lnTo>
                    <a:pt x="629" y="73"/>
                  </a:lnTo>
                  <a:lnTo>
                    <a:pt x="629" y="73"/>
                  </a:lnTo>
                  <a:lnTo>
                    <a:pt x="629" y="73"/>
                  </a:lnTo>
                  <a:lnTo>
                    <a:pt x="631" y="73"/>
                  </a:lnTo>
                  <a:lnTo>
                    <a:pt x="631" y="71"/>
                  </a:lnTo>
                  <a:lnTo>
                    <a:pt x="629" y="69"/>
                  </a:lnTo>
                  <a:lnTo>
                    <a:pt x="629" y="67"/>
                  </a:lnTo>
                  <a:lnTo>
                    <a:pt x="629" y="67"/>
                  </a:lnTo>
                  <a:lnTo>
                    <a:pt x="627" y="67"/>
                  </a:lnTo>
                  <a:lnTo>
                    <a:pt x="627" y="69"/>
                  </a:lnTo>
                  <a:lnTo>
                    <a:pt x="627" y="67"/>
                  </a:lnTo>
                  <a:lnTo>
                    <a:pt x="629" y="64"/>
                  </a:lnTo>
                  <a:lnTo>
                    <a:pt x="627" y="64"/>
                  </a:lnTo>
                  <a:lnTo>
                    <a:pt x="627" y="65"/>
                  </a:lnTo>
                  <a:lnTo>
                    <a:pt x="627" y="67"/>
                  </a:lnTo>
                  <a:lnTo>
                    <a:pt x="627" y="65"/>
                  </a:lnTo>
                  <a:lnTo>
                    <a:pt x="627" y="64"/>
                  </a:lnTo>
                  <a:lnTo>
                    <a:pt x="627" y="64"/>
                  </a:lnTo>
                  <a:lnTo>
                    <a:pt x="625" y="64"/>
                  </a:lnTo>
                  <a:lnTo>
                    <a:pt x="625" y="64"/>
                  </a:lnTo>
                  <a:lnTo>
                    <a:pt x="627" y="62"/>
                  </a:lnTo>
                  <a:lnTo>
                    <a:pt x="627" y="62"/>
                  </a:lnTo>
                  <a:lnTo>
                    <a:pt x="627" y="62"/>
                  </a:lnTo>
                  <a:lnTo>
                    <a:pt x="627" y="62"/>
                  </a:lnTo>
                  <a:lnTo>
                    <a:pt x="627" y="62"/>
                  </a:lnTo>
                  <a:lnTo>
                    <a:pt x="627" y="60"/>
                  </a:lnTo>
                  <a:lnTo>
                    <a:pt x="627" y="60"/>
                  </a:lnTo>
                  <a:lnTo>
                    <a:pt x="627" y="60"/>
                  </a:lnTo>
                  <a:lnTo>
                    <a:pt x="627" y="60"/>
                  </a:lnTo>
                  <a:lnTo>
                    <a:pt x="627" y="60"/>
                  </a:lnTo>
                  <a:lnTo>
                    <a:pt x="629" y="62"/>
                  </a:lnTo>
                  <a:lnTo>
                    <a:pt x="629" y="62"/>
                  </a:lnTo>
                  <a:lnTo>
                    <a:pt x="631" y="62"/>
                  </a:lnTo>
                  <a:lnTo>
                    <a:pt x="632" y="60"/>
                  </a:lnTo>
                  <a:lnTo>
                    <a:pt x="632" y="60"/>
                  </a:lnTo>
                  <a:lnTo>
                    <a:pt x="631" y="60"/>
                  </a:lnTo>
                  <a:lnTo>
                    <a:pt x="631" y="58"/>
                  </a:lnTo>
                  <a:lnTo>
                    <a:pt x="631" y="58"/>
                  </a:lnTo>
                  <a:lnTo>
                    <a:pt x="631" y="60"/>
                  </a:lnTo>
                  <a:lnTo>
                    <a:pt x="629" y="60"/>
                  </a:lnTo>
                  <a:lnTo>
                    <a:pt x="629" y="58"/>
                  </a:lnTo>
                  <a:lnTo>
                    <a:pt x="629" y="58"/>
                  </a:lnTo>
                  <a:lnTo>
                    <a:pt x="629" y="58"/>
                  </a:lnTo>
                  <a:lnTo>
                    <a:pt x="629" y="58"/>
                  </a:lnTo>
                  <a:lnTo>
                    <a:pt x="631" y="56"/>
                  </a:lnTo>
                  <a:lnTo>
                    <a:pt x="632" y="55"/>
                  </a:lnTo>
                  <a:lnTo>
                    <a:pt x="631" y="53"/>
                  </a:lnTo>
                  <a:lnTo>
                    <a:pt x="629" y="53"/>
                  </a:lnTo>
                  <a:lnTo>
                    <a:pt x="627" y="53"/>
                  </a:lnTo>
                  <a:lnTo>
                    <a:pt x="629" y="51"/>
                  </a:lnTo>
                  <a:lnTo>
                    <a:pt x="632" y="51"/>
                  </a:lnTo>
                  <a:lnTo>
                    <a:pt x="632" y="51"/>
                  </a:lnTo>
                  <a:lnTo>
                    <a:pt x="632" y="49"/>
                  </a:lnTo>
                  <a:lnTo>
                    <a:pt x="632" y="49"/>
                  </a:lnTo>
                  <a:lnTo>
                    <a:pt x="632" y="47"/>
                  </a:lnTo>
                  <a:lnTo>
                    <a:pt x="632" y="47"/>
                  </a:lnTo>
                  <a:lnTo>
                    <a:pt x="632" y="47"/>
                  </a:lnTo>
                  <a:lnTo>
                    <a:pt x="632" y="47"/>
                  </a:lnTo>
                  <a:lnTo>
                    <a:pt x="631" y="47"/>
                  </a:lnTo>
                  <a:lnTo>
                    <a:pt x="631" y="49"/>
                  </a:lnTo>
                  <a:lnTo>
                    <a:pt x="631" y="49"/>
                  </a:lnTo>
                  <a:lnTo>
                    <a:pt x="631" y="49"/>
                  </a:lnTo>
                  <a:lnTo>
                    <a:pt x="631" y="47"/>
                  </a:lnTo>
                  <a:lnTo>
                    <a:pt x="631" y="47"/>
                  </a:lnTo>
                  <a:lnTo>
                    <a:pt x="634" y="44"/>
                  </a:lnTo>
                  <a:lnTo>
                    <a:pt x="634" y="42"/>
                  </a:lnTo>
                  <a:lnTo>
                    <a:pt x="634" y="42"/>
                  </a:lnTo>
                  <a:lnTo>
                    <a:pt x="632" y="42"/>
                  </a:lnTo>
                  <a:lnTo>
                    <a:pt x="632" y="44"/>
                  </a:lnTo>
                  <a:lnTo>
                    <a:pt x="631" y="46"/>
                  </a:lnTo>
                  <a:lnTo>
                    <a:pt x="631" y="44"/>
                  </a:lnTo>
                  <a:lnTo>
                    <a:pt x="631" y="44"/>
                  </a:lnTo>
                  <a:lnTo>
                    <a:pt x="631" y="44"/>
                  </a:lnTo>
                  <a:lnTo>
                    <a:pt x="631" y="44"/>
                  </a:lnTo>
                  <a:lnTo>
                    <a:pt x="631" y="46"/>
                  </a:lnTo>
                  <a:lnTo>
                    <a:pt x="631" y="46"/>
                  </a:lnTo>
                  <a:lnTo>
                    <a:pt x="631" y="46"/>
                  </a:lnTo>
                  <a:lnTo>
                    <a:pt x="631" y="47"/>
                  </a:lnTo>
                  <a:lnTo>
                    <a:pt x="629" y="47"/>
                  </a:lnTo>
                  <a:lnTo>
                    <a:pt x="629" y="47"/>
                  </a:lnTo>
                  <a:lnTo>
                    <a:pt x="629" y="47"/>
                  </a:lnTo>
                  <a:lnTo>
                    <a:pt x="629" y="47"/>
                  </a:lnTo>
                  <a:lnTo>
                    <a:pt x="629" y="46"/>
                  </a:lnTo>
                  <a:lnTo>
                    <a:pt x="629" y="46"/>
                  </a:lnTo>
                  <a:lnTo>
                    <a:pt x="627" y="46"/>
                  </a:lnTo>
                  <a:lnTo>
                    <a:pt x="627" y="46"/>
                  </a:lnTo>
                  <a:lnTo>
                    <a:pt x="627" y="46"/>
                  </a:lnTo>
                  <a:lnTo>
                    <a:pt x="627" y="46"/>
                  </a:lnTo>
                  <a:lnTo>
                    <a:pt x="625" y="46"/>
                  </a:lnTo>
                  <a:lnTo>
                    <a:pt x="625" y="46"/>
                  </a:lnTo>
                  <a:lnTo>
                    <a:pt x="625" y="46"/>
                  </a:lnTo>
                  <a:lnTo>
                    <a:pt x="625" y="46"/>
                  </a:lnTo>
                  <a:lnTo>
                    <a:pt x="627" y="44"/>
                  </a:lnTo>
                  <a:lnTo>
                    <a:pt x="627" y="44"/>
                  </a:lnTo>
                  <a:lnTo>
                    <a:pt x="627" y="44"/>
                  </a:lnTo>
                  <a:lnTo>
                    <a:pt x="629" y="44"/>
                  </a:lnTo>
                  <a:lnTo>
                    <a:pt x="629" y="44"/>
                  </a:lnTo>
                  <a:lnTo>
                    <a:pt x="629" y="44"/>
                  </a:lnTo>
                  <a:lnTo>
                    <a:pt x="629" y="42"/>
                  </a:lnTo>
                  <a:lnTo>
                    <a:pt x="629" y="42"/>
                  </a:lnTo>
                  <a:lnTo>
                    <a:pt x="629" y="40"/>
                  </a:lnTo>
                  <a:lnTo>
                    <a:pt x="627" y="40"/>
                  </a:lnTo>
                  <a:lnTo>
                    <a:pt x="627" y="40"/>
                  </a:lnTo>
                  <a:lnTo>
                    <a:pt x="627" y="40"/>
                  </a:lnTo>
                  <a:lnTo>
                    <a:pt x="627" y="38"/>
                  </a:lnTo>
                  <a:lnTo>
                    <a:pt x="627" y="37"/>
                  </a:lnTo>
                  <a:lnTo>
                    <a:pt x="625" y="37"/>
                  </a:lnTo>
                  <a:lnTo>
                    <a:pt x="625" y="37"/>
                  </a:lnTo>
                  <a:lnTo>
                    <a:pt x="625" y="38"/>
                  </a:lnTo>
                  <a:lnTo>
                    <a:pt x="623" y="40"/>
                  </a:lnTo>
                  <a:lnTo>
                    <a:pt x="623" y="40"/>
                  </a:lnTo>
                  <a:lnTo>
                    <a:pt x="623" y="38"/>
                  </a:lnTo>
                  <a:lnTo>
                    <a:pt x="623" y="38"/>
                  </a:lnTo>
                  <a:lnTo>
                    <a:pt x="622" y="38"/>
                  </a:lnTo>
                  <a:lnTo>
                    <a:pt x="622" y="40"/>
                  </a:lnTo>
                  <a:lnTo>
                    <a:pt x="622" y="40"/>
                  </a:lnTo>
                  <a:lnTo>
                    <a:pt x="625" y="42"/>
                  </a:lnTo>
                  <a:lnTo>
                    <a:pt x="622" y="42"/>
                  </a:lnTo>
                  <a:lnTo>
                    <a:pt x="620" y="44"/>
                  </a:lnTo>
                  <a:lnTo>
                    <a:pt x="620" y="46"/>
                  </a:lnTo>
                  <a:lnTo>
                    <a:pt x="620" y="46"/>
                  </a:lnTo>
                  <a:lnTo>
                    <a:pt x="620" y="46"/>
                  </a:lnTo>
                  <a:lnTo>
                    <a:pt x="618" y="46"/>
                  </a:lnTo>
                  <a:lnTo>
                    <a:pt x="618" y="46"/>
                  </a:lnTo>
                  <a:lnTo>
                    <a:pt x="618" y="46"/>
                  </a:lnTo>
                  <a:lnTo>
                    <a:pt x="618" y="46"/>
                  </a:lnTo>
                  <a:lnTo>
                    <a:pt x="620" y="42"/>
                  </a:lnTo>
                  <a:lnTo>
                    <a:pt x="622" y="40"/>
                  </a:lnTo>
                  <a:lnTo>
                    <a:pt x="622" y="40"/>
                  </a:lnTo>
                  <a:lnTo>
                    <a:pt x="622" y="40"/>
                  </a:lnTo>
                  <a:lnTo>
                    <a:pt x="622" y="38"/>
                  </a:lnTo>
                  <a:lnTo>
                    <a:pt x="622" y="37"/>
                  </a:lnTo>
                  <a:lnTo>
                    <a:pt x="622" y="37"/>
                  </a:lnTo>
                  <a:lnTo>
                    <a:pt x="622" y="37"/>
                  </a:lnTo>
                  <a:lnTo>
                    <a:pt x="620" y="38"/>
                  </a:lnTo>
                  <a:lnTo>
                    <a:pt x="620" y="38"/>
                  </a:lnTo>
                  <a:lnTo>
                    <a:pt x="620" y="38"/>
                  </a:lnTo>
                  <a:lnTo>
                    <a:pt x="620" y="35"/>
                  </a:lnTo>
                  <a:lnTo>
                    <a:pt x="620" y="35"/>
                  </a:lnTo>
                  <a:lnTo>
                    <a:pt x="620" y="35"/>
                  </a:lnTo>
                  <a:lnTo>
                    <a:pt x="620" y="35"/>
                  </a:lnTo>
                  <a:lnTo>
                    <a:pt x="620" y="35"/>
                  </a:lnTo>
                  <a:lnTo>
                    <a:pt x="620" y="33"/>
                  </a:lnTo>
                  <a:lnTo>
                    <a:pt x="620" y="33"/>
                  </a:lnTo>
                  <a:lnTo>
                    <a:pt x="620" y="33"/>
                  </a:lnTo>
                  <a:lnTo>
                    <a:pt x="620" y="33"/>
                  </a:lnTo>
                  <a:lnTo>
                    <a:pt x="620" y="31"/>
                  </a:lnTo>
                  <a:lnTo>
                    <a:pt x="622" y="31"/>
                  </a:lnTo>
                  <a:lnTo>
                    <a:pt x="622" y="29"/>
                  </a:lnTo>
                  <a:lnTo>
                    <a:pt x="622" y="27"/>
                  </a:lnTo>
                  <a:lnTo>
                    <a:pt x="622" y="27"/>
                  </a:lnTo>
                  <a:lnTo>
                    <a:pt x="622" y="27"/>
                  </a:lnTo>
                  <a:lnTo>
                    <a:pt x="622" y="26"/>
                  </a:lnTo>
                  <a:lnTo>
                    <a:pt x="622" y="26"/>
                  </a:lnTo>
                  <a:lnTo>
                    <a:pt x="622" y="24"/>
                  </a:lnTo>
                  <a:lnTo>
                    <a:pt x="622" y="24"/>
                  </a:lnTo>
                  <a:lnTo>
                    <a:pt x="622" y="22"/>
                  </a:lnTo>
                  <a:lnTo>
                    <a:pt x="620" y="24"/>
                  </a:lnTo>
                  <a:lnTo>
                    <a:pt x="620" y="26"/>
                  </a:lnTo>
                  <a:lnTo>
                    <a:pt x="622" y="26"/>
                  </a:lnTo>
                  <a:lnTo>
                    <a:pt x="622" y="26"/>
                  </a:lnTo>
                  <a:lnTo>
                    <a:pt x="620" y="27"/>
                  </a:lnTo>
                  <a:lnTo>
                    <a:pt x="620" y="26"/>
                  </a:lnTo>
                  <a:lnTo>
                    <a:pt x="618" y="26"/>
                  </a:lnTo>
                  <a:lnTo>
                    <a:pt x="616" y="26"/>
                  </a:lnTo>
                  <a:lnTo>
                    <a:pt x="616" y="26"/>
                  </a:lnTo>
                  <a:lnTo>
                    <a:pt x="616" y="26"/>
                  </a:lnTo>
                  <a:lnTo>
                    <a:pt x="616" y="26"/>
                  </a:lnTo>
                  <a:lnTo>
                    <a:pt x="616" y="27"/>
                  </a:lnTo>
                  <a:lnTo>
                    <a:pt x="614" y="27"/>
                  </a:lnTo>
                  <a:lnTo>
                    <a:pt x="614" y="27"/>
                  </a:lnTo>
                  <a:lnTo>
                    <a:pt x="616" y="27"/>
                  </a:lnTo>
                  <a:lnTo>
                    <a:pt x="614" y="29"/>
                  </a:lnTo>
                  <a:lnTo>
                    <a:pt x="614" y="29"/>
                  </a:lnTo>
                  <a:lnTo>
                    <a:pt x="612" y="29"/>
                  </a:lnTo>
                  <a:lnTo>
                    <a:pt x="612" y="31"/>
                  </a:lnTo>
                  <a:lnTo>
                    <a:pt x="612" y="33"/>
                  </a:lnTo>
                  <a:lnTo>
                    <a:pt x="612" y="33"/>
                  </a:lnTo>
                  <a:lnTo>
                    <a:pt x="614" y="33"/>
                  </a:lnTo>
                  <a:lnTo>
                    <a:pt x="614" y="35"/>
                  </a:lnTo>
                  <a:lnTo>
                    <a:pt x="614" y="35"/>
                  </a:lnTo>
                  <a:lnTo>
                    <a:pt x="616" y="35"/>
                  </a:lnTo>
                  <a:lnTo>
                    <a:pt x="616" y="35"/>
                  </a:lnTo>
                  <a:lnTo>
                    <a:pt x="618" y="35"/>
                  </a:lnTo>
                  <a:lnTo>
                    <a:pt x="616" y="37"/>
                  </a:lnTo>
                  <a:lnTo>
                    <a:pt x="614" y="35"/>
                  </a:lnTo>
                  <a:lnTo>
                    <a:pt x="612" y="35"/>
                  </a:lnTo>
                  <a:lnTo>
                    <a:pt x="611" y="31"/>
                  </a:lnTo>
                  <a:lnTo>
                    <a:pt x="611" y="31"/>
                  </a:lnTo>
                  <a:lnTo>
                    <a:pt x="611" y="31"/>
                  </a:lnTo>
                  <a:lnTo>
                    <a:pt x="609" y="31"/>
                  </a:lnTo>
                  <a:lnTo>
                    <a:pt x="609" y="33"/>
                  </a:lnTo>
                  <a:lnTo>
                    <a:pt x="609" y="33"/>
                  </a:lnTo>
                  <a:lnTo>
                    <a:pt x="609" y="33"/>
                  </a:lnTo>
                  <a:lnTo>
                    <a:pt x="609" y="35"/>
                  </a:lnTo>
                  <a:lnTo>
                    <a:pt x="609" y="35"/>
                  </a:lnTo>
                  <a:lnTo>
                    <a:pt x="609" y="35"/>
                  </a:lnTo>
                  <a:lnTo>
                    <a:pt x="607" y="35"/>
                  </a:lnTo>
                  <a:lnTo>
                    <a:pt x="607" y="37"/>
                  </a:lnTo>
                  <a:lnTo>
                    <a:pt x="605" y="37"/>
                  </a:lnTo>
                  <a:lnTo>
                    <a:pt x="605" y="38"/>
                  </a:lnTo>
                  <a:lnTo>
                    <a:pt x="605" y="38"/>
                  </a:lnTo>
                  <a:lnTo>
                    <a:pt x="607" y="38"/>
                  </a:lnTo>
                  <a:lnTo>
                    <a:pt x="609" y="38"/>
                  </a:lnTo>
                  <a:lnTo>
                    <a:pt x="609" y="37"/>
                  </a:lnTo>
                  <a:lnTo>
                    <a:pt x="609" y="38"/>
                  </a:lnTo>
                  <a:lnTo>
                    <a:pt x="611" y="38"/>
                  </a:lnTo>
                  <a:lnTo>
                    <a:pt x="611" y="38"/>
                  </a:lnTo>
                  <a:lnTo>
                    <a:pt x="612" y="38"/>
                  </a:lnTo>
                  <a:lnTo>
                    <a:pt x="612" y="38"/>
                  </a:lnTo>
                  <a:lnTo>
                    <a:pt x="611" y="40"/>
                  </a:lnTo>
                  <a:lnTo>
                    <a:pt x="611" y="40"/>
                  </a:lnTo>
                  <a:lnTo>
                    <a:pt x="612" y="40"/>
                  </a:lnTo>
                  <a:lnTo>
                    <a:pt x="612" y="40"/>
                  </a:lnTo>
                  <a:lnTo>
                    <a:pt x="612" y="38"/>
                  </a:lnTo>
                  <a:lnTo>
                    <a:pt x="614" y="37"/>
                  </a:lnTo>
                  <a:lnTo>
                    <a:pt x="614" y="40"/>
                  </a:lnTo>
                  <a:lnTo>
                    <a:pt x="614" y="42"/>
                  </a:lnTo>
                  <a:lnTo>
                    <a:pt x="614" y="44"/>
                  </a:lnTo>
                  <a:lnTo>
                    <a:pt x="614" y="44"/>
                  </a:lnTo>
                  <a:lnTo>
                    <a:pt x="616" y="44"/>
                  </a:lnTo>
                  <a:lnTo>
                    <a:pt x="618" y="44"/>
                  </a:lnTo>
                  <a:lnTo>
                    <a:pt x="618" y="46"/>
                  </a:lnTo>
                  <a:lnTo>
                    <a:pt x="616" y="46"/>
                  </a:lnTo>
                  <a:lnTo>
                    <a:pt x="616" y="47"/>
                  </a:lnTo>
                  <a:lnTo>
                    <a:pt x="616" y="47"/>
                  </a:lnTo>
                  <a:lnTo>
                    <a:pt x="618" y="49"/>
                  </a:lnTo>
                  <a:lnTo>
                    <a:pt x="618" y="49"/>
                  </a:lnTo>
                  <a:lnTo>
                    <a:pt x="618" y="47"/>
                  </a:lnTo>
                  <a:lnTo>
                    <a:pt x="620" y="47"/>
                  </a:lnTo>
                  <a:lnTo>
                    <a:pt x="620" y="49"/>
                  </a:lnTo>
                  <a:lnTo>
                    <a:pt x="620" y="49"/>
                  </a:lnTo>
                  <a:lnTo>
                    <a:pt x="622" y="51"/>
                  </a:lnTo>
                  <a:lnTo>
                    <a:pt x="623" y="51"/>
                  </a:lnTo>
                  <a:lnTo>
                    <a:pt x="622" y="51"/>
                  </a:lnTo>
                  <a:lnTo>
                    <a:pt x="620" y="51"/>
                  </a:lnTo>
                  <a:lnTo>
                    <a:pt x="620" y="53"/>
                  </a:lnTo>
                  <a:lnTo>
                    <a:pt x="620" y="53"/>
                  </a:lnTo>
                  <a:lnTo>
                    <a:pt x="620" y="53"/>
                  </a:lnTo>
                  <a:lnTo>
                    <a:pt x="620" y="53"/>
                  </a:lnTo>
                  <a:lnTo>
                    <a:pt x="618" y="55"/>
                  </a:lnTo>
                  <a:lnTo>
                    <a:pt x="620" y="56"/>
                  </a:lnTo>
                  <a:lnTo>
                    <a:pt x="618" y="56"/>
                  </a:lnTo>
                  <a:lnTo>
                    <a:pt x="618" y="58"/>
                  </a:lnTo>
                  <a:lnTo>
                    <a:pt x="618" y="56"/>
                  </a:lnTo>
                  <a:lnTo>
                    <a:pt x="616" y="55"/>
                  </a:lnTo>
                  <a:lnTo>
                    <a:pt x="614" y="55"/>
                  </a:lnTo>
                  <a:lnTo>
                    <a:pt x="614" y="55"/>
                  </a:lnTo>
                  <a:lnTo>
                    <a:pt x="614" y="56"/>
                  </a:lnTo>
                  <a:lnTo>
                    <a:pt x="614" y="56"/>
                  </a:lnTo>
                  <a:lnTo>
                    <a:pt x="612" y="56"/>
                  </a:lnTo>
                  <a:lnTo>
                    <a:pt x="614" y="56"/>
                  </a:lnTo>
                  <a:lnTo>
                    <a:pt x="614" y="58"/>
                  </a:lnTo>
                  <a:lnTo>
                    <a:pt x="614" y="58"/>
                  </a:lnTo>
                  <a:lnTo>
                    <a:pt x="614" y="58"/>
                  </a:lnTo>
                  <a:lnTo>
                    <a:pt x="612" y="58"/>
                  </a:lnTo>
                  <a:lnTo>
                    <a:pt x="612" y="58"/>
                  </a:lnTo>
                  <a:lnTo>
                    <a:pt x="612" y="56"/>
                  </a:lnTo>
                  <a:lnTo>
                    <a:pt x="612" y="55"/>
                  </a:lnTo>
                  <a:lnTo>
                    <a:pt x="611" y="55"/>
                  </a:lnTo>
                  <a:lnTo>
                    <a:pt x="611" y="56"/>
                  </a:lnTo>
                  <a:lnTo>
                    <a:pt x="611" y="56"/>
                  </a:lnTo>
                  <a:lnTo>
                    <a:pt x="611" y="56"/>
                  </a:lnTo>
                  <a:lnTo>
                    <a:pt x="609" y="56"/>
                  </a:lnTo>
                  <a:lnTo>
                    <a:pt x="609" y="58"/>
                  </a:lnTo>
                  <a:lnTo>
                    <a:pt x="607" y="58"/>
                  </a:lnTo>
                  <a:lnTo>
                    <a:pt x="607" y="56"/>
                  </a:lnTo>
                  <a:lnTo>
                    <a:pt x="607" y="56"/>
                  </a:lnTo>
                  <a:lnTo>
                    <a:pt x="605" y="55"/>
                  </a:lnTo>
                  <a:lnTo>
                    <a:pt x="605" y="55"/>
                  </a:lnTo>
                  <a:lnTo>
                    <a:pt x="603" y="56"/>
                  </a:lnTo>
                  <a:lnTo>
                    <a:pt x="603" y="56"/>
                  </a:lnTo>
                  <a:lnTo>
                    <a:pt x="603" y="56"/>
                  </a:lnTo>
                  <a:lnTo>
                    <a:pt x="602" y="58"/>
                  </a:lnTo>
                  <a:lnTo>
                    <a:pt x="602" y="58"/>
                  </a:lnTo>
                  <a:lnTo>
                    <a:pt x="602" y="60"/>
                  </a:lnTo>
                  <a:lnTo>
                    <a:pt x="603" y="64"/>
                  </a:lnTo>
                  <a:close/>
                  <a:moveTo>
                    <a:pt x="629" y="35"/>
                  </a:moveTo>
                  <a:lnTo>
                    <a:pt x="631" y="37"/>
                  </a:lnTo>
                  <a:lnTo>
                    <a:pt x="631" y="37"/>
                  </a:lnTo>
                  <a:lnTo>
                    <a:pt x="631" y="37"/>
                  </a:lnTo>
                  <a:lnTo>
                    <a:pt x="631" y="37"/>
                  </a:lnTo>
                  <a:lnTo>
                    <a:pt x="631" y="35"/>
                  </a:lnTo>
                  <a:lnTo>
                    <a:pt x="631" y="35"/>
                  </a:lnTo>
                  <a:lnTo>
                    <a:pt x="631" y="35"/>
                  </a:lnTo>
                  <a:lnTo>
                    <a:pt x="632" y="37"/>
                  </a:lnTo>
                  <a:lnTo>
                    <a:pt x="632" y="37"/>
                  </a:lnTo>
                  <a:lnTo>
                    <a:pt x="634" y="37"/>
                  </a:lnTo>
                  <a:lnTo>
                    <a:pt x="634" y="37"/>
                  </a:lnTo>
                  <a:lnTo>
                    <a:pt x="636" y="37"/>
                  </a:lnTo>
                  <a:lnTo>
                    <a:pt x="636" y="35"/>
                  </a:lnTo>
                  <a:lnTo>
                    <a:pt x="636" y="33"/>
                  </a:lnTo>
                  <a:lnTo>
                    <a:pt x="634" y="33"/>
                  </a:lnTo>
                  <a:lnTo>
                    <a:pt x="634" y="31"/>
                  </a:lnTo>
                  <a:lnTo>
                    <a:pt x="636" y="31"/>
                  </a:lnTo>
                  <a:lnTo>
                    <a:pt x="636" y="29"/>
                  </a:lnTo>
                  <a:lnTo>
                    <a:pt x="636" y="29"/>
                  </a:lnTo>
                  <a:lnTo>
                    <a:pt x="634" y="27"/>
                  </a:lnTo>
                  <a:lnTo>
                    <a:pt x="636" y="27"/>
                  </a:lnTo>
                  <a:lnTo>
                    <a:pt x="636" y="27"/>
                  </a:lnTo>
                  <a:lnTo>
                    <a:pt x="636" y="27"/>
                  </a:lnTo>
                  <a:lnTo>
                    <a:pt x="634" y="27"/>
                  </a:lnTo>
                  <a:lnTo>
                    <a:pt x="634" y="26"/>
                  </a:lnTo>
                  <a:lnTo>
                    <a:pt x="632" y="26"/>
                  </a:lnTo>
                  <a:lnTo>
                    <a:pt x="632" y="24"/>
                  </a:lnTo>
                  <a:lnTo>
                    <a:pt x="634" y="26"/>
                  </a:lnTo>
                  <a:lnTo>
                    <a:pt x="634" y="26"/>
                  </a:lnTo>
                  <a:lnTo>
                    <a:pt x="634" y="26"/>
                  </a:lnTo>
                  <a:lnTo>
                    <a:pt x="636" y="24"/>
                  </a:lnTo>
                  <a:lnTo>
                    <a:pt x="634" y="22"/>
                  </a:lnTo>
                  <a:lnTo>
                    <a:pt x="634" y="20"/>
                  </a:lnTo>
                  <a:lnTo>
                    <a:pt x="632" y="20"/>
                  </a:lnTo>
                  <a:lnTo>
                    <a:pt x="634" y="20"/>
                  </a:lnTo>
                  <a:lnTo>
                    <a:pt x="634" y="20"/>
                  </a:lnTo>
                  <a:lnTo>
                    <a:pt x="636" y="22"/>
                  </a:lnTo>
                  <a:lnTo>
                    <a:pt x="638" y="22"/>
                  </a:lnTo>
                  <a:lnTo>
                    <a:pt x="638" y="20"/>
                  </a:lnTo>
                  <a:lnTo>
                    <a:pt x="636" y="18"/>
                  </a:lnTo>
                  <a:lnTo>
                    <a:pt x="636" y="18"/>
                  </a:lnTo>
                  <a:lnTo>
                    <a:pt x="638" y="17"/>
                  </a:lnTo>
                  <a:lnTo>
                    <a:pt x="636" y="17"/>
                  </a:lnTo>
                  <a:lnTo>
                    <a:pt x="636" y="17"/>
                  </a:lnTo>
                  <a:lnTo>
                    <a:pt x="636" y="15"/>
                  </a:lnTo>
                  <a:lnTo>
                    <a:pt x="636" y="15"/>
                  </a:lnTo>
                  <a:lnTo>
                    <a:pt x="636" y="15"/>
                  </a:lnTo>
                  <a:lnTo>
                    <a:pt x="636" y="15"/>
                  </a:lnTo>
                  <a:lnTo>
                    <a:pt x="636" y="13"/>
                  </a:lnTo>
                  <a:lnTo>
                    <a:pt x="634" y="13"/>
                  </a:lnTo>
                  <a:lnTo>
                    <a:pt x="634" y="13"/>
                  </a:lnTo>
                  <a:lnTo>
                    <a:pt x="632" y="15"/>
                  </a:lnTo>
                  <a:lnTo>
                    <a:pt x="632" y="13"/>
                  </a:lnTo>
                  <a:lnTo>
                    <a:pt x="632" y="13"/>
                  </a:lnTo>
                  <a:lnTo>
                    <a:pt x="631" y="13"/>
                  </a:lnTo>
                  <a:lnTo>
                    <a:pt x="631" y="15"/>
                  </a:lnTo>
                  <a:lnTo>
                    <a:pt x="631" y="15"/>
                  </a:lnTo>
                  <a:lnTo>
                    <a:pt x="631" y="17"/>
                  </a:lnTo>
                  <a:lnTo>
                    <a:pt x="631" y="17"/>
                  </a:lnTo>
                  <a:lnTo>
                    <a:pt x="631" y="18"/>
                  </a:lnTo>
                  <a:lnTo>
                    <a:pt x="631" y="18"/>
                  </a:lnTo>
                  <a:lnTo>
                    <a:pt x="631" y="20"/>
                  </a:lnTo>
                  <a:lnTo>
                    <a:pt x="631" y="20"/>
                  </a:lnTo>
                  <a:lnTo>
                    <a:pt x="631" y="22"/>
                  </a:lnTo>
                  <a:lnTo>
                    <a:pt x="631" y="24"/>
                  </a:lnTo>
                  <a:lnTo>
                    <a:pt x="631" y="24"/>
                  </a:lnTo>
                  <a:lnTo>
                    <a:pt x="631" y="26"/>
                  </a:lnTo>
                  <a:lnTo>
                    <a:pt x="631" y="24"/>
                  </a:lnTo>
                  <a:lnTo>
                    <a:pt x="629" y="24"/>
                  </a:lnTo>
                  <a:lnTo>
                    <a:pt x="629" y="22"/>
                  </a:lnTo>
                  <a:lnTo>
                    <a:pt x="629" y="22"/>
                  </a:lnTo>
                  <a:lnTo>
                    <a:pt x="627" y="22"/>
                  </a:lnTo>
                  <a:lnTo>
                    <a:pt x="627" y="24"/>
                  </a:lnTo>
                  <a:lnTo>
                    <a:pt x="629" y="33"/>
                  </a:lnTo>
                  <a:lnTo>
                    <a:pt x="629" y="35"/>
                  </a:lnTo>
                  <a:close/>
                  <a:moveTo>
                    <a:pt x="638" y="17"/>
                  </a:moveTo>
                  <a:lnTo>
                    <a:pt x="640" y="18"/>
                  </a:lnTo>
                  <a:lnTo>
                    <a:pt x="640" y="18"/>
                  </a:lnTo>
                  <a:lnTo>
                    <a:pt x="641" y="18"/>
                  </a:lnTo>
                  <a:lnTo>
                    <a:pt x="641" y="18"/>
                  </a:lnTo>
                  <a:lnTo>
                    <a:pt x="643" y="18"/>
                  </a:lnTo>
                  <a:lnTo>
                    <a:pt x="643" y="18"/>
                  </a:lnTo>
                  <a:lnTo>
                    <a:pt x="643" y="18"/>
                  </a:lnTo>
                  <a:lnTo>
                    <a:pt x="643" y="18"/>
                  </a:lnTo>
                  <a:lnTo>
                    <a:pt x="645" y="18"/>
                  </a:lnTo>
                  <a:lnTo>
                    <a:pt x="645" y="18"/>
                  </a:lnTo>
                  <a:lnTo>
                    <a:pt x="645" y="17"/>
                  </a:lnTo>
                  <a:lnTo>
                    <a:pt x="645" y="15"/>
                  </a:lnTo>
                  <a:lnTo>
                    <a:pt x="643" y="15"/>
                  </a:lnTo>
                  <a:lnTo>
                    <a:pt x="645" y="13"/>
                  </a:lnTo>
                  <a:lnTo>
                    <a:pt x="647" y="11"/>
                  </a:lnTo>
                  <a:lnTo>
                    <a:pt x="647" y="11"/>
                  </a:lnTo>
                  <a:lnTo>
                    <a:pt x="645" y="11"/>
                  </a:lnTo>
                  <a:lnTo>
                    <a:pt x="645" y="9"/>
                  </a:lnTo>
                  <a:lnTo>
                    <a:pt x="645" y="9"/>
                  </a:lnTo>
                  <a:lnTo>
                    <a:pt x="647" y="9"/>
                  </a:lnTo>
                  <a:lnTo>
                    <a:pt x="647" y="9"/>
                  </a:lnTo>
                  <a:lnTo>
                    <a:pt x="645" y="8"/>
                  </a:lnTo>
                  <a:lnTo>
                    <a:pt x="647" y="8"/>
                  </a:lnTo>
                  <a:lnTo>
                    <a:pt x="647" y="8"/>
                  </a:lnTo>
                  <a:lnTo>
                    <a:pt x="649" y="6"/>
                  </a:lnTo>
                  <a:lnTo>
                    <a:pt x="649" y="6"/>
                  </a:lnTo>
                  <a:lnTo>
                    <a:pt x="647" y="6"/>
                  </a:lnTo>
                  <a:lnTo>
                    <a:pt x="649" y="4"/>
                  </a:lnTo>
                  <a:lnTo>
                    <a:pt x="649" y="4"/>
                  </a:lnTo>
                  <a:lnTo>
                    <a:pt x="649" y="4"/>
                  </a:lnTo>
                  <a:lnTo>
                    <a:pt x="647" y="2"/>
                  </a:lnTo>
                  <a:lnTo>
                    <a:pt x="647" y="2"/>
                  </a:lnTo>
                  <a:lnTo>
                    <a:pt x="647" y="2"/>
                  </a:lnTo>
                  <a:lnTo>
                    <a:pt x="645" y="2"/>
                  </a:lnTo>
                  <a:lnTo>
                    <a:pt x="645" y="2"/>
                  </a:lnTo>
                  <a:lnTo>
                    <a:pt x="645" y="0"/>
                  </a:lnTo>
                  <a:lnTo>
                    <a:pt x="645" y="2"/>
                  </a:lnTo>
                  <a:lnTo>
                    <a:pt x="643" y="6"/>
                  </a:lnTo>
                  <a:lnTo>
                    <a:pt x="643" y="6"/>
                  </a:lnTo>
                  <a:lnTo>
                    <a:pt x="643" y="6"/>
                  </a:lnTo>
                  <a:lnTo>
                    <a:pt x="641" y="8"/>
                  </a:lnTo>
                  <a:lnTo>
                    <a:pt x="641" y="6"/>
                  </a:lnTo>
                  <a:lnTo>
                    <a:pt x="641" y="6"/>
                  </a:lnTo>
                  <a:lnTo>
                    <a:pt x="643" y="6"/>
                  </a:lnTo>
                  <a:lnTo>
                    <a:pt x="643" y="4"/>
                  </a:lnTo>
                  <a:lnTo>
                    <a:pt x="643" y="4"/>
                  </a:lnTo>
                  <a:lnTo>
                    <a:pt x="643" y="2"/>
                  </a:lnTo>
                  <a:lnTo>
                    <a:pt x="643" y="0"/>
                  </a:lnTo>
                  <a:lnTo>
                    <a:pt x="641" y="0"/>
                  </a:lnTo>
                  <a:lnTo>
                    <a:pt x="641" y="2"/>
                  </a:lnTo>
                  <a:lnTo>
                    <a:pt x="641" y="4"/>
                  </a:lnTo>
                  <a:lnTo>
                    <a:pt x="641" y="4"/>
                  </a:lnTo>
                  <a:lnTo>
                    <a:pt x="640" y="6"/>
                  </a:lnTo>
                  <a:lnTo>
                    <a:pt x="640" y="6"/>
                  </a:lnTo>
                  <a:lnTo>
                    <a:pt x="640" y="6"/>
                  </a:lnTo>
                  <a:lnTo>
                    <a:pt x="640" y="8"/>
                  </a:lnTo>
                  <a:lnTo>
                    <a:pt x="640" y="9"/>
                  </a:lnTo>
                  <a:lnTo>
                    <a:pt x="640" y="11"/>
                  </a:lnTo>
                  <a:lnTo>
                    <a:pt x="638" y="11"/>
                  </a:lnTo>
                  <a:lnTo>
                    <a:pt x="640" y="11"/>
                  </a:lnTo>
                  <a:lnTo>
                    <a:pt x="640" y="13"/>
                  </a:lnTo>
                  <a:lnTo>
                    <a:pt x="640" y="15"/>
                  </a:lnTo>
                  <a:lnTo>
                    <a:pt x="638" y="13"/>
                  </a:lnTo>
                  <a:lnTo>
                    <a:pt x="638" y="15"/>
                  </a:lnTo>
                  <a:lnTo>
                    <a:pt x="638" y="15"/>
                  </a:lnTo>
                  <a:lnTo>
                    <a:pt x="638" y="17"/>
                  </a:lnTo>
                  <a:lnTo>
                    <a:pt x="638" y="17"/>
                  </a:lnTo>
                  <a:close/>
                  <a:moveTo>
                    <a:pt x="567" y="1007"/>
                  </a:moveTo>
                  <a:lnTo>
                    <a:pt x="567" y="1007"/>
                  </a:lnTo>
                  <a:lnTo>
                    <a:pt x="567" y="1007"/>
                  </a:lnTo>
                  <a:lnTo>
                    <a:pt x="567" y="1007"/>
                  </a:lnTo>
                  <a:lnTo>
                    <a:pt x="567" y="1007"/>
                  </a:lnTo>
                  <a:lnTo>
                    <a:pt x="567" y="1008"/>
                  </a:lnTo>
                  <a:lnTo>
                    <a:pt x="567" y="1008"/>
                  </a:lnTo>
                  <a:lnTo>
                    <a:pt x="567" y="1008"/>
                  </a:lnTo>
                  <a:lnTo>
                    <a:pt x="567" y="1008"/>
                  </a:lnTo>
                  <a:lnTo>
                    <a:pt x="567" y="1008"/>
                  </a:lnTo>
                  <a:lnTo>
                    <a:pt x="567" y="1008"/>
                  </a:lnTo>
                  <a:lnTo>
                    <a:pt x="569" y="1008"/>
                  </a:lnTo>
                  <a:lnTo>
                    <a:pt x="569" y="1007"/>
                  </a:lnTo>
                  <a:lnTo>
                    <a:pt x="567" y="1007"/>
                  </a:lnTo>
                  <a:close/>
                  <a:moveTo>
                    <a:pt x="560" y="1001"/>
                  </a:moveTo>
                  <a:lnTo>
                    <a:pt x="558" y="1003"/>
                  </a:lnTo>
                  <a:lnTo>
                    <a:pt x="557" y="1003"/>
                  </a:lnTo>
                  <a:lnTo>
                    <a:pt x="555" y="1005"/>
                  </a:lnTo>
                  <a:lnTo>
                    <a:pt x="555" y="1005"/>
                  </a:lnTo>
                  <a:lnTo>
                    <a:pt x="553" y="1005"/>
                  </a:lnTo>
                  <a:lnTo>
                    <a:pt x="553" y="1005"/>
                  </a:lnTo>
                  <a:lnTo>
                    <a:pt x="553" y="1007"/>
                  </a:lnTo>
                  <a:lnTo>
                    <a:pt x="553" y="1007"/>
                  </a:lnTo>
                  <a:lnTo>
                    <a:pt x="553" y="1007"/>
                  </a:lnTo>
                  <a:lnTo>
                    <a:pt x="553" y="1007"/>
                  </a:lnTo>
                  <a:lnTo>
                    <a:pt x="553" y="1008"/>
                  </a:lnTo>
                  <a:lnTo>
                    <a:pt x="558" y="1008"/>
                  </a:lnTo>
                  <a:lnTo>
                    <a:pt x="558" y="1008"/>
                  </a:lnTo>
                  <a:lnTo>
                    <a:pt x="558" y="1008"/>
                  </a:lnTo>
                  <a:lnTo>
                    <a:pt x="558" y="1008"/>
                  </a:lnTo>
                  <a:lnTo>
                    <a:pt x="558" y="1008"/>
                  </a:lnTo>
                  <a:lnTo>
                    <a:pt x="560" y="1007"/>
                  </a:lnTo>
                  <a:lnTo>
                    <a:pt x="560" y="1007"/>
                  </a:lnTo>
                  <a:lnTo>
                    <a:pt x="560" y="1007"/>
                  </a:lnTo>
                  <a:lnTo>
                    <a:pt x="560" y="1005"/>
                  </a:lnTo>
                  <a:lnTo>
                    <a:pt x="560" y="1003"/>
                  </a:lnTo>
                  <a:lnTo>
                    <a:pt x="560" y="1003"/>
                  </a:lnTo>
                  <a:lnTo>
                    <a:pt x="562" y="1001"/>
                  </a:lnTo>
                  <a:lnTo>
                    <a:pt x="560" y="1001"/>
                  </a:lnTo>
                  <a:lnTo>
                    <a:pt x="560" y="1001"/>
                  </a:lnTo>
                  <a:close/>
                  <a:moveTo>
                    <a:pt x="576" y="987"/>
                  </a:moveTo>
                  <a:lnTo>
                    <a:pt x="578" y="985"/>
                  </a:lnTo>
                  <a:lnTo>
                    <a:pt x="578" y="985"/>
                  </a:lnTo>
                  <a:lnTo>
                    <a:pt x="578" y="985"/>
                  </a:lnTo>
                  <a:lnTo>
                    <a:pt x="576" y="985"/>
                  </a:lnTo>
                  <a:lnTo>
                    <a:pt x="576" y="985"/>
                  </a:lnTo>
                  <a:lnTo>
                    <a:pt x="576" y="985"/>
                  </a:lnTo>
                  <a:lnTo>
                    <a:pt x="575" y="985"/>
                  </a:lnTo>
                  <a:lnTo>
                    <a:pt x="575" y="987"/>
                  </a:lnTo>
                  <a:lnTo>
                    <a:pt x="575" y="987"/>
                  </a:lnTo>
                  <a:lnTo>
                    <a:pt x="576" y="987"/>
                  </a:lnTo>
                  <a:lnTo>
                    <a:pt x="576" y="987"/>
                  </a:lnTo>
                  <a:close/>
                  <a:moveTo>
                    <a:pt x="446" y="633"/>
                  </a:moveTo>
                  <a:lnTo>
                    <a:pt x="446" y="633"/>
                  </a:lnTo>
                  <a:lnTo>
                    <a:pt x="446" y="633"/>
                  </a:lnTo>
                  <a:lnTo>
                    <a:pt x="446" y="633"/>
                  </a:lnTo>
                  <a:lnTo>
                    <a:pt x="448" y="634"/>
                  </a:lnTo>
                  <a:lnTo>
                    <a:pt x="448" y="633"/>
                  </a:lnTo>
                  <a:lnTo>
                    <a:pt x="450" y="633"/>
                  </a:lnTo>
                  <a:lnTo>
                    <a:pt x="450" y="631"/>
                  </a:lnTo>
                  <a:lnTo>
                    <a:pt x="452" y="633"/>
                  </a:lnTo>
                  <a:lnTo>
                    <a:pt x="452" y="633"/>
                  </a:lnTo>
                  <a:lnTo>
                    <a:pt x="454" y="633"/>
                  </a:lnTo>
                  <a:lnTo>
                    <a:pt x="454" y="633"/>
                  </a:lnTo>
                  <a:lnTo>
                    <a:pt x="455" y="633"/>
                  </a:lnTo>
                  <a:lnTo>
                    <a:pt x="455" y="633"/>
                  </a:lnTo>
                  <a:lnTo>
                    <a:pt x="455" y="634"/>
                  </a:lnTo>
                  <a:lnTo>
                    <a:pt x="455" y="631"/>
                  </a:lnTo>
                  <a:lnTo>
                    <a:pt x="457" y="631"/>
                  </a:lnTo>
                  <a:lnTo>
                    <a:pt x="457" y="631"/>
                  </a:lnTo>
                  <a:lnTo>
                    <a:pt x="457" y="631"/>
                  </a:lnTo>
                  <a:lnTo>
                    <a:pt x="459" y="631"/>
                  </a:lnTo>
                  <a:lnTo>
                    <a:pt x="459" y="629"/>
                  </a:lnTo>
                  <a:lnTo>
                    <a:pt x="459" y="629"/>
                  </a:lnTo>
                  <a:lnTo>
                    <a:pt x="463" y="627"/>
                  </a:lnTo>
                  <a:lnTo>
                    <a:pt x="463" y="625"/>
                  </a:lnTo>
                  <a:lnTo>
                    <a:pt x="464" y="624"/>
                  </a:lnTo>
                  <a:lnTo>
                    <a:pt x="466" y="624"/>
                  </a:lnTo>
                  <a:lnTo>
                    <a:pt x="466" y="622"/>
                  </a:lnTo>
                  <a:lnTo>
                    <a:pt x="466" y="620"/>
                  </a:lnTo>
                  <a:lnTo>
                    <a:pt x="468" y="618"/>
                  </a:lnTo>
                  <a:lnTo>
                    <a:pt x="468" y="618"/>
                  </a:lnTo>
                  <a:lnTo>
                    <a:pt x="468" y="618"/>
                  </a:lnTo>
                  <a:lnTo>
                    <a:pt x="468" y="618"/>
                  </a:lnTo>
                  <a:lnTo>
                    <a:pt x="468" y="616"/>
                  </a:lnTo>
                  <a:lnTo>
                    <a:pt x="470" y="616"/>
                  </a:lnTo>
                  <a:lnTo>
                    <a:pt x="470" y="615"/>
                  </a:lnTo>
                  <a:lnTo>
                    <a:pt x="470" y="615"/>
                  </a:lnTo>
                  <a:lnTo>
                    <a:pt x="470" y="615"/>
                  </a:lnTo>
                  <a:lnTo>
                    <a:pt x="470" y="613"/>
                  </a:lnTo>
                  <a:lnTo>
                    <a:pt x="470" y="613"/>
                  </a:lnTo>
                  <a:lnTo>
                    <a:pt x="470" y="613"/>
                  </a:lnTo>
                  <a:lnTo>
                    <a:pt x="470" y="613"/>
                  </a:lnTo>
                  <a:lnTo>
                    <a:pt x="468" y="613"/>
                  </a:lnTo>
                  <a:lnTo>
                    <a:pt x="468" y="611"/>
                  </a:lnTo>
                  <a:lnTo>
                    <a:pt x="468" y="611"/>
                  </a:lnTo>
                  <a:lnTo>
                    <a:pt x="468" y="609"/>
                  </a:lnTo>
                  <a:lnTo>
                    <a:pt x="468" y="609"/>
                  </a:lnTo>
                  <a:lnTo>
                    <a:pt x="468" y="607"/>
                  </a:lnTo>
                  <a:lnTo>
                    <a:pt x="468" y="606"/>
                  </a:lnTo>
                  <a:lnTo>
                    <a:pt x="468" y="604"/>
                  </a:lnTo>
                  <a:lnTo>
                    <a:pt x="468" y="604"/>
                  </a:lnTo>
                  <a:lnTo>
                    <a:pt x="466" y="604"/>
                  </a:lnTo>
                  <a:lnTo>
                    <a:pt x="466" y="604"/>
                  </a:lnTo>
                  <a:lnTo>
                    <a:pt x="464" y="604"/>
                  </a:lnTo>
                  <a:lnTo>
                    <a:pt x="461" y="606"/>
                  </a:lnTo>
                  <a:lnTo>
                    <a:pt x="459" y="607"/>
                  </a:lnTo>
                  <a:lnTo>
                    <a:pt x="459" y="609"/>
                  </a:lnTo>
                  <a:lnTo>
                    <a:pt x="455" y="615"/>
                  </a:lnTo>
                  <a:lnTo>
                    <a:pt x="455" y="616"/>
                  </a:lnTo>
                  <a:lnTo>
                    <a:pt x="454" y="618"/>
                  </a:lnTo>
                  <a:lnTo>
                    <a:pt x="454" y="618"/>
                  </a:lnTo>
                  <a:lnTo>
                    <a:pt x="452" y="620"/>
                  </a:lnTo>
                  <a:lnTo>
                    <a:pt x="450" y="620"/>
                  </a:lnTo>
                  <a:lnTo>
                    <a:pt x="450" y="620"/>
                  </a:lnTo>
                  <a:lnTo>
                    <a:pt x="450" y="622"/>
                  </a:lnTo>
                  <a:lnTo>
                    <a:pt x="450" y="622"/>
                  </a:lnTo>
                  <a:lnTo>
                    <a:pt x="450" y="624"/>
                  </a:lnTo>
                  <a:lnTo>
                    <a:pt x="450" y="624"/>
                  </a:lnTo>
                  <a:lnTo>
                    <a:pt x="450" y="627"/>
                  </a:lnTo>
                  <a:lnTo>
                    <a:pt x="450" y="629"/>
                  </a:lnTo>
                  <a:lnTo>
                    <a:pt x="448" y="631"/>
                  </a:lnTo>
                  <a:lnTo>
                    <a:pt x="448" y="633"/>
                  </a:lnTo>
                  <a:lnTo>
                    <a:pt x="446" y="633"/>
                  </a:lnTo>
                  <a:lnTo>
                    <a:pt x="446" y="633"/>
                  </a:lnTo>
                  <a:close/>
                  <a:moveTo>
                    <a:pt x="585" y="1023"/>
                  </a:moveTo>
                  <a:lnTo>
                    <a:pt x="585" y="1023"/>
                  </a:lnTo>
                  <a:lnTo>
                    <a:pt x="585" y="1023"/>
                  </a:lnTo>
                  <a:lnTo>
                    <a:pt x="584" y="1021"/>
                  </a:lnTo>
                  <a:lnTo>
                    <a:pt x="582" y="1021"/>
                  </a:lnTo>
                  <a:lnTo>
                    <a:pt x="582" y="1021"/>
                  </a:lnTo>
                  <a:lnTo>
                    <a:pt x="582" y="1021"/>
                  </a:lnTo>
                  <a:lnTo>
                    <a:pt x="580" y="1021"/>
                  </a:lnTo>
                  <a:lnTo>
                    <a:pt x="580" y="1021"/>
                  </a:lnTo>
                  <a:lnTo>
                    <a:pt x="578" y="1021"/>
                  </a:lnTo>
                  <a:lnTo>
                    <a:pt x="578" y="1019"/>
                  </a:lnTo>
                  <a:lnTo>
                    <a:pt x="578" y="1021"/>
                  </a:lnTo>
                  <a:lnTo>
                    <a:pt x="578" y="1021"/>
                  </a:lnTo>
                  <a:lnTo>
                    <a:pt x="576" y="1021"/>
                  </a:lnTo>
                  <a:lnTo>
                    <a:pt x="576" y="1021"/>
                  </a:lnTo>
                  <a:lnTo>
                    <a:pt x="575" y="1021"/>
                  </a:lnTo>
                  <a:lnTo>
                    <a:pt x="575" y="1021"/>
                  </a:lnTo>
                  <a:lnTo>
                    <a:pt x="575" y="1021"/>
                  </a:lnTo>
                  <a:lnTo>
                    <a:pt x="575" y="1021"/>
                  </a:lnTo>
                  <a:lnTo>
                    <a:pt x="575" y="1023"/>
                  </a:lnTo>
                  <a:lnTo>
                    <a:pt x="575" y="1025"/>
                  </a:lnTo>
                  <a:lnTo>
                    <a:pt x="575" y="1026"/>
                  </a:lnTo>
                  <a:lnTo>
                    <a:pt x="575" y="1026"/>
                  </a:lnTo>
                  <a:lnTo>
                    <a:pt x="576" y="1026"/>
                  </a:lnTo>
                  <a:lnTo>
                    <a:pt x="576" y="1026"/>
                  </a:lnTo>
                  <a:lnTo>
                    <a:pt x="576" y="1026"/>
                  </a:lnTo>
                  <a:lnTo>
                    <a:pt x="578" y="1026"/>
                  </a:lnTo>
                  <a:lnTo>
                    <a:pt x="578" y="1026"/>
                  </a:lnTo>
                  <a:lnTo>
                    <a:pt x="578" y="1026"/>
                  </a:lnTo>
                  <a:lnTo>
                    <a:pt x="578" y="1025"/>
                  </a:lnTo>
                  <a:lnTo>
                    <a:pt x="578" y="1025"/>
                  </a:lnTo>
                  <a:lnTo>
                    <a:pt x="580" y="1025"/>
                  </a:lnTo>
                  <a:lnTo>
                    <a:pt x="580" y="1025"/>
                  </a:lnTo>
                  <a:lnTo>
                    <a:pt x="580" y="1025"/>
                  </a:lnTo>
                  <a:lnTo>
                    <a:pt x="582" y="1026"/>
                  </a:lnTo>
                  <a:lnTo>
                    <a:pt x="582" y="1026"/>
                  </a:lnTo>
                  <a:lnTo>
                    <a:pt x="584" y="1026"/>
                  </a:lnTo>
                  <a:lnTo>
                    <a:pt x="584" y="1026"/>
                  </a:lnTo>
                  <a:lnTo>
                    <a:pt x="585" y="1028"/>
                  </a:lnTo>
                  <a:lnTo>
                    <a:pt x="585" y="1028"/>
                  </a:lnTo>
                  <a:lnTo>
                    <a:pt x="585" y="1026"/>
                  </a:lnTo>
                  <a:lnTo>
                    <a:pt x="585" y="1026"/>
                  </a:lnTo>
                  <a:lnTo>
                    <a:pt x="585" y="1025"/>
                  </a:lnTo>
                  <a:lnTo>
                    <a:pt x="585" y="1025"/>
                  </a:lnTo>
                  <a:lnTo>
                    <a:pt x="585" y="1025"/>
                  </a:lnTo>
                  <a:lnTo>
                    <a:pt x="585" y="1025"/>
                  </a:lnTo>
                  <a:lnTo>
                    <a:pt x="585" y="1023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79D3A8E7-948F-035C-336F-FDD889FC7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2075" y="5519738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0 h 2"/>
                <a:gd name="T4" fmla="*/ 2 w 2"/>
                <a:gd name="T5" fmla="*/ 0 h 2"/>
                <a:gd name="T6" fmla="*/ 2 w 2"/>
                <a:gd name="T7" fmla="*/ 2 h 2"/>
                <a:gd name="T8" fmla="*/ 2 w 2"/>
                <a:gd name="T9" fmla="*/ 0 h 2"/>
                <a:gd name="T10" fmla="*/ 2 w 2"/>
                <a:gd name="T11" fmla="*/ 0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410F0FFB-7BD8-E5B2-FCFF-AEF8017055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4250" y="3346451"/>
              <a:ext cx="728663" cy="985838"/>
            </a:xfrm>
            <a:custGeom>
              <a:avLst/>
              <a:gdLst>
                <a:gd name="T0" fmla="*/ 114 w 459"/>
                <a:gd name="T1" fmla="*/ 115 h 621"/>
                <a:gd name="T2" fmla="*/ 105 w 459"/>
                <a:gd name="T3" fmla="*/ 110 h 621"/>
                <a:gd name="T4" fmla="*/ 401 w 459"/>
                <a:gd name="T5" fmla="*/ 86 h 621"/>
                <a:gd name="T6" fmla="*/ 399 w 459"/>
                <a:gd name="T7" fmla="*/ 103 h 621"/>
                <a:gd name="T8" fmla="*/ 152 w 459"/>
                <a:gd name="T9" fmla="*/ 50 h 621"/>
                <a:gd name="T10" fmla="*/ 137 w 459"/>
                <a:gd name="T11" fmla="*/ 48 h 621"/>
                <a:gd name="T12" fmla="*/ 367 w 459"/>
                <a:gd name="T13" fmla="*/ 45 h 621"/>
                <a:gd name="T14" fmla="*/ 365 w 459"/>
                <a:gd name="T15" fmla="*/ 65 h 621"/>
                <a:gd name="T16" fmla="*/ 390 w 459"/>
                <a:gd name="T17" fmla="*/ 61 h 621"/>
                <a:gd name="T18" fmla="*/ 381 w 459"/>
                <a:gd name="T19" fmla="*/ 41 h 621"/>
                <a:gd name="T20" fmla="*/ 383 w 459"/>
                <a:gd name="T21" fmla="*/ 43 h 621"/>
                <a:gd name="T22" fmla="*/ 374 w 459"/>
                <a:gd name="T23" fmla="*/ 47 h 621"/>
                <a:gd name="T24" fmla="*/ 455 w 459"/>
                <a:gd name="T25" fmla="*/ 303 h 621"/>
                <a:gd name="T26" fmla="*/ 444 w 459"/>
                <a:gd name="T27" fmla="*/ 240 h 621"/>
                <a:gd name="T28" fmla="*/ 428 w 459"/>
                <a:gd name="T29" fmla="*/ 164 h 621"/>
                <a:gd name="T30" fmla="*/ 410 w 459"/>
                <a:gd name="T31" fmla="*/ 112 h 621"/>
                <a:gd name="T32" fmla="*/ 394 w 459"/>
                <a:gd name="T33" fmla="*/ 76 h 621"/>
                <a:gd name="T34" fmla="*/ 359 w 459"/>
                <a:gd name="T35" fmla="*/ 58 h 621"/>
                <a:gd name="T36" fmla="*/ 336 w 459"/>
                <a:gd name="T37" fmla="*/ 59 h 621"/>
                <a:gd name="T38" fmla="*/ 338 w 459"/>
                <a:gd name="T39" fmla="*/ 58 h 621"/>
                <a:gd name="T40" fmla="*/ 314 w 459"/>
                <a:gd name="T41" fmla="*/ 76 h 621"/>
                <a:gd name="T42" fmla="*/ 280 w 459"/>
                <a:gd name="T43" fmla="*/ 99 h 621"/>
                <a:gd name="T44" fmla="*/ 249 w 459"/>
                <a:gd name="T45" fmla="*/ 83 h 621"/>
                <a:gd name="T46" fmla="*/ 219 w 459"/>
                <a:gd name="T47" fmla="*/ 59 h 621"/>
                <a:gd name="T48" fmla="*/ 206 w 459"/>
                <a:gd name="T49" fmla="*/ 32 h 621"/>
                <a:gd name="T50" fmla="*/ 157 w 459"/>
                <a:gd name="T51" fmla="*/ 16 h 621"/>
                <a:gd name="T52" fmla="*/ 143 w 459"/>
                <a:gd name="T53" fmla="*/ 59 h 621"/>
                <a:gd name="T54" fmla="*/ 159 w 459"/>
                <a:gd name="T55" fmla="*/ 86 h 621"/>
                <a:gd name="T56" fmla="*/ 181 w 459"/>
                <a:gd name="T57" fmla="*/ 115 h 621"/>
                <a:gd name="T58" fmla="*/ 132 w 459"/>
                <a:gd name="T59" fmla="*/ 137 h 621"/>
                <a:gd name="T60" fmla="*/ 116 w 459"/>
                <a:gd name="T61" fmla="*/ 128 h 621"/>
                <a:gd name="T62" fmla="*/ 71 w 459"/>
                <a:gd name="T63" fmla="*/ 148 h 621"/>
                <a:gd name="T64" fmla="*/ 42 w 459"/>
                <a:gd name="T65" fmla="*/ 218 h 621"/>
                <a:gd name="T66" fmla="*/ 49 w 459"/>
                <a:gd name="T67" fmla="*/ 260 h 621"/>
                <a:gd name="T68" fmla="*/ 7 w 459"/>
                <a:gd name="T69" fmla="*/ 280 h 621"/>
                <a:gd name="T70" fmla="*/ 2 w 459"/>
                <a:gd name="T71" fmla="*/ 339 h 621"/>
                <a:gd name="T72" fmla="*/ 15 w 459"/>
                <a:gd name="T73" fmla="*/ 366 h 621"/>
                <a:gd name="T74" fmla="*/ 22 w 459"/>
                <a:gd name="T75" fmla="*/ 392 h 621"/>
                <a:gd name="T76" fmla="*/ 22 w 459"/>
                <a:gd name="T77" fmla="*/ 428 h 621"/>
                <a:gd name="T78" fmla="*/ 25 w 459"/>
                <a:gd name="T79" fmla="*/ 457 h 621"/>
                <a:gd name="T80" fmla="*/ 52 w 459"/>
                <a:gd name="T81" fmla="*/ 477 h 621"/>
                <a:gd name="T82" fmla="*/ 90 w 459"/>
                <a:gd name="T83" fmla="*/ 489 h 621"/>
                <a:gd name="T84" fmla="*/ 98 w 459"/>
                <a:gd name="T85" fmla="*/ 529 h 621"/>
                <a:gd name="T86" fmla="*/ 85 w 459"/>
                <a:gd name="T87" fmla="*/ 580 h 621"/>
                <a:gd name="T88" fmla="*/ 114 w 459"/>
                <a:gd name="T89" fmla="*/ 598 h 621"/>
                <a:gd name="T90" fmla="*/ 134 w 459"/>
                <a:gd name="T91" fmla="*/ 594 h 621"/>
                <a:gd name="T92" fmla="*/ 146 w 459"/>
                <a:gd name="T93" fmla="*/ 590 h 621"/>
                <a:gd name="T94" fmla="*/ 208 w 459"/>
                <a:gd name="T95" fmla="*/ 605 h 621"/>
                <a:gd name="T96" fmla="*/ 228 w 459"/>
                <a:gd name="T97" fmla="*/ 614 h 621"/>
                <a:gd name="T98" fmla="*/ 257 w 459"/>
                <a:gd name="T99" fmla="*/ 610 h 621"/>
                <a:gd name="T100" fmla="*/ 318 w 459"/>
                <a:gd name="T101" fmla="*/ 594 h 621"/>
                <a:gd name="T102" fmla="*/ 347 w 459"/>
                <a:gd name="T103" fmla="*/ 598 h 621"/>
                <a:gd name="T104" fmla="*/ 354 w 459"/>
                <a:gd name="T105" fmla="*/ 587 h 621"/>
                <a:gd name="T106" fmla="*/ 379 w 459"/>
                <a:gd name="T107" fmla="*/ 536 h 621"/>
                <a:gd name="T108" fmla="*/ 392 w 459"/>
                <a:gd name="T109" fmla="*/ 502 h 621"/>
                <a:gd name="T110" fmla="*/ 345 w 459"/>
                <a:gd name="T111" fmla="*/ 462 h 621"/>
                <a:gd name="T112" fmla="*/ 331 w 459"/>
                <a:gd name="T113" fmla="*/ 421 h 621"/>
                <a:gd name="T114" fmla="*/ 320 w 459"/>
                <a:gd name="T115" fmla="*/ 397 h 621"/>
                <a:gd name="T116" fmla="*/ 347 w 459"/>
                <a:gd name="T117" fmla="*/ 381 h 621"/>
                <a:gd name="T118" fmla="*/ 383 w 459"/>
                <a:gd name="T119" fmla="*/ 366 h 621"/>
                <a:gd name="T120" fmla="*/ 421 w 459"/>
                <a:gd name="T121" fmla="*/ 339 h 621"/>
                <a:gd name="T122" fmla="*/ 452 w 459"/>
                <a:gd name="T123" fmla="*/ 343 h 621"/>
                <a:gd name="T124" fmla="*/ 130 w 459"/>
                <a:gd name="T125" fmla="*/ 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9" h="621">
                  <a:moveTo>
                    <a:pt x="42" y="126"/>
                  </a:moveTo>
                  <a:lnTo>
                    <a:pt x="42" y="128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5" y="126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5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3"/>
                  </a:lnTo>
                  <a:lnTo>
                    <a:pt x="45" y="123"/>
                  </a:lnTo>
                  <a:lnTo>
                    <a:pt x="42" y="124"/>
                  </a:lnTo>
                  <a:lnTo>
                    <a:pt x="40" y="124"/>
                  </a:lnTo>
                  <a:lnTo>
                    <a:pt x="42" y="126"/>
                  </a:lnTo>
                  <a:lnTo>
                    <a:pt x="42" y="126"/>
                  </a:lnTo>
                  <a:close/>
                  <a:moveTo>
                    <a:pt x="60" y="117"/>
                  </a:moveTo>
                  <a:lnTo>
                    <a:pt x="52" y="117"/>
                  </a:lnTo>
                  <a:lnTo>
                    <a:pt x="51" y="119"/>
                  </a:lnTo>
                  <a:lnTo>
                    <a:pt x="61" y="117"/>
                  </a:lnTo>
                  <a:lnTo>
                    <a:pt x="60" y="117"/>
                  </a:lnTo>
                  <a:close/>
                  <a:moveTo>
                    <a:pt x="72" y="115"/>
                  </a:moveTo>
                  <a:lnTo>
                    <a:pt x="74" y="114"/>
                  </a:lnTo>
                  <a:lnTo>
                    <a:pt x="74" y="114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69" y="114"/>
                  </a:lnTo>
                  <a:lnTo>
                    <a:pt x="67" y="114"/>
                  </a:lnTo>
                  <a:lnTo>
                    <a:pt x="65" y="115"/>
                  </a:lnTo>
                  <a:lnTo>
                    <a:pt x="67" y="115"/>
                  </a:lnTo>
                  <a:lnTo>
                    <a:pt x="72" y="115"/>
                  </a:lnTo>
                  <a:close/>
                  <a:moveTo>
                    <a:pt x="80" y="114"/>
                  </a:moveTo>
                  <a:lnTo>
                    <a:pt x="80" y="114"/>
                  </a:lnTo>
                  <a:lnTo>
                    <a:pt x="80" y="114"/>
                  </a:lnTo>
                  <a:lnTo>
                    <a:pt x="80" y="114"/>
                  </a:lnTo>
                  <a:lnTo>
                    <a:pt x="80" y="114"/>
                  </a:lnTo>
                  <a:lnTo>
                    <a:pt x="78" y="114"/>
                  </a:lnTo>
                  <a:lnTo>
                    <a:pt x="78" y="114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80" y="114"/>
                  </a:lnTo>
                  <a:close/>
                  <a:moveTo>
                    <a:pt x="114" y="115"/>
                  </a:moveTo>
                  <a:lnTo>
                    <a:pt x="116" y="115"/>
                  </a:lnTo>
                  <a:lnTo>
                    <a:pt x="116" y="115"/>
                  </a:lnTo>
                  <a:lnTo>
                    <a:pt x="116" y="115"/>
                  </a:lnTo>
                  <a:lnTo>
                    <a:pt x="116" y="11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16" y="114"/>
                  </a:lnTo>
                  <a:lnTo>
                    <a:pt x="116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5"/>
                  </a:lnTo>
                  <a:lnTo>
                    <a:pt x="114" y="115"/>
                  </a:lnTo>
                  <a:lnTo>
                    <a:pt x="114" y="115"/>
                  </a:lnTo>
                  <a:close/>
                  <a:moveTo>
                    <a:pt x="81" y="114"/>
                  </a:moveTo>
                  <a:lnTo>
                    <a:pt x="83" y="114"/>
                  </a:lnTo>
                  <a:lnTo>
                    <a:pt x="83" y="112"/>
                  </a:lnTo>
                  <a:lnTo>
                    <a:pt x="85" y="112"/>
                  </a:lnTo>
                  <a:lnTo>
                    <a:pt x="89" y="112"/>
                  </a:lnTo>
                  <a:lnTo>
                    <a:pt x="89" y="112"/>
                  </a:lnTo>
                  <a:lnTo>
                    <a:pt x="89" y="112"/>
                  </a:lnTo>
                  <a:lnTo>
                    <a:pt x="89" y="112"/>
                  </a:lnTo>
                  <a:lnTo>
                    <a:pt x="89" y="112"/>
                  </a:lnTo>
                  <a:lnTo>
                    <a:pt x="89" y="112"/>
                  </a:lnTo>
                  <a:lnTo>
                    <a:pt x="83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14"/>
                  </a:lnTo>
                  <a:lnTo>
                    <a:pt x="81" y="114"/>
                  </a:lnTo>
                  <a:close/>
                  <a:moveTo>
                    <a:pt x="92" y="112"/>
                  </a:moveTo>
                  <a:lnTo>
                    <a:pt x="92" y="112"/>
                  </a:lnTo>
                  <a:lnTo>
                    <a:pt x="92" y="110"/>
                  </a:lnTo>
                  <a:lnTo>
                    <a:pt x="94" y="112"/>
                  </a:lnTo>
                  <a:lnTo>
                    <a:pt x="96" y="112"/>
                  </a:lnTo>
                  <a:lnTo>
                    <a:pt x="96" y="110"/>
                  </a:lnTo>
                  <a:lnTo>
                    <a:pt x="98" y="110"/>
                  </a:lnTo>
                  <a:lnTo>
                    <a:pt x="98" y="110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2" y="110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2" y="112"/>
                  </a:lnTo>
                  <a:close/>
                  <a:moveTo>
                    <a:pt x="101" y="108"/>
                  </a:moveTo>
                  <a:lnTo>
                    <a:pt x="103" y="108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5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08"/>
                  </a:lnTo>
                  <a:close/>
                  <a:moveTo>
                    <a:pt x="278" y="94"/>
                  </a:moveTo>
                  <a:lnTo>
                    <a:pt x="280" y="94"/>
                  </a:lnTo>
                  <a:lnTo>
                    <a:pt x="280" y="94"/>
                  </a:lnTo>
                  <a:lnTo>
                    <a:pt x="280" y="92"/>
                  </a:lnTo>
                  <a:lnTo>
                    <a:pt x="280" y="92"/>
                  </a:lnTo>
                  <a:lnTo>
                    <a:pt x="280" y="92"/>
                  </a:lnTo>
                  <a:lnTo>
                    <a:pt x="280" y="92"/>
                  </a:lnTo>
                  <a:lnTo>
                    <a:pt x="280" y="94"/>
                  </a:lnTo>
                  <a:lnTo>
                    <a:pt x="280" y="94"/>
                  </a:lnTo>
                  <a:lnTo>
                    <a:pt x="280" y="94"/>
                  </a:lnTo>
                  <a:lnTo>
                    <a:pt x="282" y="94"/>
                  </a:lnTo>
                  <a:lnTo>
                    <a:pt x="284" y="88"/>
                  </a:lnTo>
                  <a:lnTo>
                    <a:pt x="282" y="88"/>
                  </a:lnTo>
                  <a:lnTo>
                    <a:pt x="280" y="88"/>
                  </a:lnTo>
                  <a:lnTo>
                    <a:pt x="278" y="90"/>
                  </a:lnTo>
                  <a:lnTo>
                    <a:pt x="276" y="92"/>
                  </a:lnTo>
                  <a:lnTo>
                    <a:pt x="278" y="94"/>
                  </a:lnTo>
                  <a:lnTo>
                    <a:pt x="278" y="94"/>
                  </a:lnTo>
                  <a:close/>
                  <a:moveTo>
                    <a:pt x="285" y="86"/>
                  </a:moveTo>
                  <a:lnTo>
                    <a:pt x="285" y="85"/>
                  </a:lnTo>
                  <a:lnTo>
                    <a:pt x="287" y="83"/>
                  </a:lnTo>
                  <a:lnTo>
                    <a:pt x="289" y="81"/>
                  </a:lnTo>
                  <a:lnTo>
                    <a:pt x="287" y="83"/>
                  </a:lnTo>
                  <a:lnTo>
                    <a:pt x="285" y="83"/>
                  </a:lnTo>
                  <a:lnTo>
                    <a:pt x="284" y="85"/>
                  </a:lnTo>
                  <a:lnTo>
                    <a:pt x="284" y="85"/>
                  </a:lnTo>
                  <a:lnTo>
                    <a:pt x="285" y="86"/>
                  </a:lnTo>
                  <a:lnTo>
                    <a:pt x="285" y="86"/>
                  </a:lnTo>
                  <a:close/>
                  <a:moveTo>
                    <a:pt x="396" y="77"/>
                  </a:moveTo>
                  <a:lnTo>
                    <a:pt x="396" y="79"/>
                  </a:lnTo>
                  <a:lnTo>
                    <a:pt x="399" y="81"/>
                  </a:lnTo>
                  <a:lnTo>
                    <a:pt x="399" y="83"/>
                  </a:lnTo>
                  <a:lnTo>
                    <a:pt x="399" y="85"/>
                  </a:lnTo>
                  <a:lnTo>
                    <a:pt x="397" y="86"/>
                  </a:lnTo>
                  <a:lnTo>
                    <a:pt x="397" y="88"/>
                  </a:lnTo>
                  <a:lnTo>
                    <a:pt x="397" y="90"/>
                  </a:lnTo>
                  <a:lnTo>
                    <a:pt x="399" y="88"/>
                  </a:lnTo>
                  <a:lnTo>
                    <a:pt x="399" y="88"/>
                  </a:lnTo>
                  <a:lnTo>
                    <a:pt x="401" y="86"/>
                  </a:lnTo>
                  <a:lnTo>
                    <a:pt x="401" y="86"/>
                  </a:lnTo>
                  <a:lnTo>
                    <a:pt x="401" y="86"/>
                  </a:lnTo>
                  <a:lnTo>
                    <a:pt x="403" y="88"/>
                  </a:lnTo>
                  <a:lnTo>
                    <a:pt x="401" y="88"/>
                  </a:lnTo>
                  <a:lnTo>
                    <a:pt x="401" y="88"/>
                  </a:lnTo>
                  <a:lnTo>
                    <a:pt x="401" y="90"/>
                  </a:lnTo>
                  <a:lnTo>
                    <a:pt x="401" y="90"/>
                  </a:lnTo>
                  <a:lnTo>
                    <a:pt x="403" y="90"/>
                  </a:lnTo>
                  <a:lnTo>
                    <a:pt x="403" y="90"/>
                  </a:lnTo>
                  <a:lnTo>
                    <a:pt x="403" y="88"/>
                  </a:lnTo>
                  <a:lnTo>
                    <a:pt x="403" y="88"/>
                  </a:lnTo>
                  <a:lnTo>
                    <a:pt x="405" y="88"/>
                  </a:lnTo>
                  <a:lnTo>
                    <a:pt x="405" y="88"/>
                  </a:lnTo>
                  <a:lnTo>
                    <a:pt x="405" y="86"/>
                  </a:lnTo>
                  <a:lnTo>
                    <a:pt x="405" y="86"/>
                  </a:lnTo>
                  <a:lnTo>
                    <a:pt x="405" y="85"/>
                  </a:lnTo>
                  <a:lnTo>
                    <a:pt x="405" y="85"/>
                  </a:lnTo>
                  <a:lnTo>
                    <a:pt x="406" y="85"/>
                  </a:lnTo>
                  <a:lnTo>
                    <a:pt x="406" y="86"/>
                  </a:lnTo>
                  <a:lnTo>
                    <a:pt x="408" y="86"/>
                  </a:lnTo>
                  <a:lnTo>
                    <a:pt x="408" y="88"/>
                  </a:lnTo>
                  <a:lnTo>
                    <a:pt x="408" y="90"/>
                  </a:lnTo>
                  <a:lnTo>
                    <a:pt x="410" y="88"/>
                  </a:lnTo>
                  <a:lnTo>
                    <a:pt x="410" y="90"/>
                  </a:lnTo>
                  <a:lnTo>
                    <a:pt x="410" y="92"/>
                  </a:lnTo>
                  <a:lnTo>
                    <a:pt x="410" y="95"/>
                  </a:lnTo>
                  <a:lnTo>
                    <a:pt x="410" y="95"/>
                  </a:lnTo>
                  <a:lnTo>
                    <a:pt x="408" y="95"/>
                  </a:lnTo>
                  <a:lnTo>
                    <a:pt x="408" y="95"/>
                  </a:lnTo>
                  <a:lnTo>
                    <a:pt x="408" y="94"/>
                  </a:lnTo>
                  <a:lnTo>
                    <a:pt x="410" y="94"/>
                  </a:lnTo>
                  <a:lnTo>
                    <a:pt x="410" y="94"/>
                  </a:lnTo>
                  <a:lnTo>
                    <a:pt x="408" y="94"/>
                  </a:lnTo>
                  <a:lnTo>
                    <a:pt x="406" y="94"/>
                  </a:lnTo>
                  <a:lnTo>
                    <a:pt x="406" y="95"/>
                  </a:lnTo>
                  <a:lnTo>
                    <a:pt x="406" y="94"/>
                  </a:lnTo>
                  <a:lnTo>
                    <a:pt x="406" y="94"/>
                  </a:lnTo>
                  <a:lnTo>
                    <a:pt x="406" y="92"/>
                  </a:lnTo>
                  <a:lnTo>
                    <a:pt x="406" y="92"/>
                  </a:lnTo>
                  <a:lnTo>
                    <a:pt x="406" y="92"/>
                  </a:lnTo>
                  <a:lnTo>
                    <a:pt x="403" y="92"/>
                  </a:lnTo>
                  <a:lnTo>
                    <a:pt x="403" y="94"/>
                  </a:lnTo>
                  <a:lnTo>
                    <a:pt x="405" y="97"/>
                  </a:lnTo>
                  <a:lnTo>
                    <a:pt x="405" y="99"/>
                  </a:lnTo>
                  <a:lnTo>
                    <a:pt x="405" y="99"/>
                  </a:lnTo>
                  <a:lnTo>
                    <a:pt x="403" y="101"/>
                  </a:lnTo>
                  <a:lnTo>
                    <a:pt x="401" y="101"/>
                  </a:lnTo>
                  <a:lnTo>
                    <a:pt x="399" y="103"/>
                  </a:lnTo>
                  <a:lnTo>
                    <a:pt x="399" y="103"/>
                  </a:lnTo>
                  <a:lnTo>
                    <a:pt x="401" y="103"/>
                  </a:lnTo>
                  <a:lnTo>
                    <a:pt x="401" y="104"/>
                  </a:lnTo>
                  <a:lnTo>
                    <a:pt x="405" y="104"/>
                  </a:lnTo>
                  <a:lnTo>
                    <a:pt x="408" y="103"/>
                  </a:lnTo>
                  <a:lnTo>
                    <a:pt x="410" y="103"/>
                  </a:lnTo>
                  <a:lnTo>
                    <a:pt x="410" y="101"/>
                  </a:lnTo>
                  <a:lnTo>
                    <a:pt x="412" y="101"/>
                  </a:lnTo>
                  <a:lnTo>
                    <a:pt x="412" y="101"/>
                  </a:lnTo>
                  <a:lnTo>
                    <a:pt x="419" y="101"/>
                  </a:lnTo>
                  <a:lnTo>
                    <a:pt x="417" y="99"/>
                  </a:lnTo>
                  <a:lnTo>
                    <a:pt x="417" y="99"/>
                  </a:lnTo>
                  <a:lnTo>
                    <a:pt x="417" y="99"/>
                  </a:lnTo>
                  <a:lnTo>
                    <a:pt x="417" y="99"/>
                  </a:lnTo>
                  <a:lnTo>
                    <a:pt x="419" y="95"/>
                  </a:lnTo>
                  <a:lnTo>
                    <a:pt x="419" y="95"/>
                  </a:lnTo>
                  <a:lnTo>
                    <a:pt x="419" y="95"/>
                  </a:lnTo>
                  <a:lnTo>
                    <a:pt x="417" y="95"/>
                  </a:lnTo>
                  <a:lnTo>
                    <a:pt x="408" y="86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3" y="83"/>
                  </a:lnTo>
                  <a:lnTo>
                    <a:pt x="401" y="81"/>
                  </a:lnTo>
                  <a:lnTo>
                    <a:pt x="401" y="79"/>
                  </a:lnTo>
                  <a:lnTo>
                    <a:pt x="399" y="77"/>
                  </a:lnTo>
                  <a:lnTo>
                    <a:pt x="399" y="76"/>
                  </a:lnTo>
                  <a:lnTo>
                    <a:pt x="397" y="76"/>
                  </a:lnTo>
                  <a:lnTo>
                    <a:pt x="397" y="76"/>
                  </a:lnTo>
                  <a:lnTo>
                    <a:pt x="396" y="77"/>
                  </a:lnTo>
                  <a:lnTo>
                    <a:pt x="396" y="77"/>
                  </a:lnTo>
                  <a:close/>
                  <a:moveTo>
                    <a:pt x="103" y="76"/>
                  </a:move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4"/>
                  </a:lnTo>
                  <a:lnTo>
                    <a:pt x="103" y="74"/>
                  </a:lnTo>
                  <a:lnTo>
                    <a:pt x="101" y="74"/>
                  </a:lnTo>
                  <a:lnTo>
                    <a:pt x="101" y="74"/>
                  </a:lnTo>
                  <a:lnTo>
                    <a:pt x="103" y="76"/>
                  </a:lnTo>
                  <a:close/>
                  <a:moveTo>
                    <a:pt x="105" y="74"/>
                  </a:moveTo>
                  <a:lnTo>
                    <a:pt x="105" y="74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5" y="74"/>
                  </a:lnTo>
                  <a:close/>
                  <a:moveTo>
                    <a:pt x="148" y="50"/>
                  </a:moveTo>
                  <a:lnTo>
                    <a:pt x="148" y="50"/>
                  </a:lnTo>
                  <a:lnTo>
                    <a:pt x="150" y="50"/>
                  </a:lnTo>
                  <a:lnTo>
                    <a:pt x="152" y="50"/>
                  </a:lnTo>
                  <a:lnTo>
                    <a:pt x="154" y="50"/>
                  </a:lnTo>
                  <a:lnTo>
                    <a:pt x="154" y="48"/>
                  </a:lnTo>
                  <a:lnTo>
                    <a:pt x="155" y="48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4" y="45"/>
                  </a:lnTo>
                  <a:lnTo>
                    <a:pt x="152" y="45"/>
                  </a:lnTo>
                  <a:lnTo>
                    <a:pt x="150" y="47"/>
                  </a:lnTo>
                  <a:lnTo>
                    <a:pt x="148" y="48"/>
                  </a:lnTo>
                  <a:lnTo>
                    <a:pt x="148" y="48"/>
                  </a:lnTo>
                  <a:lnTo>
                    <a:pt x="150" y="48"/>
                  </a:lnTo>
                  <a:lnTo>
                    <a:pt x="148" y="48"/>
                  </a:lnTo>
                  <a:lnTo>
                    <a:pt x="148" y="50"/>
                  </a:lnTo>
                  <a:close/>
                  <a:moveTo>
                    <a:pt x="258" y="52"/>
                  </a:moveTo>
                  <a:lnTo>
                    <a:pt x="260" y="52"/>
                  </a:lnTo>
                  <a:lnTo>
                    <a:pt x="260" y="52"/>
                  </a:lnTo>
                  <a:lnTo>
                    <a:pt x="260" y="52"/>
                  </a:lnTo>
                  <a:lnTo>
                    <a:pt x="260" y="52"/>
                  </a:lnTo>
                  <a:lnTo>
                    <a:pt x="260" y="52"/>
                  </a:lnTo>
                  <a:lnTo>
                    <a:pt x="260" y="52"/>
                  </a:lnTo>
                  <a:lnTo>
                    <a:pt x="262" y="52"/>
                  </a:lnTo>
                  <a:lnTo>
                    <a:pt x="264" y="52"/>
                  </a:lnTo>
                  <a:lnTo>
                    <a:pt x="264" y="52"/>
                  </a:lnTo>
                  <a:lnTo>
                    <a:pt x="264" y="54"/>
                  </a:lnTo>
                  <a:lnTo>
                    <a:pt x="264" y="56"/>
                  </a:lnTo>
                  <a:lnTo>
                    <a:pt x="266" y="56"/>
                  </a:lnTo>
                  <a:lnTo>
                    <a:pt x="267" y="56"/>
                  </a:lnTo>
                  <a:lnTo>
                    <a:pt x="267" y="56"/>
                  </a:lnTo>
                  <a:lnTo>
                    <a:pt x="267" y="56"/>
                  </a:lnTo>
                  <a:lnTo>
                    <a:pt x="267" y="54"/>
                  </a:lnTo>
                  <a:lnTo>
                    <a:pt x="275" y="56"/>
                  </a:lnTo>
                  <a:lnTo>
                    <a:pt x="271" y="50"/>
                  </a:lnTo>
                  <a:lnTo>
                    <a:pt x="269" y="48"/>
                  </a:lnTo>
                  <a:lnTo>
                    <a:pt x="269" y="48"/>
                  </a:lnTo>
                  <a:lnTo>
                    <a:pt x="269" y="47"/>
                  </a:lnTo>
                  <a:lnTo>
                    <a:pt x="264" y="45"/>
                  </a:lnTo>
                  <a:lnTo>
                    <a:pt x="262" y="45"/>
                  </a:lnTo>
                  <a:lnTo>
                    <a:pt x="260" y="47"/>
                  </a:lnTo>
                  <a:lnTo>
                    <a:pt x="258" y="50"/>
                  </a:lnTo>
                  <a:lnTo>
                    <a:pt x="258" y="52"/>
                  </a:lnTo>
                  <a:lnTo>
                    <a:pt x="258" y="52"/>
                  </a:lnTo>
                  <a:close/>
                  <a:moveTo>
                    <a:pt x="139" y="45"/>
                  </a:moveTo>
                  <a:lnTo>
                    <a:pt x="137" y="45"/>
                  </a:lnTo>
                  <a:lnTo>
                    <a:pt x="137" y="47"/>
                  </a:lnTo>
                  <a:lnTo>
                    <a:pt x="137" y="48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41" y="48"/>
                  </a:lnTo>
                  <a:lnTo>
                    <a:pt x="143" y="47"/>
                  </a:lnTo>
                  <a:lnTo>
                    <a:pt x="143" y="43"/>
                  </a:lnTo>
                  <a:lnTo>
                    <a:pt x="143" y="43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5"/>
                  </a:lnTo>
                  <a:close/>
                  <a:moveTo>
                    <a:pt x="361" y="48"/>
                  </a:moveTo>
                  <a:lnTo>
                    <a:pt x="361" y="48"/>
                  </a:lnTo>
                  <a:lnTo>
                    <a:pt x="361" y="47"/>
                  </a:lnTo>
                  <a:lnTo>
                    <a:pt x="361" y="47"/>
                  </a:lnTo>
                  <a:lnTo>
                    <a:pt x="363" y="47"/>
                  </a:lnTo>
                  <a:lnTo>
                    <a:pt x="363" y="45"/>
                  </a:lnTo>
                  <a:lnTo>
                    <a:pt x="363" y="43"/>
                  </a:lnTo>
                  <a:lnTo>
                    <a:pt x="363" y="41"/>
                  </a:lnTo>
                  <a:lnTo>
                    <a:pt x="365" y="41"/>
                  </a:lnTo>
                  <a:lnTo>
                    <a:pt x="365" y="39"/>
                  </a:lnTo>
                  <a:lnTo>
                    <a:pt x="365" y="41"/>
                  </a:lnTo>
                  <a:lnTo>
                    <a:pt x="365" y="41"/>
                  </a:lnTo>
                  <a:lnTo>
                    <a:pt x="365" y="39"/>
                  </a:lnTo>
                  <a:lnTo>
                    <a:pt x="365" y="39"/>
                  </a:lnTo>
                  <a:lnTo>
                    <a:pt x="367" y="39"/>
                  </a:lnTo>
                  <a:lnTo>
                    <a:pt x="367" y="41"/>
                  </a:lnTo>
                  <a:lnTo>
                    <a:pt x="367" y="39"/>
                  </a:lnTo>
                  <a:lnTo>
                    <a:pt x="365" y="39"/>
                  </a:lnTo>
                  <a:lnTo>
                    <a:pt x="365" y="39"/>
                  </a:lnTo>
                  <a:lnTo>
                    <a:pt x="365" y="39"/>
                  </a:lnTo>
                  <a:lnTo>
                    <a:pt x="363" y="39"/>
                  </a:lnTo>
                  <a:lnTo>
                    <a:pt x="363" y="39"/>
                  </a:lnTo>
                  <a:lnTo>
                    <a:pt x="363" y="41"/>
                  </a:lnTo>
                  <a:lnTo>
                    <a:pt x="361" y="47"/>
                  </a:lnTo>
                  <a:lnTo>
                    <a:pt x="361" y="50"/>
                  </a:lnTo>
                  <a:lnTo>
                    <a:pt x="361" y="50"/>
                  </a:lnTo>
                  <a:lnTo>
                    <a:pt x="361" y="50"/>
                  </a:lnTo>
                  <a:lnTo>
                    <a:pt x="361" y="48"/>
                  </a:lnTo>
                  <a:close/>
                  <a:moveTo>
                    <a:pt x="372" y="47"/>
                  </a:move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3"/>
                  </a:lnTo>
                  <a:lnTo>
                    <a:pt x="370" y="43"/>
                  </a:lnTo>
                  <a:lnTo>
                    <a:pt x="370" y="43"/>
                  </a:lnTo>
                  <a:lnTo>
                    <a:pt x="367" y="43"/>
                  </a:lnTo>
                  <a:lnTo>
                    <a:pt x="365" y="45"/>
                  </a:lnTo>
                  <a:lnTo>
                    <a:pt x="365" y="45"/>
                  </a:lnTo>
                  <a:lnTo>
                    <a:pt x="367" y="45"/>
                  </a:lnTo>
                  <a:lnTo>
                    <a:pt x="367" y="45"/>
                  </a:lnTo>
                  <a:lnTo>
                    <a:pt x="367" y="45"/>
                  </a:lnTo>
                  <a:lnTo>
                    <a:pt x="367" y="47"/>
                  </a:lnTo>
                  <a:lnTo>
                    <a:pt x="367" y="47"/>
                  </a:lnTo>
                  <a:lnTo>
                    <a:pt x="367" y="47"/>
                  </a:lnTo>
                  <a:lnTo>
                    <a:pt x="367" y="47"/>
                  </a:lnTo>
                  <a:lnTo>
                    <a:pt x="367" y="47"/>
                  </a:lnTo>
                  <a:lnTo>
                    <a:pt x="368" y="47"/>
                  </a:lnTo>
                  <a:lnTo>
                    <a:pt x="370" y="47"/>
                  </a:lnTo>
                  <a:lnTo>
                    <a:pt x="370" y="47"/>
                  </a:lnTo>
                  <a:lnTo>
                    <a:pt x="370" y="47"/>
                  </a:lnTo>
                  <a:lnTo>
                    <a:pt x="370" y="48"/>
                  </a:lnTo>
                  <a:lnTo>
                    <a:pt x="368" y="48"/>
                  </a:lnTo>
                  <a:lnTo>
                    <a:pt x="370" y="48"/>
                  </a:lnTo>
                  <a:lnTo>
                    <a:pt x="370" y="48"/>
                  </a:lnTo>
                  <a:lnTo>
                    <a:pt x="372" y="50"/>
                  </a:lnTo>
                  <a:lnTo>
                    <a:pt x="372" y="50"/>
                  </a:lnTo>
                  <a:lnTo>
                    <a:pt x="370" y="50"/>
                  </a:lnTo>
                  <a:lnTo>
                    <a:pt x="370" y="50"/>
                  </a:lnTo>
                  <a:lnTo>
                    <a:pt x="370" y="50"/>
                  </a:lnTo>
                  <a:lnTo>
                    <a:pt x="370" y="50"/>
                  </a:lnTo>
                  <a:lnTo>
                    <a:pt x="368" y="52"/>
                  </a:lnTo>
                  <a:lnTo>
                    <a:pt x="367" y="52"/>
                  </a:lnTo>
                  <a:lnTo>
                    <a:pt x="367" y="52"/>
                  </a:lnTo>
                  <a:lnTo>
                    <a:pt x="367" y="54"/>
                  </a:lnTo>
                  <a:lnTo>
                    <a:pt x="368" y="54"/>
                  </a:lnTo>
                  <a:lnTo>
                    <a:pt x="368" y="54"/>
                  </a:lnTo>
                  <a:lnTo>
                    <a:pt x="368" y="54"/>
                  </a:lnTo>
                  <a:lnTo>
                    <a:pt x="368" y="56"/>
                  </a:lnTo>
                  <a:lnTo>
                    <a:pt x="370" y="56"/>
                  </a:lnTo>
                  <a:lnTo>
                    <a:pt x="370" y="56"/>
                  </a:lnTo>
                  <a:lnTo>
                    <a:pt x="370" y="56"/>
                  </a:lnTo>
                  <a:lnTo>
                    <a:pt x="370" y="58"/>
                  </a:lnTo>
                  <a:lnTo>
                    <a:pt x="370" y="58"/>
                  </a:lnTo>
                  <a:lnTo>
                    <a:pt x="372" y="58"/>
                  </a:lnTo>
                  <a:lnTo>
                    <a:pt x="370" y="59"/>
                  </a:lnTo>
                  <a:lnTo>
                    <a:pt x="368" y="59"/>
                  </a:lnTo>
                  <a:lnTo>
                    <a:pt x="368" y="58"/>
                  </a:lnTo>
                  <a:lnTo>
                    <a:pt x="368" y="59"/>
                  </a:lnTo>
                  <a:lnTo>
                    <a:pt x="367" y="58"/>
                  </a:lnTo>
                  <a:lnTo>
                    <a:pt x="365" y="59"/>
                  </a:lnTo>
                  <a:lnTo>
                    <a:pt x="365" y="59"/>
                  </a:lnTo>
                  <a:lnTo>
                    <a:pt x="363" y="61"/>
                  </a:lnTo>
                  <a:lnTo>
                    <a:pt x="367" y="65"/>
                  </a:lnTo>
                  <a:lnTo>
                    <a:pt x="367" y="65"/>
                  </a:lnTo>
                  <a:lnTo>
                    <a:pt x="367" y="65"/>
                  </a:lnTo>
                  <a:lnTo>
                    <a:pt x="365" y="65"/>
                  </a:lnTo>
                  <a:lnTo>
                    <a:pt x="365" y="65"/>
                  </a:lnTo>
                  <a:lnTo>
                    <a:pt x="365" y="67"/>
                  </a:lnTo>
                  <a:lnTo>
                    <a:pt x="367" y="67"/>
                  </a:lnTo>
                  <a:lnTo>
                    <a:pt x="368" y="65"/>
                  </a:lnTo>
                  <a:lnTo>
                    <a:pt x="368" y="65"/>
                  </a:lnTo>
                  <a:lnTo>
                    <a:pt x="368" y="67"/>
                  </a:lnTo>
                  <a:lnTo>
                    <a:pt x="368" y="67"/>
                  </a:lnTo>
                  <a:lnTo>
                    <a:pt x="370" y="68"/>
                  </a:lnTo>
                  <a:lnTo>
                    <a:pt x="370" y="68"/>
                  </a:lnTo>
                  <a:lnTo>
                    <a:pt x="370" y="68"/>
                  </a:lnTo>
                  <a:lnTo>
                    <a:pt x="370" y="68"/>
                  </a:lnTo>
                  <a:lnTo>
                    <a:pt x="372" y="68"/>
                  </a:lnTo>
                  <a:lnTo>
                    <a:pt x="372" y="68"/>
                  </a:lnTo>
                  <a:lnTo>
                    <a:pt x="372" y="68"/>
                  </a:lnTo>
                  <a:lnTo>
                    <a:pt x="372" y="68"/>
                  </a:lnTo>
                  <a:lnTo>
                    <a:pt x="374" y="68"/>
                  </a:lnTo>
                  <a:lnTo>
                    <a:pt x="374" y="68"/>
                  </a:lnTo>
                  <a:lnTo>
                    <a:pt x="374" y="68"/>
                  </a:lnTo>
                  <a:lnTo>
                    <a:pt x="374" y="67"/>
                  </a:lnTo>
                  <a:lnTo>
                    <a:pt x="374" y="67"/>
                  </a:lnTo>
                  <a:lnTo>
                    <a:pt x="376" y="67"/>
                  </a:lnTo>
                  <a:lnTo>
                    <a:pt x="374" y="68"/>
                  </a:lnTo>
                  <a:lnTo>
                    <a:pt x="374" y="68"/>
                  </a:lnTo>
                  <a:lnTo>
                    <a:pt x="374" y="70"/>
                  </a:lnTo>
                  <a:lnTo>
                    <a:pt x="376" y="70"/>
                  </a:lnTo>
                  <a:lnTo>
                    <a:pt x="378" y="72"/>
                  </a:lnTo>
                  <a:lnTo>
                    <a:pt x="379" y="72"/>
                  </a:lnTo>
                  <a:lnTo>
                    <a:pt x="379" y="70"/>
                  </a:lnTo>
                  <a:lnTo>
                    <a:pt x="379" y="70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6" y="68"/>
                  </a:lnTo>
                  <a:lnTo>
                    <a:pt x="376" y="68"/>
                  </a:lnTo>
                  <a:lnTo>
                    <a:pt x="376" y="68"/>
                  </a:lnTo>
                  <a:lnTo>
                    <a:pt x="376" y="68"/>
                  </a:lnTo>
                  <a:lnTo>
                    <a:pt x="376" y="68"/>
                  </a:lnTo>
                  <a:lnTo>
                    <a:pt x="376" y="70"/>
                  </a:lnTo>
                  <a:lnTo>
                    <a:pt x="376" y="67"/>
                  </a:lnTo>
                  <a:lnTo>
                    <a:pt x="378" y="67"/>
                  </a:lnTo>
                  <a:lnTo>
                    <a:pt x="378" y="67"/>
                  </a:lnTo>
                  <a:lnTo>
                    <a:pt x="379" y="65"/>
                  </a:lnTo>
                  <a:lnTo>
                    <a:pt x="379" y="65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8" y="61"/>
                  </a:lnTo>
                  <a:lnTo>
                    <a:pt x="388" y="61"/>
                  </a:lnTo>
                  <a:lnTo>
                    <a:pt x="388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2" y="61"/>
                  </a:lnTo>
                  <a:lnTo>
                    <a:pt x="392" y="61"/>
                  </a:lnTo>
                  <a:lnTo>
                    <a:pt x="392" y="61"/>
                  </a:lnTo>
                  <a:lnTo>
                    <a:pt x="392" y="61"/>
                  </a:lnTo>
                  <a:lnTo>
                    <a:pt x="388" y="63"/>
                  </a:lnTo>
                  <a:lnTo>
                    <a:pt x="390" y="63"/>
                  </a:lnTo>
                  <a:lnTo>
                    <a:pt x="392" y="63"/>
                  </a:lnTo>
                  <a:lnTo>
                    <a:pt x="394" y="63"/>
                  </a:lnTo>
                  <a:lnTo>
                    <a:pt x="394" y="63"/>
                  </a:lnTo>
                  <a:lnTo>
                    <a:pt x="392" y="65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92" y="67"/>
                  </a:lnTo>
                  <a:lnTo>
                    <a:pt x="392" y="67"/>
                  </a:lnTo>
                  <a:lnTo>
                    <a:pt x="392" y="65"/>
                  </a:lnTo>
                  <a:lnTo>
                    <a:pt x="394" y="65"/>
                  </a:lnTo>
                  <a:lnTo>
                    <a:pt x="394" y="65"/>
                  </a:lnTo>
                  <a:lnTo>
                    <a:pt x="394" y="67"/>
                  </a:lnTo>
                  <a:lnTo>
                    <a:pt x="394" y="67"/>
                  </a:lnTo>
                  <a:lnTo>
                    <a:pt x="394" y="67"/>
                  </a:lnTo>
                  <a:lnTo>
                    <a:pt x="392" y="67"/>
                  </a:lnTo>
                  <a:lnTo>
                    <a:pt x="394" y="67"/>
                  </a:lnTo>
                  <a:lnTo>
                    <a:pt x="394" y="67"/>
                  </a:lnTo>
                  <a:lnTo>
                    <a:pt x="394" y="67"/>
                  </a:lnTo>
                  <a:lnTo>
                    <a:pt x="394" y="65"/>
                  </a:lnTo>
                  <a:lnTo>
                    <a:pt x="394" y="63"/>
                  </a:lnTo>
                  <a:lnTo>
                    <a:pt x="396" y="63"/>
                  </a:lnTo>
                  <a:lnTo>
                    <a:pt x="396" y="61"/>
                  </a:lnTo>
                  <a:lnTo>
                    <a:pt x="396" y="61"/>
                  </a:lnTo>
                  <a:lnTo>
                    <a:pt x="396" y="61"/>
                  </a:lnTo>
                  <a:lnTo>
                    <a:pt x="394" y="59"/>
                  </a:lnTo>
                  <a:lnTo>
                    <a:pt x="394" y="58"/>
                  </a:lnTo>
                  <a:lnTo>
                    <a:pt x="392" y="56"/>
                  </a:lnTo>
                  <a:lnTo>
                    <a:pt x="390" y="56"/>
                  </a:lnTo>
                  <a:lnTo>
                    <a:pt x="388" y="56"/>
                  </a:lnTo>
                  <a:lnTo>
                    <a:pt x="388" y="54"/>
                  </a:lnTo>
                  <a:lnTo>
                    <a:pt x="388" y="54"/>
                  </a:lnTo>
                  <a:lnTo>
                    <a:pt x="387" y="52"/>
                  </a:lnTo>
                  <a:lnTo>
                    <a:pt x="387" y="50"/>
                  </a:lnTo>
                  <a:lnTo>
                    <a:pt x="387" y="48"/>
                  </a:lnTo>
                  <a:lnTo>
                    <a:pt x="388" y="48"/>
                  </a:lnTo>
                  <a:lnTo>
                    <a:pt x="390" y="47"/>
                  </a:lnTo>
                  <a:lnTo>
                    <a:pt x="392" y="45"/>
                  </a:lnTo>
                  <a:lnTo>
                    <a:pt x="392" y="43"/>
                  </a:lnTo>
                  <a:lnTo>
                    <a:pt x="390" y="41"/>
                  </a:lnTo>
                  <a:lnTo>
                    <a:pt x="388" y="39"/>
                  </a:lnTo>
                  <a:lnTo>
                    <a:pt x="381" y="41"/>
                  </a:lnTo>
                  <a:lnTo>
                    <a:pt x="379" y="41"/>
                  </a:lnTo>
                  <a:lnTo>
                    <a:pt x="379" y="39"/>
                  </a:lnTo>
                  <a:lnTo>
                    <a:pt x="378" y="39"/>
                  </a:lnTo>
                  <a:lnTo>
                    <a:pt x="378" y="38"/>
                  </a:lnTo>
                  <a:lnTo>
                    <a:pt x="378" y="36"/>
                  </a:lnTo>
                  <a:lnTo>
                    <a:pt x="378" y="36"/>
                  </a:lnTo>
                  <a:lnTo>
                    <a:pt x="379" y="34"/>
                  </a:lnTo>
                  <a:lnTo>
                    <a:pt x="379" y="34"/>
                  </a:lnTo>
                  <a:lnTo>
                    <a:pt x="381" y="32"/>
                  </a:lnTo>
                  <a:lnTo>
                    <a:pt x="381" y="32"/>
                  </a:lnTo>
                  <a:lnTo>
                    <a:pt x="379" y="32"/>
                  </a:lnTo>
                  <a:lnTo>
                    <a:pt x="378" y="32"/>
                  </a:lnTo>
                  <a:lnTo>
                    <a:pt x="370" y="34"/>
                  </a:lnTo>
                  <a:lnTo>
                    <a:pt x="370" y="34"/>
                  </a:lnTo>
                  <a:lnTo>
                    <a:pt x="370" y="34"/>
                  </a:lnTo>
                  <a:lnTo>
                    <a:pt x="368" y="36"/>
                  </a:lnTo>
                  <a:lnTo>
                    <a:pt x="368" y="36"/>
                  </a:lnTo>
                  <a:lnTo>
                    <a:pt x="370" y="36"/>
                  </a:lnTo>
                  <a:lnTo>
                    <a:pt x="370" y="36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38"/>
                  </a:lnTo>
                  <a:lnTo>
                    <a:pt x="372" y="38"/>
                  </a:lnTo>
                  <a:lnTo>
                    <a:pt x="372" y="38"/>
                  </a:lnTo>
                  <a:lnTo>
                    <a:pt x="370" y="39"/>
                  </a:lnTo>
                  <a:lnTo>
                    <a:pt x="370" y="41"/>
                  </a:lnTo>
                  <a:lnTo>
                    <a:pt x="370" y="43"/>
                  </a:lnTo>
                  <a:lnTo>
                    <a:pt x="372" y="43"/>
                  </a:lnTo>
                  <a:lnTo>
                    <a:pt x="372" y="41"/>
                  </a:lnTo>
                  <a:lnTo>
                    <a:pt x="374" y="41"/>
                  </a:lnTo>
                  <a:lnTo>
                    <a:pt x="374" y="41"/>
                  </a:lnTo>
                  <a:lnTo>
                    <a:pt x="376" y="39"/>
                  </a:lnTo>
                  <a:lnTo>
                    <a:pt x="376" y="39"/>
                  </a:lnTo>
                  <a:lnTo>
                    <a:pt x="376" y="38"/>
                  </a:lnTo>
                  <a:lnTo>
                    <a:pt x="378" y="39"/>
                  </a:lnTo>
                  <a:lnTo>
                    <a:pt x="378" y="39"/>
                  </a:lnTo>
                  <a:lnTo>
                    <a:pt x="378" y="39"/>
                  </a:lnTo>
                  <a:lnTo>
                    <a:pt x="378" y="41"/>
                  </a:lnTo>
                  <a:lnTo>
                    <a:pt x="378" y="41"/>
                  </a:lnTo>
                  <a:lnTo>
                    <a:pt x="379" y="41"/>
                  </a:lnTo>
                  <a:lnTo>
                    <a:pt x="379" y="41"/>
                  </a:lnTo>
                  <a:lnTo>
                    <a:pt x="379" y="43"/>
                  </a:lnTo>
                  <a:lnTo>
                    <a:pt x="379" y="43"/>
                  </a:lnTo>
                  <a:lnTo>
                    <a:pt x="379" y="43"/>
                  </a:lnTo>
                  <a:lnTo>
                    <a:pt x="381" y="43"/>
                  </a:lnTo>
                  <a:lnTo>
                    <a:pt x="383" y="43"/>
                  </a:lnTo>
                  <a:lnTo>
                    <a:pt x="383" y="43"/>
                  </a:lnTo>
                  <a:lnTo>
                    <a:pt x="383" y="43"/>
                  </a:lnTo>
                  <a:lnTo>
                    <a:pt x="383" y="41"/>
                  </a:lnTo>
                  <a:lnTo>
                    <a:pt x="385" y="41"/>
                  </a:lnTo>
                  <a:lnTo>
                    <a:pt x="385" y="43"/>
                  </a:lnTo>
                  <a:lnTo>
                    <a:pt x="383" y="43"/>
                  </a:lnTo>
                  <a:lnTo>
                    <a:pt x="383" y="43"/>
                  </a:lnTo>
                  <a:lnTo>
                    <a:pt x="383" y="43"/>
                  </a:lnTo>
                  <a:lnTo>
                    <a:pt x="383" y="43"/>
                  </a:lnTo>
                  <a:lnTo>
                    <a:pt x="383" y="43"/>
                  </a:lnTo>
                  <a:lnTo>
                    <a:pt x="383" y="45"/>
                  </a:lnTo>
                  <a:lnTo>
                    <a:pt x="383" y="45"/>
                  </a:lnTo>
                  <a:lnTo>
                    <a:pt x="385" y="47"/>
                  </a:lnTo>
                  <a:lnTo>
                    <a:pt x="385" y="47"/>
                  </a:lnTo>
                  <a:lnTo>
                    <a:pt x="383" y="47"/>
                  </a:lnTo>
                  <a:lnTo>
                    <a:pt x="383" y="47"/>
                  </a:lnTo>
                  <a:lnTo>
                    <a:pt x="383" y="48"/>
                  </a:lnTo>
                  <a:lnTo>
                    <a:pt x="383" y="48"/>
                  </a:lnTo>
                  <a:lnTo>
                    <a:pt x="381" y="48"/>
                  </a:lnTo>
                  <a:lnTo>
                    <a:pt x="379" y="48"/>
                  </a:lnTo>
                  <a:lnTo>
                    <a:pt x="379" y="47"/>
                  </a:lnTo>
                  <a:lnTo>
                    <a:pt x="379" y="47"/>
                  </a:lnTo>
                  <a:lnTo>
                    <a:pt x="378" y="45"/>
                  </a:lnTo>
                  <a:lnTo>
                    <a:pt x="378" y="43"/>
                  </a:lnTo>
                  <a:lnTo>
                    <a:pt x="378" y="43"/>
                  </a:lnTo>
                  <a:lnTo>
                    <a:pt x="376" y="43"/>
                  </a:lnTo>
                  <a:lnTo>
                    <a:pt x="376" y="43"/>
                  </a:lnTo>
                  <a:lnTo>
                    <a:pt x="378" y="43"/>
                  </a:lnTo>
                  <a:lnTo>
                    <a:pt x="378" y="45"/>
                  </a:lnTo>
                  <a:lnTo>
                    <a:pt x="378" y="45"/>
                  </a:lnTo>
                  <a:lnTo>
                    <a:pt x="378" y="45"/>
                  </a:lnTo>
                  <a:lnTo>
                    <a:pt x="378" y="47"/>
                  </a:lnTo>
                  <a:lnTo>
                    <a:pt x="376" y="47"/>
                  </a:lnTo>
                  <a:lnTo>
                    <a:pt x="376" y="47"/>
                  </a:lnTo>
                  <a:lnTo>
                    <a:pt x="376" y="45"/>
                  </a:lnTo>
                  <a:lnTo>
                    <a:pt x="376" y="45"/>
                  </a:lnTo>
                  <a:lnTo>
                    <a:pt x="376" y="43"/>
                  </a:lnTo>
                  <a:lnTo>
                    <a:pt x="376" y="43"/>
                  </a:lnTo>
                  <a:lnTo>
                    <a:pt x="376" y="43"/>
                  </a:lnTo>
                  <a:lnTo>
                    <a:pt x="376" y="43"/>
                  </a:lnTo>
                  <a:lnTo>
                    <a:pt x="376" y="43"/>
                  </a:lnTo>
                  <a:lnTo>
                    <a:pt x="376" y="43"/>
                  </a:lnTo>
                  <a:lnTo>
                    <a:pt x="376" y="41"/>
                  </a:lnTo>
                  <a:lnTo>
                    <a:pt x="376" y="41"/>
                  </a:lnTo>
                  <a:lnTo>
                    <a:pt x="374" y="41"/>
                  </a:lnTo>
                  <a:lnTo>
                    <a:pt x="374" y="43"/>
                  </a:lnTo>
                  <a:lnTo>
                    <a:pt x="374" y="43"/>
                  </a:lnTo>
                  <a:lnTo>
                    <a:pt x="374" y="45"/>
                  </a:lnTo>
                  <a:lnTo>
                    <a:pt x="374" y="47"/>
                  </a:lnTo>
                  <a:lnTo>
                    <a:pt x="372" y="47"/>
                  </a:lnTo>
                  <a:close/>
                  <a:moveTo>
                    <a:pt x="125" y="30"/>
                  </a:move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29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3" y="34"/>
                  </a:lnTo>
                  <a:lnTo>
                    <a:pt x="123" y="36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6" y="38"/>
                  </a:lnTo>
                  <a:lnTo>
                    <a:pt x="128" y="36"/>
                  </a:lnTo>
                  <a:lnTo>
                    <a:pt x="126" y="36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5" y="30"/>
                  </a:lnTo>
                  <a:close/>
                  <a:moveTo>
                    <a:pt x="132" y="32"/>
                  </a:moveTo>
                  <a:lnTo>
                    <a:pt x="134" y="30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29"/>
                  </a:lnTo>
                  <a:lnTo>
                    <a:pt x="137" y="29"/>
                  </a:lnTo>
                  <a:lnTo>
                    <a:pt x="137" y="27"/>
                  </a:lnTo>
                  <a:lnTo>
                    <a:pt x="136" y="27"/>
                  </a:lnTo>
                  <a:lnTo>
                    <a:pt x="132" y="25"/>
                  </a:lnTo>
                  <a:lnTo>
                    <a:pt x="132" y="27"/>
                  </a:lnTo>
                  <a:lnTo>
                    <a:pt x="130" y="27"/>
                  </a:lnTo>
                  <a:lnTo>
                    <a:pt x="128" y="27"/>
                  </a:lnTo>
                  <a:lnTo>
                    <a:pt x="128" y="29"/>
                  </a:lnTo>
                  <a:lnTo>
                    <a:pt x="130" y="30"/>
                  </a:lnTo>
                  <a:lnTo>
                    <a:pt x="132" y="32"/>
                  </a:lnTo>
                  <a:close/>
                  <a:moveTo>
                    <a:pt x="459" y="318"/>
                  </a:moveTo>
                  <a:lnTo>
                    <a:pt x="459" y="318"/>
                  </a:lnTo>
                  <a:lnTo>
                    <a:pt x="459" y="316"/>
                  </a:lnTo>
                  <a:lnTo>
                    <a:pt x="459" y="314"/>
                  </a:lnTo>
                  <a:lnTo>
                    <a:pt x="457" y="312"/>
                  </a:lnTo>
                  <a:lnTo>
                    <a:pt x="457" y="310"/>
                  </a:lnTo>
                  <a:lnTo>
                    <a:pt x="457" y="310"/>
                  </a:lnTo>
                  <a:lnTo>
                    <a:pt x="455" y="309"/>
                  </a:lnTo>
                  <a:lnTo>
                    <a:pt x="455" y="309"/>
                  </a:lnTo>
                  <a:lnTo>
                    <a:pt x="455" y="305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55" y="301"/>
                  </a:lnTo>
                  <a:lnTo>
                    <a:pt x="455" y="300"/>
                  </a:lnTo>
                  <a:lnTo>
                    <a:pt x="453" y="300"/>
                  </a:lnTo>
                  <a:lnTo>
                    <a:pt x="453" y="300"/>
                  </a:lnTo>
                  <a:lnTo>
                    <a:pt x="450" y="298"/>
                  </a:lnTo>
                  <a:lnTo>
                    <a:pt x="450" y="298"/>
                  </a:lnTo>
                  <a:lnTo>
                    <a:pt x="450" y="298"/>
                  </a:lnTo>
                  <a:lnTo>
                    <a:pt x="448" y="298"/>
                  </a:lnTo>
                  <a:lnTo>
                    <a:pt x="444" y="296"/>
                  </a:lnTo>
                  <a:lnTo>
                    <a:pt x="444" y="294"/>
                  </a:lnTo>
                  <a:lnTo>
                    <a:pt x="444" y="294"/>
                  </a:lnTo>
                  <a:lnTo>
                    <a:pt x="443" y="294"/>
                  </a:lnTo>
                  <a:lnTo>
                    <a:pt x="444" y="292"/>
                  </a:lnTo>
                  <a:lnTo>
                    <a:pt x="444" y="291"/>
                  </a:lnTo>
                  <a:lnTo>
                    <a:pt x="446" y="289"/>
                  </a:lnTo>
                  <a:lnTo>
                    <a:pt x="446" y="287"/>
                  </a:lnTo>
                  <a:lnTo>
                    <a:pt x="444" y="285"/>
                  </a:lnTo>
                  <a:lnTo>
                    <a:pt x="444" y="283"/>
                  </a:lnTo>
                  <a:lnTo>
                    <a:pt x="443" y="282"/>
                  </a:lnTo>
                  <a:lnTo>
                    <a:pt x="441" y="280"/>
                  </a:lnTo>
                  <a:lnTo>
                    <a:pt x="441" y="278"/>
                  </a:lnTo>
                  <a:lnTo>
                    <a:pt x="441" y="276"/>
                  </a:lnTo>
                  <a:lnTo>
                    <a:pt x="439" y="274"/>
                  </a:lnTo>
                  <a:lnTo>
                    <a:pt x="439" y="274"/>
                  </a:lnTo>
                  <a:lnTo>
                    <a:pt x="437" y="272"/>
                  </a:lnTo>
                  <a:lnTo>
                    <a:pt x="437" y="271"/>
                  </a:lnTo>
                  <a:lnTo>
                    <a:pt x="437" y="269"/>
                  </a:lnTo>
                  <a:lnTo>
                    <a:pt x="441" y="267"/>
                  </a:lnTo>
                  <a:lnTo>
                    <a:pt x="443" y="265"/>
                  </a:lnTo>
                  <a:lnTo>
                    <a:pt x="443" y="263"/>
                  </a:lnTo>
                  <a:lnTo>
                    <a:pt x="443" y="262"/>
                  </a:lnTo>
                  <a:lnTo>
                    <a:pt x="443" y="258"/>
                  </a:lnTo>
                  <a:lnTo>
                    <a:pt x="443" y="256"/>
                  </a:lnTo>
                  <a:lnTo>
                    <a:pt x="444" y="254"/>
                  </a:lnTo>
                  <a:lnTo>
                    <a:pt x="444" y="254"/>
                  </a:lnTo>
                  <a:lnTo>
                    <a:pt x="444" y="253"/>
                  </a:lnTo>
                  <a:lnTo>
                    <a:pt x="444" y="253"/>
                  </a:lnTo>
                  <a:lnTo>
                    <a:pt x="446" y="253"/>
                  </a:lnTo>
                  <a:lnTo>
                    <a:pt x="446" y="251"/>
                  </a:lnTo>
                  <a:lnTo>
                    <a:pt x="443" y="249"/>
                  </a:lnTo>
                  <a:lnTo>
                    <a:pt x="443" y="247"/>
                  </a:lnTo>
                  <a:lnTo>
                    <a:pt x="443" y="245"/>
                  </a:lnTo>
                  <a:lnTo>
                    <a:pt x="443" y="244"/>
                  </a:lnTo>
                  <a:lnTo>
                    <a:pt x="444" y="242"/>
                  </a:lnTo>
                  <a:lnTo>
                    <a:pt x="443" y="242"/>
                  </a:lnTo>
                  <a:lnTo>
                    <a:pt x="443" y="240"/>
                  </a:lnTo>
                  <a:lnTo>
                    <a:pt x="444" y="240"/>
                  </a:lnTo>
                  <a:lnTo>
                    <a:pt x="444" y="238"/>
                  </a:lnTo>
                  <a:lnTo>
                    <a:pt x="443" y="236"/>
                  </a:lnTo>
                  <a:lnTo>
                    <a:pt x="441" y="236"/>
                  </a:lnTo>
                  <a:lnTo>
                    <a:pt x="441" y="235"/>
                  </a:lnTo>
                  <a:lnTo>
                    <a:pt x="439" y="235"/>
                  </a:lnTo>
                  <a:lnTo>
                    <a:pt x="437" y="233"/>
                  </a:lnTo>
                  <a:lnTo>
                    <a:pt x="437" y="231"/>
                  </a:lnTo>
                  <a:lnTo>
                    <a:pt x="437" y="229"/>
                  </a:lnTo>
                  <a:lnTo>
                    <a:pt x="435" y="226"/>
                  </a:lnTo>
                  <a:lnTo>
                    <a:pt x="435" y="222"/>
                  </a:lnTo>
                  <a:lnTo>
                    <a:pt x="437" y="220"/>
                  </a:lnTo>
                  <a:lnTo>
                    <a:pt x="439" y="218"/>
                  </a:lnTo>
                  <a:lnTo>
                    <a:pt x="439" y="216"/>
                  </a:lnTo>
                  <a:lnTo>
                    <a:pt x="439" y="215"/>
                  </a:lnTo>
                  <a:lnTo>
                    <a:pt x="439" y="215"/>
                  </a:lnTo>
                  <a:lnTo>
                    <a:pt x="439" y="213"/>
                  </a:lnTo>
                  <a:lnTo>
                    <a:pt x="441" y="209"/>
                  </a:lnTo>
                  <a:lnTo>
                    <a:pt x="439" y="209"/>
                  </a:lnTo>
                  <a:lnTo>
                    <a:pt x="439" y="207"/>
                  </a:lnTo>
                  <a:lnTo>
                    <a:pt x="435" y="206"/>
                  </a:lnTo>
                  <a:lnTo>
                    <a:pt x="433" y="204"/>
                  </a:lnTo>
                  <a:lnTo>
                    <a:pt x="432" y="202"/>
                  </a:lnTo>
                  <a:lnTo>
                    <a:pt x="430" y="202"/>
                  </a:lnTo>
                  <a:lnTo>
                    <a:pt x="430" y="200"/>
                  </a:lnTo>
                  <a:lnTo>
                    <a:pt x="428" y="197"/>
                  </a:lnTo>
                  <a:lnTo>
                    <a:pt x="428" y="197"/>
                  </a:lnTo>
                  <a:lnTo>
                    <a:pt x="423" y="193"/>
                  </a:lnTo>
                  <a:lnTo>
                    <a:pt x="421" y="191"/>
                  </a:lnTo>
                  <a:lnTo>
                    <a:pt x="419" y="189"/>
                  </a:lnTo>
                  <a:lnTo>
                    <a:pt x="417" y="189"/>
                  </a:lnTo>
                  <a:lnTo>
                    <a:pt x="417" y="189"/>
                  </a:lnTo>
                  <a:lnTo>
                    <a:pt x="415" y="189"/>
                  </a:lnTo>
                  <a:lnTo>
                    <a:pt x="415" y="188"/>
                  </a:lnTo>
                  <a:lnTo>
                    <a:pt x="414" y="188"/>
                  </a:lnTo>
                  <a:lnTo>
                    <a:pt x="415" y="186"/>
                  </a:lnTo>
                  <a:lnTo>
                    <a:pt x="415" y="186"/>
                  </a:lnTo>
                  <a:lnTo>
                    <a:pt x="417" y="184"/>
                  </a:lnTo>
                  <a:lnTo>
                    <a:pt x="415" y="182"/>
                  </a:lnTo>
                  <a:lnTo>
                    <a:pt x="415" y="179"/>
                  </a:lnTo>
                  <a:lnTo>
                    <a:pt x="415" y="179"/>
                  </a:lnTo>
                  <a:lnTo>
                    <a:pt x="415" y="179"/>
                  </a:lnTo>
                  <a:lnTo>
                    <a:pt x="417" y="177"/>
                  </a:lnTo>
                  <a:lnTo>
                    <a:pt x="421" y="175"/>
                  </a:lnTo>
                  <a:lnTo>
                    <a:pt x="424" y="173"/>
                  </a:lnTo>
                  <a:lnTo>
                    <a:pt x="424" y="171"/>
                  </a:lnTo>
                  <a:lnTo>
                    <a:pt x="426" y="170"/>
                  </a:lnTo>
                  <a:lnTo>
                    <a:pt x="426" y="168"/>
                  </a:lnTo>
                  <a:lnTo>
                    <a:pt x="428" y="164"/>
                  </a:lnTo>
                  <a:lnTo>
                    <a:pt x="428" y="162"/>
                  </a:lnTo>
                  <a:lnTo>
                    <a:pt x="428" y="162"/>
                  </a:lnTo>
                  <a:lnTo>
                    <a:pt x="426" y="160"/>
                  </a:lnTo>
                  <a:lnTo>
                    <a:pt x="426" y="159"/>
                  </a:lnTo>
                  <a:lnTo>
                    <a:pt x="428" y="159"/>
                  </a:lnTo>
                  <a:lnTo>
                    <a:pt x="428" y="157"/>
                  </a:lnTo>
                  <a:lnTo>
                    <a:pt x="428" y="157"/>
                  </a:lnTo>
                  <a:lnTo>
                    <a:pt x="428" y="157"/>
                  </a:lnTo>
                  <a:lnTo>
                    <a:pt x="430" y="153"/>
                  </a:lnTo>
                  <a:lnTo>
                    <a:pt x="430" y="153"/>
                  </a:lnTo>
                  <a:lnTo>
                    <a:pt x="430" y="153"/>
                  </a:lnTo>
                  <a:lnTo>
                    <a:pt x="428" y="151"/>
                  </a:lnTo>
                  <a:lnTo>
                    <a:pt x="428" y="151"/>
                  </a:lnTo>
                  <a:lnTo>
                    <a:pt x="428" y="151"/>
                  </a:lnTo>
                  <a:lnTo>
                    <a:pt x="428" y="150"/>
                  </a:lnTo>
                  <a:lnTo>
                    <a:pt x="428" y="148"/>
                  </a:lnTo>
                  <a:lnTo>
                    <a:pt x="428" y="146"/>
                  </a:lnTo>
                  <a:lnTo>
                    <a:pt x="426" y="142"/>
                  </a:lnTo>
                  <a:lnTo>
                    <a:pt x="426" y="137"/>
                  </a:lnTo>
                  <a:lnTo>
                    <a:pt x="424" y="135"/>
                  </a:lnTo>
                  <a:lnTo>
                    <a:pt x="424" y="133"/>
                  </a:lnTo>
                  <a:lnTo>
                    <a:pt x="423" y="132"/>
                  </a:lnTo>
                  <a:lnTo>
                    <a:pt x="423" y="130"/>
                  </a:lnTo>
                  <a:lnTo>
                    <a:pt x="423" y="128"/>
                  </a:lnTo>
                  <a:lnTo>
                    <a:pt x="423" y="126"/>
                  </a:lnTo>
                  <a:lnTo>
                    <a:pt x="423" y="124"/>
                  </a:lnTo>
                  <a:lnTo>
                    <a:pt x="423" y="121"/>
                  </a:lnTo>
                  <a:lnTo>
                    <a:pt x="421" y="121"/>
                  </a:lnTo>
                  <a:lnTo>
                    <a:pt x="421" y="119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19" y="115"/>
                  </a:lnTo>
                  <a:lnTo>
                    <a:pt x="419" y="115"/>
                  </a:lnTo>
                  <a:lnTo>
                    <a:pt x="421" y="114"/>
                  </a:lnTo>
                  <a:lnTo>
                    <a:pt x="421" y="114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17" y="114"/>
                  </a:lnTo>
                  <a:lnTo>
                    <a:pt x="414" y="112"/>
                  </a:lnTo>
                  <a:lnTo>
                    <a:pt x="414" y="112"/>
                  </a:lnTo>
                  <a:lnTo>
                    <a:pt x="412" y="112"/>
                  </a:lnTo>
                  <a:lnTo>
                    <a:pt x="412" y="112"/>
                  </a:lnTo>
                  <a:lnTo>
                    <a:pt x="410" y="112"/>
                  </a:lnTo>
                  <a:lnTo>
                    <a:pt x="410" y="112"/>
                  </a:lnTo>
                  <a:lnTo>
                    <a:pt x="408" y="110"/>
                  </a:lnTo>
                  <a:lnTo>
                    <a:pt x="408" y="110"/>
                  </a:lnTo>
                  <a:lnTo>
                    <a:pt x="403" y="106"/>
                  </a:lnTo>
                  <a:lnTo>
                    <a:pt x="403" y="106"/>
                  </a:lnTo>
                  <a:lnTo>
                    <a:pt x="403" y="106"/>
                  </a:lnTo>
                  <a:lnTo>
                    <a:pt x="401" y="104"/>
                  </a:lnTo>
                  <a:lnTo>
                    <a:pt x="401" y="104"/>
                  </a:lnTo>
                  <a:lnTo>
                    <a:pt x="401" y="104"/>
                  </a:lnTo>
                  <a:lnTo>
                    <a:pt x="399" y="104"/>
                  </a:lnTo>
                  <a:lnTo>
                    <a:pt x="399" y="103"/>
                  </a:lnTo>
                  <a:lnTo>
                    <a:pt x="399" y="103"/>
                  </a:lnTo>
                  <a:lnTo>
                    <a:pt x="399" y="101"/>
                  </a:lnTo>
                  <a:lnTo>
                    <a:pt x="403" y="99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3" y="95"/>
                  </a:lnTo>
                  <a:lnTo>
                    <a:pt x="401" y="95"/>
                  </a:lnTo>
                  <a:lnTo>
                    <a:pt x="401" y="95"/>
                  </a:lnTo>
                  <a:lnTo>
                    <a:pt x="401" y="95"/>
                  </a:lnTo>
                  <a:lnTo>
                    <a:pt x="401" y="95"/>
                  </a:lnTo>
                  <a:lnTo>
                    <a:pt x="401" y="94"/>
                  </a:lnTo>
                  <a:lnTo>
                    <a:pt x="401" y="94"/>
                  </a:lnTo>
                  <a:lnTo>
                    <a:pt x="401" y="94"/>
                  </a:lnTo>
                  <a:lnTo>
                    <a:pt x="401" y="94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399" y="92"/>
                  </a:lnTo>
                  <a:lnTo>
                    <a:pt x="399" y="92"/>
                  </a:lnTo>
                  <a:lnTo>
                    <a:pt x="399" y="92"/>
                  </a:lnTo>
                  <a:lnTo>
                    <a:pt x="397" y="90"/>
                  </a:lnTo>
                  <a:lnTo>
                    <a:pt x="397" y="90"/>
                  </a:lnTo>
                  <a:lnTo>
                    <a:pt x="396" y="88"/>
                  </a:lnTo>
                  <a:lnTo>
                    <a:pt x="396" y="88"/>
                  </a:lnTo>
                  <a:lnTo>
                    <a:pt x="397" y="86"/>
                  </a:lnTo>
                  <a:lnTo>
                    <a:pt x="397" y="85"/>
                  </a:lnTo>
                  <a:lnTo>
                    <a:pt x="397" y="83"/>
                  </a:lnTo>
                  <a:lnTo>
                    <a:pt x="399" y="83"/>
                  </a:lnTo>
                  <a:lnTo>
                    <a:pt x="399" y="81"/>
                  </a:lnTo>
                  <a:lnTo>
                    <a:pt x="394" y="79"/>
                  </a:lnTo>
                  <a:lnTo>
                    <a:pt x="394" y="77"/>
                  </a:lnTo>
                  <a:lnTo>
                    <a:pt x="394" y="77"/>
                  </a:lnTo>
                  <a:lnTo>
                    <a:pt x="394" y="77"/>
                  </a:lnTo>
                  <a:lnTo>
                    <a:pt x="394" y="77"/>
                  </a:lnTo>
                  <a:lnTo>
                    <a:pt x="394" y="76"/>
                  </a:lnTo>
                  <a:lnTo>
                    <a:pt x="394" y="76"/>
                  </a:lnTo>
                  <a:lnTo>
                    <a:pt x="392" y="76"/>
                  </a:lnTo>
                  <a:lnTo>
                    <a:pt x="390" y="77"/>
                  </a:lnTo>
                  <a:lnTo>
                    <a:pt x="388" y="79"/>
                  </a:lnTo>
                  <a:lnTo>
                    <a:pt x="383" y="81"/>
                  </a:lnTo>
                  <a:lnTo>
                    <a:pt x="383" y="81"/>
                  </a:lnTo>
                  <a:lnTo>
                    <a:pt x="383" y="81"/>
                  </a:lnTo>
                  <a:lnTo>
                    <a:pt x="383" y="83"/>
                  </a:lnTo>
                  <a:lnTo>
                    <a:pt x="383" y="83"/>
                  </a:lnTo>
                  <a:lnTo>
                    <a:pt x="383" y="83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81" y="81"/>
                  </a:lnTo>
                  <a:lnTo>
                    <a:pt x="379" y="81"/>
                  </a:lnTo>
                  <a:lnTo>
                    <a:pt x="379" y="77"/>
                  </a:lnTo>
                  <a:lnTo>
                    <a:pt x="379" y="77"/>
                  </a:lnTo>
                  <a:lnTo>
                    <a:pt x="379" y="77"/>
                  </a:lnTo>
                  <a:lnTo>
                    <a:pt x="378" y="77"/>
                  </a:lnTo>
                  <a:lnTo>
                    <a:pt x="378" y="77"/>
                  </a:lnTo>
                  <a:lnTo>
                    <a:pt x="378" y="77"/>
                  </a:lnTo>
                  <a:lnTo>
                    <a:pt x="378" y="77"/>
                  </a:lnTo>
                  <a:lnTo>
                    <a:pt x="378" y="77"/>
                  </a:lnTo>
                  <a:lnTo>
                    <a:pt x="378" y="76"/>
                  </a:lnTo>
                  <a:lnTo>
                    <a:pt x="378" y="76"/>
                  </a:lnTo>
                  <a:lnTo>
                    <a:pt x="376" y="77"/>
                  </a:lnTo>
                  <a:lnTo>
                    <a:pt x="374" y="77"/>
                  </a:lnTo>
                  <a:lnTo>
                    <a:pt x="374" y="76"/>
                  </a:lnTo>
                  <a:lnTo>
                    <a:pt x="376" y="76"/>
                  </a:lnTo>
                  <a:lnTo>
                    <a:pt x="374" y="74"/>
                  </a:lnTo>
                  <a:lnTo>
                    <a:pt x="372" y="70"/>
                  </a:lnTo>
                  <a:lnTo>
                    <a:pt x="372" y="70"/>
                  </a:lnTo>
                  <a:lnTo>
                    <a:pt x="370" y="70"/>
                  </a:lnTo>
                  <a:lnTo>
                    <a:pt x="367" y="68"/>
                  </a:lnTo>
                  <a:lnTo>
                    <a:pt x="365" y="68"/>
                  </a:lnTo>
                  <a:lnTo>
                    <a:pt x="367" y="68"/>
                  </a:lnTo>
                  <a:lnTo>
                    <a:pt x="367" y="68"/>
                  </a:lnTo>
                  <a:lnTo>
                    <a:pt x="367" y="68"/>
                  </a:lnTo>
                  <a:lnTo>
                    <a:pt x="367" y="67"/>
                  </a:lnTo>
                  <a:lnTo>
                    <a:pt x="365" y="67"/>
                  </a:lnTo>
                  <a:lnTo>
                    <a:pt x="363" y="67"/>
                  </a:lnTo>
                  <a:lnTo>
                    <a:pt x="363" y="67"/>
                  </a:lnTo>
                  <a:lnTo>
                    <a:pt x="363" y="65"/>
                  </a:lnTo>
                  <a:lnTo>
                    <a:pt x="363" y="65"/>
                  </a:lnTo>
                  <a:lnTo>
                    <a:pt x="361" y="61"/>
                  </a:lnTo>
                  <a:lnTo>
                    <a:pt x="361" y="61"/>
                  </a:lnTo>
                  <a:lnTo>
                    <a:pt x="363" y="59"/>
                  </a:lnTo>
                  <a:lnTo>
                    <a:pt x="363" y="58"/>
                  </a:lnTo>
                  <a:lnTo>
                    <a:pt x="359" y="58"/>
                  </a:lnTo>
                  <a:lnTo>
                    <a:pt x="359" y="56"/>
                  </a:lnTo>
                  <a:lnTo>
                    <a:pt x="359" y="56"/>
                  </a:lnTo>
                  <a:lnTo>
                    <a:pt x="359" y="54"/>
                  </a:lnTo>
                  <a:lnTo>
                    <a:pt x="359" y="54"/>
                  </a:lnTo>
                  <a:lnTo>
                    <a:pt x="358" y="54"/>
                  </a:lnTo>
                  <a:lnTo>
                    <a:pt x="356" y="54"/>
                  </a:lnTo>
                  <a:lnTo>
                    <a:pt x="354" y="56"/>
                  </a:lnTo>
                  <a:lnTo>
                    <a:pt x="354" y="58"/>
                  </a:lnTo>
                  <a:lnTo>
                    <a:pt x="352" y="58"/>
                  </a:lnTo>
                  <a:lnTo>
                    <a:pt x="352" y="59"/>
                  </a:lnTo>
                  <a:lnTo>
                    <a:pt x="352" y="59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49" y="61"/>
                  </a:lnTo>
                  <a:lnTo>
                    <a:pt x="349" y="61"/>
                  </a:lnTo>
                  <a:lnTo>
                    <a:pt x="349" y="59"/>
                  </a:lnTo>
                  <a:lnTo>
                    <a:pt x="349" y="59"/>
                  </a:lnTo>
                  <a:lnTo>
                    <a:pt x="349" y="59"/>
                  </a:lnTo>
                  <a:lnTo>
                    <a:pt x="347" y="58"/>
                  </a:lnTo>
                  <a:lnTo>
                    <a:pt x="347" y="58"/>
                  </a:lnTo>
                  <a:lnTo>
                    <a:pt x="347" y="58"/>
                  </a:lnTo>
                  <a:lnTo>
                    <a:pt x="347" y="58"/>
                  </a:lnTo>
                  <a:lnTo>
                    <a:pt x="347" y="58"/>
                  </a:lnTo>
                  <a:lnTo>
                    <a:pt x="345" y="58"/>
                  </a:lnTo>
                  <a:lnTo>
                    <a:pt x="345" y="59"/>
                  </a:lnTo>
                  <a:lnTo>
                    <a:pt x="345" y="58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1" y="59"/>
                  </a:lnTo>
                  <a:lnTo>
                    <a:pt x="343" y="58"/>
                  </a:lnTo>
                  <a:lnTo>
                    <a:pt x="343" y="58"/>
                  </a:lnTo>
                  <a:lnTo>
                    <a:pt x="343" y="56"/>
                  </a:lnTo>
                  <a:lnTo>
                    <a:pt x="343" y="56"/>
                  </a:lnTo>
                  <a:lnTo>
                    <a:pt x="343" y="56"/>
                  </a:lnTo>
                  <a:lnTo>
                    <a:pt x="343" y="56"/>
                  </a:lnTo>
                  <a:lnTo>
                    <a:pt x="343" y="56"/>
                  </a:lnTo>
                  <a:lnTo>
                    <a:pt x="341" y="56"/>
                  </a:lnTo>
                  <a:lnTo>
                    <a:pt x="341" y="56"/>
                  </a:lnTo>
                  <a:lnTo>
                    <a:pt x="341" y="56"/>
                  </a:lnTo>
                  <a:lnTo>
                    <a:pt x="341" y="58"/>
                  </a:lnTo>
                  <a:lnTo>
                    <a:pt x="341" y="58"/>
                  </a:lnTo>
                  <a:lnTo>
                    <a:pt x="340" y="59"/>
                  </a:lnTo>
                  <a:lnTo>
                    <a:pt x="338" y="59"/>
                  </a:lnTo>
                  <a:lnTo>
                    <a:pt x="336" y="58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2" y="61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32" y="65"/>
                  </a:lnTo>
                  <a:lnTo>
                    <a:pt x="332" y="65"/>
                  </a:lnTo>
                  <a:lnTo>
                    <a:pt x="331" y="65"/>
                  </a:lnTo>
                  <a:lnTo>
                    <a:pt x="331" y="65"/>
                  </a:lnTo>
                  <a:lnTo>
                    <a:pt x="331" y="65"/>
                  </a:lnTo>
                  <a:lnTo>
                    <a:pt x="329" y="67"/>
                  </a:lnTo>
                  <a:lnTo>
                    <a:pt x="329" y="67"/>
                  </a:lnTo>
                  <a:lnTo>
                    <a:pt x="329" y="68"/>
                  </a:lnTo>
                  <a:lnTo>
                    <a:pt x="329" y="68"/>
                  </a:lnTo>
                  <a:lnTo>
                    <a:pt x="331" y="68"/>
                  </a:lnTo>
                  <a:lnTo>
                    <a:pt x="331" y="68"/>
                  </a:lnTo>
                  <a:lnTo>
                    <a:pt x="331" y="70"/>
                  </a:lnTo>
                  <a:lnTo>
                    <a:pt x="329" y="70"/>
                  </a:lnTo>
                  <a:lnTo>
                    <a:pt x="327" y="68"/>
                  </a:lnTo>
                  <a:lnTo>
                    <a:pt x="327" y="67"/>
                  </a:lnTo>
                  <a:lnTo>
                    <a:pt x="327" y="67"/>
                  </a:lnTo>
                  <a:lnTo>
                    <a:pt x="327" y="65"/>
                  </a:lnTo>
                  <a:lnTo>
                    <a:pt x="327" y="65"/>
                  </a:lnTo>
                  <a:lnTo>
                    <a:pt x="327" y="65"/>
                  </a:lnTo>
                  <a:lnTo>
                    <a:pt x="327" y="63"/>
                  </a:lnTo>
                  <a:lnTo>
                    <a:pt x="329" y="63"/>
                  </a:lnTo>
                  <a:lnTo>
                    <a:pt x="327" y="61"/>
                  </a:lnTo>
                  <a:lnTo>
                    <a:pt x="329" y="61"/>
                  </a:lnTo>
                  <a:lnTo>
                    <a:pt x="329" y="61"/>
                  </a:lnTo>
                  <a:lnTo>
                    <a:pt x="329" y="61"/>
                  </a:lnTo>
                  <a:lnTo>
                    <a:pt x="329" y="61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31" y="58"/>
                  </a:lnTo>
                  <a:lnTo>
                    <a:pt x="331" y="58"/>
                  </a:lnTo>
                  <a:lnTo>
                    <a:pt x="332" y="58"/>
                  </a:lnTo>
                  <a:lnTo>
                    <a:pt x="334" y="58"/>
                  </a:lnTo>
                  <a:lnTo>
                    <a:pt x="334" y="59"/>
                  </a:lnTo>
                  <a:lnTo>
                    <a:pt x="334" y="58"/>
                  </a:lnTo>
                  <a:lnTo>
                    <a:pt x="336" y="58"/>
                  </a:lnTo>
                  <a:lnTo>
                    <a:pt x="336" y="58"/>
                  </a:lnTo>
                  <a:lnTo>
                    <a:pt x="338" y="58"/>
                  </a:lnTo>
                  <a:lnTo>
                    <a:pt x="338" y="58"/>
                  </a:lnTo>
                  <a:lnTo>
                    <a:pt x="338" y="58"/>
                  </a:lnTo>
                  <a:lnTo>
                    <a:pt x="338" y="58"/>
                  </a:lnTo>
                  <a:lnTo>
                    <a:pt x="338" y="58"/>
                  </a:lnTo>
                  <a:lnTo>
                    <a:pt x="338" y="58"/>
                  </a:lnTo>
                  <a:lnTo>
                    <a:pt x="338" y="58"/>
                  </a:lnTo>
                  <a:lnTo>
                    <a:pt x="338" y="58"/>
                  </a:lnTo>
                  <a:lnTo>
                    <a:pt x="338" y="56"/>
                  </a:lnTo>
                  <a:lnTo>
                    <a:pt x="338" y="56"/>
                  </a:lnTo>
                  <a:lnTo>
                    <a:pt x="338" y="56"/>
                  </a:lnTo>
                  <a:lnTo>
                    <a:pt x="338" y="56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0" y="54"/>
                  </a:lnTo>
                  <a:lnTo>
                    <a:pt x="341" y="56"/>
                  </a:lnTo>
                  <a:lnTo>
                    <a:pt x="341" y="56"/>
                  </a:lnTo>
                  <a:lnTo>
                    <a:pt x="341" y="54"/>
                  </a:lnTo>
                  <a:lnTo>
                    <a:pt x="343" y="54"/>
                  </a:lnTo>
                  <a:lnTo>
                    <a:pt x="343" y="54"/>
                  </a:lnTo>
                  <a:lnTo>
                    <a:pt x="343" y="54"/>
                  </a:lnTo>
                  <a:lnTo>
                    <a:pt x="347" y="54"/>
                  </a:lnTo>
                  <a:lnTo>
                    <a:pt x="352" y="56"/>
                  </a:lnTo>
                  <a:lnTo>
                    <a:pt x="352" y="56"/>
                  </a:lnTo>
                  <a:lnTo>
                    <a:pt x="354" y="54"/>
                  </a:lnTo>
                  <a:lnTo>
                    <a:pt x="354" y="52"/>
                  </a:lnTo>
                  <a:lnTo>
                    <a:pt x="352" y="52"/>
                  </a:lnTo>
                  <a:lnTo>
                    <a:pt x="350" y="54"/>
                  </a:lnTo>
                  <a:lnTo>
                    <a:pt x="349" y="52"/>
                  </a:lnTo>
                  <a:lnTo>
                    <a:pt x="338" y="52"/>
                  </a:lnTo>
                  <a:lnTo>
                    <a:pt x="336" y="52"/>
                  </a:lnTo>
                  <a:lnTo>
                    <a:pt x="334" y="50"/>
                  </a:lnTo>
                  <a:lnTo>
                    <a:pt x="334" y="50"/>
                  </a:lnTo>
                  <a:lnTo>
                    <a:pt x="334" y="48"/>
                  </a:lnTo>
                  <a:lnTo>
                    <a:pt x="334" y="50"/>
                  </a:lnTo>
                  <a:lnTo>
                    <a:pt x="332" y="50"/>
                  </a:lnTo>
                  <a:lnTo>
                    <a:pt x="332" y="52"/>
                  </a:lnTo>
                  <a:lnTo>
                    <a:pt x="331" y="56"/>
                  </a:lnTo>
                  <a:lnTo>
                    <a:pt x="331" y="58"/>
                  </a:lnTo>
                  <a:lnTo>
                    <a:pt x="327" y="61"/>
                  </a:lnTo>
                  <a:lnTo>
                    <a:pt x="325" y="65"/>
                  </a:lnTo>
                  <a:lnTo>
                    <a:pt x="325" y="67"/>
                  </a:lnTo>
                  <a:lnTo>
                    <a:pt x="323" y="67"/>
                  </a:lnTo>
                  <a:lnTo>
                    <a:pt x="318" y="70"/>
                  </a:lnTo>
                  <a:lnTo>
                    <a:pt x="318" y="70"/>
                  </a:lnTo>
                  <a:lnTo>
                    <a:pt x="318" y="70"/>
                  </a:lnTo>
                  <a:lnTo>
                    <a:pt x="316" y="72"/>
                  </a:lnTo>
                  <a:lnTo>
                    <a:pt x="314" y="74"/>
                  </a:lnTo>
                  <a:lnTo>
                    <a:pt x="314" y="76"/>
                  </a:lnTo>
                  <a:lnTo>
                    <a:pt x="312" y="76"/>
                  </a:lnTo>
                  <a:lnTo>
                    <a:pt x="314" y="76"/>
                  </a:lnTo>
                  <a:lnTo>
                    <a:pt x="314" y="76"/>
                  </a:lnTo>
                  <a:lnTo>
                    <a:pt x="314" y="76"/>
                  </a:lnTo>
                  <a:lnTo>
                    <a:pt x="314" y="76"/>
                  </a:lnTo>
                  <a:lnTo>
                    <a:pt x="314" y="77"/>
                  </a:lnTo>
                  <a:lnTo>
                    <a:pt x="312" y="77"/>
                  </a:lnTo>
                  <a:lnTo>
                    <a:pt x="312" y="79"/>
                  </a:lnTo>
                  <a:lnTo>
                    <a:pt x="312" y="79"/>
                  </a:lnTo>
                  <a:lnTo>
                    <a:pt x="312" y="81"/>
                  </a:lnTo>
                  <a:lnTo>
                    <a:pt x="314" y="83"/>
                  </a:lnTo>
                  <a:lnTo>
                    <a:pt x="312" y="81"/>
                  </a:lnTo>
                  <a:lnTo>
                    <a:pt x="312" y="79"/>
                  </a:lnTo>
                  <a:lnTo>
                    <a:pt x="312" y="77"/>
                  </a:lnTo>
                  <a:lnTo>
                    <a:pt x="312" y="74"/>
                  </a:lnTo>
                  <a:lnTo>
                    <a:pt x="311" y="76"/>
                  </a:lnTo>
                  <a:lnTo>
                    <a:pt x="298" y="77"/>
                  </a:lnTo>
                  <a:lnTo>
                    <a:pt x="294" y="77"/>
                  </a:lnTo>
                  <a:lnTo>
                    <a:pt x="293" y="77"/>
                  </a:lnTo>
                  <a:lnTo>
                    <a:pt x="291" y="79"/>
                  </a:lnTo>
                  <a:lnTo>
                    <a:pt x="289" y="81"/>
                  </a:lnTo>
                  <a:lnTo>
                    <a:pt x="289" y="81"/>
                  </a:lnTo>
                  <a:lnTo>
                    <a:pt x="289" y="81"/>
                  </a:lnTo>
                  <a:lnTo>
                    <a:pt x="289" y="81"/>
                  </a:lnTo>
                  <a:lnTo>
                    <a:pt x="289" y="83"/>
                  </a:lnTo>
                  <a:lnTo>
                    <a:pt x="289" y="83"/>
                  </a:lnTo>
                  <a:lnTo>
                    <a:pt x="289" y="83"/>
                  </a:lnTo>
                  <a:lnTo>
                    <a:pt x="289" y="83"/>
                  </a:lnTo>
                  <a:lnTo>
                    <a:pt x="289" y="85"/>
                  </a:lnTo>
                  <a:lnTo>
                    <a:pt x="289" y="85"/>
                  </a:lnTo>
                  <a:lnTo>
                    <a:pt x="289" y="85"/>
                  </a:lnTo>
                  <a:lnTo>
                    <a:pt x="287" y="85"/>
                  </a:lnTo>
                  <a:lnTo>
                    <a:pt x="287" y="88"/>
                  </a:lnTo>
                  <a:lnTo>
                    <a:pt x="285" y="88"/>
                  </a:lnTo>
                  <a:lnTo>
                    <a:pt x="285" y="88"/>
                  </a:lnTo>
                  <a:lnTo>
                    <a:pt x="284" y="88"/>
                  </a:lnTo>
                  <a:lnTo>
                    <a:pt x="284" y="88"/>
                  </a:lnTo>
                  <a:lnTo>
                    <a:pt x="284" y="88"/>
                  </a:lnTo>
                  <a:lnTo>
                    <a:pt x="284" y="88"/>
                  </a:lnTo>
                  <a:lnTo>
                    <a:pt x="282" y="90"/>
                  </a:lnTo>
                  <a:lnTo>
                    <a:pt x="282" y="92"/>
                  </a:lnTo>
                  <a:lnTo>
                    <a:pt x="284" y="92"/>
                  </a:lnTo>
                  <a:lnTo>
                    <a:pt x="284" y="92"/>
                  </a:lnTo>
                  <a:lnTo>
                    <a:pt x="282" y="92"/>
                  </a:lnTo>
                  <a:lnTo>
                    <a:pt x="282" y="94"/>
                  </a:lnTo>
                  <a:lnTo>
                    <a:pt x="282" y="94"/>
                  </a:lnTo>
                  <a:lnTo>
                    <a:pt x="282" y="95"/>
                  </a:lnTo>
                  <a:lnTo>
                    <a:pt x="282" y="97"/>
                  </a:lnTo>
                  <a:lnTo>
                    <a:pt x="282" y="97"/>
                  </a:lnTo>
                  <a:lnTo>
                    <a:pt x="280" y="99"/>
                  </a:lnTo>
                  <a:lnTo>
                    <a:pt x="280" y="99"/>
                  </a:lnTo>
                  <a:lnTo>
                    <a:pt x="280" y="99"/>
                  </a:lnTo>
                  <a:lnTo>
                    <a:pt x="278" y="95"/>
                  </a:lnTo>
                  <a:lnTo>
                    <a:pt x="278" y="95"/>
                  </a:lnTo>
                  <a:lnTo>
                    <a:pt x="276" y="95"/>
                  </a:lnTo>
                  <a:lnTo>
                    <a:pt x="276" y="95"/>
                  </a:lnTo>
                  <a:lnTo>
                    <a:pt x="275" y="94"/>
                  </a:lnTo>
                  <a:lnTo>
                    <a:pt x="275" y="94"/>
                  </a:lnTo>
                  <a:lnTo>
                    <a:pt x="273" y="95"/>
                  </a:lnTo>
                  <a:lnTo>
                    <a:pt x="273" y="95"/>
                  </a:lnTo>
                  <a:lnTo>
                    <a:pt x="271" y="95"/>
                  </a:lnTo>
                  <a:lnTo>
                    <a:pt x="271" y="95"/>
                  </a:lnTo>
                  <a:lnTo>
                    <a:pt x="269" y="94"/>
                  </a:lnTo>
                  <a:lnTo>
                    <a:pt x="271" y="92"/>
                  </a:lnTo>
                  <a:lnTo>
                    <a:pt x="269" y="92"/>
                  </a:lnTo>
                  <a:lnTo>
                    <a:pt x="267" y="92"/>
                  </a:lnTo>
                  <a:lnTo>
                    <a:pt x="267" y="92"/>
                  </a:lnTo>
                  <a:lnTo>
                    <a:pt x="267" y="90"/>
                  </a:lnTo>
                  <a:lnTo>
                    <a:pt x="267" y="90"/>
                  </a:lnTo>
                  <a:lnTo>
                    <a:pt x="267" y="90"/>
                  </a:lnTo>
                  <a:lnTo>
                    <a:pt x="260" y="90"/>
                  </a:lnTo>
                  <a:lnTo>
                    <a:pt x="258" y="92"/>
                  </a:lnTo>
                  <a:lnTo>
                    <a:pt x="257" y="92"/>
                  </a:lnTo>
                  <a:lnTo>
                    <a:pt x="257" y="92"/>
                  </a:lnTo>
                  <a:lnTo>
                    <a:pt x="255" y="94"/>
                  </a:lnTo>
                  <a:lnTo>
                    <a:pt x="255" y="94"/>
                  </a:lnTo>
                  <a:lnTo>
                    <a:pt x="255" y="94"/>
                  </a:lnTo>
                  <a:lnTo>
                    <a:pt x="253" y="94"/>
                  </a:lnTo>
                  <a:lnTo>
                    <a:pt x="253" y="94"/>
                  </a:lnTo>
                  <a:lnTo>
                    <a:pt x="253" y="94"/>
                  </a:lnTo>
                  <a:lnTo>
                    <a:pt x="253" y="94"/>
                  </a:lnTo>
                  <a:lnTo>
                    <a:pt x="253" y="92"/>
                  </a:lnTo>
                  <a:lnTo>
                    <a:pt x="251" y="92"/>
                  </a:lnTo>
                  <a:lnTo>
                    <a:pt x="251" y="92"/>
                  </a:lnTo>
                  <a:lnTo>
                    <a:pt x="249" y="92"/>
                  </a:lnTo>
                  <a:lnTo>
                    <a:pt x="247" y="90"/>
                  </a:lnTo>
                  <a:lnTo>
                    <a:pt x="247" y="90"/>
                  </a:lnTo>
                  <a:lnTo>
                    <a:pt x="246" y="88"/>
                  </a:lnTo>
                  <a:lnTo>
                    <a:pt x="246" y="86"/>
                  </a:lnTo>
                  <a:lnTo>
                    <a:pt x="246" y="86"/>
                  </a:lnTo>
                  <a:lnTo>
                    <a:pt x="246" y="86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9" y="83"/>
                  </a:lnTo>
                  <a:lnTo>
                    <a:pt x="249" y="83"/>
                  </a:lnTo>
                  <a:lnTo>
                    <a:pt x="249" y="83"/>
                  </a:lnTo>
                  <a:lnTo>
                    <a:pt x="249" y="83"/>
                  </a:lnTo>
                  <a:lnTo>
                    <a:pt x="249" y="83"/>
                  </a:lnTo>
                  <a:lnTo>
                    <a:pt x="251" y="83"/>
                  </a:lnTo>
                  <a:lnTo>
                    <a:pt x="253" y="83"/>
                  </a:lnTo>
                  <a:lnTo>
                    <a:pt x="253" y="81"/>
                  </a:lnTo>
                  <a:lnTo>
                    <a:pt x="255" y="79"/>
                  </a:lnTo>
                  <a:lnTo>
                    <a:pt x="262" y="76"/>
                  </a:lnTo>
                  <a:lnTo>
                    <a:pt x="262" y="74"/>
                  </a:lnTo>
                  <a:lnTo>
                    <a:pt x="262" y="74"/>
                  </a:lnTo>
                  <a:lnTo>
                    <a:pt x="262" y="74"/>
                  </a:lnTo>
                  <a:lnTo>
                    <a:pt x="262" y="72"/>
                  </a:lnTo>
                  <a:lnTo>
                    <a:pt x="262" y="68"/>
                  </a:lnTo>
                  <a:lnTo>
                    <a:pt x="262" y="68"/>
                  </a:lnTo>
                  <a:lnTo>
                    <a:pt x="262" y="67"/>
                  </a:lnTo>
                  <a:lnTo>
                    <a:pt x="262" y="65"/>
                  </a:lnTo>
                  <a:lnTo>
                    <a:pt x="262" y="61"/>
                  </a:lnTo>
                  <a:lnTo>
                    <a:pt x="262" y="59"/>
                  </a:lnTo>
                  <a:lnTo>
                    <a:pt x="262" y="61"/>
                  </a:lnTo>
                  <a:lnTo>
                    <a:pt x="262" y="61"/>
                  </a:lnTo>
                  <a:lnTo>
                    <a:pt x="264" y="59"/>
                  </a:lnTo>
                  <a:lnTo>
                    <a:pt x="266" y="58"/>
                  </a:lnTo>
                  <a:lnTo>
                    <a:pt x="264" y="58"/>
                  </a:lnTo>
                  <a:lnTo>
                    <a:pt x="260" y="59"/>
                  </a:lnTo>
                  <a:lnTo>
                    <a:pt x="258" y="59"/>
                  </a:lnTo>
                  <a:lnTo>
                    <a:pt x="258" y="59"/>
                  </a:lnTo>
                  <a:lnTo>
                    <a:pt x="257" y="59"/>
                  </a:lnTo>
                  <a:lnTo>
                    <a:pt x="258" y="59"/>
                  </a:lnTo>
                  <a:lnTo>
                    <a:pt x="258" y="58"/>
                  </a:lnTo>
                  <a:lnTo>
                    <a:pt x="258" y="58"/>
                  </a:lnTo>
                  <a:lnTo>
                    <a:pt x="255" y="58"/>
                  </a:lnTo>
                  <a:lnTo>
                    <a:pt x="253" y="59"/>
                  </a:lnTo>
                  <a:lnTo>
                    <a:pt x="251" y="59"/>
                  </a:lnTo>
                  <a:lnTo>
                    <a:pt x="249" y="63"/>
                  </a:lnTo>
                  <a:lnTo>
                    <a:pt x="247" y="65"/>
                  </a:lnTo>
                  <a:lnTo>
                    <a:pt x="244" y="65"/>
                  </a:lnTo>
                  <a:lnTo>
                    <a:pt x="242" y="63"/>
                  </a:lnTo>
                  <a:lnTo>
                    <a:pt x="238" y="59"/>
                  </a:lnTo>
                  <a:lnTo>
                    <a:pt x="229" y="56"/>
                  </a:lnTo>
                  <a:lnTo>
                    <a:pt x="228" y="54"/>
                  </a:lnTo>
                  <a:lnTo>
                    <a:pt x="226" y="54"/>
                  </a:lnTo>
                  <a:lnTo>
                    <a:pt x="224" y="52"/>
                  </a:lnTo>
                  <a:lnTo>
                    <a:pt x="224" y="54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22" y="56"/>
                  </a:lnTo>
                  <a:lnTo>
                    <a:pt x="220" y="56"/>
                  </a:lnTo>
                  <a:lnTo>
                    <a:pt x="219" y="56"/>
                  </a:lnTo>
                  <a:lnTo>
                    <a:pt x="219" y="56"/>
                  </a:lnTo>
                  <a:lnTo>
                    <a:pt x="219" y="59"/>
                  </a:lnTo>
                  <a:lnTo>
                    <a:pt x="217" y="61"/>
                  </a:lnTo>
                  <a:lnTo>
                    <a:pt x="217" y="63"/>
                  </a:lnTo>
                  <a:lnTo>
                    <a:pt x="215" y="63"/>
                  </a:lnTo>
                  <a:lnTo>
                    <a:pt x="215" y="63"/>
                  </a:lnTo>
                  <a:lnTo>
                    <a:pt x="215" y="61"/>
                  </a:lnTo>
                  <a:lnTo>
                    <a:pt x="215" y="61"/>
                  </a:lnTo>
                  <a:lnTo>
                    <a:pt x="215" y="59"/>
                  </a:lnTo>
                  <a:lnTo>
                    <a:pt x="215" y="59"/>
                  </a:lnTo>
                  <a:lnTo>
                    <a:pt x="215" y="59"/>
                  </a:lnTo>
                  <a:lnTo>
                    <a:pt x="215" y="59"/>
                  </a:lnTo>
                  <a:lnTo>
                    <a:pt x="215" y="59"/>
                  </a:lnTo>
                  <a:lnTo>
                    <a:pt x="215" y="59"/>
                  </a:lnTo>
                  <a:lnTo>
                    <a:pt x="217" y="58"/>
                  </a:lnTo>
                  <a:lnTo>
                    <a:pt x="217" y="58"/>
                  </a:lnTo>
                  <a:lnTo>
                    <a:pt x="219" y="56"/>
                  </a:lnTo>
                  <a:lnTo>
                    <a:pt x="217" y="54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9" y="52"/>
                  </a:lnTo>
                  <a:lnTo>
                    <a:pt x="215" y="48"/>
                  </a:lnTo>
                  <a:lnTo>
                    <a:pt x="215" y="48"/>
                  </a:lnTo>
                  <a:lnTo>
                    <a:pt x="202" y="52"/>
                  </a:lnTo>
                  <a:lnTo>
                    <a:pt x="201" y="50"/>
                  </a:lnTo>
                  <a:lnTo>
                    <a:pt x="201" y="50"/>
                  </a:lnTo>
                  <a:lnTo>
                    <a:pt x="202" y="48"/>
                  </a:lnTo>
                  <a:lnTo>
                    <a:pt x="204" y="48"/>
                  </a:lnTo>
                  <a:lnTo>
                    <a:pt x="206" y="47"/>
                  </a:lnTo>
                  <a:lnTo>
                    <a:pt x="208" y="47"/>
                  </a:lnTo>
                  <a:lnTo>
                    <a:pt x="208" y="45"/>
                  </a:lnTo>
                  <a:lnTo>
                    <a:pt x="210" y="45"/>
                  </a:lnTo>
                  <a:lnTo>
                    <a:pt x="210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0" y="34"/>
                  </a:lnTo>
                  <a:lnTo>
                    <a:pt x="210" y="34"/>
                  </a:lnTo>
                  <a:lnTo>
                    <a:pt x="210" y="32"/>
                  </a:lnTo>
                  <a:lnTo>
                    <a:pt x="210" y="34"/>
                  </a:lnTo>
                  <a:lnTo>
                    <a:pt x="208" y="34"/>
                  </a:lnTo>
                  <a:lnTo>
                    <a:pt x="208" y="32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4" y="32"/>
                  </a:lnTo>
                  <a:lnTo>
                    <a:pt x="204" y="32"/>
                  </a:lnTo>
                  <a:lnTo>
                    <a:pt x="204" y="32"/>
                  </a:lnTo>
                  <a:lnTo>
                    <a:pt x="204" y="32"/>
                  </a:lnTo>
                  <a:lnTo>
                    <a:pt x="204" y="32"/>
                  </a:lnTo>
                  <a:lnTo>
                    <a:pt x="206" y="32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8" y="30"/>
                  </a:lnTo>
                  <a:lnTo>
                    <a:pt x="208" y="30"/>
                  </a:lnTo>
                  <a:lnTo>
                    <a:pt x="208" y="30"/>
                  </a:lnTo>
                  <a:lnTo>
                    <a:pt x="210" y="30"/>
                  </a:lnTo>
                  <a:lnTo>
                    <a:pt x="208" y="30"/>
                  </a:lnTo>
                  <a:lnTo>
                    <a:pt x="208" y="29"/>
                  </a:lnTo>
                  <a:lnTo>
                    <a:pt x="208" y="29"/>
                  </a:lnTo>
                  <a:lnTo>
                    <a:pt x="206" y="25"/>
                  </a:lnTo>
                  <a:lnTo>
                    <a:pt x="206" y="23"/>
                  </a:lnTo>
                  <a:lnTo>
                    <a:pt x="204" y="23"/>
                  </a:lnTo>
                  <a:lnTo>
                    <a:pt x="202" y="23"/>
                  </a:lnTo>
                  <a:lnTo>
                    <a:pt x="202" y="25"/>
                  </a:lnTo>
                  <a:lnTo>
                    <a:pt x="201" y="25"/>
                  </a:lnTo>
                  <a:lnTo>
                    <a:pt x="199" y="25"/>
                  </a:lnTo>
                  <a:lnTo>
                    <a:pt x="199" y="25"/>
                  </a:lnTo>
                  <a:lnTo>
                    <a:pt x="199" y="23"/>
                  </a:lnTo>
                  <a:lnTo>
                    <a:pt x="197" y="23"/>
                  </a:lnTo>
                  <a:lnTo>
                    <a:pt x="195" y="21"/>
                  </a:lnTo>
                  <a:lnTo>
                    <a:pt x="195" y="21"/>
                  </a:lnTo>
                  <a:lnTo>
                    <a:pt x="193" y="21"/>
                  </a:lnTo>
                  <a:lnTo>
                    <a:pt x="190" y="20"/>
                  </a:lnTo>
                  <a:lnTo>
                    <a:pt x="188" y="20"/>
                  </a:lnTo>
                  <a:lnTo>
                    <a:pt x="186" y="16"/>
                  </a:lnTo>
                  <a:lnTo>
                    <a:pt x="186" y="18"/>
                  </a:lnTo>
                  <a:lnTo>
                    <a:pt x="186" y="18"/>
                  </a:lnTo>
                  <a:lnTo>
                    <a:pt x="184" y="18"/>
                  </a:lnTo>
                  <a:lnTo>
                    <a:pt x="184" y="20"/>
                  </a:lnTo>
                  <a:lnTo>
                    <a:pt x="181" y="21"/>
                  </a:lnTo>
                  <a:lnTo>
                    <a:pt x="179" y="21"/>
                  </a:lnTo>
                  <a:lnTo>
                    <a:pt x="179" y="21"/>
                  </a:lnTo>
                  <a:lnTo>
                    <a:pt x="179" y="21"/>
                  </a:lnTo>
                  <a:lnTo>
                    <a:pt x="179" y="21"/>
                  </a:lnTo>
                  <a:lnTo>
                    <a:pt x="179" y="21"/>
                  </a:lnTo>
                  <a:lnTo>
                    <a:pt x="177" y="20"/>
                  </a:lnTo>
                  <a:lnTo>
                    <a:pt x="177" y="21"/>
                  </a:lnTo>
                  <a:lnTo>
                    <a:pt x="175" y="21"/>
                  </a:lnTo>
                  <a:lnTo>
                    <a:pt x="175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70" y="21"/>
                  </a:lnTo>
                  <a:lnTo>
                    <a:pt x="170" y="21"/>
                  </a:lnTo>
                  <a:lnTo>
                    <a:pt x="168" y="21"/>
                  </a:lnTo>
                  <a:lnTo>
                    <a:pt x="168" y="20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57" y="16"/>
                  </a:lnTo>
                  <a:lnTo>
                    <a:pt x="154" y="14"/>
                  </a:lnTo>
                  <a:lnTo>
                    <a:pt x="148" y="12"/>
                  </a:lnTo>
                  <a:lnTo>
                    <a:pt x="148" y="12"/>
                  </a:lnTo>
                  <a:lnTo>
                    <a:pt x="145" y="14"/>
                  </a:lnTo>
                  <a:lnTo>
                    <a:pt x="143" y="14"/>
                  </a:lnTo>
                  <a:lnTo>
                    <a:pt x="141" y="14"/>
                  </a:lnTo>
                  <a:lnTo>
                    <a:pt x="141" y="16"/>
                  </a:lnTo>
                  <a:lnTo>
                    <a:pt x="139" y="18"/>
                  </a:lnTo>
                  <a:lnTo>
                    <a:pt x="141" y="21"/>
                  </a:lnTo>
                  <a:lnTo>
                    <a:pt x="141" y="21"/>
                  </a:lnTo>
                  <a:lnTo>
                    <a:pt x="143" y="23"/>
                  </a:lnTo>
                  <a:lnTo>
                    <a:pt x="143" y="25"/>
                  </a:lnTo>
                  <a:lnTo>
                    <a:pt x="143" y="27"/>
                  </a:lnTo>
                  <a:lnTo>
                    <a:pt x="143" y="29"/>
                  </a:lnTo>
                  <a:lnTo>
                    <a:pt x="145" y="29"/>
                  </a:lnTo>
                  <a:lnTo>
                    <a:pt x="146" y="30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50" y="38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4" y="41"/>
                  </a:lnTo>
                  <a:lnTo>
                    <a:pt x="157" y="45"/>
                  </a:lnTo>
                  <a:lnTo>
                    <a:pt x="159" y="47"/>
                  </a:lnTo>
                  <a:lnTo>
                    <a:pt x="159" y="50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5" y="52"/>
                  </a:lnTo>
                  <a:lnTo>
                    <a:pt x="154" y="54"/>
                  </a:lnTo>
                  <a:lnTo>
                    <a:pt x="152" y="56"/>
                  </a:lnTo>
                  <a:lnTo>
                    <a:pt x="150" y="56"/>
                  </a:lnTo>
                  <a:lnTo>
                    <a:pt x="145" y="56"/>
                  </a:lnTo>
                  <a:lnTo>
                    <a:pt x="141" y="56"/>
                  </a:lnTo>
                  <a:lnTo>
                    <a:pt x="141" y="56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9" y="59"/>
                  </a:lnTo>
                  <a:lnTo>
                    <a:pt x="139" y="59"/>
                  </a:lnTo>
                  <a:lnTo>
                    <a:pt x="141" y="59"/>
                  </a:lnTo>
                  <a:lnTo>
                    <a:pt x="141" y="59"/>
                  </a:lnTo>
                  <a:lnTo>
                    <a:pt x="141" y="59"/>
                  </a:lnTo>
                  <a:lnTo>
                    <a:pt x="143" y="59"/>
                  </a:lnTo>
                  <a:lnTo>
                    <a:pt x="143" y="59"/>
                  </a:lnTo>
                  <a:lnTo>
                    <a:pt x="141" y="59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7" y="61"/>
                  </a:lnTo>
                  <a:lnTo>
                    <a:pt x="137" y="65"/>
                  </a:lnTo>
                  <a:lnTo>
                    <a:pt x="139" y="67"/>
                  </a:lnTo>
                  <a:lnTo>
                    <a:pt x="141" y="67"/>
                  </a:lnTo>
                  <a:lnTo>
                    <a:pt x="141" y="68"/>
                  </a:lnTo>
                  <a:lnTo>
                    <a:pt x="143" y="68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6" y="67"/>
                  </a:lnTo>
                  <a:lnTo>
                    <a:pt x="148" y="67"/>
                  </a:lnTo>
                  <a:lnTo>
                    <a:pt x="150" y="65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2" y="67"/>
                  </a:lnTo>
                  <a:lnTo>
                    <a:pt x="152" y="67"/>
                  </a:lnTo>
                  <a:lnTo>
                    <a:pt x="154" y="65"/>
                  </a:lnTo>
                  <a:lnTo>
                    <a:pt x="155" y="65"/>
                  </a:lnTo>
                  <a:lnTo>
                    <a:pt x="155" y="63"/>
                  </a:lnTo>
                  <a:lnTo>
                    <a:pt x="155" y="65"/>
                  </a:lnTo>
                  <a:lnTo>
                    <a:pt x="155" y="67"/>
                  </a:lnTo>
                  <a:lnTo>
                    <a:pt x="154" y="67"/>
                  </a:lnTo>
                  <a:lnTo>
                    <a:pt x="154" y="68"/>
                  </a:lnTo>
                  <a:lnTo>
                    <a:pt x="152" y="68"/>
                  </a:lnTo>
                  <a:lnTo>
                    <a:pt x="150" y="68"/>
                  </a:lnTo>
                  <a:lnTo>
                    <a:pt x="150" y="68"/>
                  </a:lnTo>
                  <a:lnTo>
                    <a:pt x="150" y="70"/>
                  </a:lnTo>
                  <a:lnTo>
                    <a:pt x="150" y="70"/>
                  </a:lnTo>
                  <a:lnTo>
                    <a:pt x="150" y="72"/>
                  </a:lnTo>
                  <a:lnTo>
                    <a:pt x="148" y="74"/>
                  </a:lnTo>
                  <a:lnTo>
                    <a:pt x="148" y="76"/>
                  </a:lnTo>
                  <a:lnTo>
                    <a:pt x="148" y="76"/>
                  </a:lnTo>
                  <a:lnTo>
                    <a:pt x="150" y="77"/>
                  </a:lnTo>
                  <a:lnTo>
                    <a:pt x="150" y="81"/>
                  </a:lnTo>
                  <a:lnTo>
                    <a:pt x="152" y="81"/>
                  </a:lnTo>
                  <a:lnTo>
                    <a:pt x="152" y="79"/>
                  </a:lnTo>
                  <a:lnTo>
                    <a:pt x="154" y="79"/>
                  </a:lnTo>
                  <a:lnTo>
                    <a:pt x="155" y="77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81"/>
                  </a:lnTo>
                  <a:lnTo>
                    <a:pt x="159" y="81"/>
                  </a:lnTo>
                  <a:lnTo>
                    <a:pt x="159" y="83"/>
                  </a:lnTo>
                  <a:lnTo>
                    <a:pt x="159" y="85"/>
                  </a:lnTo>
                  <a:lnTo>
                    <a:pt x="159" y="86"/>
                  </a:lnTo>
                  <a:lnTo>
                    <a:pt x="157" y="86"/>
                  </a:lnTo>
                  <a:lnTo>
                    <a:pt x="157" y="88"/>
                  </a:lnTo>
                  <a:lnTo>
                    <a:pt x="157" y="88"/>
                  </a:lnTo>
                  <a:lnTo>
                    <a:pt x="155" y="88"/>
                  </a:lnTo>
                  <a:lnTo>
                    <a:pt x="154" y="86"/>
                  </a:lnTo>
                  <a:lnTo>
                    <a:pt x="152" y="86"/>
                  </a:lnTo>
                  <a:lnTo>
                    <a:pt x="152" y="86"/>
                  </a:lnTo>
                  <a:lnTo>
                    <a:pt x="150" y="88"/>
                  </a:lnTo>
                  <a:lnTo>
                    <a:pt x="154" y="95"/>
                  </a:lnTo>
                  <a:lnTo>
                    <a:pt x="155" y="99"/>
                  </a:lnTo>
                  <a:lnTo>
                    <a:pt x="157" y="99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61" y="99"/>
                  </a:lnTo>
                  <a:lnTo>
                    <a:pt x="163" y="99"/>
                  </a:lnTo>
                  <a:lnTo>
                    <a:pt x="168" y="101"/>
                  </a:lnTo>
                  <a:lnTo>
                    <a:pt x="172" y="101"/>
                  </a:lnTo>
                  <a:lnTo>
                    <a:pt x="173" y="101"/>
                  </a:lnTo>
                  <a:lnTo>
                    <a:pt x="175" y="104"/>
                  </a:lnTo>
                  <a:lnTo>
                    <a:pt x="177" y="104"/>
                  </a:lnTo>
                  <a:lnTo>
                    <a:pt x="177" y="106"/>
                  </a:lnTo>
                  <a:lnTo>
                    <a:pt x="179" y="110"/>
                  </a:lnTo>
                  <a:lnTo>
                    <a:pt x="179" y="112"/>
                  </a:lnTo>
                  <a:lnTo>
                    <a:pt x="181" y="114"/>
                  </a:lnTo>
                  <a:lnTo>
                    <a:pt x="182" y="114"/>
                  </a:lnTo>
                  <a:lnTo>
                    <a:pt x="184" y="115"/>
                  </a:lnTo>
                  <a:lnTo>
                    <a:pt x="184" y="115"/>
                  </a:lnTo>
                  <a:lnTo>
                    <a:pt x="184" y="117"/>
                  </a:lnTo>
                  <a:lnTo>
                    <a:pt x="184" y="119"/>
                  </a:lnTo>
                  <a:lnTo>
                    <a:pt x="186" y="123"/>
                  </a:lnTo>
                  <a:lnTo>
                    <a:pt x="188" y="124"/>
                  </a:lnTo>
                  <a:lnTo>
                    <a:pt x="192" y="126"/>
                  </a:lnTo>
                  <a:lnTo>
                    <a:pt x="193" y="126"/>
                  </a:lnTo>
                  <a:lnTo>
                    <a:pt x="197" y="128"/>
                  </a:lnTo>
                  <a:lnTo>
                    <a:pt x="199" y="128"/>
                  </a:lnTo>
                  <a:lnTo>
                    <a:pt x="199" y="130"/>
                  </a:lnTo>
                  <a:lnTo>
                    <a:pt x="199" y="130"/>
                  </a:lnTo>
                  <a:lnTo>
                    <a:pt x="197" y="130"/>
                  </a:lnTo>
                  <a:lnTo>
                    <a:pt x="193" y="128"/>
                  </a:lnTo>
                  <a:lnTo>
                    <a:pt x="190" y="126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6" y="126"/>
                  </a:lnTo>
                  <a:lnTo>
                    <a:pt x="186" y="124"/>
                  </a:lnTo>
                  <a:lnTo>
                    <a:pt x="182" y="119"/>
                  </a:lnTo>
                  <a:lnTo>
                    <a:pt x="182" y="117"/>
                  </a:lnTo>
                  <a:lnTo>
                    <a:pt x="181" y="115"/>
                  </a:lnTo>
                  <a:lnTo>
                    <a:pt x="181" y="115"/>
                  </a:lnTo>
                  <a:lnTo>
                    <a:pt x="179" y="112"/>
                  </a:lnTo>
                  <a:lnTo>
                    <a:pt x="173" y="104"/>
                  </a:lnTo>
                  <a:lnTo>
                    <a:pt x="172" y="103"/>
                  </a:lnTo>
                  <a:lnTo>
                    <a:pt x="172" y="103"/>
                  </a:lnTo>
                  <a:lnTo>
                    <a:pt x="170" y="103"/>
                  </a:lnTo>
                  <a:lnTo>
                    <a:pt x="170" y="103"/>
                  </a:lnTo>
                  <a:lnTo>
                    <a:pt x="168" y="101"/>
                  </a:lnTo>
                  <a:lnTo>
                    <a:pt x="168" y="103"/>
                  </a:lnTo>
                  <a:lnTo>
                    <a:pt x="164" y="103"/>
                  </a:lnTo>
                  <a:lnTo>
                    <a:pt x="159" y="103"/>
                  </a:lnTo>
                  <a:lnTo>
                    <a:pt x="159" y="104"/>
                  </a:lnTo>
                  <a:lnTo>
                    <a:pt x="157" y="104"/>
                  </a:lnTo>
                  <a:lnTo>
                    <a:pt x="154" y="104"/>
                  </a:lnTo>
                  <a:lnTo>
                    <a:pt x="150" y="104"/>
                  </a:lnTo>
                  <a:lnTo>
                    <a:pt x="146" y="104"/>
                  </a:lnTo>
                  <a:lnTo>
                    <a:pt x="145" y="103"/>
                  </a:lnTo>
                  <a:lnTo>
                    <a:pt x="143" y="101"/>
                  </a:lnTo>
                  <a:lnTo>
                    <a:pt x="143" y="101"/>
                  </a:lnTo>
                  <a:lnTo>
                    <a:pt x="141" y="101"/>
                  </a:lnTo>
                  <a:lnTo>
                    <a:pt x="141" y="99"/>
                  </a:lnTo>
                  <a:lnTo>
                    <a:pt x="139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3"/>
                  </a:lnTo>
                  <a:lnTo>
                    <a:pt x="136" y="104"/>
                  </a:lnTo>
                  <a:lnTo>
                    <a:pt x="134" y="110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7"/>
                  </a:lnTo>
                  <a:lnTo>
                    <a:pt x="132" y="119"/>
                  </a:lnTo>
                  <a:lnTo>
                    <a:pt x="134" y="121"/>
                  </a:lnTo>
                  <a:lnTo>
                    <a:pt x="134" y="123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34" y="126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6" y="132"/>
                  </a:lnTo>
                  <a:lnTo>
                    <a:pt x="134" y="133"/>
                  </a:lnTo>
                  <a:lnTo>
                    <a:pt x="134" y="133"/>
                  </a:lnTo>
                  <a:lnTo>
                    <a:pt x="132" y="135"/>
                  </a:lnTo>
                  <a:lnTo>
                    <a:pt x="132" y="137"/>
                  </a:lnTo>
                  <a:lnTo>
                    <a:pt x="134" y="142"/>
                  </a:lnTo>
                  <a:lnTo>
                    <a:pt x="134" y="144"/>
                  </a:lnTo>
                  <a:lnTo>
                    <a:pt x="132" y="144"/>
                  </a:lnTo>
                  <a:lnTo>
                    <a:pt x="132" y="141"/>
                  </a:lnTo>
                  <a:lnTo>
                    <a:pt x="132" y="137"/>
                  </a:lnTo>
                  <a:lnTo>
                    <a:pt x="132" y="133"/>
                  </a:lnTo>
                  <a:lnTo>
                    <a:pt x="134" y="132"/>
                  </a:lnTo>
                  <a:lnTo>
                    <a:pt x="134" y="132"/>
                  </a:lnTo>
                  <a:lnTo>
                    <a:pt x="136" y="130"/>
                  </a:lnTo>
                  <a:lnTo>
                    <a:pt x="136" y="130"/>
                  </a:lnTo>
                  <a:lnTo>
                    <a:pt x="134" y="128"/>
                  </a:lnTo>
                  <a:lnTo>
                    <a:pt x="130" y="128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6" y="124"/>
                  </a:lnTo>
                  <a:lnTo>
                    <a:pt x="125" y="124"/>
                  </a:lnTo>
                  <a:lnTo>
                    <a:pt x="125" y="123"/>
                  </a:lnTo>
                  <a:lnTo>
                    <a:pt x="123" y="123"/>
                  </a:lnTo>
                  <a:lnTo>
                    <a:pt x="121" y="124"/>
                  </a:lnTo>
                  <a:lnTo>
                    <a:pt x="121" y="124"/>
                  </a:lnTo>
                  <a:lnTo>
                    <a:pt x="121" y="126"/>
                  </a:lnTo>
                  <a:lnTo>
                    <a:pt x="119" y="128"/>
                  </a:lnTo>
                  <a:lnTo>
                    <a:pt x="119" y="130"/>
                  </a:lnTo>
                  <a:lnTo>
                    <a:pt x="119" y="132"/>
                  </a:lnTo>
                  <a:lnTo>
                    <a:pt x="121" y="132"/>
                  </a:lnTo>
                  <a:lnTo>
                    <a:pt x="123" y="130"/>
                  </a:lnTo>
                  <a:lnTo>
                    <a:pt x="125" y="132"/>
                  </a:lnTo>
                  <a:lnTo>
                    <a:pt x="123" y="135"/>
                  </a:lnTo>
                  <a:lnTo>
                    <a:pt x="123" y="139"/>
                  </a:lnTo>
                  <a:lnTo>
                    <a:pt x="121" y="141"/>
                  </a:lnTo>
                  <a:lnTo>
                    <a:pt x="121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41"/>
                  </a:lnTo>
                  <a:lnTo>
                    <a:pt x="117" y="141"/>
                  </a:lnTo>
                  <a:lnTo>
                    <a:pt x="117" y="141"/>
                  </a:lnTo>
                  <a:lnTo>
                    <a:pt x="117" y="139"/>
                  </a:lnTo>
                  <a:lnTo>
                    <a:pt x="117" y="139"/>
                  </a:lnTo>
                  <a:lnTo>
                    <a:pt x="116" y="139"/>
                  </a:lnTo>
                  <a:lnTo>
                    <a:pt x="116" y="137"/>
                  </a:lnTo>
                  <a:lnTo>
                    <a:pt x="116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12" y="137"/>
                  </a:lnTo>
                  <a:lnTo>
                    <a:pt x="112" y="137"/>
                  </a:lnTo>
                  <a:lnTo>
                    <a:pt x="112" y="135"/>
                  </a:lnTo>
                  <a:lnTo>
                    <a:pt x="110" y="133"/>
                  </a:lnTo>
                  <a:lnTo>
                    <a:pt x="112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16" y="132"/>
                  </a:lnTo>
                  <a:lnTo>
                    <a:pt x="116" y="130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4" y="128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2" y="124"/>
                  </a:lnTo>
                  <a:lnTo>
                    <a:pt x="110" y="121"/>
                  </a:lnTo>
                  <a:lnTo>
                    <a:pt x="108" y="119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05" y="114"/>
                  </a:lnTo>
                  <a:lnTo>
                    <a:pt x="90" y="117"/>
                  </a:lnTo>
                  <a:lnTo>
                    <a:pt x="83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72" y="117"/>
                  </a:lnTo>
                  <a:lnTo>
                    <a:pt x="69" y="119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5" y="124"/>
                  </a:lnTo>
                  <a:lnTo>
                    <a:pt x="63" y="124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3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30"/>
                  </a:lnTo>
                  <a:lnTo>
                    <a:pt x="65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1" y="132"/>
                  </a:lnTo>
                  <a:lnTo>
                    <a:pt x="61" y="132"/>
                  </a:lnTo>
                  <a:lnTo>
                    <a:pt x="60" y="132"/>
                  </a:lnTo>
                  <a:lnTo>
                    <a:pt x="60" y="133"/>
                  </a:lnTo>
                  <a:lnTo>
                    <a:pt x="60" y="135"/>
                  </a:lnTo>
                  <a:lnTo>
                    <a:pt x="60" y="137"/>
                  </a:lnTo>
                  <a:lnTo>
                    <a:pt x="60" y="144"/>
                  </a:lnTo>
                  <a:lnTo>
                    <a:pt x="60" y="146"/>
                  </a:lnTo>
                  <a:lnTo>
                    <a:pt x="61" y="146"/>
                  </a:lnTo>
                  <a:lnTo>
                    <a:pt x="72" y="148"/>
                  </a:lnTo>
                  <a:lnTo>
                    <a:pt x="74" y="148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4" y="148"/>
                  </a:lnTo>
                  <a:lnTo>
                    <a:pt x="72" y="148"/>
                  </a:lnTo>
                  <a:lnTo>
                    <a:pt x="71" y="148"/>
                  </a:lnTo>
                  <a:lnTo>
                    <a:pt x="71" y="148"/>
                  </a:lnTo>
                  <a:lnTo>
                    <a:pt x="69" y="150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3"/>
                  </a:lnTo>
                  <a:lnTo>
                    <a:pt x="69" y="153"/>
                  </a:lnTo>
                  <a:lnTo>
                    <a:pt x="69" y="153"/>
                  </a:lnTo>
                  <a:lnTo>
                    <a:pt x="67" y="155"/>
                  </a:lnTo>
                  <a:lnTo>
                    <a:pt x="67" y="157"/>
                  </a:lnTo>
                  <a:lnTo>
                    <a:pt x="67" y="159"/>
                  </a:lnTo>
                  <a:lnTo>
                    <a:pt x="67" y="159"/>
                  </a:lnTo>
                  <a:lnTo>
                    <a:pt x="67" y="160"/>
                  </a:lnTo>
                  <a:lnTo>
                    <a:pt x="67" y="162"/>
                  </a:lnTo>
                  <a:lnTo>
                    <a:pt x="67" y="164"/>
                  </a:lnTo>
                  <a:lnTo>
                    <a:pt x="67" y="164"/>
                  </a:lnTo>
                  <a:lnTo>
                    <a:pt x="67" y="164"/>
                  </a:lnTo>
                  <a:lnTo>
                    <a:pt x="67" y="166"/>
                  </a:lnTo>
                  <a:lnTo>
                    <a:pt x="67" y="166"/>
                  </a:lnTo>
                  <a:lnTo>
                    <a:pt x="67" y="171"/>
                  </a:lnTo>
                  <a:lnTo>
                    <a:pt x="67" y="175"/>
                  </a:lnTo>
                  <a:lnTo>
                    <a:pt x="67" y="177"/>
                  </a:lnTo>
                  <a:lnTo>
                    <a:pt x="65" y="180"/>
                  </a:lnTo>
                  <a:lnTo>
                    <a:pt x="61" y="188"/>
                  </a:lnTo>
                  <a:lnTo>
                    <a:pt x="61" y="188"/>
                  </a:lnTo>
                  <a:lnTo>
                    <a:pt x="61" y="189"/>
                  </a:lnTo>
                  <a:lnTo>
                    <a:pt x="60" y="191"/>
                  </a:lnTo>
                  <a:lnTo>
                    <a:pt x="60" y="200"/>
                  </a:lnTo>
                  <a:lnTo>
                    <a:pt x="60" y="204"/>
                  </a:lnTo>
                  <a:lnTo>
                    <a:pt x="58" y="206"/>
                  </a:lnTo>
                  <a:lnTo>
                    <a:pt x="56" y="206"/>
                  </a:lnTo>
                  <a:lnTo>
                    <a:pt x="56" y="206"/>
                  </a:lnTo>
                  <a:lnTo>
                    <a:pt x="54" y="206"/>
                  </a:lnTo>
                  <a:lnTo>
                    <a:pt x="51" y="204"/>
                  </a:lnTo>
                  <a:lnTo>
                    <a:pt x="47" y="204"/>
                  </a:lnTo>
                  <a:lnTo>
                    <a:pt x="45" y="206"/>
                  </a:lnTo>
                  <a:lnTo>
                    <a:pt x="43" y="206"/>
                  </a:lnTo>
                  <a:lnTo>
                    <a:pt x="43" y="206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5" y="211"/>
                  </a:lnTo>
                  <a:lnTo>
                    <a:pt x="42" y="213"/>
                  </a:lnTo>
                  <a:lnTo>
                    <a:pt x="42" y="213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2" y="216"/>
                  </a:lnTo>
                  <a:lnTo>
                    <a:pt x="42" y="218"/>
                  </a:lnTo>
                  <a:lnTo>
                    <a:pt x="43" y="218"/>
                  </a:lnTo>
                  <a:lnTo>
                    <a:pt x="45" y="220"/>
                  </a:lnTo>
                  <a:lnTo>
                    <a:pt x="49" y="220"/>
                  </a:lnTo>
                  <a:lnTo>
                    <a:pt x="51" y="222"/>
                  </a:lnTo>
                  <a:lnTo>
                    <a:pt x="52" y="222"/>
                  </a:lnTo>
                  <a:lnTo>
                    <a:pt x="54" y="222"/>
                  </a:lnTo>
                  <a:lnTo>
                    <a:pt x="56" y="222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56" y="220"/>
                  </a:lnTo>
                  <a:lnTo>
                    <a:pt x="60" y="226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8" y="233"/>
                  </a:lnTo>
                  <a:lnTo>
                    <a:pt x="58" y="233"/>
                  </a:lnTo>
                  <a:lnTo>
                    <a:pt x="58" y="235"/>
                  </a:lnTo>
                  <a:lnTo>
                    <a:pt x="58" y="236"/>
                  </a:lnTo>
                  <a:lnTo>
                    <a:pt x="60" y="238"/>
                  </a:lnTo>
                  <a:lnTo>
                    <a:pt x="60" y="238"/>
                  </a:lnTo>
                  <a:lnTo>
                    <a:pt x="60" y="238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4" y="242"/>
                  </a:lnTo>
                  <a:lnTo>
                    <a:pt x="54" y="244"/>
                  </a:lnTo>
                  <a:lnTo>
                    <a:pt x="52" y="244"/>
                  </a:lnTo>
                  <a:lnTo>
                    <a:pt x="51" y="245"/>
                  </a:lnTo>
                  <a:lnTo>
                    <a:pt x="51" y="247"/>
                  </a:lnTo>
                  <a:lnTo>
                    <a:pt x="49" y="247"/>
                  </a:lnTo>
                  <a:lnTo>
                    <a:pt x="47" y="247"/>
                  </a:lnTo>
                  <a:lnTo>
                    <a:pt x="45" y="247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3" y="249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2" y="253"/>
                  </a:lnTo>
                  <a:lnTo>
                    <a:pt x="42" y="253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3" y="254"/>
                  </a:lnTo>
                  <a:lnTo>
                    <a:pt x="47" y="256"/>
                  </a:lnTo>
                  <a:lnTo>
                    <a:pt x="47" y="258"/>
                  </a:lnTo>
                  <a:lnTo>
                    <a:pt x="49" y="258"/>
                  </a:lnTo>
                  <a:lnTo>
                    <a:pt x="49" y="260"/>
                  </a:lnTo>
                  <a:lnTo>
                    <a:pt x="49" y="260"/>
                  </a:lnTo>
                  <a:lnTo>
                    <a:pt x="49" y="260"/>
                  </a:lnTo>
                  <a:lnTo>
                    <a:pt x="47" y="260"/>
                  </a:lnTo>
                  <a:lnTo>
                    <a:pt x="47" y="262"/>
                  </a:lnTo>
                  <a:lnTo>
                    <a:pt x="45" y="263"/>
                  </a:lnTo>
                  <a:lnTo>
                    <a:pt x="45" y="263"/>
                  </a:lnTo>
                  <a:lnTo>
                    <a:pt x="43" y="265"/>
                  </a:lnTo>
                  <a:lnTo>
                    <a:pt x="40" y="265"/>
                  </a:lnTo>
                  <a:lnTo>
                    <a:pt x="34" y="267"/>
                  </a:lnTo>
                  <a:lnTo>
                    <a:pt x="31" y="269"/>
                  </a:lnTo>
                  <a:lnTo>
                    <a:pt x="31" y="269"/>
                  </a:lnTo>
                  <a:lnTo>
                    <a:pt x="29" y="269"/>
                  </a:lnTo>
                  <a:lnTo>
                    <a:pt x="27" y="269"/>
                  </a:lnTo>
                  <a:lnTo>
                    <a:pt x="27" y="271"/>
                  </a:lnTo>
                  <a:lnTo>
                    <a:pt x="27" y="271"/>
                  </a:lnTo>
                  <a:lnTo>
                    <a:pt x="25" y="271"/>
                  </a:lnTo>
                  <a:lnTo>
                    <a:pt x="25" y="271"/>
                  </a:lnTo>
                  <a:lnTo>
                    <a:pt x="24" y="269"/>
                  </a:lnTo>
                  <a:lnTo>
                    <a:pt x="22" y="269"/>
                  </a:lnTo>
                  <a:lnTo>
                    <a:pt x="22" y="269"/>
                  </a:lnTo>
                  <a:lnTo>
                    <a:pt x="22" y="269"/>
                  </a:lnTo>
                  <a:lnTo>
                    <a:pt x="22" y="267"/>
                  </a:lnTo>
                  <a:lnTo>
                    <a:pt x="20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6" y="265"/>
                  </a:lnTo>
                  <a:lnTo>
                    <a:pt x="15" y="265"/>
                  </a:lnTo>
                  <a:lnTo>
                    <a:pt x="13" y="265"/>
                  </a:lnTo>
                  <a:lnTo>
                    <a:pt x="13" y="267"/>
                  </a:lnTo>
                  <a:lnTo>
                    <a:pt x="15" y="269"/>
                  </a:lnTo>
                  <a:lnTo>
                    <a:pt x="16" y="269"/>
                  </a:lnTo>
                  <a:lnTo>
                    <a:pt x="15" y="269"/>
                  </a:lnTo>
                  <a:lnTo>
                    <a:pt x="13" y="269"/>
                  </a:lnTo>
                  <a:lnTo>
                    <a:pt x="13" y="269"/>
                  </a:lnTo>
                  <a:lnTo>
                    <a:pt x="9" y="269"/>
                  </a:lnTo>
                  <a:lnTo>
                    <a:pt x="9" y="269"/>
                  </a:lnTo>
                  <a:lnTo>
                    <a:pt x="7" y="271"/>
                  </a:lnTo>
                  <a:lnTo>
                    <a:pt x="7" y="271"/>
                  </a:lnTo>
                  <a:lnTo>
                    <a:pt x="5" y="271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4"/>
                  </a:lnTo>
                  <a:lnTo>
                    <a:pt x="5" y="276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7" y="278"/>
                  </a:lnTo>
                  <a:lnTo>
                    <a:pt x="7" y="280"/>
                  </a:lnTo>
                  <a:lnTo>
                    <a:pt x="9" y="280"/>
                  </a:lnTo>
                  <a:lnTo>
                    <a:pt x="9" y="280"/>
                  </a:lnTo>
                  <a:lnTo>
                    <a:pt x="7" y="283"/>
                  </a:lnTo>
                  <a:lnTo>
                    <a:pt x="9" y="283"/>
                  </a:lnTo>
                  <a:lnTo>
                    <a:pt x="13" y="285"/>
                  </a:lnTo>
                  <a:lnTo>
                    <a:pt x="13" y="287"/>
                  </a:lnTo>
                  <a:lnTo>
                    <a:pt x="11" y="289"/>
                  </a:lnTo>
                  <a:lnTo>
                    <a:pt x="13" y="289"/>
                  </a:lnTo>
                  <a:lnTo>
                    <a:pt x="15" y="294"/>
                  </a:lnTo>
                  <a:lnTo>
                    <a:pt x="18" y="296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1"/>
                  </a:lnTo>
                  <a:lnTo>
                    <a:pt x="18" y="303"/>
                  </a:lnTo>
                  <a:lnTo>
                    <a:pt x="18" y="305"/>
                  </a:lnTo>
                  <a:lnTo>
                    <a:pt x="18" y="307"/>
                  </a:lnTo>
                  <a:lnTo>
                    <a:pt x="18" y="307"/>
                  </a:lnTo>
                  <a:lnTo>
                    <a:pt x="18" y="309"/>
                  </a:lnTo>
                  <a:lnTo>
                    <a:pt x="18" y="310"/>
                  </a:lnTo>
                  <a:lnTo>
                    <a:pt x="16" y="310"/>
                  </a:lnTo>
                  <a:lnTo>
                    <a:pt x="16" y="310"/>
                  </a:lnTo>
                  <a:lnTo>
                    <a:pt x="15" y="312"/>
                  </a:lnTo>
                  <a:lnTo>
                    <a:pt x="13" y="316"/>
                  </a:lnTo>
                  <a:lnTo>
                    <a:pt x="11" y="318"/>
                  </a:lnTo>
                  <a:lnTo>
                    <a:pt x="11" y="319"/>
                  </a:lnTo>
                  <a:lnTo>
                    <a:pt x="11" y="319"/>
                  </a:lnTo>
                  <a:lnTo>
                    <a:pt x="11" y="321"/>
                  </a:lnTo>
                  <a:lnTo>
                    <a:pt x="11" y="323"/>
                  </a:lnTo>
                  <a:lnTo>
                    <a:pt x="13" y="325"/>
                  </a:lnTo>
                  <a:lnTo>
                    <a:pt x="15" y="323"/>
                  </a:lnTo>
                  <a:lnTo>
                    <a:pt x="16" y="323"/>
                  </a:lnTo>
                  <a:lnTo>
                    <a:pt x="15" y="323"/>
                  </a:lnTo>
                  <a:lnTo>
                    <a:pt x="15" y="323"/>
                  </a:lnTo>
                  <a:lnTo>
                    <a:pt x="15" y="325"/>
                  </a:lnTo>
                  <a:lnTo>
                    <a:pt x="15" y="327"/>
                  </a:lnTo>
                  <a:lnTo>
                    <a:pt x="11" y="327"/>
                  </a:lnTo>
                  <a:lnTo>
                    <a:pt x="7" y="330"/>
                  </a:lnTo>
                  <a:lnTo>
                    <a:pt x="5" y="332"/>
                  </a:lnTo>
                  <a:lnTo>
                    <a:pt x="5" y="334"/>
                  </a:lnTo>
                  <a:lnTo>
                    <a:pt x="4" y="334"/>
                  </a:lnTo>
                  <a:lnTo>
                    <a:pt x="4" y="334"/>
                  </a:lnTo>
                  <a:lnTo>
                    <a:pt x="4" y="334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0" y="334"/>
                  </a:lnTo>
                  <a:lnTo>
                    <a:pt x="0" y="336"/>
                  </a:lnTo>
                  <a:lnTo>
                    <a:pt x="2" y="337"/>
                  </a:lnTo>
                  <a:lnTo>
                    <a:pt x="2" y="339"/>
                  </a:lnTo>
                  <a:lnTo>
                    <a:pt x="2" y="339"/>
                  </a:lnTo>
                  <a:lnTo>
                    <a:pt x="4" y="339"/>
                  </a:lnTo>
                  <a:lnTo>
                    <a:pt x="4" y="339"/>
                  </a:lnTo>
                  <a:lnTo>
                    <a:pt x="5" y="339"/>
                  </a:lnTo>
                  <a:lnTo>
                    <a:pt x="5" y="339"/>
                  </a:lnTo>
                  <a:lnTo>
                    <a:pt x="7" y="339"/>
                  </a:lnTo>
                  <a:lnTo>
                    <a:pt x="7" y="339"/>
                  </a:lnTo>
                  <a:lnTo>
                    <a:pt x="7" y="339"/>
                  </a:lnTo>
                  <a:lnTo>
                    <a:pt x="7" y="341"/>
                  </a:lnTo>
                  <a:lnTo>
                    <a:pt x="7" y="341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9" y="343"/>
                  </a:lnTo>
                  <a:lnTo>
                    <a:pt x="11" y="345"/>
                  </a:lnTo>
                  <a:lnTo>
                    <a:pt x="11" y="345"/>
                  </a:lnTo>
                  <a:lnTo>
                    <a:pt x="11" y="345"/>
                  </a:lnTo>
                  <a:lnTo>
                    <a:pt x="11" y="345"/>
                  </a:lnTo>
                  <a:lnTo>
                    <a:pt x="11" y="347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9" y="350"/>
                  </a:lnTo>
                  <a:lnTo>
                    <a:pt x="9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2"/>
                  </a:lnTo>
                  <a:lnTo>
                    <a:pt x="7" y="352"/>
                  </a:lnTo>
                  <a:lnTo>
                    <a:pt x="7" y="352"/>
                  </a:lnTo>
                  <a:lnTo>
                    <a:pt x="7" y="354"/>
                  </a:lnTo>
                  <a:lnTo>
                    <a:pt x="5" y="354"/>
                  </a:lnTo>
                  <a:lnTo>
                    <a:pt x="5" y="354"/>
                  </a:lnTo>
                  <a:lnTo>
                    <a:pt x="7" y="356"/>
                  </a:lnTo>
                  <a:lnTo>
                    <a:pt x="7" y="356"/>
                  </a:lnTo>
                  <a:lnTo>
                    <a:pt x="7" y="356"/>
                  </a:lnTo>
                  <a:lnTo>
                    <a:pt x="7" y="357"/>
                  </a:lnTo>
                  <a:lnTo>
                    <a:pt x="7" y="357"/>
                  </a:lnTo>
                  <a:lnTo>
                    <a:pt x="7" y="357"/>
                  </a:lnTo>
                  <a:lnTo>
                    <a:pt x="7" y="357"/>
                  </a:lnTo>
                  <a:lnTo>
                    <a:pt x="7" y="357"/>
                  </a:lnTo>
                  <a:lnTo>
                    <a:pt x="7" y="357"/>
                  </a:lnTo>
                  <a:lnTo>
                    <a:pt x="9" y="359"/>
                  </a:lnTo>
                  <a:lnTo>
                    <a:pt x="7" y="359"/>
                  </a:lnTo>
                  <a:lnTo>
                    <a:pt x="9" y="359"/>
                  </a:lnTo>
                  <a:lnTo>
                    <a:pt x="9" y="361"/>
                  </a:lnTo>
                  <a:lnTo>
                    <a:pt x="11" y="359"/>
                  </a:lnTo>
                  <a:lnTo>
                    <a:pt x="11" y="359"/>
                  </a:lnTo>
                  <a:lnTo>
                    <a:pt x="13" y="361"/>
                  </a:lnTo>
                  <a:lnTo>
                    <a:pt x="16" y="365"/>
                  </a:lnTo>
                  <a:lnTo>
                    <a:pt x="15" y="366"/>
                  </a:lnTo>
                  <a:lnTo>
                    <a:pt x="16" y="366"/>
                  </a:lnTo>
                  <a:lnTo>
                    <a:pt x="16" y="368"/>
                  </a:lnTo>
                  <a:lnTo>
                    <a:pt x="20" y="368"/>
                  </a:lnTo>
                  <a:lnTo>
                    <a:pt x="20" y="368"/>
                  </a:lnTo>
                  <a:lnTo>
                    <a:pt x="20" y="368"/>
                  </a:lnTo>
                  <a:lnTo>
                    <a:pt x="20" y="370"/>
                  </a:lnTo>
                  <a:lnTo>
                    <a:pt x="20" y="370"/>
                  </a:lnTo>
                  <a:lnTo>
                    <a:pt x="18" y="370"/>
                  </a:lnTo>
                  <a:lnTo>
                    <a:pt x="16" y="372"/>
                  </a:lnTo>
                  <a:lnTo>
                    <a:pt x="16" y="374"/>
                  </a:lnTo>
                  <a:lnTo>
                    <a:pt x="16" y="374"/>
                  </a:lnTo>
                  <a:lnTo>
                    <a:pt x="16" y="375"/>
                  </a:lnTo>
                  <a:lnTo>
                    <a:pt x="16" y="375"/>
                  </a:lnTo>
                  <a:lnTo>
                    <a:pt x="16" y="375"/>
                  </a:lnTo>
                  <a:lnTo>
                    <a:pt x="16" y="375"/>
                  </a:lnTo>
                  <a:lnTo>
                    <a:pt x="16" y="375"/>
                  </a:lnTo>
                  <a:lnTo>
                    <a:pt x="16" y="377"/>
                  </a:lnTo>
                  <a:lnTo>
                    <a:pt x="18" y="377"/>
                  </a:lnTo>
                  <a:lnTo>
                    <a:pt x="18" y="377"/>
                  </a:lnTo>
                  <a:lnTo>
                    <a:pt x="18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2" y="377"/>
                  </a:lnTo>
                  <a:lnTo>
                    <a:pt x="24" y="377"/>
                  </a:lnTo>
                  <a:lnTo>
                    <a:pt x="25" y="377"/>
                  </a:lnTo>
                  <a:lnTo>
                    <a:pt x="24" y="379"/>
                  </a:lnTo>
                  <a:lnTo>
                    <a:pt x="24" y="379"/>
                  </a:lnTo>
                  <a:lnTo>
                    <a:pt x="24" y="379"/>
                  </a:lnTo>
                  <a:lnTo>
                    <a:pt x="24" y="381"/>
                  </a:lnTo>
                  <a:lnTo>
                    <a:pt x="25" y="381"/>
                  </a:lnTo>
                  <a:lnTo>
                    <a:pt x="25" y="381"/>
                  </a:lnTo>
                  <a:lnTo>
                    <a:pt x="25" y="381"/>
                  </a:lnTo>
                  <a:lnTo>
                    <a:pt x="25" y="383"/>
                  </a:lnTo>
                  <a:lnTo>
                    <a:pt x="25" y="384"/>
                  </a:lnTo>
                  <a:lnTo>
                    <a:pt x="25" y="386"/>
                  </a:lnTo>
                  <a:lnTo>
                    <a:pt x="25" y="386"/>
                  </a:lnTo>
                  <a:lnTo>
                    <a:pt x="27" y="390"/>
                  </a:lnTo>
                  <a:lnTo>
                    <a:pt x="27" y="390"/>
                  </a:lnTo>
                  <a:lnTo>
                    <a:pt x="27" y="392"/>
                  </a:lnTo>
                  <a:lnTo>
                    <a:pt x="25" y="392"/>
                  </a:lnTo>
                  <a:lnTo>
                    <a:pt x="24" y="392"/>
                  </a:lnTo>
                  <a:lnTo>
                    <a:pt x="24" y="392"/>
                  </a:lnTo>
                  <a:lnTo>
                    <a:pt x="24" y="392"/>
                  </a:lnTo>
                  <a:lnTo>
                    <a:pt x="24" y="392"/>
                  </a:lnTo>
                  <a:lnTo>
                    <a:pt x="22" y="392"/>
                  </a:lnTo>
                  <a:lnTo>
                    <a:pt x="22" y="392"/>
                  </a:lnTo>
                  <a:lnTo>
                    <a:pt x="22" y="393"/>
                  </a:lnTo>
                  <a:lnTo>
                    <a:pt x="22" y="393"/>
                  </a:lnTo>
                  <a:lnTo>
                    <a:pt x="22" y="395"/>
                  </a:lnTo>
                  <a:lnTo>
                    <a:pt x="20" y="395"/>
                  </a:lnTo>
                  <a:lnTo>
                    <a:pt x="18" y="395"/>
                  </a:lnTo>
                  <a:lnTo>
                    <a:pt x="16" y="397"/>
                  </a:lnTo>
                  <a:lnTo>
                    <a:pt x="16" y="397"/>
                  </a:lnTo>
                  <a:lnTo>
                    <a:pt x="16" y="399"/>
                  </a:lnTo>
                  <a:lnTo>
                    <a:pt x="15" y="399"/>
                  </a:lnTo>
                  <a:lnTo>
                    <a:pt x="16" y="399"/>
                  </a:lnTo>
                  <a:lnTo>
                    <a:pt x="16" y="401"/>
                  </a:lnTo>
                  <a:lnTo>
                    <a:pt x="16" y="401"/>
                  </a:lnTo>
                  <a:lnTo>
                    <a:pt x="16" y="403"/>
                  </a:lnTo>
                  <a:lnTo>
                    <a:pt x="15" y="403"/>
                  </a:lnTo>
                  <a:lnTo>
                    <a:pt x="15" y="403"/>
                  </a:lnTo>
                  <a:lnTo>
                    <a:pt x="15" y="403"/>
                  </a:lnTo>
                  <a:lnTo>
                    <a:pt x="15" y="403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5" y="404"/>
                  </a:lnTo>
                  <a:lnTo>
                    <a:pt x="15" y="404"/>
                  </a:lnTo>
                  <a:lnTo>
                    <a:pt x="15" y="406"/>
                  </a:lnTo>
                  <a:lnTo>
                    <a:pt x="13" y="406"/>
                  </a:lnTo>
                  <a:lnTo>
                    <a:pt x="13" y="408"/>
                  </a:lnTo>
                  <a:lnTo>
                    <a:pt x="13" y="408"/>
                  </a:lnTo>
                  <a:lnTo>
                    <a:pt x="13" y="410"/>
                  </a:lnTo>
                  <a:lnTo>
                    <a:pt x="13" y="410"/>
                  </a:lnTo>
                  <a:lnTo>
                    <a:pt x="13" y="410"/>
                  </a:lnTo>
                  <a:lnTo>
                    <a:pt x="13" y="410"/>
                  </a:lnTo>
                  <a:lnTo>
                    <a:pt x="13" y="412"/>
                  </a:lnTo>
                  <a:lnTo>
                    <a:pt x="13" y="412"/>
                  </a:lnTo>
                  <a:lnTo>
                    <a:pt x="13" y="412"/>
                  </a:lnTo>
                  <a:lnTo>
                    <a:pt x="13" y="413"/>
                  </a:lnTo>
                  <a:lnTo>
                    <a:pt x="15" y="415"/>
                  </a:lnTo>
                  <a:lnTo>
                    <a:pt x="13" y="415"/>
                  </a:lnTo>
                  <a:lnTo>
                    <a:pt x="15" y="415"/>
                  </a:lnTo>
                  <a:lnTo>
                    <a:pt x="15" y="417"/>
                  </a:lnTo>
                  <a:lnTo>
                    <a:pt x="15" y="419"/>
                  </a:lnTo>
                  <a:lnTo>
                    <a:pt x="16" y="421"/>
                  </a:lnTo>
                  <a:lnTo>
                    <a:pt x="16" y="419"/>
                  </a:lnTo>
                  <a:lnTo>
                    <a:pt x="16" y="421"/>
                  </a:lnTo>
                  <a:lnTo>
                    <a:pt x="18" y="424"/>
                  </a:lnTo>
                  <a:lnTo>
                    <a:pt x="20" y="424"/>
                  </a:lnTo>
                  <a:lnTo>
                    <a:pt x="22" y="426"/>
                  </a:lnTo>
                  <a:lnTo>
                    <a:pt x="22" y="426"/>
                  </a:lnTo>
                  <a:lnTo>
                    <a:pt x="22" y="426"/>
                  </a:lnTo>
                  <a:lnTo>
                    <a:pt x="22" y="428"/>
                  </a:lnTo>
                  <a:lnTo>
                    <a:pt x="24" y="428"/>
                  </a:lnTo>
                  <a:lnTo>
                    <a:pt x="24" y="428"/>
                  </a:lnTo>
                  <a:lnTo>
                    <a:pt x="24" y="428"/>
                  </a:lnTo>
                  <a:lnTo>
                    <a:pt x="24" y="428"/>
                  </a:lnTo>
                  <a:lnTo>
                    <a:pt x="24" y="428"/>
                  </a:lnTo>
                  <a:lnTo>
                    <a:pt x="25" y="428"/>
                  </a:lnTo>
                  <a:lnTo>
                    <a:pt x="27" y="430"/>
                  </a:lnTo>
                  <a:lnTo>
                    <a:pt x="27" y="430"/>
                  </a:lnTo>
                  <a:lnTo>
                    <a:pt x="29" y="431"/>
                  </a:lnTo>
                  <a:lnTo>
                    <a:pt x="31" y="431"/>
                  </a:lnTo>
                  <a:lnTo>
                    <a:pt x="33" y="431"/>
                  </a:lnTo>
                  <a:lnTo>
                    <a:pt x="33" y="431"/>
                  </a:lnTo>
                  <a:lnTo>
                    <a:pt x="33" y="431"/>
                  </a:lnTo>
                  <a:lnTo>
                    <a:pt x="33" y="431"/>
                  </a:lnTo>
                  <a:lnTo>
                    <a:pt x="33" y="431"/>
                  </a:lnTo>
                  <a:lnTo>
                    <a:pt x="33" y="431"/>
                  </a:lnTo>
                  <a:lnTo>
                    <a:pt x="33" y="431"/>
                  </a:lnTo>
                  <a:lnTo>
                    <a:pt x="33" y="433"/>
                  </a:lnTo>
                  <a:lnTo>
                    <a:pt x="33" y="435"/>
                  </a:lnTo>
                  <a:lnTo>
                    <a:pt x="33" y="435"/>
                  </a:lnTo>
                  <a:lnTo>
                    <a:pt x="33" y="435"/>
                  </a:lnTo>
                  <a:lnTo>
                    <a:pt x="33" y="435"/>
                  </a:lnTo>
                  <a:lnTo>
                    <a:pt x="33" y="437"/>
                  </a:lnTo>
                  <a:lnTo>
                    <a:pt x="33" y="437"/>
                  </a:lnTo>
                  <a:lnTo>
                    <a:pt x="33" y="437"/>
                  </a:lnTo>
                  <a:lnTo>
                    <a:pt x="33" y="439"/>
                  </a:lnTo>
                  <a:lnTo>
                    <a:pt x="33" y="437"/>
                  </a:lnTo>
                  <a:lnTo>
                    <a:pt x="33" y="439"/>
                  </a:lnTo>
                  <a:lnTo>
                    <a:pt x="33" y="439"/>
                  </a:lnTo>
                  <a:lnTo>
                    <a:pt x="33" y="439"/>
                  </a:lnTo>
                  <a:lnTo>
                    <a:pt x="33" y="439"/>
                  </a:lnTo>
                  <a:lnTo>
                    <a:pt x="29" y="440"/>
                  </a:lnTo>
                  <a:lnTo>
                    <a:pt x="27" y="442"/>
                  </a:lnTo>
                  <a:lnTo>
                    <a:pt x="27" y="442"/>
                  </a:lnTo>
                  <a:lnTo>
                    <a:pt x="29" y="442"/>
                  </a:lnTo>
                  <a:lnTo>
                    <a:pt x="29" y="442"/>
                  </a:lnTo>
                  <a:lnTo>
                    <a:pt x="29" y="444"/>
                  </a:lnTo>
                  <a:lnTo>
                    <a:pt x="29" y="444"/>
                  </a:lnTo>
                  <a:lnTo>
                    <a:pt x="29" y="444"/>
                  </a:lnTo>
                  <a:lnTo>
                    <a:pt x="27" y="446"/>
                  </a:lnTo>
                  <a:lnTo>
                    <a:pt x="25" y="448"/>
                  </a:lnTo>
                  <a:lnTo>
                    <a:pt x="25" y="448"/>
                  </a:lnTo>
                  <a:lnTo>
                    <a:pt x="25" y="449"/>
                  </a:lnTo>
                  <a:lnTo>
                    <a:pt x="25" y="451"/>
                  </a:lnTo>
                  <a:lnTo>
                    <a:pt x="25" y="453"/>
                  </a:lnTo>
                  <a:lnTo>
                    <a:pt x="25" y="455"/>
                  </a:lnTo>
                  <a:lnTo>
                    <a:pt x="25" y="457"/>
                  </a:lnTo>
                  <a:lnTo>
                    <a:pt x="25" y="457"/>
                  </a:lnTo>
                  <a:lnTo>
                    <a:pt x="25" y="459"/>
                  </a:lnTo>
                  <a:lnTo>
                    <a:pt x="25" y="457"/>
                  </a:lnTo>
                  <a:lnTo>
                    <a:pt x="27" y="457"/>
                  </a:lnTo>
                  <a:lnTo>
                    <a:pt x="27" y="457"/>
                  </a:lnTo>
                  <a:lnTo>
                    <a:pt x="27" y="457"/>
                  </a:lnTo>
                  <a:lnTo>
                    <a:pt x="33" y="459"/>
                  </a:lnTo>
                  <a:lnTo>
                    <a:pt x="33" y="460"/>
                  </a:lnTo>
                  <a:lnTo>
                    <a:pt x="34" y="460"/>
                  </a:lnTo>
                  <a:lnTo>
                    <a:pt x="34" y="460"/>
                  </a:lnTo>
                  <a:lnTo>
                    <a:pt x="34" y="462"/>
                  </a:lnTo>
                  <a:lnTo>
                    <a:pt x="34" y="462"/>
                  </a:lnTo>
                  <a:lnTo>
                    <a:pt x="34" y="462"/>
                  </a:lnTo>
                  <a:lnTo>
                    <a:pt x="36" y="464"/>
                  </a:lnTo>
                  <a:lnTo>
                    <a:pt x="36" y="466"/>
                  </a:lnTo>
                  <a:lnTo>
                    <a:pt x="36" y="466"/>
                  </a:lnTo>
                  <a:lnTo>
                    <a:pt x="36" y="466"/>
                  </a:lnTo>
                  <a:lnTo>
                    <a:pt x="34" y="466"/>
                  </a:lnTo>
                  <a:lnTo>
                    <a:pt x="36" y="468"/>
                  </a:lnTo>
                  <a:lnTo>
                    <a:pt x="36" y="469"/>
                  </a:lnTo>
                  <a:lnTo>
                    <a:pt x="40" y="471"/>
                  </a:lnTo>
                  <a:lnTo>
                    <a:pt x="40" y="471"/>
                  </a:lnTo>
                  <a:lnTo>
                    <a:pt x="40" y="473"/>
                  </a:lnTo>
                  <a:lnTo>
                    <a:pt x="40" y="473"/>
                  </a:lnTo>
                  <a:lnTo>
                    <a:pt x="40" y="473"/>
                  </a:lnTo>
                  <a:lnTo>
                    <a:pt x="40" y="473"/>
                  </a:lnTo>
                  <a:lnTo>
                    <a:pt x="42" y="473"/>
                  </a:lnTo>
                  <a:lnTo>
                    <a:pt x="42" y="475"/>
                  </a:lnTo>
                  <a:lnTo>
                    <a:pt x="42" y="475"/>
                  </a:lnTo>
                  <a:lnTo>
                    <a:pt x="42" y="477"/>
                  </a:lnTo>
                  <a:lnTo>
                    <a:pt x="42" y="477"/>
                  </a:lnTo>
                  <a:lnTo>
                    <a:pt x="42" y="477"/>
                  </a:lnTo>
                  <a:lnTo>
                    <a:pt x="42" y="477"/>
                  </a:lnTo>
                  <a:lnTo>
                    <a:pt x="43" y="477"/>
                  </a:lnTo>
                  <a:lnTo>
                    <a:pt x="43" y="477"/>
                  </a:lnTo>
                  <a:lnTo>
                    <a:pt x="43" y="477"/>
                  </a:lnTo>
                  <a:lnTo>
                    <a:pt x="43" y="478"/>
                  </a:lnTo>
                  <a:lnTo>
                    <a:pt x="43" y="478"/>
                  </a:lnTo>
                  <a:lnTo>
                    <a:pt x="43" y="480"/>
                  </a:lnTo>
                  <a:lnTo>
                    <a:pt x="43" y="480"/>
                  </a:lnTo>
                  <a:lnTo>
                    <a:pt x="47" y="480"/>
                  </a:lnTo>
                  <a:lnTo>
                    <a:pt x="49" y="482"/>
                  </a:lnTo>
                  <a:lnTo>
                    <a:pt x="49" y="482"/>
                  </a:lnTo>
                  <a:lnTo>
                    <a:pt x="49" y="480"/>
                  </a:lnTo>
                  <a:lnTo>
                    <a:pt x="49" y="478"/>
                  </a:lnTo>
                  <a:lnTo>
                    <a:pt x="49" y="478"/>
                  </a:lnTo>
                  <a:lnTo>
                    <a:pt x="49" y="477"/>
                  </a:lnTo>
                  <a:lnTo>
                    <a:pt x="51" y="477"/>
                  </a:lnTo>
                  <a:lnTo>
                    <a:pt x="52" y="477"/>
                  </a:lnTo>
                  <a:lnTo>
                    <a:pt x="54" y="477"/>
                  </a:lnTo>
                  <a:lnTo>
                    <a:pt x="54" y="477"/>
                  </a:lnTo>
                  <a:lnTo>
                    <a:pt x="58" y="478"/>
                  </a:lnTo>
                  <a:lnTo>
                    <a:pt x="58" y="478"/>
                  </a:lnTo>
                  <a:lnTo>
                    <a:pt x="58" y="482"/>
                  </a:lnTo>
                  <a:lnTo>
                    <a:pt x="58" y="484"/>
                  </a:lnTo>
                  <a:lnTo>
                    <a:pt x="60" y="484"/>
                  </a:lnTo>
                  <a:lnTo>
                    <a:pt x="61" y="484"/>
                  </a:lnTo>
                  <a:lnTo>
                    <a:pt x="61" y="482"/>
                  </a:lnTo>
                  <a:lnTo>
                    <a:pt x="61" y="482"/>
                  </a:lnTo>
                  <a:lnTo>
                    <a:pt x="61" y="482"/>
                  </a:lnTo>
                  <a:lnTo>
                    <a:pt x="61" y="482"/>
                  </a:lnTo>
                  <a:lnTo>
                    <a:pt x="61" y="482"/>
                  </a:lnTo>
                  <a:lnTo>
                    <a:pt x="63" y="484"/>
                  </a:lnTo>
                  <a:lnTo>
                    <a:pt x="65" y="484"/>
                  </a:lnTo>
                  <a:lnTo>
                    <a:pt x="65" y="484"/>
                  </a:lnTo>
                  <a:lnTo>
                    <a:pt x="71" y="484"/>
                  </a:lnTo>
                  <a:lnTo>
                    <a:pt x="71" y="484"/>
                  </a:lnTo>
                  <a:lnTo>
                    <a:pt x="72" y="484"/>
                  </a:lnTo>
                  <a:lnTo>
                    <a:pt x="72" y="484"/>
                  </a:lnTo>
                  <a:lnTo>
                    <a:pt x="72" y="484"/>
                  </a:lnTo>
                  <a:lnTo>
                    <a:pt x="72" y="482"/>
                  </a:lnTo>
                  <a:lnTo>
                    <a:pt x="72" y="482"/>
                  </a:lnTo>
                  <a:lnTo>
                    <a:pt x="74" y="482"/>
                  </a:lnTo>
                  <a:lnTo>
                    <a:pt x="74" y="482"/>
                  </a:lnTo>
                  <a:lnTo>
                    <a:pt x="74" y="482"/>
                  </a:lnTo>
                  <a:lnTo>
                    <a:pt x="76" y="480"/>
                  </a:lnTo>
                  <a:lnTo>
                    <a:pt x="76" y="480"/>
                  </a:lnTo>
                  <a:lnTo>
                    <a:pt x="76" y="480"/>
                  </a:lnTo>
                  <a:lnTo>
                    <a:pt x="76" y="480"/>
                  </a:lnTo>
                  <a:lnTo>
                    <a:pt x="78" y="480"/>
                  </a:lnTo>
                  <a:lnTo>
                    <a:pt x="78" y="480"/>
                  </a:lnTo>
                  <a:lnTo>
                    <a:pt x="78" y="480"/>
                  </a:lnTo>
                  <a:lnTo>
                    <a:pt x="81" y="480"/>
                  </a:lnTo>
                  <a:lnTo>
                    <a:pt x="81" y="480"/>
                  </a:lnTo>
                  <a:lnTo>
                    <a:pt x="81" y="482"/>
                  </a:lnTo>
                  <a:lnTo>
                    <a:pt x="81" y="482"/>
                  </a:lnTo>
                  <a:lnTo>
                    <a:pt x="81" y="482"/>
                  </a:lnTo>
                  <a:lnTo>
                    <a:pt x="81" y="482"/>
                  </a:lnTo>
                  <a:lnTo>
                    <a:pt x="81" y="484"/>
                  </a:lnTo>
                  <a:lnTo>
                    <a:pt x="83" y="486"/>
                  </a:lnTo>
                  <a:lnTo>
                    <a:pt x="83" y="486"/>
                  </a:lnTo>
                  <a:lnTo>
                    <a:pt x="85" y="487"/>
                  </a:lnTo>
                  <a:lnTo>
                    <a:pt x="87" y="487"/>
                  </a:lnTo>
                  <a:lnTo>
                    <a:pt x="89" y="487"/>
                  </a:lnTo>
                  <a:lnTo>
                    <a:pt x="89" y="487"/>
                  </a:lnTo>
                  <a:lnTo>
                    <a:pt x="89" y="489"/>
                  </a:lnTo>
                  <a:lnTo>
                    <a:pt x="90" y="489"/>
                  </a:lnTo>
                  <a:lnTo>
                    <a:pt x="90" y="489"/>
                  </a:lnTo>
                  <a:lnTo>
                    <a:pt x="90" y="489"/>
                  </a:lnTo>
                  <a:lnTo>
                    <a:pt x="90" y="489"/>
                  </a:lnTo>
                  <a:lnTo>
                    <a:pt x="92" y="489"/>
                  </a:lnTo>
                  <a:lnTo>
                    <a:pt x="92" y="489"/>
                  </a:lnTo>
                  <a:lnTo>
                    <a:pt x="92" y="489"/>
                  </a:lnTo>
                  <a:lnTo>
                    <a:pt x="94" y="489"/>
                  </a:lnTo>
                  <a:lnTo>
                    <a:pt x="94" y="489"/>
                  </a:lnTo>
                  <a:lnTo>
                    <a:pt x="94" y="489"/>
                  </a:lnTo>
                  <a:lnTo>
                    <a:pt x="96" y="489"/>
                  </a:lnTo>
                  <a:lnTo>
                    <a:pt x="96" y="489"/>
                  </a:lnTo>
                  <a:lnTo>
                    <a:pt x="101" y="489"/>
                  </a:lnTo>
                  <a:lnTo>
                    <a:pt x="103" y="489"/>
                  </a:lnTo>
                  <a:lnTo>
                    <a:pt x="105" y="489"/>
                  </a:lnTo>
                  <a:lnTo>
                    <a:pt x="112" y="495"/>
                  </a:lnTo>
                  <a:lnTo>
                    <a:pt x="117" y="495"/>
                  </a:lnTo>
                  <a:lnTo>
                    <a:pt x="117" y="496"/>
                  </a:lnTo>
                  <a:lnTo>
                    <a:pt x="117" y="496"/>
                  </a:lnTo>
                  <a:lnTo>
                    <a:pt x="117" y="496"/>
                  </a:lnTo>
                  <a:lnTo>
                    <a:pt x="116" y="500"/>
                  </a:lnTo>
                  <a:lnTo>
                    <a:pt x="112" y="505"/>
                  </a:lnTo>
                  <a:lnTo>
                    <a:pt x="112" y="507"/>
                  </a:lnTo>
                  <a:lnTo>
                    <a:pt x="112" y="507"/>
                  </a:lnTo>
                  <a:lnTo>
                    <a:pt x="110" y="509"/>
                  </a:lnTo>
                  <a:lnTo>
                    <a:pt x="110" y="509"/>
                  </a:lnTo>
                  <a:lnTo>
                    <a:pt x="110" y="509"/>
                  </a:lnTo>
                  <a:lnTo>
                    <a:pt x="110" y="509"/>
                  </a:lnTo>
                  <a:lnTo>
                    <a:pt x="108" y="509"/>
                  </a:lnTo>
                  <a:lnTo>
                    <a:pt x="108" y="509"/>
                  </a:lnTo>
                  <a:lnTo>
                    <a:pt x="108" y="511"/>
                  </a:lnTo>
                  <a:lnTo>
                    <a:pt x="108" y="511"/>
                  </a:lnTo>
                  <a:lnTo>
                    <a:pt x="108" y="511"/>
                  </a:lnTo>
                  <a:lnTo>
                    <a:pt x="107" y="511"/>
                  </a:lnTo>
                  <a:lnTo>
                    <a:pt x="107" y="511"/>
                  </a:lnTo>
                  <a:lnTo>
                    <a:pt x="107" y="511"/>
                  </a:lnTo>
                  <a:lnTo>
                    <a:pt x="107" y="513"/>
                  </a:lnTo>
                  <a:lnTo>
                    <a:pt x="107" y="513"/>
                  </a:lnTo>
                  <a:lnTo>
                    <a:pt x="105" y="515"/>
                  </a:lnTo>
                  <a:lnTo>
                    <a:pt x="105" y="515"/>
                  </a:lnTo>
                  <a:lnTo>
                    <a:pt x="105" y="515"/>
                  </a:lnTo>
                  <a:lnTo>
                    <a:pt x="103" y="516"/>
                  </a:lnTo>
                  <a:lnTo>
                    <a:pt x="101" y="518"/>
                  </a:lnTo>
                  <a:lnTo>
                    <a:pt x="101" y="518"/>
                  </a:lnTo>
                  <a:lnTo>
                    <a:pt x="101" y="518"/>
                  </a:lnTo>
                  <a:lnTo>
                    <a:pt x="98" y="522"/>
                  </a:lnTo>
                  <a:lnTo>
                    <a:pt x="98" y="524"/>
                  </a:lnTo>
                  <a:lnTo>
                    <a:pt x="98" y="527"/>
                  </a:lnTo>
                  <a:lnTo>
                    <a:pt x="98" y="529"/>
                  </a:lnTo>
                  <a:lnTo>
                    <a:pt x="98" y="529"/>
                  </a:lnTo>
                  <a:lnTo>
                    <a:pt x="98" y="529"/>
                  </a:lnTo>
                  <a:lnTo>
                    <a:pt x="96" y="531"/>
                  </a:lnTo>
                  <a:lnTo>
                    <a:pt x="96" y="531"/>
                  </a:lnTo>
                  <a:lnTo>
                    <a:pt x="96" y="533"/>
                  </a:lnTo>
                  <a:lnTo>
                    <a:pt x="96" y="533"/>
                  </a:lnTo>
                  <a:lnTo>
                    <a:pt x="96" y="534"/>
                  </a:lnTo>
                  <a:lnTo>
                    <a:pt x="96" y="534"/>
                  </a:lnTo>
                  <a:lnTo>
                    <a:pt x="96" y="536"/>
                  </a:lnTo>
                  <a:lnTo>
                    <a:pt x="94" y="538"/>
                  </a:lnTo>
                  <a:lnTo>
                    <a:pt x="94" y="538"/>
                  </a:lnTo>
                  <a:lnTo>
                    <a:pt x="94" y="540"/>
                  </a:lnTo>
                  <a:lnTo>
                    <a:pt x="96" y="540"/>
                  </a:lnTo>
                  <a:lnTo>
                    <a:pt x="96" y="542"/>
                  </a:lnTo>
                  <a:lnTo>
                    <a:pt x="96" y="542"/>
                  </a:lnTo>
                  <a:lnTo>
                    <a:pt x="94" y="543"/>
                  </a:lnTo>
                  <a:lnTo>
                    <a:pt x="94" y="543"/>
                  </a:lnTo>
                  <a:lnTo>
                    <a:pt x="92" y="545"/>
                  </a:lnTo>
                  <a:lnTo>
                    <a:pt x="92" y="545"/>
                  </a:lnTo>
                  <a:lnTo>
                    <a:pt x="92" y="547"/>
                  </a:lnTo>
                  <a:lnTo>
                    <a:pt x="92" y="549"/>
                  </a:lnTo>
                  <a:lnTo>
                    <a:pt x="92" y="551"/>
                  </a:lnTo>
                  <a:lnTo>
                    <a:pt x="89" y="554"/>
                  </a:lnTo>
                  <a:lnTo>
                    <a:pt x="89" y="556"/>
                  </a:lnTo>
                  <a:lnTo>
                    <a:pt x="89" y="556"/>
                  </a:lnTo>
                  <a:lnTo>
                    <a:pt x="89" y="556"/>
                  </a:lnTo>
                  <a:lnTo>
                    <a:pt x="87" y="558"/>
                  </a:lnTo>
                  <a:lnTo>
                    <a:pt x="87" y="558"/>
                  </a:lnTo>
                  <a:lnTo>
                    <a:pt x="87" y="560"/>
                  </a:lnTo>
                  <a:lnTo>
                    <a:pt x="87" y="561"/>
                  </a:lnTo>
                  <a:lnTo>
                    <a:pt x="87" y="563"/>
                  </a:lnTo>
                  <a:lnTo>
                    <a:pt x="89" y="567"/>
                  </a:lnTo>
                  <a:lnTo>
                    <a:pt x="89" y="571"/>
                  </a:lnTo>
                  <a:lnTo>
                    <a:pt x="89" y="571"/>
                  </a:lnTo>
                  <a:lnTo>
                    <a:pt x="87" y="572"/>
                  </a:lnTo>
                  <a:lnTo>
                    <a:pt x="87" y="572"/>
                  </a:lnTo>
                  <a:lnTo>
                    <a:pt x="87" y="574"/>
                  </a:lnTo>
                  <a:lnTo>
                    <a:pt x="87" y="574"/>
                  </a:lnTo>
                  <a:lnTo>
                    <a:pt x="87" y="576"/>
                  </a:lnTo>
                  <a:lnTo>
                    <a:pt x="87" y="576"/>
                  </a:lnTo>
                  <a:lnTo>
                    <a:pt x="85" y="576"/>
                  </a:lnTo>
                  <a:lnTo>
                    <a:pt x="85" y="576"/>
                  </a:lnTo>
                  <a:lnTo>
                    <a:pt x="85" y="576"/>
                  </a:lnTo>
                  <a:lnTo>
                    <a:pt x="85" y="578"/>
                  </a:lnTo>
                  <a:lnTo>
                    <a:pt x="85" y="578"/>
                  </a:lnTo>
                  <a:lnTo>
                    <a:pt x="85" y="578"/>
                  </a:lnTo>
                  <a:lnTo>
                    <a:pt x="87" y="580"/>
                  </a:lnTo>
                  <a:lnTo>
                    <a:pt x="85" y="580"/>
                  </a:lnTo>
                  <a:lnTo>
                    <a:pt x="85" y="580"/>
                  </a:lnTo>
                  <a:lnTo>
                    <a:pt x="85" y="581"/>
                  </a:lnTo>
                  <a:lnTo>
                    <a:pt x="85" y="583"/>
                  </a:lnTo>
                  <a:lnTo>
                    <a:pt x="83" y="583"/>
                  </a:lnTo>
                  <a:lnTo>
                    <a:pt x="85" y="587"/>
                  </a:lnTo>
                  <a:lnTo>
                    <a:pt x="85" y="589"/>
                  </a:lnTo>
                  <a:lnTo>
                    <a:pt x="85" y="589"/>
                  </a:lnTo>
                  <a:lnTo>
                    <a:pt x="83" y="589"/>
                  </a:lnTo>
                  <a:lnTo>
                    <a:pt x="83" y="590"/>
                  </a:lnTo>
                  <a:lnTo>
                    <a:pt x="83" y="590"/>
                  </a:lnTo>
                  <a:lnTo>
                    <a:pt x="83" y="592"/>
                  </a:lnTo>
                  <a:lnTo>
                    <a:pt x="83" y="592"/>
                  </a:lnTo>
                  <a:lnTo>
                    <a:pt x="85" y="592"/>
                  </a:lnTo>
                  <a:lnTo>
                    <a:pt x="85" y="594"/>
                  </a:lnTo>
                  <a:lnTo>
                    <a:pt x="87" y="596"/>
                  </a:lnTo>
                  <a:lnTo>
                    <a:pt x="87" y="596"/>
                  </a:lnTo>
                  <a:lnTo>
                    <a:pt x="87" y="596"/>
                  </a:lnTo>
                  <a:lnTo>
                    <a:pt x="87" y="598"/>
                  </a:lnTo>
                  <a:lnTo>
                    <a:pt x="87" y="598"/>
                  </a:lnTo>
                  <a:lnTo>
                    <a:pt x="87" y="598"/>
                  </a:lnTo>
                  <a:lnTo>
                    <a:pt x="87" y="599"/>
                  </a:lnTo>
                  <a:lnTo>
                    <a:pt x="90" y="598"/>
                  </a:lnTo>
                  <a:lnTo>
                    <a:pt x="90" y="598"/>
                  </a:lnTo>
                  <a:lnTo>
                    <a:pt x="90" y="599"/>
                  </a:lnTo>
                  <a:lnTo>
                    <a:pt x="90" y="599"/>
                  </a:lnTo>
                  <a:lnTo>
                    <a:pt x="89" y="599"/>
                  </a:lnTo>
                  <a:lnTo>
                    <a:pt x="89" y="599"/>
                  </a:lnTo>
                  <a:lnTo>
                    <a:pt x="90" y="601"/>
                  </a:lnTo>
                  <a:lnTo>
                    <a:pt x="90" y="601"/>
                  </a:lnTo>
                  <a:lnTo>
                    <a:pt x="92" y="601"/>
                  </a:lnTo>
                  <a:lnTo>
                    <a:pt x="94" y="601"/>
                  </a:lnTo>
                  <a:lnTo>
                    <a:pt x="96" y="601"/>
                  </a:lnTo>
                  <a:lnTo>
                    <a:pt x="98" y="599"/>
                  </a:lnTo>
                  <a:lnTo>
                    <a:pt x="98" y="599"/>
                  </a:lnTo>
                  <a:lnTo>
                    <a:pt x="99" y="598"/>
                  </a:lnTo>
                  <a:lnTo>
                    <a:pt x="99" y="598"/>
                  </a:lnTo>
                  <a:lnTo>
                    <a:pt x="103" y="598"/>
                  </a:lnTo>
                  <a:lnTo>
                    <a:pt x="103" y="599"/>
                  </a:lnTo>
                  <a:lnTo>
                    <a:pt x="103" y="599"/>
                  </a:lnTo>
                  <a:lnTo>
                    <a:pt x="103" y="599"/>
                  </a:lnTo>
                  <a:lnTo>
                    <a:pt x="103" y="601"/>
                  </a:lnTo>
                  <a:lnTo>
                    <a:pt x="110" y="601"/>
                  </a:lnTo>
                  <a:lnTo>
                    <a:pt x="112" y="599"/>
                  </a:lnTo>
                  <a:lnTo>
                    <a:pt x="112" y="599"/>
                  </a:lnTo>
                  <a:lnTo>
                    <a:pt x="112" y="599"/>
                  </a:lnTo>
                  <a:lnTo>
                    <a:pt x="114" y="599"/>
                  </a:lnTo>
                  <a:lnTo>
                    <a:pt x="114" y="598"/>
                  </a:lnTo>
                  <a:lnTo>
                    <a:pt x="114" y="598"/>
                  </a:lnTo>
                  <a:lnTo>
                    <a:pt x="116" y="598"/>
                  </a:lnTo>
                  <a:lnTo>
                    <a:pt x="116" y="598"/>
                  </a:lnTo>
                  <a:lnTo>
                    <a:pt x="116" y="598"/>
                  </a:lnTo>
                  <a:lnTo>
                    <a:pt x="116" y="596"/>
                  </a:lnTo>
                  <a:lnTo>
                    <a:pt x="117" y="596"/>
                  </a:lnTo>
                  <a:lnTo>
                    <a:pt x="119" y="596"/>
                  </a:lnTo>
                  <a:lnTo>
                    <a:pt x="121" y="596"/>
                  </a:lnTo>
                  <a:lnTo>
                    <a:pt x="121" y="596"/>
                  </a:lnTo>
                  <a:lnTo>
                    <a:pt x="123" y="596"/>
                  </a:lnTo>
                  <a:lnTo>
                    <a:pt x="123" y="596"/>
                  </a:lnTo>
                  <a:lnTo>
                    <a:pt x="123" y="598"/>
                  </a:lnTo>
                  <a:lnTo>
                    <a:pt x="123" y="598"/>
                  </a:lnTo>
                  <a:lnTo>
                    <a:pt x="123" y="598"/>
                  </a:lnTo>
                  <a:lnTo>
                    <a:pt x="125" y="599"/>
                  </a:lnTo>
                  <a:lnTo>
                    <a:pt x="128" y="599"/>
                  </a:lnTo>
                  <a:lnTo>
                    <a:pt x="128" y="599"/>
                  </a:lnTo>
                  <a:lnTo>
                    <a:pt x="130" y="599"/>
                  </a:lnTo>
                  <a:lnTo>
                    <a:pt x="130" y="598"/>
                  </a:lnTo>
                  <a:lnTo>
                    <a:pt x="130" y="598"/>
                  </a:lnTo>
                  <a:lnTo>
                    <a:pt x="132" y="596"/>
                  </a:lnTo>
                  <a:lnTo>
                    <a:pt x="134" y="596"/>
                  </a:lnTo>
                  <a:lnTo>
                    <a:pt x="136" y="596"/>
                  </a:lnTo>
                  <a:lnTo>
                    <a:pt x="136" y="598"/>
                  </a:lnTo>
                  <a:lnTo>
                    <a:pt x="136" y="598"/>
                  </a:lnTo>
                  <a:lnTo>
                    <a:pt x="136" y="598"/>
                  </a:lnTo>
                  <a:lnTo>
                    <a:pt x="137" y="598"/>
                  </a:lnTo>
                  <a:lnTo>
                    <a:pt x="137" y="598"/>
                  </a:lnTo>
                  <a:lnTo>
                    <a:pt x="137" y="598"/>
                  </a:lnTo>
                  <a:lnTo>
                    <a:pt x="137" y="598"/>
                  </a:lnTo>
                  <a:lnTo>
                    <a:pt x="137" y="596"/>
                  </a:lnTo>
                  <a:lnTo>
                    <a:pt x="137" y="596"/>
                  </a:lnTo>
                  <a:lnTo>
                    <a:pt x="137" y="596"/>
                  </a:lnTo>
                  <a:lnTo>
                    <a:pt x="137" y="596"/>
                  </a:lnTo>
                  <a:lnTo>
                    <a:pt x="137" y="596"/>
                  </a:lnTo>
                  <a:lnTo>
                    <a:pt x="137" y="594"/>
                  </a:lnTo>
                  <a:lnTo>
                    <a:pt x="137" y="594"/>
                  </a:lnTo>
                  <a:lnTo>
                    <a:pt x="137" y="594"/>
                  </a:lnTo>
                  <a:lnTo>
                    <a:pt x="137" y="594"/>
                  </a:lnTo>
                  <a:lnTo>
                    <a:pt x="137" y="594"/>
                  </a:lnTo>
                  <a:lnTo>
                    <a:pt x="137" y="594"/>
                  </a:lnTo>
                  <a:lnTo>
                    <a:pt x="137" y="596"/>
                  </a:lnTo>
                  <a:lnTo>
                    <a:pt x="137" y="594"/>
                  </a:lnTo>
                  <a:lnTo>
                    <a:pt x="137" y="594"/>
                  </a:lnTo>
                  <a:lnTo>
                    <a:pt x="137" y="594"/>
                  </a:lnTo>
                  <a:lnTo>
                    <a:pt x="137" y="592"/>
                  </a:lnTo>
                  <a:lnTo>
                    <a:pt x="136" y="592"/>
                  </a:lnTo>
                  <a:lnTo>
                    <a:pt x="134" y="594"/>
                  </a:lnTo>
                  <a:lnTo>
                    <a:pt x="134" y="594"/>
                  </a:lnTo>
                  <a:lnTo>
                    <a:pt x="132" y="594"/>
                  </a:lnTo>
                  <a:lnTo>
                    <a:pt x="132" y="594"/>
                  </a:lnTo>
                  <a:lnTo>
                    <a:pt x="130" y="594"/>
                  </a:lnTo>
                  <a:lnTo>
                    <a:pt x="130" y="594"/>
                  </a:lnTo>
                  <a:lnTo>
                    <a:pt x="128" y="592"/>
                  </a:lnTo>
                  <a:lnTo>
                    <a:pt x="128" y="592"/>
                  </a:lnTo>
                  <a:lnTo>
                    <a:pt x="126" y="592"/>
                  </a:lnTo>
                  <a:lnTo>
                    <a:pt x="128" y="592"/>
                  </a:lnTo>
                  <a:lnTo>
                    <a:pt x="128" y="590"/>
                  </a:lnTo>
                  <a:lnTo>
                    <a:pt x="126" y="590"/>
                  </a:lnTo>
                  <a:lnTo>
                    <a:pt x="128" y="590"/>
                  </a:lnTo>
                  <a:lnTo>
                    <a:pt x="128" y="590"/>
                  </a:lnTo>
                  <a:lnTo>
                    <a:pt x="128" y="589"/>
                  </a:lnTo>
                  <a:lnTo>
                    <a:pt x="130" y="589"/>
                  </a:lnTo>
                  <a:lnTo>
                    <a:pt x="130" y="587"/>
                  </a:lnTo>
                  <a:lnTo>
                    <a:pt x="130" y="587"/>
                  </a:lnTo>
                  <a:lnTo>
                    <a:pt x="130" y="585"/>
                  </a:lnTo>
                  <a:lnTo>
                    <a:pt x="132" y="585"/>
                  </a:lnTo>
                  <a:lnTo>
                    <a:pt x="132" y="585"/>
                  </a:lnTo>
                  <a:lnTo>
                    <a:pt x="136" y="585"/>
                  </a:lnTo>
                  <a:lnTo>
                    <a:pt x="136" y="585"/>
                  </a:lnTo>
                  <a:lnTo>
                    <a:pt x="136" y="583"/>
                  </a:lnTo>
                  <a:lnTo>
                    <a:pt x="136" y="583"/>
                  </a:lnTo>
                  <a:lnTo>
                    <a:pt x="137" y="583"/>
                  </a:lnTo>
                  <a:lnTo>
                    <a:pt x="137" y="583"/>
                  </a:lnTo>
                  <a:lnTo>
                    <a:pt x="137" y="583"/>
                  </a:lnTo>
                  <a:lnTo>
                    <a:pt x="137" y="585"/>
                  </a:lnTo>
                  <a:lnTo>
                    <a:pt x="137" y="585"/>
                  </a:lnTo>
                  <a:lnTo>
                    <a:pt x="139" y="585"/>
                  </a:lnTo>
                  <a:lnTo>
                    <a:pt x="139" y="585"/>
                  </a:lnTo>
                  <a:lnTo>
                    <a:pt x="139" y="583"/>
                  </a:lnTo>
                  <a:lnTo>
                    <a:pt x="139" y="583"/>
                  </a:lnTo>
                  <a:lnTo>
                    <a:pt x="141" y="583"/>
                  </a:lnTo>
                  <a:lnTo>
                    <a:pt x="141" y="585"/>
                  </a:lnTo>
                  <a:lnTo>
                    <a:pt x="141" y="585"/>
                  </a:lnTo>
                  <a:lnTo>
                    <a:pt x="143" y="585"/>
                  </a:lnTo>
                  <a:lnTo>
                    <a:pt x="143" y="585"/>
                  </a:lnTo>
                  <a:lnTo>
                    <a:pt x="143" y="585"/>
                  </a:lnTo>
                  <a:lnTo>
                    <a:pt x="143" y="585"/>
                  </a:lnTo>
                  <a:lnTo>
                    <a:pt x="145" y="587"/>
                  </a:lnTo>
                  <a:lnTo>
                    <a:pt x="145" y="587"/>
                  </a:lnTo>
                  <a:lnTo>
                    <a:pt x="143" y="589"/>
                  </a:lnTo>
                  <a:lnTo>
                    <a:pt x="143" y="589"/>
                  </a:lnTo>
                  <a:lnTo>
                    <a:pt x="143" y="589"/>
                  </a:lnTo>
                  <a:lnTo>
                    <a:pt x="143" y="589"/>
                  </a:lnTo>
                  <a:lnTo>
                    <a:pt x="143" y="590"/>
                  </a:lnTo>
                  <a:lnTo>
                    <a:pt x="145" y="590"/>
                  </a:lnTo>
                  <a:lnTo>
                    <a:pt x="146" y="590"/>
                  </a:lnTo>
                  <a:lnTo>
                    <a:pt x="146" y="590"/>
                  </a:lnTo>
                  <a:lnTo>
                    <a:pt x="146" y="589"/>
                  </a:lnTo>
                  <a:lnTo>
                    <a:pt x="148" y="589"/>
                  </a:lnTo>
                  <a:lnTo>
                    <a:pt x="150" y="590"/>
                  </a:lnTo>
                  <a:lnTo>
                    <a:pt x="150" y="590"/>
                  </a:lnTo>
                  <a:lnTo>
                    <a:pt x="150" y="590"/>
                  </a:lnTo>
                  <a:lnTo>
                    <a:pt x="150" y="592"/>
                  </a:lnTo>
                  <a:lnTo>
                    <a:pt x="150" y="592"/>
                  </a:lnTo>
                  <a:lnTo>
                    <a:pt x="150" y="592"/>
                  </a:lnTo>
                  <a:lnTo>
                    <a:pt x="152" y="594"/>
                  </a:lnTo>
                  <a:lnTo>
                    <a:pt x="154" y="594"/>
                  </a:lnTo>
                  <a:lnTo>
                    <a:pt x="155" y="594"/>
                  </a:lnTo>
                  <a:lnTo>
                    <a:pt x="157" y="592"/>
                  </a:lnTo>
                  <a:lnTo>
                    <a:pt x="157" y="592"/>
                  </a:lnTo>
                  <a:lnTo>
                    <a:pt x="159" y="592"/>
                  </a:lnTo>
                  <a:lnTo>
                    <a:pt x="164" y="592"/>
                  </a:lnTo>
                  <a:lnTo>
                    <a:pt x="166" y="592"/>
                  </a:lnTo>
                  <a:lnTo>
                    <a:pt x="168" y="594"/>
                  </a:lnTo>
                  <a:lnTo>
                    <a:pt x="170" y="594"/>
                  </a:lnTo>
                  <a:lnTo>
                    <a:pt x="172" y="594"/>
                  </a:lnTo>
                  <a:lnTo>
                    <a:pt x="186" y="603"/>
                  </a:lnTo>
                  <a:lnTo>
                    <a:pt x="186" y="603"/>
                  </a:lnTo>
                  <a:lnTo>
                    <a:pt x="186" y="603"/>
                  </a:lnTo>
                  <a:lnTo>
                    <a:pt x="188" y="603"/>
                  </a:lnTo>
                  <a:lnTo>
                    <a:pt x="192" y="603"/>
                  </a:lnTo>
                  <a:lnTo>
                    <a:pt x="193" y="603"/>
                  </a:lnTo>
                  <a:lnTo>
                    <a:pt x="193" y="601"/>
                  </a:lnTo>
                  <a:lnTo>
                    <a:pt x="195" y="599"/>
                  </a:lnTo>
                  <a:lnTo>
                    <a:pt x="195" y="599"/>
                  </a:lnTo>
                  <a:lnTo>
                    <a:pt x="197" y="598"/>
                  </a:lnTo>
                  <a:lnTo>
                    <a:pt x="197" y="598"/>
                  </a:lnTo>
                  <a:lnTo>
                    <a:pt x="197" y="599"/>
                  </a:lnTo>
                  <a:lnTo>
                    <a:pt x="199" y="599"/>
                  </a:lnTo>
                  <a:lnTo>
                    <a:pt x="199" y="599"/>
                  </a:lnTo>
                  <a:lnTo>
                    <a:pt x="199" y="601"/>
                  </a:lnTo>
                  <a:lnTo>
                    <a:pt x="199" y="601"/>
                  </a:lnTo>
                  <a:lnTo>
                    <a:pt x="199" y="603"/>
                  </a:lnTo>
                  <a:lnTo>
                    <a:pt x="201" y="603"/>
                  </a:lnTo>
                  <a:lnTo>
                    <a:pt x="201" y="601"/>
                  </a:lnTo>
                  <a:lnTo>
                    <a:pt x="201" y="601"/>
                  </a:lnTo>
                  <a:lnTo>
                    <a:pt x="202" y="603"/>
                  </a:lnTo>
                  <a:lnTo>
                    <a:pt x="204" y="603"/>
                  </a:lnTo>
                  <a:lnTo>
                    <a:pt x="204" y="603"/>
                  </a:lnTo>
                  <a:lnTo>
                    <a:pt x="206" y="601"/>
                  </a:lnTo>
                  <a:lnTo>
                    <a:pt x="206" y="603"/>
                  </a:lnTo>
                  <a:lnTo>
                    <a:pt x="206" y="603"/>
                  </a:lnTo>
                  <a:lnTo>
                    <a:pt x="206" y="605"/>
                  </a:lnTo>
                  <a:lnTo>
                    <a:pt x="208" y="605"/>
                  </a:lnTo>
                  <a:lnTo>
                    <a:pt x="208" y="605"/>
                  </a:lnTo>
                  <a:lnTo>
                    <a:pt x="208" y="607"/>
                  </a:lnTo>
                  <a:lnTo>
                    <a:pt x="208" y="607"/>
                  </a:lnTo>
                  <a:lnTo>
                    <a:pt x="208" y="607"/>
                  </a:lnTo>
                  <a:lnTo>
                    <a:pt x="208" y="607"/>
                  </a:lnTo>
                  <a:lnTo>
                    <a:pt x="208" y="607"/>
                  </a:lnTo>
                  <a:lnTo>
                    <a:pt x="210" y="607"/>
                  </a:lnTo>
                  <a:lnTo>
                    <a:pt x="211" y="610"/>
                  </a:lnTo>
                  <a:lnTo>
                    <a:pt x="211" y="610"/>
                  </a:lnTo>
                  <a:lnTo>
                    <a:pt x="211" y="610"/>
                  </a:lnTo>
                  <a:lnTo>
                    <a:pt x="211" y="612"/>
                  </a:lnTo>
                  <a:lnTo>
                    <a:pt x="211" y="612"/>
                  </a:lnTo>
                  <a:lnTo>
                    <a:pt x="211" y="614"/>
                  </a:lnTo>
                  <a:lnTo>
                    <a:pt x="211" y="614"/>
                  </a:lnTo>
                  <a:lnTo>
                    <a:pt x="211" y="616"/>
                  </a:lnTo>
                  <a:lnTo>
                    <a:pt x="211" y="616"/>
                  </a:lnTo>
                  <a:lnTo>
                    <a:pt x="213" y="616"/>
                  </a:lnTo>
                  <a:lnTo>
                    <a:pt x="213" y="616"/>
                  </a:lnTo>
                  <a:lnTo>
                    <a:pt x="213" y="614"/>
                  </a:lnTo>
                  <a:lnTo>
                    <a:pt x="213" y="614"/>
                  </a:lnTo>
                  <a:lnTo>
                    <a:pt x="215" y="616"/>
                  </a:lnTo>
                  <a:lnTo>
                    <a:pt x="215" y="616"/>
                  </a:lnTo>
                  <a:lnTo>
                    <a:pt x="215" y="616"/>
                  </a:lnTo>
                  <a:lnTo>
                    <a:pt x="215" y="614"/>
                  </a:lnTo>
                  <a:lnTo>
                    <a:pt x="217" y="614"/>
                  </a:lnTo>
                  <a:lnTo>
                    <a:pt x="219" y="614"/>
                  </a:lnTo>
                  <a:lnTo>
                    <a:pt x="219" y="616"/>
                  </a:lnTo>
                  <a:lnTo>
                    <a:pt x="217" y="617"/>
                  </a:lnTo>
                  <a:lnTo>
                    <a:pt x="217" y="619"/>
                  </a:lnTo>
                  <a:lnTo>
                    <a:pt x="217" y="619"/>
                  </a:lnTo>
                  <a:lnTo>
                    <a:pt x="217" y="619"/>
                  </a:lnTo>
                  <a:lnTo>
                    <a:pt x="217" y="619"/>
                  </a:lnTo>
                  <a:lnTo>
                    <a:pt x="217" y="619"/>
                  </a:lnTo>
                  <a:lnTo>
                    <a:pt x="217" y="621"/>
                  </a:lnTo>
                  <a:lnTo>
                    <a:pt x="215" y="621"/>
                  </a:lnTo>
                  <a:lnTo>
                    <a:pt x="215" y="621"/>
                  </a:lnTo>
                  <a:lnTo>
                    <a:pt x="217" y="621"/>
                  </a:lnTo>
                  <a:lnTo>
                    <a:pt x="217" y="621"/>
                  </a:lnTo>
                  <a:lnTo>
                    <a:pt x="220" y="621"/>
                  </a:lnTo>
                  <a:lnTo>
                    <a:pt x="220" y="621"/>
                  </a:lnTo>
                  <a:lnTo>
                    <a:pt x="224" y="619"/>
                  </a:lnTo>
                  <a:lnTo>
                    <a:pt x="224" y="619"/>
                  </a:lnTo>
                  <a:lnTo>
                    <a:pt x="226" y="617"/>
                  </a:lnTo>
                  <a:lnTo>
                    <a:pt x="226" y="616"/>
                  </a:lnTo>
                  <a:lnTo>
                    <a:pt x="226" y="614"/>
                  </a:lnTo>
                  <a:lnTo>
                    <a:pt x="228" y="614"/>
                  </a:lnTo>
                  <a:lnTo>
                    <a:pt x="228" y="614"/>
                  </a:lnTo>
                  <a:lnTo>
                    <a:pt x="228" y="614"/>
                  </a:lnTo>
                  <a:lnTo>
                    <a:pt x="229" y="612"/>
                  </a:lnTo>
                  <a:lnTo>
                    <a:pt x="229" y="610"/>
                  </a:lnTo>
                  <a:lnTo>
                    <a:pt x="231" y="610"/>
                  </a:lnTo>
                  <a:lnTo>
                    <a:pt x="231" y="608"/>
                  </a:lnTo>
                  <a:lnTo>
                    <a:pt x="229" y="607"/>
                  </a:lnTo>
                  <a:lnTo>
                    <a:pt x="229" y="607"/>
                  </a:lnTo>
                  <a:lnTo>
                    <a:pt x="229" y="607"/>
                  </a:lnTo>
                  <a:lnTo>
                    <a:pt x="229" y="605"/>
                  </a:lnTo>
                  <a:lnTo>
                    <a:pt x="229" y="603"/>
                  </a:lnTo>
                  <a:lnTo>
                    <a:pt x="229" y="601"/>
                  </a:lnTo>
                  <a:lnTo>
                    <a:pt x="229" y="601"/>
                  </a:lnTo>
                  <a:lnTo>
                    <a:pt x="229" y="599"/>
                  </a:lnTo>
                  <a:lnTo>
                    <a:pt x="229" y="599"/>
                  </a:lnTo>
                  <a:lnTo>
                    <a:pt x="229" y="599"/>
                  </a:lnTo>
                  <a:lnTo>
                    <a:pt x="229" y="599"/>
                  </a:lnTo>
                  <a:lnTo>
                    <a:pt x="231" y="599"/>
                  </a:lnTo>
                  <a:lnTo>
                    <a:pt x="231" y="599"/>
                  </a:lnTo>
                  <a:lnTo>
                    <a:pt x="231" y="599"/>
                  </a:lnTo>
                  <a:lnTo>
                    <a:pt x="231" y="599"/>
                  </a:lnTo>
                  <a:lnTo>
                    <a:pt x="231" y="601"/>
                  </a:lnTo>
                  <a:lnTo>
                    <a:pt x="231" y="601"/>
                  </a:lnTo>
                  <a:lnTo>
                    <a:pt x="231" y="601"/>
                  </a:lnTo>
                  <a:lnTo>
                    <a:pt x="231" y="601"/>
                  </a:lnTo>
                  <a:lnTo>
                    <a:pt x="231" y="601"/>
                  </a:lnTo>
                  <a:lnTo>
                    <a:pt x="231" y="603"/>
                  </a:lnTo>
                  <a:lnTo>
                    <a:pt x="235" y="603"/>
                  </a:lnTo>
                  <a:lnTo>
                    <a:pt x="235" y="603"/>
                  </a:lnTo>
                  <a:lnTo>
                    <a:pt x="235" y="603"/>
                  </a:lnTo>
                  <a:lnTo>
                    <a:pt x="237" y="601"/>
                  </a:lnTo>
                  <a:lnTo>
                    <a:pt x="237" y="599"/>
                  </a:lnTo>
                  <a:lnTo>
                    <a:pt x="238" y="599"/>
                  </a:lnTo>
                  <a:lnTo>
                    <a:pt x="246" y="603"/>
                  </a:lnTo>
                  <a:lnTo>
                    <a:pt x="246" y="603"/>
                  </a:lnTo>
                  <a:lnTo>
                    <a:pt x="246" y="603"/>
                  </a:lnTo>
                  <a:lnTo>
                    <a:pt x="246" y="603"/>
                  </a:lnTo>
                  <a:lnTo>
                    <a:pt x="246" y="603"/>
                  </a:lnTo>
                  <a:lnTo>
                    <a:pt x="247" y="603"/>
                  </a:lnTo>
                  <a:lnTo>
                    <a:pt x="249" y="603"/>
                  </a:lnTo>
                  <a:lnTo>
                    <a:pt x="249" y="603"/>
                  </a:lnTo>
                  <a:lnTo>
                    <a:pt x="251" y="603"/>
                  </a:lnTo>
                  <a:lnTo>
                    <a:pt x="251" y="603"/>
                  </a:lnTo>
                  <a:lnTo>
                    <a:pt x="253" y="603"/>
                  </a:lnTo>
                  <a:lnTo>
                    <a:pt x="253" y="605"/>
                  </a:lnTo>
                  <a:lnTo>
                    <a:pt x="251" y="605"/>
                  </a:lnTo>
                  <a:lnTo>
                    <a:pt x="251" y="607"/>
                  </a:lnTo>
                  <a:lnTo>
                    <a:pt x="253" y="607"/>
                  </a:lnTo>
                  <a:lnTo>
                    <a:pt x="257" y="610"/>
                  </a:lnTo>
                  <a:lnTo>
                    <a:pt x="257" y="610"/>
                  </a:lnTo>
                  <a:lnTo>
                    <a:pt x="257" y="610"/>
                  </a:lnTo>
                  <a:lnTo>
                    <a:pt x="257" y="612"/>
                  </a:lnTo>
                  <a:lnTo>
                    <a:pt x="257" y="612"/>
                  </a:lnTo>
                  <a:lnTo>
                    <a:pt x="257" y="612"/>
                  </a:lnTo>
                  <a:lnTo>
                    <a:pt x="257" y="612"/>
                  </a:lnTo>
                  <a:lnTo>
                    <a:pt x="257" y="612"/>
                  </a:lnTo>
                  <a:lnTo>
                    <a:pt x="262" y="614"/>
                  </a:lnTo>
                  <a:lnTo>
                    <a:pt x="264" y="612"/>
                  </a:lnTo>
                  <a:lnTo>
                    <a:pt x="266" y="610"/>
                  </a:lnTo>
                  <a:lnTo>
                    <a:pt x="267" y="610"/>
                  </a:lnTo>
                  <a:lnTo>
                    <a:pt x="269" y="610"/>
                  </a:lnTo>
                  <a:lnTo>
                    <a:pt x="269" y="612"/>
                  </a:lnTo>
                  <a:lnTo>
                    <a:pt x="269" y="612"/>
                  </a:lnTo>
                  <a:lnTo>
                    <a:pt x="271" y="612"/>
                  </a:lnTo>
                  <a:lnTo>
                    <a:pt x="271" y="612"/>
                  </a:lnTo>
                  <a:lnTo>
                    <a:pt x="273" y="610"/>
                  </a:lnTo>
                  <a:lnTo>
                    <a:pt x="273" y="610"/>
                  </a:lnTo>
                  <a:lnTo>
                    <a:pt x="275" y="608"/>
                  </a:lnTo>
                  <a:lnTo>
                    <a:pt x="276" y="608"/>
                  </a:lnTo>
                  <a:lnTo>
                    <a:pt x="276" y="608"/>
                  </a:lnTo>
                  <a:lnTo>
                    <a:pt x="278" y="608"/>
                  </a:lnTo>
                  <a:lnTo>
                    <a:pt x="278" y="608"/>
                  </a:lnTo>
                  <a:lnTo>
                    <a:pt x="276" y="607"/>
                  </a:lnTo>
                  <a:lnTo>
                    <a:pt x="276" y="607"/>
                  </a:lnTo>
                  <a:lnTo>
                    <a:pt x="278" y="605"/>
                  </a:lnTo>
                  <a:lnTo>
                    <a:pt x="280" y="605"/>
                  </a:lnTo>
                  <a:lnTo>
                    <a:pt x="282" y="605"/>
                  </a:lnTo>
                  <a:lnTo>
                    <a:pt x="282" y="605"/>
                  </a:lnTo>
                  <a:lnTo>
                    <a:pt x="284" y="605"/>
                  </a:lnTo>
                  <a:lnTo>
                    <a:pt x="285" y="603"/>
                  </a:lnTo>
                  <a:lnTo>
                    <a:pt x="287" y="603"/>
                  </a:lnTo>
                  <a:lnTo>
                    <a:pt x="287" y="603"/>
                  </a:lnTo>
                  <a:lnTo>
                    <a:pt x="287" y="601"/>
                  </a:lnTo>
                  <a:lnTo>
                    <a:pt x="287" y="599"/>
                  </a:lnTo>
                  <a:lnTo>
                    <a:pt x="289" y="598"/>
                  </a:lnTo>
                  <a:lnTo>
                    <a:pt x="289" y="598"/>
                  </a:lnTo>
                  <a:lnTo>
                    <a:pt x="291" y="598"/>
                  </a:lnTo>
                  <a:lnTo>
                    <a:pt x="293" y="599"/>
                  </a:lnTo>
                  <a:lnTo>
                    <a:pt x="296" y="599"/>
                  </a:lnTo>
                  <a:lnTo>
                    <a:pt x="300" y="599"/>
                  </a:lnTo>
                  <a:lnTo>
                    <a:pt x="300" y="599"/>
                  </a:lnTo>
                  <a:lnTo>
                    <a:pt x="300" y="598"/>
                  </a:lnTo>
                  <a:lnTo>
                    <a:pt x="300" y="598"/>
                  </a:lnTo>
                  <a:lnTo>
                    <a:pt x="305" y="596"/>
                  </a:lnTo>
                  <a:lnTo>
                    <a:pt x="316" y="598"/>
                  </a:lnTo>
                  <a:lnTo>
                    <a:pt x="316" y="598"/>
                  </a:lnTo>
                  <a:lnTo>
                    <a:pt x="318" y="596"/>
                  </a:lnTo>
                  <a:lnTo>
                    <a:pt x="318" y="594"/>
                  </a:lnTo>
                  <a:lnTo>
                    <a:pt x="318" y="594"/>
                  </a:lnTo>
                  <a:lnTo>
                    <a:pt x="318" y="592"/>
                  </a:lnTo>
                  <a:lnTo>
                    <a:pt x="318" y="592"/>
                  </a:lnTo>
                  <a:lnTo>
                    <a:pt x="318" y="592"/>
                  </a:lnTo>
                  <a:lnTo>
                    <a:pt x="318" y="590"/>
                  </a:lnTo>
                  <a:lnTo>
                    <a:pt x="318" y="590"/>
                  </a:lnTo>
                  <a:lnTo>
                    <a:pt x="316" y="590"/>
                  </a:lnTo>
                  <a:lnTo>
                    <a:pt x="316" y="590"/>
                  </a:lnTo>
                  <a:lnTo>
                    <a:pt x="318" y="589"/>
                  </a:lnTo>
                  <a:lnTo>
                    <a:pt x="320" y="589"/>
                  </a:lnTo>
                  <a:lnTo>
                    <a:pt x="320" y="589"/>
                  </a:lnTo>
                  <a:lnTo>
                    <a:pt x="320" y="589"/>
                  </a:lnTo>
                  <a:lnTo>
                    <a:pt x="320" y="589"/>
                  </a:lnTo>
                  <a:lnTo>
                    <a:pt x="320" y="589"/>
                  </a:lnTo>
                  <a:lnTo>
                    <a:pt x="320" y="589"/>
                  </a:lnTo>
                  <a:lnTo>
                    <a:pt x="320" y="589"/>
                  </a:lnTo>
                  <a:lnTo>
                    <a:pt x="320" y="590"/>
                  </a:lnTo>
                  <a:lnTo>
                    <a:pt x="320" y="590"/>
                  </a:lnTo>
                  <a:lnTo>
                    <a:pt x="320" y="590"/>
                  </a:lnTo>
                  <a:lnTo>
                    <a:pt x="320" y="592"/>
                  </a:lnTo>
                  <a:lnTo>
                    <a:pt x="320" y="592"/>
                  </a:lnTo>
                  <a:lnTo>
                    <a:pt x="322" y="590"/>
                  </a:lnTo>
                  <a:lnTo>
                    <a:pt x="323" y="590"/>
                  </a:lnTo>
                  <a:lnTo>
                    <a:pt x="325" y="592"/>
                  </a:lnTo>
                  <a:lnTo>
                    <a:pt x="327" y="590"/>
                  </a:lnTo>
                  <a:lnTo>
                    <a:pt x="329" y="590"/>
                  </a:lnTo>
                  <a:lnTo>
                    <a:pt x="329" y="590"/>
                  </a:lnTo>
                  <a:lnTo>
                    <a:pt x="329" y="590"/>
                  </a:lnTo>
                  <a:lnTo>
                    <a:pt x="331" y="592"/>
                  </a:lnTo>
                  <a:lnTo>
                    <a:pt x="331" y="594"/>
                  </a:lnTo>
                  <a:lnTo>
                    <a:pt x="331" y="594"/>
                  </a:lnTo>
                  <a:lnTo>
                    <a:pt x="332" y="596"/>
                  </a:lnTo>
                  <a:lnTo>
                    <a:pt x="332" y="596"/>
                  </a:lnTo>
                  <a:lnTo>
                    <a:pt x="334" y="596"/>
                  </a:lnTo>
                  <a:lnTo>
                    <a:pt x="334" y="596"/>
                  </a:lnTo>
                  <a:lnTo>
                    <a:pt x="336" y="594"/>
                  </a:lnTo>
                  <a:lnTo>
                    <a:pt x="336" y="594"/>
                  </a:lnTo>
                  <a:lnTo>
                    <a:pt x="338" y="592"/>
                  </a:lnTo>
                  <a:lnTo>
                    <a:pt x="340" y="592"/>
                  </a:lnTo>
                  <a:lnTo>
                    <a:pt x="341" y="592"/>
                  </a:lnTo>
                  <a:lnTo>
                    <a:pt x="343" y="592"/>
                  </a:lnTo>
                  <a:lnTo>
                    <a:pt x="345" y="592"/>
                  </a:lnTo>
                  <a:lnTo>
                    <a:pt x="347" y="592"/>
                  </a:lnTo>
                  <a:lnTo>
                    <a:pt x="345" y="594"/>
                  </a:lnTo>
                  <a:lnTo>
                    <a:pt x="347" y="594"/>
                  </a:lnTo>
                  <a:lnTo>
                    <a:pt x="349" y="596"/>
                  </a:lnTo>
                  <a:lnTo>
                    <a:pt x="349" y="596"/>
                  </a:lnTo>
                  <a:lnTo>
                    <a:pt x="347" y="598"/>
                  </a:lnTo>
                  <a:lnTo>
                    <a:pt x="347" y="599"/>
                  </a:lnTo>
                  <a:lnTo>
                    <a:pt x="347" y="601"/>
                  </a:lnTo>
                  <a:lnTo>
                    <a:pt x="349" y="601"/>
                  </a:lnTo>
                  <a:lnTo>
                    <a:pt x="349" y="601"/>
                  </a:lnTo>
                  <a:lnTo>
                    <a:pt x="349" y="601"/>
                  </a:lnTo>
                  <a:lnTo>
                    <a:pt x="350" y="603"/>
                  </a:lnTo>
                  <a:lnTo>
                    <a:pt x="352" y="605"/>
                  </a:lnTo>
                  <a:lnTo>
                    <a:pt x="354" y="607"/>
                  </a:lnTo>
                  <a:lnTo>
                    <a:pt x="356" y="607"/>
                  </a:lnTo>
                  <a:lnTo>
                    <a:pt x="356" y="607"/>
                  </a:lnTo>
                  <a:lnTo>
                    <a:pt x="356" y="607"/>
                  </a:lnTo>
                  <a:lnTo>
                    <a:pt x="356" y="607"/>
                  </a:lnTo>
                  <a:lnTo>
                    <a:pt x="358" y="607"/>
                  </a:lnTo>
                  <a:lnTo>
                    <a:pt x="358" y="607"/>
                  </a:lnTo>
                  <a:lnTo>
                    <a:pt x="358" y="607"/>
                  </a:lnTo>
                  <a:lnTo>
                    <a:pt x="358" y="607"/>
                  </a:lnTo>
                  <a:lnTo>
                    <a:pt x="358" y="607"/>
                  </a:lnTo>
                  <a:lnTo>
                    <a:pt x="359" y="605"/>
                  </a:lnTo>
                  <a:lnTo>
                    <a:pt x="359" y="605"/>
                  </a:lnTo>
                  <a:lnTo>
                    <a:pt x="359" y="605"/>
                  </a:lnTo>
                  <a:lnTo>
                    <a:pt x="359" y="605"/>
                  </a:lnTo>
                  <a:lnTo>
                    <a:pt x="359" y="603"/>
                  </a:lnTo>
                  <a:lnTo>
                    <a:pt x="359" y="603"/>
                  </a:lnTo>
                  <a:lnTo>
                    <a:pt x="359" y="601"/>
                  </a:lnTo>
                  <a:lnTo>
                    <a:pt x="359" y="601"/>
                  </a:lnTo>
                  <a:lnTo>
                    <a:pt x="359" y="601"/>
                  </a:lnTo>
                  <a:lnTo>
                    <a:pt x="359" y="599"/>
                  </a:lnTo>
                  <a:lnTo>
                    <a:pt x="359" y="601"/>
                  </a:lnTo>
                  <a:lnTo>
                    <a:pt x="359" y="599"/>
                  </a:lnTo>
                  <a:lnTo>
                    <a:pt x="359" y="599"/>
                  </a:lnTo>
                  <a:lnTo>
                    <a:pt x="361" y="598"/>
                  </a:lnTo>
                  <a:lnTo>
                    <a:pt x="361" y="598"/>
                  </a:lnTo>
                  <a:lnTo>
                    <a:pt x="361" y="596"/>
                  </a:lnTo>
                  <a:lnTo>
                    <a:pt x="361" y="596"/>
                  </a:lnTo>
                  <a:lnTo>
                    <a:pt x="361" y="596"/>
                  </a:lnTo>
                  <a:lnTo>
                    <a:pt x="361" y="594"/>
                  </a:lnTo>
                  <a:lnTo>
                    <a:pt x="361" y="592"/>
                  </a:lnTo>
                  <a:lnTo>
                    <a:pt x="361" y="592"/>
                  </a:lnTo>
                  <a:lnTo>
                    <a:pt x="359" y="590"/>
                  </a:lnTo>
                  <a:lnTo>
                    <a:pt x="359" y="590"/>
                  </a:lnTo>
                  <a:lnTo>
                    <a:pt x="359" y="589"/>
                  </a:lnTo>
                  <a:lnTo>
                    <a:pt x="358" y="589"/>
                  </a:lnTo>
                  <a:lnTo>
                    <a:pt x="358" y="590"/>
                  </a:lnTo>
                  <a:lnTo>
                    <a:pt x="356" y="590"/>
                  </a:lnTo>
                  <a:lnTo>
                    <a:pt x="354" y="589"/>
                  </a:lnTo>
                  <a:lnTo>
                    <a:pt x="352" y="589"/>
                  </a:lnTo>
                  <a:lnTo>
                    <a:pt x="354" y="587"/>
                  </a:lnTo>
                  <a:lnTo>
                    <a:pt x="354" y="587"/>
                  </a:lnTo>
                  <a:lnTo>
                    <a:pt x="354" y="587"/>
                  </a:lnTo>
                  <a:lnTo>
                    <a:pt x="354" y="587"/>
                  </a:lnTo>
                  <a:lnTo>
                    <a:pt x="354" y="585"/>
                  </a:lnTo>
                  <a:lnTo>
                    <a:pt x="354" y="585"/>
                  </a:lnTo>
                  <a:lnTo>
                    <a:pt x="354" y="585"/>
                  </a:lnTo>
                  <a:lnTo>
                    <a:pt x="354" y="585"/>
                  </a:lnTo>
                  <a:lnTo>
                    <a:pt x="358" y="580"/>
                  </a:lnTo>
                  <a:lnTo>
                    <a:pt x="358" y="580"/>
                  </a:lnTo>
                  <a:lnTo>
                    <a:pt x="356" y="578"/>
                  </a:lnTo>
                  <a:lnTo>
                    <a:pt x="354" y="574"/>
                  </a:lnTo>
                  <a:lnTo>
                    <a:pt x="354" y="572"/>
                  </a:lnTo>
                  <a:lnTo>
                    <a:pt x="354" y="572"/>
                  </a:lnTo>
                  <a:lnTo>
                    <a:pt x="352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69"/>
                  </a:lnTo>
                  <a:lnTo>
                    <a:pt x="350" y="569"/>
                  </a:lnTo>
                  <a:lnTo>
                    <a:pt x="350" y="569"/>
                  </a:lnTo>
                  <a:lnTo>
                    <a:pt x="350" y="567"/>
                  </a:lnTo>
                  <a:lnTo>
                    <a:pt x="347" y="563"/>
                  </a:lnTo>
                  <a:lnTo>
                    <a:pt x="345" y="561"/>
                  </a:lnTo>
                  <a:lnTo>
                    <a:pt x="345" y="561"/>
                  </a:lnTo>
                  <a:lnTo>
                    <a:pt x="345" y="560"/>
                  </a:lnTo>
                  <a:lnTo>
                    <a:pt x="345" y="560"/>
                  </a:lnTo>
                  <a:lnTo>
                    <a:pt x="345" y="558"/>
                  </a:lnTo>
                  <a:lnTo>
                    <a:pt x="345" y="558"/>
                  </a:lnTo>
                  <a:lnTo>
                    <a:pt x="347" y="558"/>
                  </a:lnTo>
                  <a:lnTo>
                    <a:pt x="347" y="558"/>
                  </a:lnTo>
                  <a:lnTo>
                    <a:pt x="347" y="558"/>
                  </a:lnTo>
                  <a:lnTo>
                    <a:pt x="347" y="558"/>
                  </a:lnTo>
                  <a:lnTo>
                    <a:pt x="349" y="556"/>
                  </a:lnTo>
                  <a:lnTo>
                    <a:pt x="350" y="554"/>
                  </a:lnTo>
                  <a:lnTo>
                    <a:pt x="350" y="554"/>
                  </a:lnTo>
                  <a:lnTo>
                    <a:pt x="350" y="552"/>
                  </a:lnTo>
                  <a:lnTo>
                    <a:pt x="352" y="552"/>
                  </a:lnTo>
                  <a:lnTo>
                    <a:pt x="354" y="552"/>
                  </a:lnTo>
                  <a:lnTo>
                    <a:pt x="354" y="552"/>
                  </a:lnTo>
                  <a:lnTo>
                    <a:pt x="356" y="551"/>
                  </a:lnTo>
                  <a:lnTo>
                    <a:pt x="358" y="551"/>
                  </a:lnTo>
                  <a:lnTo>
                    <a:pt x="359" y="549"/>
                  </a:lnTo>
                  <a:lnTo>
                    <a:pt x="359" y="549"/>
                  </a:lnTo>
                  <a:lnTo>
                    <a:pt x="365" y="545"/>
                  </a:lnTo>
                  <a:lnTo>
                    <a:pt x="372" y="545"/>
                  </a:lnTo>
                  <a:lnTo>
                    <a:pt x="374" y="543"/>
                  </a:lnTo>
                  <a:lnTo>
                    <a:pt x="378" y="540"/>
                  </a:lnTo>
                  <a:lnTo>
                    <a:pt x="379" y="538"/>
                  </a:lnTo>
                  <a:lnTo>
                    <a:pt x="379" y="536"/>
                  </a:lnTo>
                  <a:lnTo>
                    <a:pt x="379" y="536"/>
                  </a:lnTo>
                  <a:lnTo>
                    <a:pt x="379" y="536"/>
                  </a:lnTo>
                  <a:lnTo>
                    <a:pt x="379" y="536"/>
                  </a:lnTo>
                  <a:lnTo>
                    <a:pt x="379" y="534"/>
                  </a:lnTo>
                  <a:lnTo>
                    <a:pt x="379" y="533"/>
                  </a:lnTo>
                  <a:lnTo>
                    <a:pt x="379" y="533"/>
                  </a:lnTo>
                  <a:lnTo>
                    <a:pt x="381" y="531"/>
                  </a:lnTo>
                  <a:lnTo>
                    <a:pt x="381" y="529"/>
                  </a:lnTo>
                  <a:lnTo>
                    <a:pt x="381" y="529"/>
                  </a:lnTo>
                  <a:lnTo>
                    <a:pt x="381" y="529"/>
                  </a:lnTo>
                  <a:lnTo>
                    <a:pt x="381" y="527"/>
                  </a:lnTo>
                  <a:lnTo>
                    <a:pt x="381" y="527"/>
                  </a:lnTo>
                  <a:lnTo>
                    <a:pt x="379" y="525"/>
                  </a:lnTo>
                  <a:lnTo>
                    <a:pt x="379" y="525"/>
                  </a:lnTo>
                  <a:lnTo>
                    <a:pt x="381" y="525"/>
                  </a:lnTo>
                  <a:lnTo>
                    <a:pt x="381" y="525"/>
                  </a:lnTo>
                  <a:lnTo>
                    <a:pt x="383" y="524"/>
                  </a:lnTo>
                  <a:lnTo>
                    <a:pt x="385" y="524"/>
                  </a:lnTo>
                  <a:lnTo>
                    <a:pt x="390" y="525"/>
                  </a:lnTo>
                  <a:lnTo>
                    <a:pt x="390" y="525"/>
                  </a:lnTo>
                  <a:lnTo>
                    <a:pt x="390" y="527"/>
                  </a:lnTo>
                  <a:lnTo>
                    <a:pt x="392" y="527"/>
                  </a:lnTo>
                  <a:lnTo>
                    <a:pt x="394" y="529"/>
                  </a:lnTo>
                  <a:lnTo>
                    <a:pt x="394" y="529"/>
                  </a:lnTo>
                  <a:lnTo>
                    <a:pt x="394" y="527"/>
                  </a:lnTo>
                  <a:lnTo>
                    <a:pt x="396" y="525"/>
                  </a:lnTo>
                  <a:lnTo>
                    <a:pt x="396" y="525"/>
                  </a:lnTo>
                  <a:lnTo>
                    <a:pt x="396" y="525"/>
                  </a:lnTo>
                  <a:lnTo>
                    <a:pt x="396" y="525"/>
                  </a:lnTo>
                  <a:lnTo>
                    <a:pt x="397" y="525"/>
                  </a:lnTo>
                  <a:lnTo>
                    <a:pt x="397" y="525"/>
                  </a:lnTo>
                  <a:lnTo>
                    <a:pt x="397" y="524"/>
                  </a:lnTo>
                  <a:lnTo>
                    <a:pt x="397" y="522"/>
                  </a:lnTo>
                  <a:lnTo>
                    <a:pt x="399" y="520"/>
                  </a:lnTo>
                  <a:lnTo>
                    <a:pt x="399" y="520"/>
                  </a:lnTo>
                  <a:lnTo>
                    <a:pt x="397" y="516"/>
                  </a:lnTo>
                  <a:lnTo>
                    <a:pt x="399" y="516"/>
                  </a:lnTo>
                  <a:lnTo>
                    <a:pt x="399" y="516"/>
                  </a:lnTo>
                  <a:lnTo>
                    <a:pt x="399" y="515"/>
                  </a:lnTo>
                  <a:lnTo>
                    <a:pt x="397" y="515"/>
                  </a:lnTo>
                  <a:lnTo>
                    <a:pt x="397" y="515"/>
                  </a:lnTo>
                  <a:lnTo>
                    <a:pt x="397" y="515"/>
                  </a:lnTo>
                  <a:lnTo>
                    <a:pt x="397" y="513"/>
                  </a:lnTo>
                  <a:lnTo>
                    <a:pt x="399" y="511"/>
                  </a:lnTo>
                  <a:lnTo>
                    <a:pt x="397" y="509"/>
                  </a:lnTo>
                  <a:lnTo>
                    <a:pt x="396" y="504"/>
                  </a:lnTo>
                  <a:lnTo>
                    <a:pt x="394" y="502"/>
                  </a:lnTo>
                  <a:lnTo>
                    <a:pt x="394" y="502"/>
                  </a:lnTo>
                  <a:lnTo>
                    <a:pt x="392" y="502"/>
                  </a:lnTo>
                  <a:lnTo>
                    <a:pt x="390" y="502"/>
                  </a:lnTo>
                  <a:lnTo>
                    <a:pt x="390" y="500"/>
                  </a:lnTo>
                  <a:lnTo>
                    <a:pt x="388" y="500"/>
                  </a:lnTo>
                  <a:lnTo>
                    <a:pt x="388" y="498"/>
                  </a:lnTo>
                  <a:lnTo>
                    <a:pt x="388" y="496"/>
                  </a:lnTo>
                  <a:lnTo>
                    <a:pt x="388" y="496"/>
                  </a:lnTo>
                  <a:lnTo>
                    <a:pt x="387" y="496"/>
                  </a:lnTo>
                  <a:lnTo>
                    <a:pt x="387" y="495"/>
                  </a:lnTo>
                  <a:lnTo>
                    <a:pt x="385" y="495"/>
                  </a:lnTo>
                  <a:lnTo>
                    <a:pt x="385" y="495"/>
                  </a:lnTo>
                  <a:lnTo>
                    <a:pt x="385" y="495"/>
                  </a:lnTo>
                  <a:lnTo>
                    <a:pt x="383" y="495"/>
                  </a:lnTo>
                  <a:lnTo>
                    <a:pt x="383" y="496"/>
                  </a:lnTo>
                  <a:lnTo>
                    <a:pt x="383" y="496"/>
                  </a:lnTo>
                  <a:lnTo>
                    <a:pt x="381" y="496"/>
                  </a:lnTo>
                  <a:lnTo>
                    <a:pt x="379" y="495"/>
                  </a:lnTo>
                  <a:lnTo>
                    <a:pt x="378" y="495"/>
                  </a:lnTo>
                  <a:lnTo>
                    <a:pt x="378" y="493"/>
                  </a:lnTo>
                  <a:lnTo>
                    <a:pt x="378" y="491"/>
                  </a:lnTo>
                  <a:lnTo>
                    <a:pt x="378" y="489"/>
                  </a:lnTo>
                  <a:lnTo>
                    <a:pt x="374" y="487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2" y="484"/>
                  </a:lnTo>
                  <a:lnTo>
                    <a:pt x="368" y="484"/>
                  </a:lnTo>
                  <a:lnTo>
                    <a:pt x="367" y="484"/>
                  </a:lnTo>
                  <a:lnTo>
                    <a:pt x="367" y="482"/>
                  </a:lnTo>
                  <a:lnTo>
                    <a:pt x="365" y="480"/>
                  </a:lnTo>
                  <a:lnTo>
                    <a:pt x="361" y="475"/>
                  </a:lnTo>
                  <a:lnTo>
                    <a:pt x="359" y="475"/>
                  </a:lnTo>
                  <a:lnTo>
                    <a:pt x="359" y="475"/>
                  </a:lnTo>
                  <a:lnTo>
                    <a:pt x="359" y="473"/>
                  </a:lnTo>
                  <a:lnTo>
                    <a:pt x="359" y="471"/>
                  </a:lnTo>
                  <a:lnTo>
                    <a:pt x="358" y="471"/>
                  </a:lnTo>
                  <a:lnTo>
                    <a:pt x="358" y="471"/>
                  </a:lnTo>
                  <a:lnTo>
                    <a:pt x="358" y="469"/>
                  </a:lnTo>
                  <a:lnTo>
                    <a:pt x="358" y="469"/>
                  </a:lnTo>
                  <a:lnTo>
                    <a:pt x="356" y="468"/>
                  </a:lnTo>
                  <a:lnTo>
                    <a:pt x="356" y="468"/>
                  </a:lnTo>
                  <a:lnTo>
                    <a:pt x="354" y="468"/>
                  </a:lnTo>
                  <a:lnTo>
                    <a:pt x="352" y="466"/>
                  </a:lnTo>
                  <a:lnTo>
                    <a:pt x="352" y="468"/>
                  </a:lnTo>
                  <a:lnTo>
                    <a:pt x="352" y="468"/>
                  </a:lnTo>
                  <a:lnTo>
                    <a:pt x="350" y="468"/>
                  </a:lnTo>
                  <a:lnTo>
                    <a:pt x="349" y="468"/>
                  </a:lnTo>
                  <a:lnTo>
                    <a:pt x="347" y="468"/>
                  </a:lnTo>
                  <a:lnTo>
                    <a:pt x="347" y="466"/>
                  </a:lnTo>
                  <a:lnTo>
                    <a:pt x="345" y="462"/>
                  </a:lnTo>
                  <a:lnTo>
                    <a:pt x="343" y="462"/>
                  </a:lnTo>
                  <a:lnTo>
                    <a:pt x="341" y="460"/>
                  </a:lnTo>
                  <a:lnTo>
                    <a:pt x="340" y="460"/>
                  </a:lnTo>
                  <a:lnTo>
                    <a:pt x="340" y="459"/>
                  </a:lnTo>
                  <a:lnTo>
                    <a:pt x="340" y="457"/>
                  </a:lnTo>
                  <a:lnTo>
                    <a:pt x="340" y="455"/>
                  </a:lnTo>
                  <a:lnTo>
                    <a:pt x="340" y="453"/>
                  </a:lnTo>
                  <a:lnTo>
                    <a:pt x="340" y="453"/>
                  </a:lnTo>
                  <a:lnTo>
                    <a:pt x="338" y="453"/>
                  </a:lnTo>
                  <a:lnTo>
                    <a:pt x="338" y="453"/>
                  </a:lnTo>
                  <a:lnTo>
                    <a:pt x="338" y="453"/>
                  </a:lnTo>
                  <a:lnTo>
                    <a:pt x="336" y="451"/>
                  </a:lnTo>
                  <a:lnTo>
                    <a:pt x="336" y="451"/>
                  </a:lnTo>
                  <a:lnTo>
                    <a:pt x="336" y="449"/>
                  </a:lnTo>
                  <a:lnTo>
                    <a:pt x="336" y="449"/>
                  </a:lnTo>
                  <a:lnTo>
                    <a:pt x="336" y="448"/>
                  </a:lnTo>
                  <a:lnTo>
                    <a:pt x="336" y="448"/>
                  </a:lnTo>
                  <a:lnTo>
                    <a:pt x="334" y="446"/>
                  </a:lnTo>
                  <a:lnTo>
                    <a:pt x="334" y="446"/>
                  </a:lnTo>
                  <a:lnTo>
                    <a:pt x="332" y="444"/>
                  </a:lnTo>
                  <a:lnTo>
                    <a:pt x="332" y="444"/>
                  </a:lnTo>
                  <a:lnTo>
                    <a:pt x="334" y="444"/>
                  </a:lnTo>
                  <a:lnTo>
                    <a:pt x="332" y="444"/>
                  </a:lnTo>
                  <a:lnTo>
                    <a:pt x="332" y="444"/>
                  </a:lnTo>
                  <a:lnTo>
                    <a:pt x="334" y="442"/>
                  </a:lnTo>
                  <a:lnTo>
                    <a:pt x="332" y="442"/>
                  </a:lnTo>
                  <a:lnTo>
                    <a:pt x="332" y="440"/>
                  </a:lnTo>
                  <a:lnTo>
                    <a:pt x="332" y="440"/>
                  </a:lnTo>
                  <a:lnTo>
                    <a:pt x="331" y="440"/>
                  </a:lnTo>
                  <a:lnTo>
                    <a:pt x="331" y="439"/>
                  </a:lnTo>
                  <a:lnTo>
                    <a:pt x="329" y="439"/>
                  </a:lnTo>
                  <a:lnTo>
                    <a:pt x="329" y="437"/>
                  </a:lnTo>
                  <a:lnTo>
                    <a:pt x="327" y="437"/>
                  </a:lnTo>
                  <a:lnTo>
                    <a:pt x="327" y="435"/>
                  </a:lnTo>
                  <a:lnTo>
                    <a:pt x="327" y="435"/>
                  </a:lnTo>
                  <a:lnTo>
                    <a:pt x="331" y="433"/>
                  </a:lnTo>
                  <a:lnTo>
                    <a:pt x="331" y="433"/>
                  </a:lnTo>
                  <a:lnTo>
                    <a:pt x="331" y="431"/>
                  </a:lnTo>
                  <a:lnTo>
                    <a:pt x="331" y="430"/>
                  </a:lnTo>
                  <a:lnTo>
                    <a:pt x="331" y="428"/>
                  </a:lnTo>
                  <a:lnTo>
                    <a:pt x="332" y="430"/>
                  </a:lnTo>
                  <a:lnTo>
                    <a:pt x="332" y="428"/>
                  </a:lnTo>
                  <a:lnTo>
                    <a:pt x="334" y="426"/>
                  </a:lnTo>
                  <a:lnTo>
                    <a:pt x="334" y="424"/>
                  </a:lnTo>
                  <a:lnTo>
                    <a:pt x="334" y="422"/>
                  </a:lnTo>
                  <a:lnTo>
                    <a:pt x="334" y="422"/>
                  </a:lnTo>
                  <a:lnTo>
                    <a:pt x="332" y="422"/>
                  </a:lnTo>
                  <a:lnTo>
                    <a:pt x="331" y="421"/>
                  </a:lnTo>
                  <a:lnTo>
                    <a:pt x="331" y="421"/>
                  </a:lnTo>
                  <a:lnTo>
                    <a:pt x="332" y="419"/>
                  </a:lnTo>
                  <a:lnTo>
                    <a:pt x="331" y="417"/>
                  </a:lnTo>
                  <a:lnTo>
                    <a:pt x="331" y="417"/>
                  </a:lnTo>
                  <a:lnTo>
                    <a:pt x="329" y="417"/>
                  </a:lnTo>
                  <a:lnTo>
                    <a:pt x="329" y="417"/>
                  </a:lnTo>
                  <a:lnTo>
                    <a:pt x="329" y="417"/>
                  </a:lnTo>
                  <a:lnTo>
                    <a:pt x="320" y="412"/>
                  </a:lnTo>
                  <a:lnTo>
                    <a:pt x="320" y="412"/>
                  </a:lnTo>
                  <a:lnTo>
                    <a:pt x="320" y="412"/>
                  </a:lnTo>
                  <a:lnTo>
                    <a:pt x="320" y="410"/>
                  </a:lnTo>
                  <a:lnTo>
                    <a:pt x="320" y="410"/>
                  </a:lnTo>
                  <a:lnTo>
                    <a:pt x="320" y="408"/>
                  </a:lnTo>
                  <a:lnTo>
                    <a:pt x="318" y="408"/>
                  </a:lnTo>
                  <a:lnTo>
                    <a:pt x="318" y="408"/>
                  </a:lnTo>
                  <a:lnTo>
                    <a:pt x="316" y="406"/>
                  </a:lnTo>
                  <a:lnTo>
                    <a:pt x="316" y="404"/>
                  </a:lnTo>
                  <a:lnTo>
                    <a:pt x="318" y="403"/>
                  </a:lnTo>
                  <a:lnTo>
                    <a:pt x="318" y="403"/>
                  </a:lnTo>
                  <a:lnTo>
                    <a:pt x="316" y="401"/>
                  </a:lnTo>
                  <a:lnTo>
                    <a:pt x="316" y="401"/>
                  </a:lnTo>
                  <a:lnTo>
                    <a:pt x="314" y="399"/>
                  </a:lnTo>
                  <a:lnTo>
                    <a:pt x="312" y="397"/>
                  </a:lnTo>
                  <a:lnTo>
                    <a:pt x="312" y="397"/>
                  </a:lnTo>
                  <a:lnTo>
                    <a:pt x="312" y="395"/>
                  </a:lnTo>
                  <a:lnTo>
                    <a:pt x="312" y="395"/>
                  </a:lnTo>
                  <a:lnTo>
                    <a:pt x="314" y="395"/>
                  </a:lnTo>
                  <a:lnTo>
                    <a:pt x="314" y="393"/>
                  </a:lnTo>
                  <a:lnTo>
                    <a:pt x="312" y="393"/>
                  </a:lnTo>
                  <a:lnTo>
                    <a:pt x="312" y="392"/>
                  </a:lnTo>
                  <a:lnTo>
                    <a:pt x="312" y="392"/>
                  </a:lnTo>
                  <a:lnTo>
                    <a:pt x="312" y="392"/>
                  </a:lnTo>
                  <a:lnTo>
                    <a:pt x="316" y="392"/>
                  </a:lnTo>
                  <a:lnTo>
                    <a:pt x="316" y="392"/>
                  </a:lnTo>
                  <a:lnTo>
                    <a:pt x="316" y="393"/>
                  </a:lnTo>
                  <a:lnTo>
                    <a:pt x="316" y="393"/>
                  </a:lnTo>
                  <a:lnTo>
                    <a:pt x="316" y="395"/>
                  </a:lnTo>
                  <a:lnTo>
                    <a:pt x="318" y="395"/>
                  </a:lnTo>
                  <a:lnTo>
                    <a:pt x="318" y="395"/>
                  </a:lnTo>
                  <a:lnTo>
                    <a:pt x="320" y="395"/>
                  </a:lnTo>
                  <a:lnTo>
                    <a:pt x="320" y="395"/>
                  </a:lnTo>
                  <a:lnTo>
                    <a:pt x="320" y="395"/>
                  </a:lnTo>
                  <a:lnTo>
                    <a:pt x="320" y="395"/>
                  </a:lnTo>
                  <a:lnTo>
                    <a:pt x="320" y="397"/>
                  </a:lnTo>
                  <a:lnTo>
                    <a:pt x="320" y="397"/>
                  </a:lnTo>
                  <a:lnTo>
                    <a:pt x="320" y="397"/>
                  </a:lnTo>
                  <a:lnTo>
                    <a:pt x="320" y="397"/>
                  </a:lnTo>
                  <a:lnTo>
                    <a:pt x="320" y="397"/>
                  </a:lnTo>
                  <a:lnTo>
                    <a:pt x="320" y="397"/>
                  </a:lnTo>
                  <a:lnTo>
                    <a:pt x="320" y="397"/>
                  </a:lnTo>
                  <a:lnTo>
                    <a:pt x="320" y="397"/>
                  </a:lnTo>
                  <a:lnTo>
                    <a:pt x="320" y="397"/>
                  </a:lnTo>
                  <a:lnTo>
                    <a:pt x="320" y="399"/>
                  </a:lnTo>
                  <a:lnTo>
                    <a:pt x="322" y="399"/>
                  </a:lnTo>
                  <a:lnTo>
                    <a:pt x="322" y="399"/>
                  </a:lnTo>
                  <a:lnTo>
                    <a:pt x="322" y="399"/>
                  </a:lnTo>
                  <a:lnTo>
                    <a:pt x="322" y="401"/>
                  </a:lnTo>
                  <a:lnTo>
                    <a:pt x="322" y="403"/>
                  </a:lnTo>
                  <a:lnTo>
                    <a:pt x="322" y="403"/>
                  </a:lnTo>
                  <a:lnTo>
                    <a:pt x="323" y="403"/>
                  </a:lnTo>
                  <a:lnTo>
                    <a:pt x="323" y="403"/>
                  </a:lnTo>
                  <a:lnTo>
                    <a:pt x="323" y="403"/>
                  </a:lnTo>
                  <a:lnTo>
                    <a:pt x="323" y="401"/>
                  </a:lnTo>
                  <a:lnTo>
                    <a:pt x="323" y="401"/>
                  </a:lnTo>
                  <a:lnTo>
                    <a:pt x="323" y="399"/>
                  </a:lnTo>
                  <a:lnTo>
                    <a:pt x="323" y="397"/>
                  </a:lnTo>
                  <a:lnTo>
                    <a:pt x="325" y="397"/>
                  </a:lnTo>
                  <a:lnTo>
                    <a:pt x="325" y="395"/>
                  </a:lnTo>
                  <a:lnTo>
                    <a:pt x="325" y="395"/>
                  </a:lnTo>
                  <a:lnTo>
                    <a:pt x="325" y="393"/>
                  </a:lnTo>
                  <a:lnTo>
                    <a:pt x="327" y="393"/>
                  </a:lnTo>
                  <a:lnTo>
                    <a:pt x="329" y="392"/>
                  </a:lnTo>
                  <a:lnTo>
                    <a:pt x="329" y="390"/>
                  </a:lnTo>
                  <a:lnTo>
                    <a:pt x="331" y="390"/>
                  </a:lnTo>
                  <a:lnTo>
                    <a:pt x="331" y="390"/>
                  </a:lnTo>
                  <a:lnTo>
                    <a:pt x="331" y="388"/>
                  </a:lnTo>
                  <a:lnTo>
                    <a:pt x="331" y="390"/>
                  </a:lnTo>
                  <a:lnTo>
                    <a:pt x="331" y="388"/>
                  </a:lnTo>
                  <a:lnTo>
                    <a:pt x="332" y="388"/>
                  </a:lnTo>
                  <a:lnTo>
                    <a:pt x="331" y="388"/>
                  </a:lnTo>
                  <a:lnTo>
                    <a:pt x="331" y="388"/>
                  </a:lnTo>
                  <a:lnTo>
                    <a:pt x="331" y="388"/>
                  </a:lnTo>
                  <a:lnTo>
                    <a:pt x="332" y="388"/>
                  </a:lnTo>
                  <a:lnTo>
                    <a:pt x="332" y="386"/>
                  </a:lnTo>
                  <a:lnTo>
                    <a:pt x="332" y="386"/>
                  </a:lnTo>
                  <a:lnTo>
                    <a:pt x="332" y="386"/>
                  </a:lnTo>
                  <a:lnTo>
                    <a:pt x="334" y="384"/>
                  </a:lnTo>
                  <a:lnTo>
                    <a:pt x="336" y="384"/>
                  </a:lnTo>
                  <a:lnTo>
                    <a:pt x="340" y="384"/>
                  </a:lnTo>
                  <a:lnTo>
                    <a:pt x="341" y="384"/>
                  </a:lnTo>
                  <a:lnTo>
                    <a:pt x="343" y="384"/>
                  </a:lnTo>
                  <a:lnTo>
                    <a:pt x="343" y="384"/>
                  </a:lnTo>
                  <a:lnTo>
                    <a:pt x="345" y="383"/>
                  </a:lnTo>
                  <a:lnTo>
                    <a:pt x="345" y="383"/>
                  </a:lnTo>
                  <a:lnTo>
                    <a:pt x="345" y="381"/>
                  </a:lnTo>
                  <a:lnTo>
                    <a:pt x="347" y="381"/>
                  </a:lnTo>
                  <a:lnTo>
                    <a:pt x="347" y="381"/>
                  </a:lnTo>
                  <a:lnTo>
                    <a:pt x="349" y="381"/>
                  </a:lnTo>
                  <a:lnTo>
                    <a:pt x="349" y="381"/>
                  </a:lnTo>
                  <a:lnTo>
                    <a:pt x="349" y="381"/>
                  </a:lnTo>
                  <a:lnTo>
                    <a:pt x="349" y="381"/>
                  </a:lnTo>
                  <a:lnTo>
                    <a:pt x="354" y="384"/>
                  </a:lnTo>
                  <a:lnTo>
                    <a:pt x="356" y="384"/>
                  </a:lnTo>
                  <a:lnTo>
                    <a:pt x="356" y="384"/>
                  </a:lnTo>
                  <a:lnTo>
                    <a:pt x="358" y="383"/>
                  </a:lnTo>
                  <a:lnTo>
                    <a:pt x="358" y="381"/>
                  </a:lnTo>
                  <a:lnTo>
                    <a:pt x="358" y="381"/>
                  </a:lnTo>
                  <a:lnTo>
                    <a:pt x="358" y="377"/>
                  </a:lnTo>
                  <a:lnTo>
                    <a:pt x="359" y="377"/>
                  </a:lnTo>
                  <a:lnTo>
                    <a:pt x="359" y="377"/>
                  </a:lnTo>
                  <a:lnTo>
                    <a:pt x="359" y="377"/>
                  </a:lnTo>
                  <a:lnTo>
                    <a:pt x="359" y="377"/>
                  </a:lnTo>
                  <a:lnTo>
                    <a:pt x="361" y="377"/>
                  </a:lnTo>
                  <a:lnTo>
                    <a:pt x="361" y="377"/>
                  </a:lnTo>
                  <a:lnTo>
                    <a:pt x="361" y="377"/>
                  </a:lnTo>
                  <a:lnTo>
                    <a:pt x="361" y="377"/>
                  </a:lnTo>
                  <a:lnTo>
                    <a:pt x="361" y="377"/>
                  </a:lnTo>
                  <a:lnTo>
                    <a:pt x="361" y="377"/>
                  </a:lnTo>
                  <a:lnTo>
                    <a:pt x="363" y="377"/>
                  </a:lnTo>
                  <a:lnTo>
                    <a:pt x="367" y="377"/>
                  </a:lnTo>
                  <a:lnTo>
                    <a:pt x="367" y="375"/>
                  </a:lnTo>
                  <a:lnTo>
                    <a:pt x="368" y="374"/>
                  </a:lnTo>
                  <a:lnTo>
                    <a:pt x="370" y="370"/>
                  </a:lnTo>
                  <a:lnTo>
                    <a:pt x="370" y="370"/>
                  </a:lnTo>
                  <a:lnTo>
                    <a:pt x="372" y="370"/>
                  </a:lnTo>
                  <a:lnTo>
                    <a:pt x="372" y="372"/>
                  </a:lnTo>
                  <a:lnTo>
                    <a:pt x="374" y="370"/>
                  </a:lnTo>
                  <a:lnTo>
                    <a:pt x="374" y="368"/>
                  </a:lnTo>
                  <a:lnTo>
                    <a:pt x="374" y="368"/>
                  </a:lnTo>
                  <a:lnTo>
                    <a:pt x="376" y="366"/>
                  </a:lnTo>
                  <a:lnTo>
                    <a:pt x="376" y="366"/>
                  </a:lnTo>
                  <a:lnTo>
                    <a:pt x="376" y="366"/>
                  </a:lnTo>
                  <a:lnTo>
                    <a:pt x="376" y="366"/>
                  </a:lnTo>
                  <a:lnTo>
                    <a:pt x="378" y="366"/>
                  </a:lnTo>
                  <a:lnTo>
                    <a:pt x="378" y="366"/>
                  </a:lnTo>
                  <a:lnTo>
                    <a:pt x="378" y="368"/>
                  </a:lnTo>
                  <a:lnTo>
                    <a:pt x="379" y="368"/>
                  </a:lnTo>
                  <a:lnTo>
                    <a:pt x="379" y="368"/>
                  </a:lnTo>
                  <a:lnTo>
                    <a:pt x="381" y="368"/>
                  </a:lnTo>
                  <a:lnTo>
                    <a:pt x="381" y="368"/>
                  </a:lnTo>
                  <a:lnTo>
                    <a:pt x="383" y="366"/>
                  </a:lnTo>
                  <a:lnTo>
                    <a:pt x="383" y="366"/>
                  </a:lnTo>
                  <a:lnTo>
                    <a:pt x="383" y="366"/>
                  </a:lnTo>
                  <a:lnTo>
                    <a:pt x="383" y="366"/>
                  </a:lnTo>
                  <a:lnTo>
                    <a:pt x="383" y="365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5" y="363"/>
                  </a:lnTo>
                  <a:lnTo>
                    <a:pt x="385" y="361"/>
                  </a:lnTo>
                  <a:lnTo>
                    <a:pt x="387" y="361"/>
                  </a:lnTo>
                  <a:lnTo>
                    <a:pt x="388" y="359"/>
                  </a:lnTo>
                  <a:lnTo>
                    <a:pt x="392" y="359"/>
                  </a:lnTo>
                  <a:lnTo>
                    <a:pt x="394" y="359"/>
                  </a:lnTo>
                  <a:lnTo>
                    <a:pt x="396" y="359"/>
                  </a:lnTo>
                  <a:lnTo>
                    <a:pt x="397" y="359"/>
                  </a:lnTo>
                  <a:lnTo>
                    <a:pt x="399" y="359"/>
                  </a:lnTo>
                  <a:lnTo>
                    <a:pt x="399" y="359"/>
                  </a:lnTo>
                  <a:lnTo>
                    <a:pt x="401" y="357"/>
                  </a:lnTo>
                  <a:lnTo>
                    <a:pt x="401" y="357"/>
                  </a:lnTo>
                  <a:lnTo>
                    <a:pt x="401" y="357"/>
                  </a:lnTo>
                  <a:lnTo>
                    <a:pt x="403" y="357"/>
                  </a:lnTo>
                  <a:lnTo>
                    <a:pt x="403" y="357"/>
                  </a:lnTo>
                  <a:lnTo>
                    <a:pt x="403" y="356"/>
                  </a:lnTo>
                  <a:lnTo>
                    <a:pt x="403" y="356"/>
                  </a:lnTo>
                  <a:lnTo>
                    <a:pt x="403" y="356"/>
                  </a:lnTo>
                  <a:lnTo>
                    <a:pt x="403" y="354"/>
                  </a:lnTo>
                  <a:lnTo>
                    <a:pt x="403" y="354"/>
                  </a:lnTo>
                  <a:lnTo>
                    <a:pt x="403" y="354"/>
                  </a:lnTo>
                  <a:lnTo>
                    <a:pt x="405" y="354"/>
                  </a:lnTo>
                  <a:lnTo>
                    <a:pt x="405" y="354"/>
                  </a:lnTo>
                  <a:lnTo>
                    <a:pt x="406" y="354"/>
                  </a:lnTo>
                  <a:lnTo>
                    <a:pt x="406" y="352"/>
                  </a:lnTo>
                  <a:lnTo>
                    <a:pt x="406" y="352"/>
                  </a:lnTo>
                  <a:lnTo>
                    <a:pt x="408" y="352"/>
                  </a:lnTo>
                  <a:lnTo>
                    <a:pt x="410" y="352"/>
                  </a:lnTo>
                  <a:lnTo>
                    <a:pt x="417" y="348"/>
                  </a:lnTo>
                  <a:lnTo>
                    <a:pt x="419" y="348"/>
                  </a:lnTo>
                  <a:lnTo>
                    <a:pt x="419" y="347"/>
                  </a:lnTo>
                  <a:lnTo>
                    <a:pt x="419" y="347"/>
                  </a:lnTo>
                  <a:lnTo>
                    <a:pt x="421" y="347"/>
                  </a:lnTo>
                  <a:lnTo>
                    <a:pt x="426" y="347"/>
                  </a:lnTo>
                  <a:lnTo>
                    <a:pt x="426" y="345"/>
                  </a:lnTo>
                  <a:lnTo>
                    <a:pt x="428" y="343"/>
                  </a:lnTo>
                  <a:lnTo>
                    <a:pt x="426" y="343"/>
                  </a:lnTo>
                  <a:lnTo>
                    <a:pt x="424" y="341"/>
                  </a:lnTo>
                  <a:lnTo>
                    <a:pt x="423" y="341"/>
                  </a:lnTo>
                  <a:lnTo>
                    <a:pt x="423" y="339"/>
                  </a:lnTo>
                  <a:lnTo>
                    <a:pt x="423" y="339"/>
                  </a:lnTo>
                  <a:lnTo>
                    <a:pt x="423" y="339"/>
                  </a:lnTo>
                  <a:lnTo>
                    <a:pt x="423" y="339"/>
                  </a:lnTo>
                  <a:lnTo>
                    <a:pt x="421" y="339"/>
                  </a:lnTo>
                  <a:lnTo>
                    <a:pt x="421" y="339"/>
                  </a:lnTo>
                  <a:lnTo>
                    <a:pt x="421" y="337"/>
                  </a:lnTo>
                  <a:lnTo>
                    <a:pt x="421" y="336"/>
                  </a:lnTo>
                  <a:lnTo>
                    <a:pt x="423" y="334"/>
                  </a:lnTo>
                  <a:lnTo>
                    <a:pt x="424" y="334"/>
                  </a:lnTo>
                  <a:lnTo>
                    <a:pt x="426" y="334"/>
                  </a:lnTo>
                  <a:lnTo>
                    <a:pt x="426" y="336"/>
                  </a:lnTo>
                  <a:lnTo>
                    <a:pt x="426" y="336"/>
                  </a:lnTo>
                  <a:lnTo>
                    <a:pt x="426" y="336"/>
                  </a:lnTo>
                  <a:lnTo>
                    <a:pt x="428" y="336"/>
                  </a:lnTo>
                  <a:lnTo>
                    <a:pt x="428" y="336"/>
                  </a:lnTo>
                  <a:lnTo>
                    <a:pt x="430" y="336"/>
                  </a:lnTo>
                  <a:lnTo>
                    <a:pt x="432" y="336"/>
                  </a:lnTo>
                  <a:lnTo>
                    <a:pt x="432" y="336"/>
                  </a:lnTo>
                  <a:lnTo>
                    <a:pt x="432" y="334"/>
                  </a:lnTo>
                  <a:lnTo>
                    <a:pt x="432" y="334"/>
                  </a:lnTo>
                  <a:lnTo>
                    <a:pt x="433" y="336"/>
                  </a:lnTo>
                  <a:lnTo>
                    <a:pt x="433" y="336"/>
                  </a:lnTo>
                  <a:lnTo>
                    <a:pt x="433" y="336"/>
                  </a:lnTo>
                  <a:lnTo>
                    <a:pt x="433" y="337"/>
                  </a:lnTo>
                  <a:lnTo>
                    <a:pt x="435" y="337"/>
                  </a:lnTo>
                  <a:lnTo>
                    <a:pt x="435" y="337"/>
                  </a:lnTo>
                  <a:lnTo>
                    <a:pt x="437" y="337"/>
                  </a:lnTo>
                  <a:lnTo>
                    <a:pt x="437" y="339"/>
                  </a:lnTo>
                  <a:lnTo>
                    <a:pt x="437" y="339"/>
                  </a:lnTo>
                  <a:lnTo>
                    <a:pt x="437" y="341"/>
                  </a:lnTo>
                  <a:lnTo>
                    <a:pt x="437" y="341"/>
                  </a:lnTo>
                  <a:lnTo>
                    <a:pt x="435" y="343"/>
                  </a:lnTo>
                  <a:lnTo>
                    <a:pt x="435" y="345"/>
                  </a:lnTo>
                  <a:lnTo>
                    <a:pt x="437" y="345"/>
                  </a:lnTo>
                  <a:lnTo>
                    <a:pt x="439" y="343"/>
                  </a:lnTo>
                  <a:lnTo>
                    <a:pt x="439" y="343"/>
                  </a:lnTo>
                  <a:lnTo>
                    <a:pt x="441" y="345"/>
                  </a:lnTo>
                  <a:lnTo>
                    <a:pt x="439" y="345"/>
                  </a:lnTo>
                  <a:lnTo>
                    <a:pt x="439" y="347"/>
                  </a:lnTo>
                  <a:lnTo>
                    <a:pt x="439" y="348"/>
                  </a:lnTo>
                  <a:lnTo>
                    <a:pt x="439" y="350"/>
                  </a:lnTo>
                  <a:lnTo>
                    <a:pt x="441" y="350"/>
                  </a:lnTo>
                  <a:lnTo>
                    <a:pt x="441" y="350"/>
                  </a:lnTo>
                  <a:lnTo>
                    <a:pt x="443" y="352"/>
                  </a:lnTo>
                  <a:lnTo>
                    <a:pt x="444" y="352"/>
                  </a:lnTo>
                  <a:lnTo>
                    <a:pt x="446" y="352"/>
                  </a:lnTo>
                  <a:lnTo>
                    <a:pt x="446" y="352"/>
                  </a:lnTo>
                  <a:lnTo>
                    <a:pt x="448" y="352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47"/>
                  </a:lnTo>
                  <a:lnTo>
                    <a:pt x="450" y="345"/>
                  </a:lnTo>
                  <a:lnTo>
                    <a:pt x="452" y="343"/>
                  </a:lnTo>
                  <a:lnTo>
                    <a:pt x="453" y="337"/>
                  </a:lnTo>
                  <a:lnTo>
                    <a:pt x="455" y="332"/>
                  </a:lnTo>
                  <a:lnTo>
                    <a:pt x="457" y="330"/>
                  </a:lnTo>
                  <a:lnTo>
                    <a:pt x="457" y="330"/>
                  </a:lnTo>
                  <a:lnTo>
                    <a:pt x="457" y="328"/>
                  </a:lnTo>
                  <a:lnTo>
                    <a:pt x="457" y="328"/>
                  </a:lnTo>
                  <a:lnTo>
                    <a:pt x="457" y="328"/>
                  </a:lnTo>
                  <a:lnTo>
                    <a:pt x="457" y="327"/>
                  </a:lnTo>
                  <a:lnTo>
                    <a:pt x="457" y="327"/>
                  </a:lnTo>
                  <a:lnTo>
                    <a:pt x="457" y="325"/>
                  </a:lnTo>
                  <a:lnTo>
                    <a:pt x="457" y="321"/>
                  </a:lnTo>
                  <a:lnTo>
                    <a:pt x="459" y="319"/>
                  </a:lnTo>
                  <a:lnTo>
                    <a:pt x="459" y="318"/>
                  </a:lnTo>
                  <a:lnTo>
                    <a:pt x="459" y="318"/>
                  </a:lnTo>
                  <a:close/>
                  <a:moveTo>
                    <a:pt x="123" y="27"/>
                  </a:moveTo>
                  <a:lnTo>
                    <a:pt x="123" y="27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3" y="18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2" y="14"/>
                  </a:lnTo>
                  <a:lnTo>
                    <a:pt x="134" y="14"/>
                  </a:lnTo>
                  <a:lnTo>
                    <a:pt x="139" y="14"/>
                  </a:lnTo>
                  <a:lnTo>
                    <a:pt x="141" y="14"/>
                  </a:lnTo>
                  <a:lnTo>
                    <a:pt x="130" y="14"/>
                  </a:lnTo>
                  <a:lnTo>
                    <a:pt x="126" y="14"/>
                  </a:lnTo>
                  <a:lnTo>
                    <a:pt x="125" y="12"/>
                  </a:lnTo>
                  <a:lnTo>
                    <a:pt x="126" y="9"/>
                  </a:lnTo>
                  <a:lnTo>
                    <a:pt x="125" y="7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8" y="3"/>
                  </a:lnTo>
                  <a:lnTo>
                    <a:pt x="130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28" y="0"/>
                  </a:lnTo>
                  <a:lnTo>
                    <a:pt x="126" y="2"/>
                  </a:lnTo>
                  <a:lnTo>
                    <a:pt x="123" y="12"/>
                  </a:lnTo>
                  <a:lnTo>
                    <a:pt x="123" y="14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23" y="27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3" name="Freeform 152">
              <a:extLst>
                <a:ext uri="{FF2B5EF4-FFF2-40B4-BE49-F238E27FC236}">
                  <a16:creationId xmlns:a16="http://schemas.microsoft.com/office/drawing/2014/main" id="{80C02545-91DC-0CEA-447E-1FC2F5D1F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5700" y="4751388"/>
              <a:ext cx="533400" cy="269875"/>
            </a:xfrm>
            <a:custGeom>
              <a:avLst/>
              <a:gdLst>
                <a:gd name="T0" fmla="*/ 329 w 336"/>
                <a:gd name="T1" fmla="*/ 148 h 170"/>
                <a:gd name="T2" fmla="*/ 316 w 336"/>
                <a:gd name="T3" fmla="*/ 135 h 170"/>
                <a:gd name="T4" fmla="*/ 311 w 336"/>
                <a:gd name="T5" fmla="*/ 126 h 170"/>
                <a:gd name="T6" fmla="*/ 322 w 336"/>
                <a:gd name="T7" fmla="*/ 117 h 170"/>
                <a:gd name="T8" fmla="*/ 313 w 336"/>
                <a:gd name="T9" fmla="*/ 106 h 170"/>
                <a:gd name="T10" fmla="*/ 306 w 336"/>
                <a:gd name="T11" fmla="*/ 105 h 170"/>
                <a:gd name="T12" fmla="*/ 298 w 336"/>
                <a:gd name="T13" fmla="*/ 105 h 170"/>
                <a:gd name="T14" fmla="*/ 282 w 336"/>
                <a:gd name="T15" fmla="*/ 92 h 170"/>
                <a:gd name="T16" fmla="*/ 269 w 336"/>
                <a:gd name="T17" fmla="*/ 72 h 170"/>
                <a:gd name="T18" fmla="*/ 257 w 336"/>
                <a:gd name="T19" fmla="*/ 59 h 170"/>
                <a:gd name="T20" fmla="*/ 242 w 336"/>
                <a:gd name="T21" fmla="*/ 58 h 170"/>
                <a:gd name="T22" fmla="*/ 233 w 336"/>
                <a:gd name="T23" fmla="*/ 58 h 170"/>
                <a:gd name="T24" fmla="*/ 214 w 336"/>
                <a:gd name="T25" fmla="*/ 61 h 170"/>
                <a:gd name="T26" fmla="*/ 201 w 336"/>
                <a:gd name="T27" fmla="*/ 68 h 170"/>
                <a:gd name="T28" fmla="*/ 188 w 336"/>
                <a:gd name="T29" fmla="*/ 65 h 170"/>
                <a:gd name="T30" fmla="*/ 185 w 336"/>
                <a:gd name="T31" fmla="*/ 54 h 170"/>
                <a:gd name="T32" fmla="*/ 154 w 336"/>
                <a:gd name="T33" fmla="*/ 38 h 170"/>
                <a:gd name="T34" fmla="*/ 143 w 336"/>
                <a:gd name="T35" fmla="*/ 27 h 170"/>
                <a:gd name="T36" fmla="*/ 129 w 336"/>
                <a:gd name="T37" fmla="*/ 29 h 170"/>
                <a:gd name="T38" fmla="*/ 105 w 336"/>
                <a:gd name="T39" fmla="*/ 27 h 170"/>
                <a:gd name="T40" fmla="*/ 87 w 336"/>
                <a:gd name="T41" fmla="*/ 25 h 170"/>
                <a:gd name="T42" fmla="*/ 73 w 336"/>
                <a:gd name="T43" fmla="*/ 18 h 170"/>
                <a:gd name="T44" fmla="*/ 55 w 336"/>
                <a:gd name="T45" fmla="*/ 14 h 170"/>
                <a:gd name="T46" fmla="*/ 29 w 336"/>
                <a:gd name="T47" fmla="*/ 3 h 170"/>
                <a:gd name="T48" fmla="*/ 0 w 336"/>
                <a:gd name="T49" fmla="*/ 12 h 170"/>
                <a:gd name="T50" fmla="*/ 13 w 336"/>
                <a:gd name="T51" fmla="*/ 18 h 170"/>
                <a:gd name="T52" fmla="*/ 20 w 336"/>
                <a:gd name="T53" fmla="*/ 27 h 170"/>
                <a:gd name="T54" fmla="*/ 31 w 336"/>
                <a:gd name="T55" fmla="*/ 32 h 170"/>
                <a:gd name="T56" fmla="*/ 46 w 336"/>
                <a:gd name="T57" fmla="*/ 38 h 170"/>
                <a:gd name="T58" fmla="*/ 60 w 336"/>
                <a:gd name="T59" fmla="*/ 52 h 170"/>
                <a:gd name="T60" fmla="*/ 67 w 336"/>
                <a:gd name="T61" fmla="*/ 56 h 170"/>
                <a:gd name="T62" fmla="*/ 80 w 336"/>
                <a:gd name="T63" fmla="*/ 81 h 170"/>
                <a:gd name="T64" fmla="*/ 85 w 336"/>
                <a:gd name="T65" fmla="*/ 101 h 170"/>
                <a:gd name="T66" fmla="*/ 89 w 336"/>
                <a:gd name="T67" fmla="*/ 121 h 170"/>
                <a:gd name="T68" fmla="*/ 78 w 336"/>
                <a:gd name="T69" fmla="*/ 139 h 170"/>
                <a:gd name="T70" fmla="*/ 87 w 336"/>
                <a:gd name="T71" fmla="*/ 143 h 170"/>
                <a:gd name="T72" fmla="*/ 98 w 336"/>
                <a:gd name="T73" fmla="*/ 141 h 170"/>
                <a:gd name="T74" fmla="*/ 109 w 336"/>
                <a:gd name="T75" fmla="*/ 141 h 170"/>
                <a:gd name="T76" fmla="*/ 127 w 336"/>
                <a:gd name="T77" fmla="*/ 143 h 170"/>
                <a:gd name="T78" fmla="*/ 134 w 336"/>
                <a:gd name="T79" fmla="*/ 133 h 170"/>
                <a:gd name="T80" fmla="*/ 139 w 336"/>
                <a:gd name="T81" fmla="*/ 141 h 170"/>
                <a:gd name="T82" fmla="*/ 147 w 336"/>
                <a:gd name="T83" fmla="*/ 143 h 170"/>
                <a:gd name="T84" fmla="*/ 156 w 336"/>
                <a:gd name="T85" fmla="*/ 150 h 170"/>
                <a:gd name="T86" fmla="*/ 159 w 336"/>
                <a:gd name="T87" fmla="*/ 157 h 170"/>
                <a:gd name="T88" fmla="*/ 174 w 336"/>
                <a:gd name="T89" fmla="*/ 162 h 170"/>
                <a:gd name="T90" fmla="*/ 190 w 336"/>
                <a:gd name="T91" fmla="*/ 166 h 170"/>
                <a:gd name="T92" fmla="*/ 204 w 336"/>
                <a:gd name="T93" fmla="*/ 161 h 170"/>
                <a:gd name="T94" fmla="*/ 212 w 336"/>
                <a:gd name="T95" fmla="*/ 159 h 170"/>
                <a:gd name="T96" fmla="*/ 219 w 336"/>
                <a:gd name="T97" fmla="*/ 159 h 170"/>
                <a:gd name="T98" fmla="*/ 228 w 336"/>
                <a:gd name="T99" fmla="*/ 161 h 170"/>
                <a:gd name="T100" fmla="*/ 242 w 336"/>
                <a:gd name="T101" fmla="*/ 161 h 170"/>
                <a:gd name="T102" fmla="*/ 250 w 336"/>
                <a:gd name="T103" fmla="*/ 155 h 170"/>
                <a:gd name="T104" fmla="*/ 271 w 336"/>
                <a:gd name="T105" fmla="*/ 144 h 170"/>
                <a:gd name="T106" fmla="*/ 289 w 336"/>
                <a:gd name="T107" fmla="*/ 152 h 170"/>
                <a:gd name="T108" fmla="*/ 300 w 336"/>
                <a:gd name="T109" fmla="*/ 162 h 170"/>
                <a:gd name="T110" fmla="*/ 315 w 336"/>
                <a:gd name="T111" fmla="*/ 161 h 170"/>
                <a:gd name="T112" fmla="*/ 327 w 336"/>
                <a:gd name="T113" fmla="*/ 170 h 170"/>
                <a:gd name="T114" fmla="*/ 333 w 336"/>
                <a:gd name="T115" fmla="*/ 164 h 170"/>
                <a:gd name="T116" fmla="*/ 336 w 336"/>
                <a:gd name="T117" fmla="*/ 15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6" h="170">
                  <a:moveTo>
                    <a:pt x="336" y="155"/>
                  </a:moveTo>
                  <a:lnTo>
                    <a:pt x="334" y="152"/>
                  </a:lnTo>
                  <a:lnTo>
                    <a:pt x="334" y="152"/>
                  </a:lnTo>
                  <a:lnTo>
                    <a:pt x="333" y="150"/>
                  </a:lnTo>
                  <a:lnTo>
                    <a:pt x="333" y="150"/>
                  </a:lnTo>
                  <a:lnTo>
                    <a:pt x="333" y="150"/>
                  </a:lnTo>
                  <a:lnTo>
                    <a:pt x="333" y="150"/>
                  </a:lnTo>
                  <a:lnTo>
                    <a:pt x="331" y="148"/>
                  </a:lnTo>
                  <a:lnTo>
                    <a:pt x="329" y="148"/>
                  </a:lnTo>
                  <a:lnTo>
                    <a:pt x="324" y="144"/>
                  </a:lnTo>
                  <a:lnTo>
                    <a:pt x="322" y="143"/>
                  </a:lnTo>
                  <a:lnTo>
                    <a:pt x="320" y="143"/>
                  </a:lnTo>
                  <a:lnTo>
                    <a:pt x="320" y="143"/>
                  </a:lnTo>
                  <a:lnTo>
                    <a:pt x="318" y="141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5"/>
                  </a:lnTo>
                  <a:lnTo>
                    <a:pt x="316" y="135"/>
                  </a:lnTo>
                  <a:lnTo>
                    <a:pt x="315" y="133"/>
                  </a:lnTo>
                  <a:lnTo>
                    <a:pt x="315" y="132"/>
                  </a:lnTo>
                  <a:lnTo>
                    <a:pt x="315" y="132"/>
                  </a:lnTo>
                  <a:lnTo>
                    <a:pt x="313" y="133"/>
                  </a:lnTo>
                  <a:lnTo>
                    <a:pt x="313" y="133"/>
                  </a:lnTo>
                  <a:lnTo>
                    <a:pt x="313" y="133"/>
                  </a:lnTo>
                  <a:lnTo>
                    <a:pt x="311" y="133"/>
                  </a:lnTo>
                  <a:lnTo>
                    <a:pt x="311" y="130"/>
                  </a:lnTo>
                  <a:lnTo>
                    <a:pt x="311" y="126"/>
                  </a:lnTo>
                  <a:lnTo>
                    <a:pt x="311" y="124"/>
                  </a:lnTo>
                  <a:lnTo>
                    <a:pt x="313" y="123"/>
                  </a:lnTo>
                  <a:lnTo>
                    <a:pt x="313" y="123"/>
                  </a:lnTo>
                  <a:lnTo>
                    <a:pt x="316" y="123"/>
                  </a:lnTo>
                  <a:lnTo>
                    <a:pt x="316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20" y="119"/>
                  </a:lnTo>
                  <a:lnTo>
                    <a:pt x="322" y="117"/>
                  </a:lnTo>
                  <a:lnTo>
                    <a:pt x="324" y="114"/>
                  </a:lnTo>
                  <a:lnTo>
                    <a:pt x="322" y="112"/>
                  </a:lnTo>
                  <a:lnTo>
                    <a:pt x="322" y="112"/>
                  </a:lnTo>
                  <a:lnTo>
                    <a:pt x="318" y="112"/>
                  </a:lnTo>
                  <a:lnTo>
                    <a:pt x="316" y="110"/>
                  </a:lnTo>
                  <a:lnTo>
                    <a:pt x="315" y="108"/>
                  </a:lnTo>
                  <a:lnTo>
                    <a:pt x="313" y="106"/>
                  </a:lnTo>
                  <a:lnTo>
                    <a:pt x="313" y="106"/>
                  </a:lnTo>
                  <a:lnTo>
                    <a:pt x="313" y="106"/>
                  </a:lnTo>
                  <a:lnTo>
                    <a:pt x="311" y="106"/>
                  </a:lnTo>
                  <a:lnTo>
                    <a:pt x="311" y="106"/>
                  </a:lnTo>
                  <a:lnTo>
                    <a:pt x="311" y="106"/>
                  </a:lnTo>
                  <a:lnTo>
                    <a:pt x="311" y="106"/>
                  </a:lnTo>
                  <a:lnTo>
                    <a:pt x="309" y="108"/>
                  </a:lnTo>
                  <a:lnTo>
                    <a:pt x="307" y="108"/>
                  </a:lnTo>
                  <a:lnTo>
                    <a:pt x="306" y="106"/>
                  </a:lnTo>
                  <a:lnTo>
                    <a:pt x="306" y="106"/>
                  </a:lnTo>
                  <a:lnTo>
                    <a:pt x="306" y="105"/>
                  </a:lnTo>
                  <a:lnTo>
                    <a:pt x="304" y="106"/>
                  </a:lnTo>
                  <a:lnTo>
                    <a:pt x="304" y="106"/>
                  </a:lnTo>
                  <a:lnTo>
                    <a:pt x="302" y="105"/>
                  </a:lnTo>
                  <a:lnTo>
                    <a:pt x="302" y="105"/>
                  </a:lnTo>
                  <a:lnTo>
                    <a:pt x="302" y="105"/>
                  </a:lnTo>
                  <a:lnTo>
                    <a:pt x="302" y="105"/>
                  </a:lnTo>
                  <a:lnTo>
                    <a:pt x="300" y="105"/>
                  </a:lnTo>
                  <a:lnTo>
                    <a:pt x="300" y="105"/>
                  </a:lnTo>
                  <a:lnTo>
                    <a:pt x="298" y="105"/>
                  </a:lnTo>
                  <a:lnTo>
                    <a:pt x="298" y="105"/>
                  </a:lnTo>
                  <a:lnTo>
                    <a:pt x="298" y="105"/>
                  </a:lnTo>
                  <a:lnTo>
                    <a:pt x="297" y="101"/>
                  </a:lnTo>
                  <a:lnTo>
                    <a:pt x="297" y="99"/>
                  </a:lnTo>
                  <a:lnTo>
                    <a:pt x="293" y="99"/>
                  </a:lnTo>
                  <a:lnTo>
                    <a:pt x="288" y="96"/>
                  </a:lnTo>
                  <a:lnTo>
                    <a:pt x="286" y="94"/>
                  </a:lnTo>
                  <a:lnTo>
                    <a:pt x="284" y="94"/>
                  </a:lnTo>
                  <a:lnTo>
                    <a:pt x="282" y="92"/>
                  </a:lnTo>
                  <a:lnTo>
                    <a:pt x="289" y="77"/>
                  </a:lnTo>
                  <a:lnTo>
                    <a:pt x="289" y="76"/>
                  </a:lnTo>
                  <a:lnTo>
                    <a:pt x="289" y="76"/>
                  </a:lnTo>
                  <a:lnTo>
                    <a:pt x="288" y="72"/>
                  </a:lnTo>
                  <a:lnTo>
                    <a:pt x="282" y="70"/>
                  </a:lnTo>
                  <a:lnTo>
                    <a:pt x="279" y="70"/>
                  </a:lnTo>
                  <a:lnTo>
                    <a:pt x="277" y="70"/>
                  </a:lnTo>
                  <a:lnTo>
                    <a:pt x="271" y="72"/>
                  </a:lnTo>
                  <a:lnTo>
                    <a:pt x="269" y="72"/>
                  </a:lnTo>
                  <a:lnTo>
                    <a:pt x="268" y="70"/>
                  </a:lnTo>
                  <a:lnTo>
                    <a:pt x="268" y="70"/>
                  </a:lnTo>
                  <a:lnTo>
                    <a:pt x="268" y="68"/>
                  </a:lnTo>
                  <a:lnTo>
                    <a:pt x="266" y="68"/>
                  </a:lnTo>
                  <a:lnTo>
                    <a:pt x="266" y="67"/>
                  </a:lnTo>
                  <a:lnTo>
                    <a:pt x="260" y="61"/>
                  </a:lnTo>
                  <a:lnTo>
                    <a:pt x="260" y="59"/>
                  </a:lnTo>
                  <a:lnTo>
                    <a:pt x="259" y="59"/>
                  </a:lnTo>
                  <a:lnTo>
                    <a:pt x="257" y="59"/>
                  </a:lnTo>
                  <a:lnTo>
                    <a:pt x="255" y="59"/>
                  </a:lnTo>
                  <a:lnTo>
                    <a:pt x="255" y="59"/>
                  </a:lnTo>
                  <a:lnTo>
                    <a:pt x="255" y="61"/>
                  </a:lnTo>
                  <a:lnTo>
                    <a:pt x="253" y="59"/>
                  </a:lnTo>
                  <a:lnTo>
                    <a:pt x="253" y="59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42" y="61"/>
                  </a:lnTo>
                  <a:lnTo>
                    <a:pt x="241" y="65"/>
                  </a:lnTo>
                  <a:lnTo>
                    <a:pt x="241" y="65"/>
                  </a:lnTo>
                  <a:lnTo>
                    <a:pt x="241" y="65"/>
                  </a:lnTo>
                  <a:lnTo>
                    <a:pt x="239" y="61"/>
                  </a:lnTo>
                  <a:lnTo>
                    <a:pt x="239" y="59"/>
                  </a:lnTo>
                  <a:lnTo>
                    <a:pt x="237" y="59"/>
                  </a:lnTo>
                  <a:lnTo>
                    <a:pt x="235" y="58"/>
                  </a:lnTo>
                  <a:lnTo>
                    <a:pt x="233" y="58"/>
                  </a:lnTo>
                  <a:lnTo>
                    <a:pt x="233" y="58"/>
                  </a:lnTo>
                  <a:lnTo>
                    <a:pt x="232" y="56"/>
                  </a:lnTo>
                  <a:lnTo>
                    <a:pt x="230" y="56"/>
                  </a:lnTo>
                  <a:lnTo>
                    <a:pt x="228" y="56"/>
                  </a:lnTo>
                  <a:lnTo>
                    <a:pt x="226" y="56"/>
                  </a:lnTo>
                  <a:lnTo>
                    <a:pt x="223" y="59"/>
                  </a:lnTo>
                  <a:lnTo>
                    <a:pt x="221" y="59"/>
                  </a:lnTo>
                  <a:lnTo>
                    <a:pt x="215" y="59"/>
                  </a:lnTo>
                  <a:lnTo>
                    <a:pt x="214" y="61"/>
                  </a:lnTo>
                  <a:lnTo>
                    <a:pt x="214" y="63"/>
                  </a:lnTo>
                  <a:lnTo>
                    <a:pt x="212" y="63"/>
                  </a:lnTo>
                  <a:lnTo>
                    <a:pt x="212" y="65"/>
                  </a:lnTo>
                  <a:lnTo>
                    <a:pt x="212" y="65"/>
                  </a:lnTo>
                  <a:lnTo>
                    <a:pt x="210" y="65"/>
                  </a:lnTo>
                  <a:lnTo>
                    <a:pt x="204" y="65"/>
                  </a:lnTo>
                  <a:lnTo>
                    <a:pt x="203" y="67"/>
                  </a:lnTo>
                  <a:lnTo>
                    <a:pt x="201" y="67"/>
                  </a:lnTo>
                  <a:lnTo>
                    <a:pt x="201" y="68"/>
                  </a:lnTo>
                  <a:lnTo>
                    <a:pt x="199" y="70"/>
                  </a:lnTo>
                  <a:lnTo>
                    <a:pt x="199" y="70"/>
                  </a:lnTo>
                  <a:lnTo>
                    <a:pt x="197" y="68"/>
                  </a:lnTo>
                  <a:lnTo>
                    <a:pt x="197" y="68"/>
                  </a:lnTo>
                  <a:lnTo>
                    <a:pt x="195" y="68"/>
                  </a:lnTo>
                  <a:lnTo>
                    <a:pt x="194" y="67"/>
                  </a:lnTo>
                  <a:lnTo>
                    <a:pt x="192" y="67"/>
                  </a:lnTo>
                  <a:lnTo>
                    <a:pt x="190" y="67"/>
                  </a:lnTo>
                  <a:lnTo>
                    <a:pt x="188" y="65"/>
                  </a:lnTo>
                  <a:lnTo>
                    <a:pt x="188" y="63"/>
                  </a:lnTo>
                  <a:lnTo>
                    <a:pt x="190" y="61"/>
                  </a:lnTo>
                  <a:lnTo>
                    <a:pt x="192" y="59"/>
                  </a:lnTo>
                  <a:lnTo>
                    <a:pt x="192" y="58"/>
                  </a:lnTo>
                  <a:lnTo>
                    <a:pt x="192" y="56"/>
                  </a:lnTo>
                  <a:lnTo>
                    <a:pt x="190" y="56"/>
                  </a:lnTo>
                  <a:lnTo>
                    <a:pt x="190" y="56"/>
                  </a:lnTo>
                  <a:lnTo>
                    <a:pt x="185" y="54"/>
                  </a:lnTo>
                  <a:lnTo>
                    <a:pt x="185" y="54"/>
                  </a:lnTo>
                  <a:lnTo>
                    <a:pt x="183" y="50"/>
                  </a:lnTo>
                  <a:lnTo>
                    <a:pt x="181" y="50"/>
                  </a:lnTo>
                  <a:lnTo>
                    <a:pt x="177" y="49"/>
                  </a:lnTo>
                  <a:lnTo>
                    <a:pt x="176" y="49"/>
                  </a:lnTo>
                  <a:lnTo>
                    <a:pt x="170" y="47"/>
                  </a:lnTo>
                  <a:lnTo>
                    <a:pt x="161" y="45"/>
                  </a:lnTo>
                  <a:lnTo>
                    <a:pt x="161" y="43"/>
                  </a:lnTo>
                  <a:lnTo>
                    <a:pt x="159" y="43"/>
                  </a:lnTo>
                  <a:lnTo>
                    <a:pt x="154" y="38"/>
                  </a:lnTo>
                  <a:lnTo>
                    <a:pt x="152" y="36"/>
                  </a:lnTo>
                  <a:lnTo>
                    <a:pt x="152" y="36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2" y="32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5" y="29"/>
                  </a:lnTo>
                  <a:lnTo>
                    <a:pt x="143" y="27"/>
                  </a:lnTo>
                  <a:lnTo>
                    <a:pt x="141" y="27"/>
                  </a:lnTo>
                  <a:lnTo>
                    <a:pt x="139" y="27"/>
                  </a:lnTo>
                  <a:lnTo>
                    <a:pt x="138" y="27"/>
                  </a:lnTo>
                  <a:lnTo>
                    <a:pt x="136" y="27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2" y="31"/>
                  </a:lnTo>
                  <a:lnTo>
                    <a:pt x="132" y="29"/>
                  </a:lnTo>
                  <a:lnTo>
                    <a:pt x="129" y="29"/>
                  </a:lnTo>
                  <a:lnTo>
                    <a:pt x="127" y="27"/>
                  </a:lnTo>
                  <a:lnTo>
                    <a:pt x="125" y="25"/>
                  </a:lnTo>
                  <a:lnTo>
                    <a:pt x="123" y="23"/>
                  </a:lnTo>
                  <a:lnTo>
                    <a:pt x="120" y="23"/>
                  </a:lnTo>
                  <a:lnTo>
                    <a:pt x="120" y="23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09" y="25"/>
                  </a:lnTo>
                  <a:lnTo>
                    <a:pt x="105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0" y="25"/>
                  </a:lnTo>
                  <a:lnTo>
                    <a:pt x="98" y="25"/>
                  </a:lnTo>
                  <a:lnTo>
                    <a:pt x="96" y="25"/>
                  </a:lnTo>
                  <a:lnTo>
                    <a:pt x="93" y="25"/>
                  </a:lnTo>
                  <a:lnTo>
                    <a:pt x="91" y="25"/>
                  </a:lnTo>
                  <a:lnTo>
                    <a:pt x="87" y="25"/>
                  </a:lnTo>
                  <a:lnTo>
                    <a:pt x="85" y="23"/>
                  </a:lnTo>
                  <a:lnTo>
                    <a:pt x="82" y="25"/>
                  </a:lnTo>
                  <a:lnTo>
                    <a:pt x="80" y="25"/>
                  </a:lnTo>
                  <a:lnTo>
                    <a:pt x="80" y="23"/>
                  </a:lnTo>
                  <a:lnTo>
                    <a:pt x="76" y="21"/>
                  </a:lnTo>
                  <a:lnTo>
                    <a:pt x="76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18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69" y="16"/>
                  </a:lnTo>
                  <a:lnTo>
                    <a:pt x="65" y="16"/>
                  </a:lnTo>
                  <a:lnTo>
                    <a:pt x="64" y="16"/>
                  </a:lnTo>
                  <a:lnTo>
                    <a:pt x="62" y="14"/>
                  </a:lnTo>
                  <a:lnTo>
                    <a:pt x="60" y="14"/>
                  </a:lnTo>
                  <a:lnTo>
                    <a:pt x="58" y="12"/>
                  </a:lnTo>
                  <a:lnTo>
                    <a:pt x="55" y="14"/>
                  </a:lnTo>
                  <a:lnTo>
                    <a:pt x="53" y="14"/>
                  </a:lnTo>
                  <a:lnTo>
                    <a:pt x="46" y="7"/>
                  </a:lnTo>
                  <a:lnTo>
                    <a:pt x="44" y="7"/>
                  </a:lnTo>
                  <a:lnTo>
                    <a:pt x="38" y="5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29" y="3"/>
                  </a:lnTo>
                  <a:lnTo>
                    <a:pt x="27" y="5"/>
                  </a:lnTo>
                  <a:lnTo>
                    <a:pt x="26" y="3"/>
                  </a:lnTo>
                  <a:lnTo>
                    <a:pt x="13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20" y="27"/>
                  </a:lnTo>
                  <a:lnTo>
                    <a:pt x="22" y="29"/>
                  </a:lnTo>
                  <a:lnTo>
                    <a:pt x="26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31" y="32"/>
                  </a:lnTo>
                  <a:lnTo>
                    <a:pt x="31" y="34"/>
                  </a:lnTo>
                  <a:lnTo>
                    <a:pt x="31" y="32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40" y="34"/>
                  </a:lnTo>
                  <a:lnTo>
                    <a:pt x="44" y="34"/>
                  </a:lnTo>
                  <a:lnTo>
                    <a:pt x="46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7" y="38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51" y="40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6" y="45"/>
                  </a:lnTo>
                  <a:lnTo>
                    <a:pt x="56" y="50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7" y="56"/>
                  </a:lnTo>
                  <a:lnTo>
                    <a:pt x="71" y="56"/>
                  </a:lnTo>
                  <a:lnTo>
                    <a:pt x="73" y="58"/>
                  </a:lnTo>
                  <a:lnTo>
                    <a:pt x="74" y="59"/>
                  </a:lnTo>
                  <a:lnTo>
                    <a:pt x="76" y="61"/>
                  </a:lnTo>
                  <a:lnTo>
                    <a:pt x="76" y="63"/>
                  </a:lnTo>
                  <a:lnTo>
                    <a:pt x="80" y="79"/>
                  </a:lnTo>
                  <a:lnTo>
                    <a:pt x="80" y="79"/>
                  </a:lnTo>
                  <a:lnTo>
                    <a:pt x="80" y="81"/>
                  </a:lnTo>
                  <a:lnTo>
                    <a:pt x="80" y="81"/>
                  </a:lnTo>
                  <a:lnTo>
                    <a:pt x="82" y="83"/>
                  </a:lnTo>
                  <a:lnTo>
                    <a:pt x="82" y="83"/>
                  </a:lnTo>
                  <a:lnTo>
                    <a:pt x="82" y="83"/>
                  </a:lnTo>
                  <a:lnTo>
                    <a:pt x="83" y="92"/>
                  </a:lnTo>
                  <a:lnTo>
                    <a:pt x="85" y="96"/>
                  </a:lnTo>
                  <a:lnTo>
                    <a:pt x="85" y="97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7" y="103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08"/>
                  </a:lnTo>
                  <a:lnTo>
                    <a:pt x="91" y="114"/>
                  </a:lnTo>
                  <a:lnTo>
                    <a:pt x="91" y="119"/>
                  </a:lnTo>
                  <a:lnTo>
                    <a:pt x="91" y="119"/>
                  </a:lnTo>
                  <a:lnTo>
                    <a:pt x="91" y="119"/>
                  </a:lnTo>
                  <a:lnTo>
                    <a:pt x="89" y="121"/>
                  </a:lnTo>
                  <a:lnTo>
                    <a:pt x="89" y="121"/>
                  </a:lnTo>
                  <a:lnTo>
                    <a:pt x="89" y="123"/>
                  </a:lnTo>
                  <a:lnTo>
                    <a:pt x="89" y="123"/>
                  </a:lnTo>
                  <a:lnTo>
                    <a:pt x="89" y="123"/>
                  </a:lnTo>
                  <a:lnTo>
                    <a:pt x="87" y="128"/>
                  </a:lnTo>
                  <a:lnTo>
                    <a:pt x="85" y="130"/>
                  </a:lnTo>
                  <a:lnTo>
                    <a:pt x="82" y="132"/>
                  </a:lnTo>
                  <a:lnTo>
                    <a:pt x="82" y="133"/>
                  </a:lnTo>
                  <a:lnTo>
                    <a:pt x="78" y="139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5" y="141"/>
                  </a:lnTo>
                  <a:lnTo>
                    <a:pt x="87" y="141"/>
                  </a:lnTo>
                  <a:lnTo>
                    <a:pt x="87" y="141"/>
                  </a:lnTo>
                  <a:lnTo>
                    <a:pt x="87" y="141"/>
                  </a:lnTo>
                  <a:lnTo>
                    <a:pt x="87" y="143"/>
                  </a:lnTo>
                  <a:lnTo>
                    <a:pt x="87" y="143"/>
                  </a:lnTo>
                  <a:lnTo>
                    <a:pt x="87" y="143"/>
                  </a:lnTo>
                  <a:lnTo>
                    <a:pt x="87" y="143"/>
                  </a:lnTo>
                  <a:lnTo>
                    <a:pt x="89" y="143"/>
                  </a:lnTo>
                  <a:lnTo>
                    <a:pt x="89" y="143"/>
                  </a:lnTo>
                  <a:lnTo>
                    <a:pt x="93" y="144"/>
                  </a:lnTo>
                  <a:lnTo>
                    <a:pt x="93" y="146"/>
                  </a:lnTo>
                  <a:lnTo>
                    <a:pt x="93" y="144"/>
                  </a:lnTo>
                  <a:lnTo>
                    <a:pt x="94" y="143"/>
                  </a:lnTo>
                  <a:lnTo>
                    <a:pt x="96" y="141"/>
                  </a:lnTo>
                  <a:lnTo>
                    <a:pt x="98" y="141"/>
                  </a:lnTo>
                  <a:lnTo>
                    <a:pt x="100" y="141"/>
                  </a:lnTo>
                  <a:lnTo>
                    <a:pt x="103" y="141"/>
                  </a:lnTo>
                  <a:lnTo>
                    <a:pt x="105" y="141"/>
                  </a:lnTo>
                  <a:lnTo>
                    <a:pt x="105" y="141"/>
                  </a:lnTo>
                  <a:lnTo>
                    <a:pt x="105" y="141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9" y="141"/>
                  </a:lnTo>
                  <a:lnTo>
                    <a:pt x="109" y="141"/>
                  </a:lnTo>
                  <a:lnTo>
                    <a:pt x="111" y="141"/>
                  </a:lnTo>
                  <a:lnTo>
                    <a:pt x="111" y="141"/>
                  </a:lnTo>
                  <a:lnTo>
                    <a:pt x="112" y="141"/>
                  </a:lnTo>
                  <a:lnTo>
                    <a:pt x="114" y="141"/>
                  </a:lnTo>
                  <a:lnTo>
                    <a:pt x="123" y="144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7" y="143"/>
                  </a:lnTo>
                  <a:lnTo>
                    <a:pt x="129" y="141"/>
                  </a:lnTo>
                  <a:lnTo>
                    <a:pt x="129" y="139"/>
                  </a:lnTo>
                  <a:lnTo>
                    <a:pt x="129" y="137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2" y="135"/>
                  </a:lnTo>
                  <a:lnTo>
                    <a:pt x="134" y="133"/>
                  </a:lnTo>
                  <a:lnTo>
                    <a:pt x="141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1" y="137"/>
                  </a:lnTo>
                  <a:lnTo>
                    <a:pt x="141" y="137"/>
                  </a:lnTo>
                  <a:lnTo>
                    <a:pt x="141" y="137"/>
                  </a:lnTo>
                  <a:lnTo>
                    <a:pt x="141" y="139"/>
                  </a:lnTo>
                  <a:lnTo>
                    <a:pt x="141" y="139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5" y="141"/>
                  </a:lnTo>
                  <a:lnTo>
                    <a:pt x="145" y="141"/>
                  </a:lnTo>
                  <a:lnTo>
                    <a:pt x="145" y="141"/>
                  </a:lnTo>
                  <a:lnTo>
                    <a:pt x="145" y="141"/>
                  </a:lnTo>
                  <a:lnTo>
                    <a:pt x="147" y="143"/>
                  </a:lnTo>
                  <a:lnTo>
                    <a:pt x="147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50" y="148"/>
                  </a:lnTo>
                  <a:lnTo>
                    <a:pt x="152" y="148"/>
                  </a:lnTo>
                  <a:lnTo>
                    <a:pt x="156" y="150"/>
                  </a:lnTo>
                  <a:lnTo>
                    <a:pt x="158" y="153"/>
                  </a:lnTo>
                  <a:lnTo>
                    <a:pt x="159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5"/>
                  </a:lnTo>
                  <a:lnTo>
                    <a:pt x="159" y="155"/>
                  </a:lnTo>
                  <a:lnTo>
                    <a:pt x="158" y="157"/>
                  </a:lnTo>
                  <a:lnTo>
                    <a:pt x="158" y="157"/>
                  </a:lnTo>
                  <a:lnTo>
                    <a:pt x="159" y="157"/>
                  </a:lnTo>
                  <a:lnTo>
                    <a:pt x="161" y="157"/>
                  </a:lnTo>
                  <a:lnTo>
                    <a:pt x="161" y="159"/>
                  </a:lnTo>
                  <a:lnTo>
                    <a:pt x="163" y="161"/>
                  </a:lnTo>
                  <a:lnTo>
                    <a:pt x="163" y="162"/>
                  </a:lnTo>
                  <a:lnTo>
                    <a:pt x="168" y="161"/>
                  </a:lnTo>
                  <a:lnTo>
                    <a:pt x="170" y="161"/>
                  </a:lnTo>
                  <a:lnTo>
                    <a:pt x="170" y="161"/>
                  </a:lnTo>
                  <a:lnTo>
                    <a:pt x="172" y="162"/>
                  </a:lnTo>
                  <a:lnTo>
                    <a:pt x="174" y="162"/>
                  </a:lnTo>
                  <a:lnTo>
                    <a:pt x="174" y="164"/>
                  </a:lnTo>
                  <a:lnTo>
                    <a:pt x="174" y="166"/>
                  </a:lnTo>
                  <a:lnTo>
                    <a:pt x="174" y="166"/>
                  </a:lnTo>
                  <a:lnTo>
                    <a:pt x="176" y="166"/>
                  </a:lnTo>
                  <a:lnTo>
                    <a:pt x="176" y="166"/>
                  </a:lnTo>
                  <a:lnTo>
                    <a:pt x="177" y="166"/>
                  </a:lnTo>
                  <a:lnTo>
                    <a:pt x="179" y="166"/>
                  </a:lnTo>
                  <a:lnTo>
                    <a:pt x="188" y="166"/>
                  </a:lnTo>
                  <a:lnTo>
                    <a:pt x="190" y="166"/>
                  </a:lnTo>
                  <a:lnTo>
                    <a:pt x="190" y="166"/>
                  </a:lnTo>
                  <a:lnTo>
                    <a:pt x="194" y="164"/>
                  </a:lnTo>
                  <a:lnTo>
                    <a:pt x="195" y="162"/>
                  </a:lnTo>
                  <a:lnTo>
                    <a:pt x="199" y="162"/>
                  </a:lnTo>
                  <a:lnTo>
                    <a:pt x="201" y="162"/>
                  </a:lnTo>
                  <a:lnTo>
                    <a:pt x="201" y="162"/>
                  </a:lnTo>
                  <a:lnTo>
                    <a:pt x="203" y="162"/>
                  </a:lnTo>
                  <a:lnTo>
                    <a:pt x="204" y="161"/>
                  </a:lnTo>
                  <a:lnTo>
                    <a:pt x="204" y="161"/>
                  </a:lnTo>
                  <a:lnTo>
                    <a:pt x="206" y="162"/>
                  </a:lnTo>
                  <a:lnTo>
                    <a:pt x="208" y="162"/>
                  </a:lnTo>
                  <a:lnTo>
                    <a:pt x="210" y="161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2" y="159"/>
                  </a:lnTo>
                  <a:lnTo>
                    <a:pt x="212" y="159"/>
                  </a:lnTo>
                  <a:lnTo>
                    <a:pt x="214" y="159"/>
                  </a:lnTo>
                  <a:lnTo>
                    <a:pt x="215" y="161"/>
                  </a:lnTo>
                  <a:lnTo>
                    <a:pt x="215" y="161"/>
                  </a:lnTo>
                  <a:lnTo>
                    <a:pt x="217" y="161"/>
                  </a:lnTo>
                  <a:lnTo>
                    <a:pt x="217" y="161"/>
                  </a:lnTo>
                  <a:lnTo>
                    <a:pt x="219" y="161"/>
                  </a:lnTo>
                  <a:lnTo>
                    <a:pt x="219" y="159"/>
                  </a:lnTo>
                  <a:lnTo>
                    <a:pt x="219" y="159"/>
                  </a:lnTo>
                  <a:lnTo>
                    <a:pt x="219" y="159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8" y="159"/>
                  </a:lnTo>
                  <a:lnTo>
                    <a:pt x="228" y="161"/>
                  </a:lnTo>
                  <a:lnTo>
                    <a:pt x="228" y="161"/>
                  </a:lnTo>
                  <a:lnTo>
                    <a:pt x="228" y="161"/>
                  </a:lnTo>
                  <a:lnTo>
                    <a:pt x="230" y="162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3" y="159"/>
                  </a:lnTo>
                  <a:lnTo>
                    <a:pt x="235" y="159"/>
                  </a:lnTo>
                  <a:lnTo>
                    <a:pt x="242" y="161"/>
                  </a:lnTo>
                  <a:lnTo>
                    <a:pt x="244" y="159"/>
                  </a:lnTo>
                  <a:lnTo>
                    <a:pt x="244" y="159"/>
                  </a:lnTo>
                  <a:lnTo>
                    <a:pt x="244" y="159"/>
                  </a:lnTo>
                  <a:lnTo>
                    <a:pt x="244" y="159"/>
                  </a:lnTo>
                  <a:lnTo>
                    <a:pt x="242" y="157"/>
                  </a:lnTo>
                  <a:lnTo>
                    <a:pt x="242" y="157"/>
                  </a:lnTo>
                  <a:lnTo>
                    <a:pt x="242" y="155"/>
                  </a:lnTo>
                  <a:lnTo>
                    <a:pt x="248" y="155"/>
                  </a:lnTo>
                  <a:lnTo>
                    <a:pt x="250" y="155"/>
                  </a:lnTo>
                  <a:lnTo>
                    <a:pt x="250" y="155"/>
                  </a:lnTo>
                  <a:lnTo>
                    <a:pt x="251" y="155"/>
                  </a:lnTo>
                  <a:lnTo>
                    <a:pt x="251" y="153"/>
                  </a:lnTo>
                  <a:lnTo>
                    <a:pt x="257" y="150"/>
                  </a:lnTo>
                  <a:lnTo>
                    <a:pt x="264" y="144"/>
                  </a:lnTo>
                  <a:lnTo>
                    <a:pt x="266" y="143"/>
                  </a:lnTo>
                  <a:lnTo>
                    <a:pt x="268" y="143"/>
                  </a:lnTo>
                  <a:lnTo>
                    <a:pt x="268" y="144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73" y="144"/>
                  </a:lnTo>
                  <a:lnTo>
                    <a:pt x="275" y="144"/>
                  </a:lnTo>
                  <a:lnTo>
                    <a:pt x="275" y="144"/>
                  </a:lnTo>
                  <a:lnTo>
                    <a:pt x="277" y="146"/>
                  </a:lnTo>
                  <a:lnTo>
                    <a:pt x="277" y="148"/>
                  </a:lnTo>
                  <a:lnTo>
                    <a:pt x="284" y="150"/>
                  </a:lnTo>
                  <a:lnTo>
                    <a:pt x="288" y="152"/>
                  </a:lnTo>
                  <a:lnTo>
                    <a:pt x="289" y="152"/>
                  </a:lnTo>
                  <a:lnTo>
                    <a:pt x="289" y="152"/>
                  </a:lnTo>
                  <a:lnTo>
                    <a:pt x="288" y="152"/>
                  </a:lnTo>
                  <a:lnTo>
                    <a:pt x="288" y="152"/>
                  </a:lnTo>
                  <a:lnTo>
                    <a:pt x="286" y="153"/>
                  </a:lnTo>
                  <a:lnTo>
                    <a:pt x="288" y="155"/>
                  </a:lnTo>
                  <a:lnTo>
                    <a:pt x="289" y="157"/>
                  </a:lnTo>
                  <a:lnTo>
                    <a:pt x="291" y="159"/>
                  </a:lnTo>
                  <a:lnTo>
                    <a:pt x="293" y="159"/>
                  </a:lnTo>
                  <a:lnTo>
                    <a:pt x="300" y="162"/>
                  </a:lnTo>
                  <a:lnTo>
                    <a:pt x="302" y="162"/>
                  </a:lnTo>
                  <a:lnTo>
                    <a:pt x="304" y="162"/>
                  </a:lnTo>
                  <a:lnTo>
                    <a:pt x="306" y="162"/>
                  </a:lnTo>
                  <a:lnTo>
                    <a:pt x="306" y="161"/>
                  </a:lnTo>
                  <a:lnTo>
                    <a:pt x="307" y="161"/>
                  </a:lnTo>
                  <a:lnTo>
                    <a:pt x="309" y="161"/>
                  </a:lnTo>
                  <a:lnTo>
                    <a:pt x="313" y="161"/>
                  </a:lnTo>
                  <a:lnTo>
                    <a:pt x="313" y="161"/>
                  </a:lnTo>
                  <a:lnTo>
                    <a:pt x="315" y="161"/>
                  </a:lnTo>
                  <a:lnTo>
                    <a:pt x="316" y="162"/>
                  </a:lnTo>
                  <a:lnTo>
                    <a:pt x="318" y="166"/>
                  </a:lnTo>
                  <a:lnTo>
                    <a:pt x="320" y="166"/>
                  </a:lnTo>
                  <a:lnTo>
                    <a:pt x="322" y="168"/>
                  </a:lnTo>
                  <a:lnTo>
                    <a:pt x="324" y="168"/>
                  </a:lnTo>
                  <a:lnTo>
                    <a:pt x="325" y="170"/>
                  </a:lnTo>
                  <a:lnTo>
                    <a:pt x="325" y="170"/>
                  </a:lnTo>
                  <a:lnTo>
                    <a:pt x="327" y="170"/>
                  </a:lnTo>
                  <a:lnTo>
                    <a:pt x="327" y="170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9" y="168"/>
                  </a:lnTo>
                  <a:lnTo>
                    <a:pt x="331" y="168"/>
                  </a:lnTo>
                  <a:lnTo>
                    <a:pt x="331" y="168"/>
                  </a:lnTo>
                  <a:lnTo>
                    <a:pt x="333" y="168"/>
                  </a:lnTo>
                  <a:lnTo>
                    <a:pt x="333" y="166"/>
                  </a:lnTo>
                  <a:lnTo>
                    <a:pt x="333" y="166"/>
                  </a:lnTo>
                  <a:lnTo>
                    <a:pt x="333" y="164"/>
                  </a:lnTo>
                  <a:lnTo>
                    <a:pt x="334" y="161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lnTo>
                    <a:pt x="336" y="155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7F603DAA-326D-A266-6B0D-75DE430B1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2713" y="3870326"/>
              <a:ext cx="1166813" cy="1119188"/>
            </a:xfrm>
            <a:custGeom>
              <a:avLst/>
              <a:gdLst>
                <a:gd name="T0" fmla="*/ 724 w 735"/>
                <a:gd name="T1" fmla="*/ 595 h 705"/>
                <a:gd name="T2" fmla="*/ 692 w 735"/>
                <a:gd name="T3" fmla="*/ 627 h 705"/>
                <a:gd name="T4" fmla="*/ 685 w 735"/>
                <a:gd name="T5" fmla="*/ 647 h 705"/>
                <a:gd name="T6" fmla="*/ 697 w 735"/>
                <a:gd name="T7" fmla="*/ 669 h 705"/>
                <a:gd name="T8" fmla="*/ 699 w 735"/>
                <a:gd name="T9" fmla="*/ 692 h 705"/>
                <a:gd name="T10" fmla="*/ 719 w 735"/>
                <a:gd name="T11" fmla="*/ 698 h 705"/>
                <a:gd name="T12" fmla="*/ 735 w 735"/>
                <a:gd name="T13" fmla="*/ 642 h 705"/>
                <a:gd name="T14" fmla="*/ 181 w 735"/>
                <a:gd name="T15" fmla="*/ 365 h 705"/>
                <a:gd name="T16" fmla="*/ 148 w 735"/>
                <a:gd name="T17" fmla="*/ 315 h 705"/>
                <a:gd name="T18" fmla="*/ 638 w 735"/>
                <a:gd name="T19" fmla="*/ 159 h 705"/>
                <a:gd name="T20" fmla="*/ 592 w 735"/>
                <a:gd name="T21" fmla="*/ 148 h 705"/>
                <a:gd name="T22" fmla="*/ 549 w 735"/>
                <a:gd name="T23" fmla="*/ 125 h 705"/>
                <a:gd name="T24" fmla="*/ 506 w 735"/>
                <a:gd name="T25" fmla="*/ 101 h 705"/>
                <a:gd name="T26" fmla="*/ 464 w 735"/>
                <a:gd name="T27" fmla="*/ 87 h 705"/>
                <a:gd name="T28" fmla="*/ 439 w 735"/>
                <a:gd name="T29" fmla="*/ 54 h 705"/>
                <a:gd name="T30" fmla="*/ 388 w 735"/>
                <a:gd name="T31" fmla="*/ 22 h 705"/>
                <a:gd name="T32" fmla="*/ 338 w 735"/>
                <a:gd name="T33" fmla="*/ 56 h 705"/>
                <a:gd name="T34" fmla="*/ 269 w 735"/>
                <a:gd name="T35" fmla="*/ 127 h 705"/>
                <a:gd name="T36" fmla="*/ 193 w 735"/>
                <a:gd name="T37" fmla="*/ 116 h 705"/>
                <a:gd name="T38" fmla="*/ 164 w 735"/>
                <a:gd name="T39" fmla="*/ 125 h 705"/>
                <a:gd name="T40" fmla="*/ 177 w 735"/>
                <a:gd name="T41" fmla="*/ 161 h 705"/>
                <a:gd name="T42" fmla="*/ 164 w 735"/>
                <a:gd name="T43" fmla="*/ 185 h 705"/>
                <a:gd name="T44" fmla="*/ 146 w 735"/>
                <a:gd name="T45" fmla="*/ 192 h 705"/>
                <a:gd name="T46" fmla="*/ 116 w 735"/>
                <a:gd name="T47" fmla="*/ 194 h 705"/>
                <a:gd name="T48" fmla="*/ 96 w 735"/>
                <a:gd name="T49" fmla="*/ 177 h 705"/>
                <a:gd name="T50" fmla="*/ 65 w 735"/>
                <a:gd name="T51" fmla="*/ 188 h 705"/>
                <a:gd name="T52" fmla="*/ 42 w 735"/>
                <a:gd name="T53" fmla="*/ 190 h 705"/>
                <a:gd name="T54" fmla="*/ 25 w 735"/>
                <a:gd name="T55" fmla="*/ 212 h 705"/>
                <a:gd name="T56" fmla="*/ 36 w 735"/>
                <a:gd name="T57" fmla="*/ 217 h 705"/>
                <a:gd name="T58" fmla="*/ 20 w 735"/>
                <a:gd name="T59" fmla="*/ 233 h 705"/>
                <a:gd name="T60" fmla="*/ 56 w 735"/>
                <a:gd name="T61" fmla="*/ 248 h 705"/>
                <a:gd name="T62" fmla="*/ 90 w 735"/>
                <a:gd name="T63" fmla="*/ 255 h 705"/>
                <a:gd name="T64" fmla="*/ 98 w 735"/>
                <a:gd name="T65" fmla="*/ 266 h 705"/>
                <a:gd name="T66" fmla="*/ 107 w 735"/>
                <a:gd name="T67" fmla="*/ 264 h 705"/>
                <a:gd name="T68" fmla="*/ 110 w 735"/>
                <a:gd name="T69" fmla="*/ 271 h 705"/>
                <a:gd name="T70" fmla="*/ 136 w 735"/>
                <a:gd name="T71" fmla="*/ 280 h 705"/>
                <a:gd name="T72" fmla="*/ 161 w 735"/>
                <a:gd name="T73" fmla="*/ 289 h 705"/>
                <a:gd name="T74" fmla="*/ 150 w 735"/>
                <a:gd name="T75" fmla="*/ 320 h 705"/>
                <a:gd name="T76" fmla="*/ 199 w 735"/>
                <a:gd name="T77" fmla="*/ 362 h 705"/>
                <a:gd name="T78" fmla="*/ 202 w 735"/>
                <a:gd name="T79" fmla="*/ 390 h 705"/>
                <a:gd name="T80" fmla="*/ 229 w 735"/>
                <a:gd name="T81" fmla="*/ 459 h 705"/>
                <a:gd name="T82" fmla="*/ 202 w 735"/>
                <a:gd name="T83" fmla="*/ 475 h 705"/>
                <a:gd name="T84" fmla="*/ 175 w 735"/>
                <a:gd name="T85" fmla="*/ 576 h 705"/>
                <a:gd name="T86" fmla="*/ 219 w 735"/>
                <a:gd name="T87" fmla="*/ 602 h 705"/>
                <a:gd name="T88" fmla="*/ 269 w 735"/>
                <a:gd name="T89" fmla="*/ 616 h 705"/>
                <a:gd name="T90" fmla="*/ 322 w 735"/>
                <a:gd name="T91" fmla="*/ 614 h 705"/>
                <a:gd name="T92" fmla="*/ 376 w 735"/>
                <a:gd name="T93" fmla="*/ 636 h 705"/>
                <a:gd name="T94" fmla="*/ 408 w 735"/>
                <a:gd name="T95" fmla="*/ 622 h 705"/>
                <a:gd name="T96" fmla="*/ 489 w 735"/>
                <a:gd name="T97" fmla="*/ 571 h 705"/>
                <a:gd name="T98" fmla="*/ 515 w 735"/>
                <a:gd name="T99" fmla="*/ 560 h 705"/>
                <a:gd name="T100" fmla="*/ 547 w 735"/>
                <a:gd name="T101" fmla="*/ 591 h 705"/>
                <a:gd name="T102" fmla="*/ 585 w 735"/>
                <a:gd name="T103" fmla="*/ 582 h 705"/>
                <a:gd name="T104" fmla="*/ 609 w 735"/>
                <a:gd name="T105" fmla="*/ 557 h 705"/>
                <a:gd name="T106" fmla="*/ 638 w 735"/>
                <a:gd name="T107" fmla="*/ 528 h 705"/>
                <a:gd name="T108" fmla="*/ 603 w 735"/>
                <a:gd name="T109" fmla="*/ 483 h 705"/>
                <a:gd name="T110" fmla="*/ 600 w 735"/>
                <a:gd name="T111" fmla="*/ 443 h 705"/>
                <a:gd name="T112" fmla="*/ 600 w 735"/>
                <a:gd name="T113" fmla="*/ 396 h 705"/>
                <a:gd name="T114" fmla="*/ 582 w 735"/>
                <a:gd name="T115" fmla="*/ 353 h 705"/>
                <a:gd name="T116" fmla="*/ 560 w 735"/>
                <a:gd name="T117" fmla="*/ 351 h 705"/>
                <a:gd name="T118" fmla="*/ 609 w 735"/>
                <a:gd name="T119" fmla="*/ 287 h 705"/>
                <a:gd name="T120" fmla="*/ 630 w 735"/>
                <a:gd name="T121" fmla="*/ 277 h 705"/>
                <a:gd name="T122" fmla="*/ 638 w 735"/>
                <a:gd name="T123" fmla="*/ 241 h 705"/>
                <a:gd name="T124" fmla="*/ 661 w 735"/>
                <a:gd name="T125" fmla="*/ 177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5" h="705">
                  <a:moveTo>
                    <a:pt x="731" y="620"/>
                  </a:moveTo>
                  <a:lnTo>
                    <a:pt x="731" y="620"/>
                  </a:lnTo>
                  <a:lnTo>
                    <a:pt x="730" y="618"/>
                  </a:lnTo>
                  <a:lnTo>
                    <a:pt x="731" y="620"/>
                  </a:lnTo>
                  <a:lnTo>
                    <a:pt x="731" y="620"/>
                  </a:lnTo>
                  <a:close/>
                  <a:moveTo>
                    <a:pt x="735" y="642"/>
                  </a:moveTo>
                  <a:lnTo>
                    <a:pt x="735" y="640"/>
                  </a:lnTo>
                  <a:lnTo>
                    <a:pt x="733" y="638"/>
                  </a:lnTo>
                  <a:lnTo>
                    <a:pt x="733" y="636"/>
                  </a:lnTo>
                  <a:lnTo>
                    <a:pt x="733" y="636"/>
                  </a:lnTo>
                  <a:lnTo>
                    <a:pt x="733" y="634"/>
                  </a:lnTo>
                  <a:lnTo>
                    <a:pt x="733" y="632"/>
                  </a:lnTo>
                  <a:lnTo>
                    <a:pt x="733" y="632"/>
                  </a:lnTo>
                  <a:lnTo>
                    <a:pt x="733" y="631"/>
                  </a:lnTo>
                  <a:lnTo>
                    <a:pt x="733" y="629"/>
                  </a:lnTo>
                  <a:lnTo>
                    <a:pt x="733" y="625"/>
                  </a:lnTo>
                  <a:lnTo>
                    <a:pt x="733" y="623"/>
                  </a:lnTo>
                  <a:lnTo>
                    <a:pt x="733" y="623"/>
                  </a:lnTo>
                  <a:lnTo>
                    <a:pt x="731" y="620"/>
                  </a:lnTo>
                  <a:lnTo>
                    <a:pt x="731" y="622"/>
                  </a:lnTo>
                  <a:lnTo>
                    <a:pt x="731" y="623"/>
                  </a:lnTo>
                  <a:lnTo>
                    <a:pt x="733" y="623"/>
                  </a:lnTo>
                  <a:lnTo>
                    <a:pt x="731" y="623"/>
                  </a:lnTo>
                  <a:lnTo>
                    <a:pt x="731" y="623"/>
                  </a:lnTo>
                  <a:lnTo>
                    <a:pt x="730" y="622"/>
                  </a:lnTo>
                  <a:lnTo>
                    <a:pt x="730" y="622"/>
                  </a:lnTo>
                  <a:lnTo>
                    <a:pt x="730" y="622"/>
                  </a:lnTo>
                  <a:lnTo>
                    <a:pt x="730" y="622"/>
                  </a:lnTo>
                  <a:lnTo>
                    <a:pt x="730" y="620"/>
                  </a:lnTo>
                  <a:lnTo>
                    <a:pt x="730" y="620"/>
                  </a:lnTo>
                  <a:lnTo>
                    <a:pt x="730" y="620"/>
                  </a:lnTo>
                  <a:lnTo>
                    <a:pt x="730" y="620"/>
                  </a:lnTo>
                  <a:lnTo>
                    <a:pt x="730" y="620"/>
                  </a:lnTo>
                  <a:lnTo>
                    <a:pt x="730" y="618"/>
                  </a:lnTo>
                  <a:lnTo>
                    <a:pt x="730" y="618"/>
                  </a:lnTo>
                  <a:lnTo>
                    <a:pt x="730" y="618"/>
                  </a:lnTo>
                  <a:lnTo>
                    <a:pt x="730" y="618"/>
                  </a:lnTo>
                  <a:lnTo>
                    <a:pt x="730" y="618"/>
                  </a:lnTo>
                  <a:lnTo>
                    <a:pt x="730" y="618"/>
                  </a:lnTo>
                  <a:lnTo>
                    <a:pt x="730" y="618"/>
                  </a:lnTo>
                  <a:lnTo>
                    <a:pt x="730" y="616"/>
                  </a:lnTo>
                  <a:lnTo>
                    <a:pt x="730" y="614"/>
                  </a:lnTo>
                  <a:lnTo>
                    <a:pt x="730" y="614"/>
                  </a:lnTo>
                  <a:lnTo>
                    <a:pt x="731" y="607"/>
                  </a:lnTo>
                  <a:lnTo>
                    <a:pt x="731" y="605"/>
                  </a:lnTo>
                  <a:lnTo>
                    <a:pt x="730" y="600"/>
                  </a:lnTo>
                  <a:lnTo>
                    <a:pt x="730" y="598"/>
                  </a:lnTo>
                  <a:lnTo>
                    <a:pt x="730" y="598"/>
                  </a:lnTo>
                  <a:lnTo>
                    <a:pt x="730" y="596"/>
                  </a:lnTo>
                  <a:lnTo>
                    <a:pt x="730" y="596"/>
                  </a:lnTo>
                  <a:lnTo>
                    <a:pt x="730" y="595"/>
                  </a:lnTo>
                  <a:lnTo>
                    <a:pt x="730" y="595"/>
                  </a:lnTo>
                  <a:lnTo>
                    <a:pt x="730" y="595"/>
                  </a:lnTo>
                  <a:lnTo>
                    <a:pt x="728" y="595"/>
                  </a:lnTo>
                  <a:lnTo>
                    <a:pt x="728" y="593"/>
                  </a:lnTo>
                  <a:lnTo>
                    <a:pt x="728" y="593"/>
                  </a:lnTo>
                  <a:lnTo>
                    <a:pt x="724" y="593"/>
                  </a:lnTo>
                  <a:lnTo>
                    <a:pt x="724" y="595"/>
                  </a:lnTo>
                  <a:lnTo>
                    <a:pt x="724" y="595"/>
                  </a:lnTo>
                  <a:lnTo>
                    <a:pt x="724" y="596"/>
                  </a:lnTo>
                  <a:lnTo>
                    <a:pt x="724" y="596"/>
                  </a:lnTo>
                  <a:lnTo>
                    <a:pt x="724" y="598"/>
                  </a:lnTo>
                  <a:lnTo>
                    <a:pt x="724" y="598"/>
                  </a:lnTo>
                  <a:lnTo>
                    <a:pt x="724" y="598"/>
                  </a:lnTo>
                  <a:lnTo>
                    <a:pt x="724" y="598"/>
                  </a:lnTo>
                  <a:lnTo>
                    <a:pt x="724" y="598"/>
                  </a:lnTo>
                  <a:lnTo>
                    <a:pt x="724" y="600"/>
                  </a:lnTo>
                  <a:lnTo>
                    <a:pt x="724" y="600"/>
                  </a:lnTo>
                  <a:lnTo>
                    <a:pt x="722" y="602"/>
                  </a:lnTo>
                  <a:lnTo>
                    <a:pt x="722" y="602"/>
                  </a:lnTo>
                  <a:lnTo>
                    <a:pt x="724" y="602"/>
                  </a:lnTo>
                  <a:lnTo>
                    <a:pt x="724" y="604"/>
                  </a:lnTo>
                  <a:lnTo>
                    <a:pt x="722" y="605"/>
                  </a:lnTo>
                  <a:lnTo>
                    <a:pt x="722" y="605"/>
                  </a:lnTo>
                  <a:lnTo>
                    <a:pt x="724" y="607"/>
                  </a:lnTo>
                  <a:lnTo>
                    <a:pt x="724" y="609"/>
                  </a:lnTo>
                  <a:lnTo>
                    <a:pt x="724" y="609"/>
                  </a:lnTo>
                  <a:lnTo>
                    <a:pt x="724" y="611"/>
                  </a:lnTo>
                  <a:lnTo>
                    <a:pt x="722" y="613"/>
                  </a:lnTo>
                  <a:lnTo>
                    <a:pt x="721" y="616"/>
                  </a:lnTo>
                  <a:lnTo>
                    <a:pt x="721" y="616"/>
                  </a:lnTo>
                  <a:lnTo>
                    <a:pt x="721" y="614"/>
                  </a:lnTo>
                  <a:lnTo>
                    <a:pt x="721" y="614"/>
                  </a:lnTo>
                  <a:lnTo>
                    <a:pt x="721" y="614"/>
                  </a:lnTo>
                  <a:lnTo>
                    <a:pt x="721" y="614"/>
                  </a:lnTo>
                  <a:lnTo>
                    <a:pt x="719" y="613"/>
                  </a:lnTo>
                  <a:lnTo>
                    <a:pt x="715" y="613"/>
                  </a:lnTo>
                  <a:lnTo>
                    <a:pt x="715" y="613"/>
                  </a:lnTo>
                  <a:lnTo>
                    <a:pt x="715" y="613"/>
                  </a:lnTo>
                  <a:lnTo>
                    <a:pt x="713" y="613"/>
                  </a:lnTo>
                  <a:lnTo>
                    <a:pt x="713" y="613"/>
                  </a:lnTo>
                  <a:lnTo>
                    <a:pt x="712" y="613"/>
                  </a:lnTo>
                  <a:lnTo>
                    <a:pt x="710" y="616"/>
                  </a:lnTo>
                  <a:lnTo>
                    <a:pt x="710" y="616"/>
                  </a:lnTo>
                  <a:lnTo>
                    <a:pt x="708" y="618"/>
                  </a:lnTo>
                  <a:lnTo>
                    <a:pt x="703" y="620"/>
                  </a:lnTo>
                  <a:lnTo>
                    <a:pt x="699" y="620"/>
                  </a:lnTo>
                  <a:lnTo>
                    <a:pt x="697" y="622"/>
                  </a:lnTo>
                  <a:lnTo>
                    <a:pt x="697" y="622"/>
                  </a:lnTo>
                  <a:lnTo>
                    <a:pt x="697" y="622"/>
                  </a:lnTo>
                  <a:lnTo>
                    <a:pt x="697" y="623"/>
                  </a:lnTo>
                  <a:lnTo>
                    <a:pt x="695" y="623"/>
                  </a:lnTo>
                  <a:lnTo>
                    <a:pt x="695" y="623"/>
                  </a:lnTo>
                  <a:lnTo>
                    <a:pt x="695" y="623"/>
                  </a:lnTo>
                  <a:lnTo>
                    <a:pt x="694" y="623"/>
                  </a:lnTo>
                  <a:lnTo>
                    <a:pt x="694" y="623"/>
                  </a:lnTo>
                  <a:lnTo>
                    <a:pt x="694" y="623"/>
                  </a:lnTo>
                  <a:lnTo>
                    <a:pt x="694" y="623"/>
                  </a:lnTo>
                  <a:lnTo>
                    <a:pt x="694" y="623"/>
                  </a:lnTo>
                  <a:lnTo>
                    <a:pt x="694" y="623"/>
                  </a:lnTo>
                  <a:lnTo>
                    <a:pt x="692" y="623"/>
                  </a:lnTo>
                  <a:lnTo>
                    <a:pt x="692" y="623"/>
                  </a:lnTo>
                  <a:lnTo>
                    <a:pt x="692" y="623"/>
                  </a:lnTo>
                  <a:lnTo>
                    <a:pt x="692" y="625"/>
                  </a:lnTo>
                  <a:lnTo>
                    <a:pt x="692" y="625"/>
                  </a:lnTo>
                  <a:lnTo>
                    <a:pt x="692" y="627"/>
                  </a:lnTo>
                  <a:lnTo>
                    <a:pt x="690" y="627"/>
                  </a:lnTo>
                  <a:lnTo>
                    <a:pt x="690" y="627"/>
                  </a:lnTo>
                  <a:lnTo>
                    <a:pt x="690" y="629"/>
                  </a:lnTo>
                  <a:lnTo>
                    <a:pt x="690" y="629"/>
                  </a:lnTo>
                  <a:lnTo>
                    <a:pt x="690" y="629"/>
                  </a:lnTo>
                  <a:lnTo>
                    <a:pt x="690" y="629"/>
                  </a:lnTo>
                  <a:lnTo>
                    <a:pt x="690" y="631"/>
                  </a:lnTo>
                  <a:lnTo>
                    <a:pt x="690" y="631"/>
                  </a:lnTo>
                  <a:lnTo>
                    <a:pt x="690" y="631"/>
                  </a:lnTo>
                  <a:lnTo>
                    <a:pt x="690" y="632"/>
                  </a:lnTo>
                  <a:lnTo>
                    <a:pt x="690" y="632"/>
                  </a:lnTo>
                  <a:lnTo>
                    <a:pt x="690" y="632"/>
                  </a:lnTo>
                  <a:lnTo>
                    <a:pt x="688" y="634"/>
                  </a:lnTo>
                  <a:lnTo>
                    <a:pt x="688" y="634"/>
                  </a:lnTo>
                  <a:lnTo>
                    <a:pt x="688" y="634"/>
                  </a:lnTo>
                  <a:lnTo>
                    <a:pt x="686" y="634"/>
                  </a:lnTo>
                  <a:lnTo>
                    <a:pt x="686" y="634"/>
                  </a:lnTo>
                  <a:lnTo>
                    <a:pt x="686" y="636"/>
                  </a:lnTo>
                  <a:lnTo>
                    <a:pt x="686" y="636"/>
                  </a:lnTo>
                  <a:lnTo>
                    <a:pt x="686" y="636"/>
                  </a:lnTo>
                  <a:lnTo>
                    <a:pt x="686" y="636"/>
                  </a:lnTo>
                  <a:lnTo>
                    <a:pt x="685" y="636"/>
                  </a:lnTo>
                  <a:lnTo>
                    <a:pt x="685" y="636"/>
                  </a:lnTo>
                  <a:lnTo>
                    <a:pt x="685" y="636"/>
                  </a:lnTo>
                  <a:lnTo>
                    <a:pt x="685" y="636"/>
                  </a:lnTo>
                  <a:lnTo>
                    <a:pt x="685" y="638"/>
                  </a:lnTo>
                  <a:lnTo>
                    <a:pt x="685" y="638"/>
                  </a:lnTo>
                  <a:lnTo>
                    <a:pt x="685" y="638"/>
                  </a:lnTo>
                  <a:lnTo>
                    <a:pt x="685" y="640"/>
                  </a:lnTo>
                  <a:lnTo>
                    <a:pt x="686" y="638"/>
                  </a:lnTo>
                  <a:lnTo>
                    <a:pt x="688" y="638"/>
                  </a:lnTo>
                  <a:lnTo>
                    <a:pt x="688" y="640"/>
                  </a:lnTo>
                  <a:lnTo>
                    <a:pt x="686" y="640"/>
                  </a:lnTo>
                  <a:lnTo>
                    <a:pt x="686" y="640"/>
                  </a:lnTo>
                  <a:lnTo>
                    <a:pt x="686" y="640"/>
                  </a:lnTo>
                  <a:lnTo>
                    <a:pt x="686" y="642"/>
                  </a:lnTo>
                  <a:lnTo>
                    <a:pt x="688" y="642"/>
                  </a:lnTo>
                  <a:lnTo>
                    <a:pt x="688" y="640"/>
                  </a:lnTo>
                  <a:lnTo>
                    <a:pt x="688" y="640"/>
                  </a:lnTo>
                  <a:lnTo>
                    <a:pt x="688" y="642"/>
                  </a:lnTo>
                  <a:lnTo>
                    <a:pt x="688" y="642"/>
                  </a:lnTo>
                  <a:lnTo>
                    <a:pt x="690" y="642"/>
                  </a:lnTo>
                  <a:lnTo>
                    <a:pt x="690" y="642"/>
                  </a:lnTo>
                  <a:lnTo>
                    <a:pt x="692" y="643"/>
                  </a:lnTo>
                  <a:lnTo>
                    <a:pt x="692" y="643"/>
                  </a:lnTo>
                  <a:lnTo>
                    <a:pt x="692" y="643"/>
                  </a:lnTo>
                  <a:lnTo>
                    <a:pt x="692" y="643"/>
                  </a:lnTo>
                  <a:lnTo>
                    <a:pt x="690" y="643"/>
                  </a:lnTo>
                  <a:lnTo>
                    <a:pt x="690" y="643"/>
                  </a:lnTo>
                  <a:lnTo>
                    <a:pt x="690" y="645"/>
                  </a:lnTo>
                  <a:lnTo>
                    <a:pt x="688" y="645"/>
                  </a:lnTo>
                  <a:lnTo>
                    <a:pt x="686" y="645"/>
                  </a:lnTo>
                  <a:lnTo>
                    <a:pt x="686" y="645"/>
                  </a:lnTo>
                  <a:lnTo>
                    <a:pt x="686" y="645"/>
                  </a:lnTo>
                  <a:lnTo>
                    <a:pt x="685" y="645"/>
                  </a:lnTo>
                  <a:lnTo>
                    <a:pt x="685" y="645"/>
                  </a:lnTo>
                  <a:lnTo>
                    <a:pt x="685" y="647"/>
                  </a:lnTo>
                  <a:lnTo>
                    <a:pt x="685" y="647"/>
                  </a:lnTo>
                  <a:lnTo>
                    <a:pt x="685" y="647"/>
                  </a:lnTo>
                  <a:lnTo>
                    <a:pt x="686" y="647"/>
                  </a:lnTo>
                  <a:lnTo>
                    <a:pt x="685" y="647"/>
                  </a:lnTo>
                  <a:lnTo>
                    <a:pt x="686" y="649"/>
                  </a:lnTo>
                  <a:lnTo>
                    <a:pt x="686" y="649"/>
                  </a:lnTo>
                  <a:lnTo>
                    <a:pt x="686" y="649"/>
                  </a:lnTo>
                  <a:lnTo>
                    <a:pt x="685" y="649"/>
                  </a:lnTo>
                  <a:lnTo>
                    <a:pt x="685" y="651"/>
                  </a:lnTo>
                  <a:lnTo>
                    <a:pt x="686" y="651"/>
                  </a:lnTo>
                  <a:lnTo>
                    <a:pt x="686" y="651"/>
                  </a:lnTo>
                  <a:lnTo>
                    <a:pt x="686" y="651"/>
                  </a:lnTo>
                  <a:lnTo>
                    <a:pt x="685" y="651"/>
                  </a:lnTo>
                  <a:lnTo>
                    <a:pt x="685" y="651"/>
                  </a:lnTo>
                  <a:lnTo>
                    <a:pt x="685" y="651"/>
                  </a:lnTo>
                  <a:lnTo>
                    <a:pt x="686" y="651"/>
                  </a:lnTo>
                  <a:lnTo>
                    <a:pt x="686" y="652"/>
                  </a:lnTo>
                  <a:lnTo>
                    <a:pt x="686" y="652"/>
                  </a:lnTo>
                  <a:lnTo>
                    <a:pt x="686" y="652"/>
                  </a:lnTo>
                  <a:lnTo>
                    <a:pt x="686" y="652"/>
                  </a:lnTo>
                  <a:lnTo>
                    <a:pt x="686" y="652"/>
                  </a:lnTo>
                  <a:lnTo>
                    <a:pt x="688" y="652"/>
                  </a:lnTo>
                  <a:lnTo>
                    <a:pt x="690" y="654"/>
                  </a:lnTo>
                  <a:lnTo>
                    <a:pt x="690" y="654"/>
                  </a:lnTo>
                  <a:lnTo>
                    <a:pt x="690" y="654"/>
                  </a:lnTo>
                  <a:lnTo>
                    <a:pt x="692" y="654"/>
                  </a:lnTo>
                  <a:lnTo>
                    <a:pt x="692" y="654"/>
                  </a:lnTo>
                  <a:lnTo>
                    <a:pt x="692" y="654"/>
                  </a:lnTo>
                  <a:lnTo>
                    <a:pt x="694" y="658"/>
                  </a:lnTo>
                  <a:lnTo>
                    <a:pt x="694" y="658"/>
                  </a:lnTo>
                  <a:lnTo>
                    <a:pt x="694" y="658"/>
                  </a:lnTo>
                  <a:lnTo>
                    <a:pt x="694" y="660"/>
                  </a:lnTo>
                  <a:lnTo>
                    <a:pt x="694" y="660"/>
                  </a:lnTo>
                  <a:lnTo>
                    <a:pt x="692" y="660"/>
                  </a:lnTo>
                  <a:lnTo>
                    <a:pt x="692" y="660"/>
                  </a:lnTo>
                  <a:lnTo>
                    <a:pt x="692" y="660"/>
                  </a:lnTo>
                  <a:lnTo>
                    <a:pt x="690" y="661"/>
                  </a:lnTo>
                  <a:lnTo>
                    <a:pt x="690" y="661"/>
                  </a:lnTo>
                  <a:lnTo>
                    <a:pt x="690" y="661"/>
                  </a:lnTo>
                  <a:lnTo>
                    <a:pt x="690" y="663"/>
                  </a:lnTo>
                  <a:lnTo>
                    <a:pt x="688" y="663"/>
                  </a:lnTo>
                  <a:lnTo>
                    <a:pt x="686" y="663"/>
                  </a:lnTo>
                  <a:lnTo>
                    <a:pt x="688" y="665"/>
                  </a:lnTo>
                  <a:lnTo>
                    <a:pt x="688" y="667"/>
                  </a:lnTo>
                  <a:lnTo>
                    <a:pt x="686" y="667"/>
                  </a:lnTo>
                  <a:lnTo>
                    <a:pt x="688" y="669"/>
                  </a:lnTo>
                  <a:lnTo>
                    <a:pt x="688" y="669"/>
                  </a:lnTo>
                  <a:lnTo>
                    <a:pt x="690" y="667"/>
                  </a:lnTo>
                  <a:lnTo>
                    <a:pt x="692" y="667"/>
                  </a:lnTo>
                  <a:lnTo>
                    <a:pt x="692" y="667"/>
                  </a:lnTo>
                  <a:lnTo>
                    <a:pt x="694" y="667"/>
                  </a:lnTo>
                  <a:lnTo>
                    <a:pt x="695" y="667"/>
                  </a:lnTo>
                  <a:lnTo>
                    <a:pt x="695" y="667"/>
                  </a:lnTo>
                  <a:lnTo>
                    <a:pt x="695" y="667"/>
                  </a:lnTo>
                  <a:lnTo>
                    <a:pt x="695" y="667"/>
                  </a:lnTo>
                  <a:lnTo>
                    <a:pt x="697" y="667"/>
                  </a:lnTo>
                  <a:lnTo>
                    <a:pt x="697" y="669"/>
                  </a:lnTo>
                  <a:lnTo>
                    <a:pt x="697" y="669"/>
                  </a:lnTo>
                  <a:lnTo>
                    <a:pt x="697" y="669"/>
                  </a:lnTo>
                  <a:lnTo>
                    <a:pt x="697" y="669"/>
                  </a:lnTo>
                  <a:lnTo>
                    <a:pt x="697" y="669"/>
                  </a:lnTo>
                  <a:lnTo>
                    <a:pt x="697" y="669"/>
                  </a:lnTo>
                  <a:lnTo>
                    <a:pt x="695" y="670"/>
                  </a:lnTo>
                  <a:lnTo>
                    <a:pt x="695" y="670"/>
                  </a:lnTo>
                  <a:lnTo>
                    <a:pt x="695" y="670"/>
                  </a:lnTo>
                  <a:lnTo>
                    <a:pt x="697" y="670"/>
                  </a:lnTo>
                  <a:lnTo>
                    <a:pt x="697" y="670"/>
                  </a:lnTo>
                  <a:lnTo>
                    <a:pt x="695" y="672"/>
                  </a:lnTo>
                  <a:lnTo>
                    <a:pt x="694" y="672"/>
                  </a:lnTo>
                  <a:lnTo>
                    <a:pt x="695" y="672"/>
                  </a:lnTo>
                  <a:lnTo>
                    <a:pt x="695" y="672"/>
                  </a:lnTo>
                  <a:lnTo>
                    <a:pt x="695" y="672"/>
                  </a:lnTo>
                  <a:lnTo>
                    <a:pt x="695" y="674"/>
                  </a:lnTo>
                  <a:lnTo>
                    <a:pt x="694" y="674"/>
                  </a:lnTo>
                  <a:lnTo>
                    <a:pt x="694" y="674"/>
                  </a:lnTo>
                  <a:lnTo>
                    <a:pt x="692" y="674"/>
                  </a:lnTo>
                  <a:lnTo>
                    <a:pt x="692" y="676"/>
                  </a:lnTo>
                  <a:lnTo>
                    <a:pt x="694" y="676"/>
                  </a:lnTo>
                  <a:lnTo>
                    <a:pt x="694" y="676"/>
                  </a:lnTo>
                  <a:lnTo>
                    <a:pt x="694" y="678"/>
                  </a:lnTo>
                  <a:lnTo>
                    <a:pt x="692" y="678"/>
                  </a:lnTo>
                  <a:lnTo>
                    <a:pt x="692" y="678"/>
                  </a:lnTo>
                  <a:lnTo>
                    <a:pt x="690" y="678"/>
                  </a:lnTo>
                  <a:lnTo>
                    <a:pt x="690" y="678"/>
                  </a:lnTo>
                  <a:lnTo>
                    <a:pt x="690" y="679"/>
                  </a:lnTo>
                  <a:lnTo>
                    <a:pt x="690" y="679"/>
                  </a:lnTo>
                  <a:lnTo>
                    <a:pt x="692" y="679"/>
                  </a:lnTo>
                  <a:lnTo>
                    <a:pt x="692" y="679"/>
                  </a:lnTo>
                  <a:lnTo>
                    <a:pt x="692" y="679"/>
                  </a:lnTo>
                  <a:lnTo>
                    <a:pt x="692" y="679"/>
                  </a:lnTo>
                  <a:lnTo>
                    <a:pt x="694" y="679"/>
                  </a:lnTo>
                  <a:lnTo>
                    <a:pt x="695" y="679"/>
                  </a:lnTo>
                  <a:lnTo>
                    <a:pt x="695" y="679"/>
                  </a:lnTo>
                  <a:lnTo>
                    <a:pt x="695" y="679"/>
                  </a:lnTo>
                  <a:lnTo>
                    <a:pt x="697" y="681"/>
                  </a:lnTo>
                  <a:lnTo>
                    <a:pt x="697" y="681"/>
                  </a:lnTo>
                  <a:lnTo>
                    <a:pt x="699" y="681"/>
                  </a:lnTo>
                  <a:lnTo>
                    <a:pt x="703" y="681"/>
                  </a:lnTo>
                  <a:lnTo>
                    <a:pt x="703" y="683"/>
                  </a:lnTo>
                  <a:lnTo>
                    <a:pt x="703" y="683"/>
                  </a:lnTo>
                  <a:lnTo>
                    <a:pt x="701" y="683"/>
                  </a:lnTo>
                  <a:lnTo>
                    <a:pt x="701" y="683"/>
                  </a:lnTo>
                  <a:lnTo>
                    <a:pt x="701" y="685"/>
                  </a:lnTo>
                  <a:lnTo>
                    <a:pt x="701" y="685"/>
                  </a:lnTo>
                  <a:lnTo>
                    <a:pt x="697" y="687"/>
                  </a:lnTo>
                  <a:lnTo>
                    <a:pt x="697" y="687"/>
                  </a:lnTo>
                  <a:lnTo>
                    <a:pt x="697" y="687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7" y="688"/>
                  </a:lnTo>
                  <a:lnTo>
                    <a:pt x="697" y="690"/>
                  </a:lnTo>
                  <a:lnTo>
                    <a:pt x="697" y="690"/>
                  </a:lnTo>
                  <a:lnTo>
                    <a:pt x="697" y="692"/>
                  </a:lnTo>
                  <a:lnTo>
                    <a:pt x="697" y="692"/>
                  </a:lnTo>
                  <a:lnTo>
                    <a:pt x="697" y="692"/>
                  </a:lnTo>
                  <a:lnTo>
                    <a:pt x="699" y="692"/>
                  </a:lnTo>
                  <a:lnTo>
                    <a:pt x="699" y="692"/>
                  </a:lnTo>
                  <a:lnTo>
                    <a:pt x="699" y="692"/>
                  </a:lnTo>
                  <a:lnTo>
                    <a:pt x="699" y="692"/>
                  </a:lnTo>
                  <a:lnTo>
                    <a:pt x="699" y="694"/>
                  </a:lnTo>
                  <a:lnTo>
                    <a:pt x="699" y="694"/>
                  </a:lnTo>
                  <a:lnTo>
                    <a:pt x="699" y="694"/>
                  </a:lnTo>
                  <a:lnTo>
                    <a:pt x="701" y="694"/>
                  </a:lnTo>
                  <a:lnTo>
                    <a:pt x="701" y="694"/>
                  </a:lnTo>
                  <a:lnTo>
                    <a:pt x="701" y="694"/>
                  </a:lnTo>
                  <a:lnTo>
                    <a:pt x="701" y="694"/>
                  </a:lnTo>
                  <a:lnTo>
                    <a:pt x="701" y="694"/>
                  </a:lnTo>
                  <a:lnTo>
                    <a:pt x="703" y="694"/>
                  </a:lnTo>
                  <a:lnTo>
                    <a:pt x="703" y="696"/>
                  </a:lnTo>
                  <a:lnTo>
                    <a:pt x="703" y="696"/>
                  </a:lnTo>
                  <a:lnTo>
                    <a:pt x="704" y="696"/>
                  </a:lnTo>
                  <a:lnTo>
                    <a:pt x="704" y="696"/>
                  </a:lnTo>
                  <a:lnTo>
                    <a:pt x="706" y="696"/>
                  </a:lnTo>
                  <a:lnTo>
                    <a:pt x="706" y="696"/>
                  </a:lnTo>
                  <a:lnTo>
                    <a:pt x="708" y="698"/>
                  </a:lnTo>
                  <a:lnTo>
                    <a:pt x="708" y="698"/>
                  </a:lnTo>
                  <a:lnTo>
                    <a:pt x="708" y="698"/>
                  </a:lnTo>
                  <a:lnTo>
                    <a:pt x="708" y="698"/>
                  </a:lnTo>
                  <a:lnTo>
                    <a:pt x="708" y="698"/>
                  </a:lnTo>
                  <a:lnTo>
                    <a:pt x="708" y="698"/>
                  </a:lnTo>
                  <a:lnTo>
                    <a:pt x="708" y="698"/>
                  </a:lnTo>
                  <a:lnTo>
                    <a:pt x="708" y="698"/>
                  </a:lnTo>
                  <a:lnTo>
                    <a:pt x="708" y="698"/>
                  </a:lnTo>
                  <a:lnTo>
                    <a:pt x="708" y="698"/>
                  </a:lnTo>
                  <a:lnTo>
                    <a:pt x="710" y="696"/>
                  </a:lnTo>
                  <a:lnTo>
                    <a:pt x="712" y="696"/>
                  </a:lnTo>
                  <a:lnTo>
                    <a:pt x="712" y="698"/>
                  </a:lnTo>
                  <a:lnTo>
                    <a:pt x="710" y="698"/>
                  </a:lnTo>
                  <a:lnTo>
                    <a:pt x="712" y="698"/>
                  </a:lnTo>
                  <a:lnTo>
                    <a:pt x="712" y="699"/>
                  </a:lnTo>
                  <a:lnTo>
                    <a:pt x="713" y="699"/>
                  </a:lnTo>
                  <a:lnTo>
                    <a:pt x="712" y="699"/>
                  </a:lnTo>
                  <a:lnTo>
                    <a:pt x="712" y="699"/>
                  </a:lnTo>
                  <a:lnTo>
                    <a:pt x="712" y="701"/>
                  </a:lnTo>
                  <a:lnTo>
                    <a:pt x="713" y="703"/>
                  </a:lnTo>
                  <a:lnTo>
                    <a:pt x="715" y="703"/>
                  </a:lnTo>
                  <a:lnTo>
                    <a:pt x="715" y="703"/>
                  </a:lnTo>
                  <a:lnTo>
                    <a:pt x="717" y="705"/>
                  </a:lnTo>
                  <a:lnTo>
                    <a:pt x="717" y="705"/>
                  </a:lnTo>
                  <a:lnTo>
                    <a:pt x="719" y="703"/>
                  </a:lnTo>
                  <a:lnTo>
                    <a:pt x="719" y="703"/>
                  </a:lnTo>
                  <a:lnTo>
                    <a:pt x="719" y="703"/>
                  </a:lnTo>
                  <a:lnTo>
                    <a:pt x="719" y="701"/>
                  </a:lnTo>
                  <a:lnTo>
                    <a:pt x="719" y="699"/>
                  </a:lnTo>
                  <a:lnTo>
                    <a:pt x="719" y="701"/>
                  </a:lnTo>
                  <a:lnTo>
                    <a:pt x="719" y="701"/>
                  </a:lnTo>
                  <a:lnTo>
                    <a:pt x="717" y="701"/>
                  </a:lnTo>
                  <a:lnTo>
                    <a:pt x="717" y="701"/>
                  </a:lnTo>
                  <a:lnTo>
                    <a:pt x="717" y="701"/>
                  </a:lnTo>
                  <a:lnTo>
                    <a:pt x="719" y="699"/>
                  </a:lnTo>
                  <a:lnTo>
                    <a:pt x="717" y="699"/>
                  </a:lnTo>
                  <a:lnTo>
                    <a:pt x="717" y="699"/>
                  </a:lnTo>
                  <a:lnTo>
                    <a:pt x="717" y="699"/>
                  </a:lnTo>
                  <a:lnTo>
                    <a:pt x="719" y="699"/>
                  </a:lnTo>
                  <a:lnTo>
                    <a:pt x="719" y="698"/>
                  </a:lnTo>
                  <a:lnTo>
                    <a:pt x="721" y="698"/>
                  </a:lnTo>
                  <a:lnTo>
                    <a:pt x="721" y="698"/>
                  </a:lnTo>
                  <a:lnTo>
                    <a:pt x="721" y="696"/>
                  </a:lnTo>
                  <a:lnTo>
                    <a:pt x="721" y="696"/>
                  </a:lnTo>
                  <a:lnTo>
                    <a:pt x="721" y="696"/>
                  </a:lnTo>
                  <a:lnTo>
                    <a:pt x="721" y="696"/>
                  </a:lnTo>
                  <a:lnTo>
                    <a:pt x="721" y="694"/>
                  </a:lnTo>
                  <a:lnTo>
                    <a:pt x="721" y="694"/>
                  </a:lnTo>
                  <a:lnTo>
                    <a:pt x="721" y="694"/>
                  </a:lnTo>
                  <a:lnTo>
                    <a:pt x="721" y="694"/>
                  </a:lnTo>
                  <a:lnTo>
                    <a:pt x="721" y="692"/>
                  </a:lnTo>
                  <a:lnTo>
                    <a:pt x="721" y="692"/>
                  </a:lnTo>
                  <a:lnTo>
                    <a:pt x="722" y="692"/>
                  </a:lnTo>
                  <a:lnTo>
                    <a:pt x="722" y="692"/>
                  </a:lnTo>
                  <a:lnTo>
                    <a:pt x="722" y="690"/>
                  </a:lnTo>
                  <a:lnTo>
                    <a:pt x="724" y="690"/>
                  </a:lnTo>
                  <a:lnTo>
                    <a:pt x="724" y="690"/>
                  </a:lnTo>
                  <a:lnTo>
                    <a:pt x="724" y="688"/>
                  </a:lnTo>
                  <a:lnTo>
                    <a:pt x="724" y="688"/>
                  </a:lnTo>
                  <a:lnTo>
                    <a:pt x="722" y="688"/>
                  </a:lnTo>
                  <a:lnTo>
                    <a:pt x="721" y="688"/>
                  </a:lnTo>
                  <a:lnTo>
                    <a:pt x="721" y="688"/>
                  </a:lnTo>
                  <a:lnTo>
                    <a:pt x="721" y="688"/>
                  </a:lnTo>
                  <a:lnTo>
                    <a:pt x="722" y="687"/>
                  </a:lnTo>
                  <a:lnTo>
                    <a:pt x="721" y="687"/>
                  </a:lnTo>
                  <a:lnTo>
                    <a:pt x="722" y="687"/>
                  </a:lnTo>
                  <a:lnTo>
                    <a:pt x="722" y="687"/>
                  </a:lnTo>
                  <a:lnTo>
                    <a:pt x="724" y="687"/>
                  </a:lnTo>
                  <a:lnTo>
                    <a:pt x="724" y="687"/>
                  </a:lnTo>
                  <a:lnTo>
                    <a:pt x="724" y="687"/>
                  </a:lnTo>
                  <a:lnTo>
                    <a:pt x="724" y="687"/>
                  </a:lnTo>
                  <a:lnTo>
                    <a:pt x="724" y="687"/>
                  </a:lnTo>
                  <a:lnTo>
                    <a:pt x="724" y="687"/>
                  </a:lnTo>
                  <a:lnTo>
                    <a:pt x="726" y="685"/>
                  </a:lnTo>
                  <a:lnTo>
                    <a:pt x="726" y="685"/>
                  </a:lnTo>
                  <a:lnTo>
                    <a:pt x="726" y="683"/>
                  </a:lnTo>
                  <a:lnTo>
                    <a:pt x="726" y="683"/>
                  </a:lnTo>
                  <a:lnTo>
                    <a:pt x="726" y="683"/>
                  </a:lnTo>
                  <a:lnTo>
                    <a:pt x="726" y="683"/>
                  </a:lnTo>
                  <a:lnTo>
                    <a:pt x="726" y="681"/>
                  </a:lnTo>
                  <a:lnTo>
                    <a:pt x="726" y="681"/>
                  </a:lnTo>
                  <a:lnTo>
                    <a:pt x="726" y="681"/>
                  </a:lnTo>
                  <a:lnTo>
                    <a:pt x="728" y="676"/>
                  </a:lnTo>
                  <a:lnTo>
                    <a:pt x="726" y="672"/>
                  </a:lnTo>
                  <a:lnTo>
                    <a:pt x="728" y="667"/>
                  </a:lnTo>
                  <a:lnTo>
                    <a:pt x="728" y="665"/>
                  </a:lnTo>
                  <a:lnTo>
                    <a:pt x="728" y="665"/>
                  </a:lnTo>
                  <a:lnTo>
                    <a:pt x="728" y="663"/>
                  </a:lnTo>
                  <a:lnTo>
                    <a:pt x="731" y="658"/>
                  </a:lnTo>
                  <a:lnTo>
                    <a:pt x="731" y="658"/>
                  </a:lnTo>
                  <a:lnTo>
                    <a:pt x="733" y="656"/>
                  </a:lnTo>
                  <a:lnTo>
                    <a:pt x="733" y="654"/>
                  </a:lnTo>
                  <a:lnTo>
                    <a:pt x="735" y="654"/>
                  </a:lnTo>
                  <a:lnTo>
                    <a:pt x="735" y="654"/>
                  </a:lnTo>
                  <a:lnTo>
                    <a:pt x="735" y="652"/>
                  </a:lnTo>
                  <a:lnTo>
                    <a:pt x="735" y="652"/>
                  </a:lnTo>
                  <a:lnTo>
                    <a:pt x="735" y="651"/>
                  </a:lnTo>
                  <a:lnTo>
                    <a:pt x="735" y="642"/>
                  </a:lnTo>
                  <a:close/>
                  <a:moveTo>
                    <a:pt x="569" y="593"/>
                  </a:moveTo>
                  <a:lnTo>
                    <a:pt x="569" y="593"/>
                  </a:lnTo>
                  <a:lnTo>
                    <a:pt x="569" y="593"/>
                  </a:lnTo>
                  <a:lnTo>
                    <a:pt x="567" y="593"/>
                  </a:lnTo>
                  <a:lnTo>
                    <a:pt x="567" y="593"/>
                  </a:lnTo>
                  <a:lnTo>
                    <a:pt x="567" y="593"/>
                  </a:lnTo>
                  <a:lnTo>
                    <a:pt x="567" y="593"/>
                  </a:lnTo>
                  <a:lnTo>
                    <a:pt x="567" y="593"/>
                  </a:lnTo>
                  <a:lnTo>
                    <a:pt x="565" y="593"/>
                  </a:lnTo>
                  <a:lnTo>
                    <a:pt x="565" y="595"/>
                  </a:lnTo>
                  <a:lnTo>
                    <a:pt x="565" y="595"/>
                  </a:lnTo>
                  <a:lnTo>
                    <a:pt x="565" y="595"/>
                  </a:lnTo>
                  <a:lnTo>
                    <a:pt x="567" y="595"/>
                  </a:lnTo>
                  <a:lnTo>
                    <a:pt x="567" y="595"/>
                  </a:lnTo>
                  <a:lnTo>
                    <a:pt x="569" y="595"/>
                  </a:lnTo>
                  <a:lnTo>
                    <a:pt x="569" y="595"/>
                  </a:lnTo>
                  <a:lnTo>
                    <a:pt x="569" y="593"/>
                  </a:lnTo>
                  <a:lnTo>
                    <a:pt x="569" y="593"/>
                  </a:lnTo>
                  <a:close/>
                  <a:moveTo>
                    <a:pt x="195" y="385"/>
                  </a:moveTo>
                  <a:lnTo>
                    <a:pt x="193" y="383"/>
                  </a:lnTo>
                  <a:lnTo>
                    <a:pt x="193" y="383"/>
                  </a:lnTo>
                  <a:lnTo>
                    <a:pt x="193" y="385"/>
                  </a:lnTo>
                  <a:lnTo>
                    <a:pt x="192" y="383"/>
                  </a:lnTo>
                  <a:lnTo>
                    <a:pt x="192" y="383"/>
                  </a:lnTo>
                  <a:lnTo>
                    <a:pt x="190" y="381"/>
                  </a:lnTo>
                  <a:lnTo>
                    <a:pt x="188" y="381"/>
                  </a:lnTo>
                  <a:lnTo>
                    <a:pt x="186" y="380"/>
                  </a:lnTo>
                  <a:lnTo>
                    <a:pt x="188" y="383"/>
                  </a:lnTo>
                  <a:lnTo>
                    <a:pt x="188" y="385"/>
                  </a:lnTo>
                  <a:lnTo>
                    <a:pt x="188" y="385"/>
                  </a:lnTo>
                  <a:lnTo>
                    <a:pt x="188" y="385"/>
                  </a:lnTo>
                  <a:lnTo>
                    <a:pt x="188" y="387"/>
                  </a:lnTo>
                  <a:lnTo>
                    <a:pt x="190" y="389"/>
                  </a:lnTo>
                  <a:lnTo>
                    <a:pt x="190" y="389"/>
                  </a:lnTo>
                  <a:lnTo>
                    <a:pt x="193" y="392"/>
                  </a:lnTo>
                  <a:lnTo>
                    <a:pt x="193" y="394"/>
                  </a:lnTo>
                  <a:lnTo>
                    <a:pt x="193" y="394"/>
                  </a:lnTo>
                  <a:lnTo>
                    <a:pt x="195" y="398"/>
                  </a:lnTo>
                  <a:lnTo>
                    <a:pt x="195" y="398"/>
                  </a:lnTo>
                  <a:lnTo>
                    <a:pt x="197" y="396"/>
                  </a:lnTo>
                  <a:lnTo>
                    <a:pt x="197" y="394"/>
                  </a:lnTo>
                  <a:lnTo>
                    <a:pt x="197" y="392"/>
                  </a:lnTo>
                  <a:lnTo>
                    <a:pt x="197" y="390"/>
                  </a:lnTo>
                  <a:lnTo>
                    <a:pt x="197" y="390"/>
                  </a:lnTo>
                  <a:lnTo>
                    <a:pt x="195" y="389"/>
                  </a:lnTo>
                  <a:lnTo>
                    <a:pt x="195" y="389"/>
                  </a:lnTo>
                  <a:lnTo>
                    <a:pt x="195" y="389"/>
                  </a:lnTo>
                  <a:lnTo>
                    <a:pt x="195" y="387"/>
                  </a:lnTo>
                  <a:lnTo>
                    <a:pt x="195" y="387"/>
                  </a:lnTo>
                  <a:lnTo>
                    <a:pt x="195" y="387"/>
                  </a:lnTo>
                  <a:lnTo>
                    <a:pt x="195" y="385"/>
                  </a:lnTo>
                  <a:lnTo>
                    <a:pt x="195" y="385"/>
                  </a:lnTo>
                  <a:close/>
                  <a:moveTo>
                    <a:pt x="182" y="367"/>
                  </a:moveTo>
                  <a:lnTo>
                    <a:pt x="182" y="367"/>
                  </a:lnTo>
                  <a:lnTo>
                    <a:pt x="182" y="367"/>
                  </a:lnTo>
                  <a:lnTo>
                    <a:pt x="182" y="365"/>
                  </a:lnTo>
                  <a:lnTo>
                    <a:pt x="182" y="365"/>
                  </a:lnTo>
                  <a:lnTo>
                    <a:pt x="181" y="365"/>
                  </a:lnTo>
                  <a:lnTo>
                    <a:pt x="179" y="365"/>
                  </a:lnTo>
                  <a:lnTo>
                    <a:pt x="179" y="367"/>
                  </a:lnTo>
                  <a:lnTo>
                    <a:pt x="179" y="367"/>
                  </a:lnTo>
                  <a:lnTo>
                    <a:pt x="181" y="369"/>
                  </a:lnTo>
                  <a:lnTo>
                    <a:pt x="182" y="369"/>
                  </a:lnTo>
                  <a:lnTo>
                    <a:pt x="184" y="369"/>
                  </a:lnTo>
                  <a:lnTo>
                    <a:pt x="190" y="372"/>
                  </a:lnTo>
                  <a:lnTo>
                    <a:pt x="192" y="372"/>
                  </a:lnTo>
                  <a:lnTo>
                    <a:pt x="192" y="372"/>
                  </a:lnTo>
                  <a:lnTo>
                    <a:pt x="192" y="372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3" y="372"/>
                  </a:lnTo>
                  <a:lnTo>
                    <a:pt x="193" y="371"/>
                  </a:lnTo>
                  <a:lnTo>
                    <a:pt x="192" y="371"/>
                  </a:lnTo>
                  <a:lnTo>
                    <a:pt x="192" y="369"/>
                  </a:lnTo>
                  <a:lnTo>
                    <a:pt x="186" y="369"/>
                  </a:lnTo>
                  <a:lnTo>
                    <a:pt x="184" y="369"/>
                  </a:lnTo>
                  <a:lnTo>
                    <a:pt x="184" y="367"/>
                  </a:lnTo>
                  <a:lnTo>
                    <a:pt x="186" y="367"/>
                  </a:lnTo>
                  <a:lnTo>
                    <a:pt x="186" y="367"/>
                  </a:lnTo>
                  <a:lnTo>
                    <a:pt x="184" y="367"/>
                  </a:lnTo>
                  <a:lnTo>
                    <a:pt x="182" y="369"/>
                  </a:lnTo>
                  <a:lnTo>
                    <a:pt x="182" y="369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2" y="367"/>
                  </a:lnTo>
                  <a:close/>
                  <a:moveTo>
                    <a:pt x="141" y="333"/>
                  </a:moveTo>
                  <a:lnTo>
                    <a:pt x="139" y="331"/>
                  </a:lnTo>
                  <a:lnTo>
                    <a:pt x="139" y="331"/>
                  </a:lnTo>
                  <a:lnTo>
                    <a:pt x="137" y="331"/>
                  </a:lnTo>
                  <a:lnTo>
                    <a:pt x="137" y="333"/>
                  </a:lnTo>
                  <a:lnTo>
                    <a:pt x="137" y="333"/>
                  </a:lnTo>
                  <a:lnTo>
                    <a:pt x="141" y="333"/>
                  </a:lnTo>
                  <a:lnTo>
                    <a:pt x="143" y="334"/>
                  </a:lnTo>
                  <a:lnTo>
                    <a:pt x="143" y="333"/>
                  </a:lnTo>
                  <a:lnTo>
                    <a:pt x="141" y="333"/>
                  </a:lnTo>
                  <a:close/>
                  <a:moveTo>
                    <a:pt x="148" y="315"/>
                  </a:moveTo>
                  <a:lnTo>
                    <a:pt x="148" y="315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1"/>
                  </a:lnTo>
                  <a:lnTo>
                    <a:pt x="146" y="311"/>
                  </a:lnTo>
                  <a:lnTo>
                    <a:pt x="146" y="309"/>
                  </a:lnTo>
                  <a:lnTo>
                    <a:pt x="145" y="309"/>
                  </a:lnTo>
                  <a:lnTo>
                    <a:pt x="145" y="309"/>
                  </a:lnTo>
                  <a:lnTo>
                    <a:pt x="141" y="309"/>
                  </a:lnTo>
                  <a:lnTo>
                    <a:pt x="143" y="311"/>
                  </a:lnTo>
                  <a:lnTo>
                    <a:pt x="143" y="313"/>
                  </a:lnTo>
                  <a:lnTo>
                    <a:pt x="145" y="315"/>
                  </a:lnTo>
                  <a:lnTo>
                    <a:pt x="145" y="313"/>
                  </a:lnTo>
                  <a:lnTo>
                    <a:pt x="146" y="315"/>
                  </a:lnTo>
                  <a:lnTo>
                    <a:pt x="148" y="316"/>
                  </a:lnTo>
                  <a:lnTo>
                    <a:pt x="148" y="318"/>
                  </a:lnTo>
                  <a:lnTo>
                    <a:pt x="148" y="318"/>
                  </a:lnTo>
                  <a:lnTo>
                    <a:pt x="150" y="316"/>
                  </a:lnTo>
                  <a:lnTo>
                    <a:pt x="150" y="316"/>
                  </a:lnTo>
                  <a:lnTo>
                    <a:pt x="148" y="315"/>
                  </a:lnTo>
                  <a:close/>
                  <a:moveTo>
                    <a:pt x="101" y="287"/>
                  </a:moveTo>
                  <a:lnTo>
                    <a:pt x="101" y="287"/>
                  </a:lnTo>
                  <a:lnTo>
                    <a:pt x="99" y="286"/>
                  </a:lnTo>
                  <a:lnTo>
                    <a:pt x="99" y="286"/>
                  </a:lnTo>
                  <a:lnTo>
                    <a:pt x="98" y="284"/>
                  </a:lnTo>
                  <a:lnTo>
                    <a:pt x="96" y="284"/>
                  </a:lnTo>
                  <a:lnTo>
                    <a:pt x="94" y="284"/>
                  </a:lnTo>
                  <a:lnTo>
                    <a:pt x="94" y="282"/>
                  </a:lnTo>
                  <a:lnTo>
                    <a:pt x="94" y="282"/>
                  </a:lnTo>
                  <a:lnTo>
                    <a:pt x="94" y="284"/>
                  </a:lnTo>
                  <a:lnTo>
                    <a:pt x="92" y="284"/>
                  </a:lnTo>
                  <a:lnTo>
                    <a:pt x="94" y="284"/>
                  </a:lnTo>
                  <a:lnTo>
                    <a:pt x="94" y="286"/>
                  </a:lnTo>
                  <a:lnTo>
                    <a:pt x="94" y="287"/>
                  </a:lnTo>
                  <a:lnTo>
                    <a:pt x="94" y="287"/>
                  </a:lnTo>
                  <a:lnTo>
                    <a:pt x="96" y="289"/>
                  </a:lnTo>
                  <a:lnTo>
                    <a:pt x="98" y="289"/>
                  </a:lnTo>
                  <a:lnTo>
                    <a:pt x="101" y="289"/>
                  </a:lnTo>
                  <a:lnTo>
                    <a:pt x="103" y="289"/>
                  </a:lnTo>
                  <a:lnTo>
                    <a:pt x="103" y="287"/>
                  </a:lnTo>
                  <a:lnTo>
                    <a:pt x="103" y="287"/>
                  </a:lnTo>
                  <a:lnTo>
                    <a:pt x="101" y="287"/>
                  </a:lnTo>
                  <a:close/>
                  <a:moveTo>
                    <a:pt x="4" y="203"/>
                  </a:moveTo>
                  <a:lnTo>
                    <a:pt x="4" y="203"/>
                  </a:lnTo>
                  <a:lnTo>
                    <a:pt x="4" y="203"/>
                  </a:lnTo>
                  <a:lnTo>
                    <a:pt x="2" y="201"/>
                  </a:lnTo>
                  <a:lnTo>
                    <a:pt x="2" y="203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2" y="203"/>
                  </a:lnTo>
                  <a:lnTo>
                    <a:pt x="2" y="204"/>
                  </a:lnTo>
                  <a:lnTo>
                    <a:pt x="2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2" y="204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close/>
                  <a:moveTo>
                    <a:pt x="661" y="165"/>
                  </a:moveTo>
                  <a:lnTo>
                    <a:pt x="654" y="159"/>
                  </a:lnTo>
                  <a:lnTo>
                    <a:pt x="652" y="159"/>
                  </a:lnTo>
                  <a:lnTo>
                    <a:pt x="650" y="159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3" y="159"/>
                  </a:lnTo>
                  <a:lnTo>
                    <a:pt x="643" y="159"/>
                  </a:lnTo>
                  <a:lnTo>
                    <a:pt x="643" y="159"/>
                  </a:lnTo>
                  <a:lnTo>
                    <a:pt x="641" y="159"/>
                  </a:lnTo>
                  <a:lnTo>
                    <a:pt x="641" y="159"/>
                  </a:lnTo>
                  <a:lnTo>
                    <a:pt x="641" y="159"/>
                  </a:lnTo>
                  <a:lnTo>
                    <a:pt x="639" y="159"/>
                  </a:lnTo>
                  <a:lnTo>
                    <a:pt x="639" y="159"/>
                  </a:lnTo>
                  <a:lnTo>
                    <a:pt x="639" y="159"/>
                  </a:lnTo>
                  <a:lnTo>
                    <a:pt x="639" y="159"/>
                  </a:lnTo>
                  <a:lnTo>
                    <a:pt x="638" y="159"/>
                  </a:lnTo>
                  <a:lnTo>
                    <a:pt x="638" y="157"/>
                  </a:lnTo>
                  <a:lnTo>
                    <a:pt x="638" y="157"/>
                  </a:lnTo>
                  <a:lnTo>
                    <a:pt x="636" y="157"/>
                  </a:lnTo>
                  <a:lnTo>
                    <a:pt x="634" y="157"/>
                  </a:lnTo>
                  <a:lnTo>
                    <a:pt x="632" y="156"/>
                  </a:lnTo>
                  <a:lnTo>
                    <a:pt x="632" y="156"/>
                  </a:lnTo>
                  <a:lnTo>
                    <a:pt x="630" y="154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0" y="150"/>
                  </a:lnTo>
                  <a:lnTo>
                    <a:pt x="630" y="150"/>
                  </a:lnTo>
                  <a:lnTo>
                    <a:pt x="627" y="150"/>
                  </a:lnTo>
                  <a:lnTo>
                    <a:pt x="627" y="150"/>
                  </a:lnTo>
                  <a:lnTo>
                    <a:pt x="627" y="150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3" y="152"/>
                  </a:lnTo>
                  <a:lnTo>
                    <a:pt x="623" y="152"/>
                  </a:lnTo>
                  <a:lnTo>
                    <a:pt x="623" y="152"/>
                  </a:lnTo>
                  <a:lnTo>
                    <a:pt x="621" y="152"/>
                  </a:lnTo>
                  <a:lnTo>
                    <a:pt x="621" y="152"/>
                  </a:lnTo>
                  <a:lnTo>
                    <a:pt x="621" y="154"/>
                  </a:lnTo>
                  <a:lnTo>
                    <a:pt x="621" y="154"/>
                  </a:lnTo>
                  <a:lnTo>
                    <a:pt x="621" y="154"/>
                  </a:lnTo>
                  <a:lnTo>
                    <a:pt x="620" y="154"/>
                  </a:lnTo>
                  <a:lnTo>
                    <a:pt x="620" y="154"/>
                  </a:lnTo>
                  <a:lnTo>
                    <a:pt x="614" y="154"/>
                  </a:lnTo>
                  <a:lnTo>
                    <a:pt x="614" y="154"/>
                  </a:lnTo>
                  <a:lnTo>
                    <a:pt x="612" y="154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0" y="154"/>
                  </a:lnTo>
                  <a:lnTo>
                    <a:pt x="609" y="154"/>
                  </a:lnTo>
                  <a:lnTo>
                    <a:pt x="607" y="154"/>
                  </a:lnTo>
                  <a:lnTo>
                    <a:pt x="607" y="152"/>
                  </a:lnTo>
                  <a:lnTo>
                    <a:pt x="607" y="148"/>
                  </a:lnTo>
                  <a:lnTo>
                    <a:pt x="607" y="148"/>
                  </a:lnTo>
                  <a:lnTo>
                    <a:pt x="603" y="147"/>
                  </a:lnTo>
                  <a:lnTo>
                    <a:pt x="603" y="147"/>
                  </a:lnTo>
                  <a:lnTo>
                    <a:pt x="601" y="147"/>
                  </a:lnTo>
                  <a:lnTo>
                    <a:pt x="600" y="147"/>
                  </a:lnTo>
                  <a:lnTo>
                    <a:pt x="598" y="147"/>
                  </a:lnTo>
                  <a:lnTo>
                    <a:pt x="598" y="148"/>
                  </a:lnTo>
                  <a:lnTo>
                    <a:pt x="598" y="148"/>
                  </a:lnTo>
                  <a:lnTo>
                    <a:pt x="598" y="150"/>
                  </a:lnTo>
                  <a:lnTo>
                    <a:pt x="598" y="152"/>
                  </a:lnTo>
                  <a:lnTo>
                    <a:pt x="598" y="152"/>
                  </a:lnTo>
                  <a:lnTo>
                    <a:pt x="596" y="150"/>
                  </a:lnTo>
                  <a:lnTo>
                    <a:pt x="592" y="150"/>
                  </a:lnTo>
                  <a:lnTo>
                    <a:pt x="592" y="150"/>
                  </a:lnTo>
                  <a:lnTo>
                    <a:pt x="592" y="148"/>
                  </a:lnTo>
                  <a:lnTo>
                    <a:pt x="592" y="148"/>
                  </a:lnTo>
                  <a:lnTo>
                    <a:pt x="592" y="147"/>
                  </a:lnTo>
                  <a:lnTo>
                    <a:pt x="592" y="147"/>
                  </a:lnTo>
                  <a:lnTo>
                    <a:pt x="592" y="147"/>
                  </a:lnTo>
                  <a:lnTo>
                    <a:pt x="591" y="147"/>
                  </a:lnTo>
                  <a:lnTo>
                    <a:pt x="591" y="147"/>
                  </a:lnTo>
                  <a:lnTo>
                    <a:pt x="591" y="147"/>
                  </a:lnTo>
                  <a:lnTo>
                    <a:pt x="591" y="147"/>
                  </a:lnTo>
                  <a:lnTo>
                    <a:pt x="591" y="145"/>
                  </a:lnTo>
                  <a:lnTo>
                    <a:pt x="591" y="145"/>
                  </a:lnTo>
                  <a:lnTo>
                    <a:pt x="591" y="143"/>
                  </a:lnTo>
                  <a:lnTo>
                    <a:pt x="589" y="143"/>
                  </a:lnTo>
                  <a:lnTo>
                    <a:pt x="589" y="143"/>
                  </a:lnTo>
                  <a:lnTo>
                    <a:pt x="589" y="143"/>
                  </a:lnTo>
                  <a:lnTo>
                    <a:pt x="589" y="143"/>
                  </a:lnTo>
                  <a:lnTo>
                    <a:pt x="589" y="141"/>
                  </a:lnTo>
                  <a:lnTo>
                    <a:pt x="589" y="141"/>
                  </a:lnTo>
                  <a:lnTo>
                    <a:pt x="585" y="139"/>
                  </a:lnTo>
                  <a:lnTo>
                    <a:pt x="585" y="138"/>
                  </a:lnTo>
                  <a:lnTo>
                    <a:pt x="583" y="136"/>
                  </a:lnTo>
                  <a:lnTo>
                    <a:pt x="585" y="136"/>
                  </a:lnTo>
                  <a:lnTo>
                    <a:pt x="585" y="136"/>
                  </a:lnTo>
                  <a:lnTo>
                    <a:pt x="585" y="136"/>
                  </a:lnTo>
                  <a:lnTo>
                    <a:pt x="585" y="134"/>
                  </a:lnTo>
                  <a:lnTo>
                    <a:pt x="583" y="132"/>
                  </a:lnTo>
                  <a:lnTo>
                    <a:pt x="583" y="132"/>
                  </a:lnTo>
                  <a:lnTo>
                    <a:pt x="583" y="132"/>
                  </a:lnTo>
                  <a:lnTo>
                    <a:pt x="583" y="130"/>
                  </a:lnTo>
                  <a:lnTo>
                    <a:pt x="583" y="130"/>
                  </a:lnTo>
                  <a:lnTo>
                    <a:pt x="582" y="130"/>
                  </a:lnTo>
                  <a:lnTo>
                    <a:pt x="582" y="129"/>
                  </a:lnTo>
                  <a:lnTo>
                    <a:pt x="576" y="127"/>
                  </a:lnTo>
                  <a:lnTo>
                    <a:pt x="576" y="127"/>
                  </a:lnTo>
                  <a:lnTo>
                    <a:pt x="576" y="127"/>
                  </a:lnTo>
                  <a:lnTo>
                    <a:pt x="574" y="127"/>
                  </a:lnTo>
                  <a:lnTo>
                    <a:pt x="574" y="129"/>
                  </a:lnTo>
                  <a:lnTo>
                    <a:pt x="574" y="127"/>
                  </a:lnTo>
                  <a:lnTo>
                    <a:pt x="573" y="127"/>
                  </a:lnTo>
                  <a:lnTo>
                    <a:pt x="571" y="127"/>
                  </a:lnTo>
                  <a:lnTo>
                    <a:pt x="569" y="125"/>
                  </a:lnTo>
                  <a:lnTo>
                    <a:pt x="569" y="125"/>
                  </a:lnTo>
                  <a:lnTo>
                    <a:pt x="567" y="125"/>
                  </a:lnTo>
                  <a:lnTo>
                    <a:pt x="567" y="125"/>
                  </a:lnTo>
                  <a:lnTo>
                    <a:pt x="564" y="125"/>
                  </a:lnTo>
                  <a:lnTo>
                    <a:pt x="564" y="125"/>
                  </a:lnTo>
                  <a:lnTo>
                    <a:pt x="562" y="125"/>
                  </a:lnTo>
                  <a:lnTo>
                    <a:pt x="562" y="125"/>
                  </a:lnTo>
                  <a:lnTo>
                    <a:pt x="562" y="127"/>
                  </a:lnTo>
                  <a:lnTo>
                    <a:pt x="562" y="127"/>
                  </a:lnTo>
                  <a:lnTo>
                    <a:pt x="562" y="127"/>
                  </a:lnTo>
                  <a:lnTo>
                    <a:pt x="562" y="127"/>
                  </a:lnTo>
                  <a:lnTo>
                    <a:pt x="560" y="129"/>
                  </a:lnTo>
                  <a:lnTo>
                    <a:pt x="560" y="129"/>
                  </a:lnTo>
                  <a:lnTo>
                    <a:pt x="556" y="129"/>
                  </a:lnTo>
                  <a:lnTo>
                    <a:pt x="554" y="129"/>
                  </a:lnTo>
                  <a:lnTo>
                    <a:pt x="554" y="127"/>
                  </a:lnTo>
                  <a:lnTo>
                    <a:pt x="553" y="125"/>
                  </a:lnTo>
                  <a:lnTo>
                    <a:pt x="549" y="125"/>
                  </a:lnTo>
                  <a:lnTo>
                    <a:pt x="549" y="125"/>
                  </a:lnTo>
                  <a:lnTo>
                    <a:pt x="547" y="123"/>
                  </a:lnTo>
                  <a:lnTo>
                    <a:pt x="545" y="121"/>
                  </a:lnTo>
                  <a:lnTo>
                    <a:pt x="545" y="121"/>
                  </a:lnTo>
                  <a:lnTo>
                    <a:pt x="544" y="121"/>
                  </a:lnTo>
                  <a:lnTo>
                    <a:pt x="544" y="119"/>
                  </a:lnTo>
                  <a:lnTo>
                    <a:pt x="544" y="121"/>
                  </a:lnTo>
                  <a:lnTo>
                    <a:pt x="544" y="121"/>
                  </a:lnTo>
                  <a:lnTo>
                    <a:pt x="542" y="121"/>
                  </a:lnTo>
                  <a:lnTo>
                    <a:pt x="542" y="121"/>
                  </a:lnTo>
                  <a:lnTo>
                    <a:pt x="540" y="121"/>
                  </a:lnTo>
                  <a:lnTo>
                    <a:pt x="538" y="121"/>
                  </a:lnTo>
                  <a:lnTo>
                    <a:pt x="538" y="121"/>
                  </a:lnTo>
                  <a:lnTo>
                    <a:pt x="536" y="123"/>
                  </a:lnTo>
                  <a:lnTo>
                    <a:pt x="536" y="123"/>
                  </a:lnTo>
                  <a:lnTo>
                    <a:pt x="536" y="123"/>
                  </a:lnTo>
                  <a:lnTo>
                    <a:pt x="536" y="123"/>
                  </a:lnTo>
                  <a:lnTo>
                    <a:pt x="536" y="123"/>
                  </a:lnTo>
                  <a:lnTo>
                    <a:pt x="535" y="123"/>
                  </a:lnTo>
                  <a:lnTo>
                    <a:pt x="533" y="123"/>
                  </a:lnTo>
                  <a:lnTo>
                    <a:pt x="531" y="123"/>
                  </a:lnTo>
                  <a:lnTo>
                    <a:pt x="531" y="125"/>
                  </a:lnTo>
                  <a:lnTo>
                    <a:pt x="529" y="125"/>
                  </a:lnTo>
                  <a:lnTo>
                    <a:pt x="529" y="123"/>
                  </a:lnTo>
                  <a:lnTo>
                    <a:pt x="529" y="123"/>
                  </a:lnTo>
                  <a:lnTo>
                    <a:pt x="529" y="121"/>
                  </a:lnTo>
                  <a:lnTo>
                    <a:pt x="529" y="121"/>
                  </a:lnTo>
                  <a:lnTo>
                    <a:pt x="529" y="121"/>
                  </a:lnTo>
                  <a:lnTo>
                    <a:pt x="527" y="116"/>
                  </a:lnTo>
                  <a:lnTo>
                    <a:pt x="526" y="116"/>
                  </a:lnTo>
                  <a:lnTo>
                    <a:pt x="526" y="116"/>
                  </a:lnTo>
                  <a:lnTo>
                    <a:pt x="524" y="114"/>
                  </a:lnTo>
                  <a:lnTo>
                    <a:pt x="524" y="114"/>
                  </a:lnTo>
                  <a:lnTo>
                    <a:pt x="524" y="114"/>
                  </a:lnTo>
                  <a:lnTo>
                    <a:pt x="524" y="114"/>
                  </a:lnTo>
                  <a:lnTo>
                    <a:pt x="524" y="116"/>
                  </a:lnTo>
                  <a:lnTo>
                    <a:pt x="522" y="116"/>
                  </a:lnTo>
                  <a:lnTo>
                    <a:pt x="522" y="116"/>
                  </a:lnTo>
                  <a:lnTo>
                    <a:pt x="522" y="116"/>
                  </a:lnTo>
                  <a:lnTo>
                    <a:pt x="522" y="116"/>
                  </a:lnTo>
                  <a:lnTo>
                    <a:pt x="522" y="114"/>
                  </a:lnTo>
                  <a:lnTo>
                    <a:pt x="522" y="114"/>
                  </a:lnTo>
                  <a:lnTo>
                    <a:pt x="522" y="112"/>
                  </a:lnTo>
                  <a:lnTo>
                    <a:pt x="522" y="112"/>
                  </a:lnTo>
                  <a:lnTo>
                    <a:pt x="522" y="112"/>
                  </a:lnTo>
                  <a:lnTo>
                    <a:pt x="520" y="110"/>
                  </a:lnTo>
                  <a:lnTo>
                    <a:pt x="520" y="109"/>
                  </a:lnTo>
                  <a:lnTo>
                    <a:pt x="518" y="109"/>
                  </a:lnTo>
                  <a:lnTo>
                    <a:pt x="517" y="110"/>
                  </a:lnTo>
                  <a:lnTo>
                    <a:pt x="515" y="110"/>
                  </a:lnTo>
                  <a:lnTo>
                    <a:pt x="515" y="109"/>
                  </a:lnTo>
                  <a:lnTo>
                    <a:pt x="513" y="109"/>
                  </a:lnTo>
                  <a:lnTo>
                    <a:pt x="511" y="105"/>
                  </a:lnTo>
                  <a:lnTo>
                    <a:pt x="511" y="105"/>
                  </a:lnTo>
                  <a:lnTo>
                    <a:pt x="509" y="105"/>
                  </a:lnTo>
                  <a:lnTo>
                    <a:pt x="508" y="103"/>
                  </a:lnTo>
                  <a:lnTo>
                    <a:pt x="506" y="101"/>
                  </a:lnTo>
                  <a:lnTo>
                    <a:pt x="506" y="101"/>
                  </a:lnTo>
                  <a:lnTo>
                    <a:pt x="506" y="101"/>
                  </a:lnTo>
                  <a:lnTo>
                    <a:pt x="504" y="101"/>
                  </a:lnTo>
                  <a:lnTo>
                    <a:pt x="502" y="101"/>
                  </a:lnTo>
                  <a:lnTo>
                    <a:pt x="500" y="101"/>
                  </a:lnTo>
                  <a:lnTo>
                    <a:pt x="500" y="101"/>
                  </a:lnTo>
                  <a:lnTo>
                    <a:pt x="499" y="101"/>
                  </a:lnTo>
                  <a:lnTo>
                    <a:pt x="499" y="98"/>
                  </a:lnTo>
                  <a:lnTo>
                    <a:pt x="499" y="98"/>
                  </a:lnTo>
                  <a:lnTo>
                    <a:pt x="499" y="98"/>
                  </a:lnTo>
                  <a:lnTo>
                    <a:pt x="499" y="98"/>
                  </a:lnTo>
                  <a:lnTo>
                    <a:pt x="499" y="96"/>
                  </a:lnTo>
                  <a:lnTo>
                    <a:pt x="499" y="96"/>
                  </a:lnTo>
                  <a:lnTo>
                    <a:pt x="499" y="96"/>
                  </a:lnTo>
                  <a:lnTo>
                    <a:pt x="499" y="94"/>
                  </a:lnTo>
                  <a:lnTo>
                    <a:pt x="500" y="94"/>
                  </a:lnTo>
                  <a:lnTo>
                    <a:pt x="500" y="92"/>
                  </a:lnTo>
                  <a:lnTo>
                    <a:pt x="500" y="92"/>
                  </a:lnTo>
                  <a:lnTo>
                    <a:pt x="499" y="91"/>
                  </a:lnTo>
                  <a:lnTo>
                    <a:pt x="497" y="91"/>
                  </a:lnTo>
                  <a:lnTo>
                    <a:pt x="495" y="89"/>
                  </a:lnTo>
                  <a:lnTo>
                    <a:pt x="497" y="87"/>
                  </a:lnTo>
                  <a:lnTo>
                    <a:pt x="499" y="83"/>
                  </a:lnTo>
                  <a:lnTo>
                    <a:pt x="499" y="82"/>
                  </a:lnTo>
                  <a:lnTo>
                    <a:pt x="499" y="82"/>
                  </a:lnTo>
                  <a:lnTo>
                    <a:pt x="499" y="80"/>
                  </a:lnTo>
                  <a:lnTo>
                    <a:pt x="499" y="78"/>
                  </a:lnTo>
                  <a:lnTo>
                    <a:pt x="499" y="78"/>
                  </a:lnTo>
                  <a:lnTo>
                    <a:pt x="500" y="80"/>
                  </a:lnTo>
                  <a:lnTo>
                    <a:pt x="500" y="78"/>
                  </a:lnTo>
                  <a:lnTo>
                    <a:pt x="500" y="76"/>
                  </a:lnTo>
                  <a:lnTo>
                    <a:pt x="500" y="74"/>
                  </a:lnTo>
                  <a:lnTo>
                    <a:pt x="500" y="74"/>
                  </a:lnTo>
                  <a:lnTo>
                    <a:pt x="499" y="74"/>
                  </a:lnTo>
                  <a:lnTo>
                    <a:pt x="497" y="74"/>
                  </a:lnTo>
                  <a:lnTo>
                    <a:pt x="497" y="73"/>
                  </a:lnTo>
                  <a:lnTo>
                    <a:pt x="497" y="74"/>
                  </a:lnTo>
                  <a:lnTo>
                    <a:pt x="491" y="80"/>
                  </a:lnTo>
                  <a:lnTo>
                    <a:pt x="491" y="80"/>
                  </a:lnTo>
                  <a:lnTo>
                    <a:pt x="489" y="80"/>
                  </a:lnTo>
                  <a:lnTo>
                    <a:pt x="489" y="82"/>
                  </a:lnTo>
                  <a:lnTo>
                    <a:pt x="491" y="82"/>
                  </a:lnTo>
                  <a:lnTo>
                    <a:pt x="491" y="82"/>
                  </a:lnTo>
                  <a:lnTo>
                    <a:pt x="489" y="83"/>
                  </a:lnTo>
                  <a:lnTo>
                    <a:pt x="489" y="85"/>
                  </a:lnTo>
                  <a:lnTo>
                    <a:pt x="489" y="87"/>
                  </a:lnTo>
                  <a:lnTo>
                    <a:pt x="489" y="87"/>
                  </a:lnTo>
                  <a:lnTo>
                    <a:pt x="488" y="87"/>
                  </a:lnTo>
                  <a:lnTo>
                    <a:pt x="480" y="91"/>
                  </a:lnTo>
                  <a:lnTo>
                    <a:pt x="479" y="91"/>
                  </a:lnTo>
                  <a:lnTo>
                    <a:pt x="479" y="91"/>
                  </a:lnTo>
                  <a:lnTo>
                    <a:pt x="470" y="89"/>
                  </a:lnTo>
                  <a:lnTo>
                    <a:pt x="468" y="89"/>
                  </a:lnTo>
                  <a:lnTo>
                    <a:pt x="466" y="89"/>
                  </a:lnTo>
                  <a:lnTo>
                    <a:pt x="466" y="89"/>
                  </a:lnTo>
                  <a:lnTo>
                    <a:pt x="462" y="87"/>
                  </a:lnTo>
                  <a:lnTo>
                    <a:pt x="462" y="87"/>
                  </a:lnTo>
                  <a:lnTo>
                    <a:pt x="464" y="87"/>
                  </a:lnTo>
                  <a:lnTo>
                    <a:pt x="464" y="87"/>
                  </a:lnTo>
                  <a:lnTo>
                    <a:pt x="462" y="85"/>
                  </a:lnTo>
                  <a:lnTo>
                    <a:pt x="462" y="85"/>
                  </a:lnTo>
                  <a:lnTo>
                    <a:pt x="462" y="83"/>
                  </a:lnTo>
                  <a:lnTo>
                    <a:pt x="464" y="83"/>
                  </a:lnTo>
                  <a:lnTo>
                    <a:pt x="464" y="83"/>
                  </a:lnTo>
                  <a:lnTo>
                    <a:pt x="464" y="82"/>
                  </a:lnTo>
                  <a:lnTo>
                    <a:pt x="466" y="82"/>
                  </a:lnTo>
                  <a:lnTo>
                    <a:pt x="468" y="82"/>
                  </a:lnTo>
                  <a:lnTo>
                    <a:pt x="468" y="80"/>
                  </a:lnTo>
                  <a:lnTo>
                    <a:pt x="466" y="80"/>
                  </a:lnTo>
                  <a:lnTo>
                    <a:pt x="466" y="80"/>
                  </a:lnTo>
                  <a:lnTo>
                    <a:pt x="466" y="76"/>
                  </a:lnTo>
                  <a:lnTo>
                    <a:pt x="464" y="76"/>
                  </a:lnTo>
                  <a:lnTo>
                    <a:pt x="464" y="76"/>
                  </a:lnTo>
                  <a:lnTo>
                    <a:pt x="464" y="76"/>
                  </a:lnTo>
                  <a:lnTo>
                    <a:pt x="462" y="76"/>
                  </a:lnTo>
                  <a:lnTo>
                    <a:pt x="462" y="74"/>
                  </a:lnTo>
                  <a:lnTo>
                    <a:pt x="464" y="71"/>
                  </a:lnTo>
                  <a:lnTo>
                    <a:pt x="464" y="69"/>
                  </a:lnTo>
                  <a:lnTo>
                    <a:pt x="464" y="69"/>
                  </a:lnTo>
                  <a:lnTo>
                    <a:pt x="464" y="69"/>
                  </a:lnTo>
                  <a:lnTo>
                    <a:pt x="466" y="67"/>
                  </a:lnTo>
                  <a:lnTo>
                    <a:pt x="466" y="67"/>
                  </a:lnTo>
                  <a:lnTo>
                    <a:pt x="466" y="65"/>
                  </a:lnTo>
                  <a:lnTo>
                    <a:pt x="466" y="65"/>
                  </a:lnTo>
                  <a:lnTo>
                    <a:pt x="466" y="65"/>
                  </a:lnTo>
                  <a:lnTo>
                    <a:pt x="466" y="65"/>
                  </a:lnTo>
                  <a:lnTo>
                    <a:pt x="464" y="63"/>
                  </a:lnTo>
                  <a:lnTo>
                    <a:pt x="464" y="65"/>
                  </a:lnTo>
                  <a:lnTo>
                    <a:pt x="464" y="65"/>
                  </a:lnTo>
                  <a:lnTo>
                    <a:pt x="464" y="65"/>
                  </a:lnTo>
                  <a:lnTo>
                    <a:pt x="464" y="65"/>
                  </a:lnTo>
                  <a:lnTo>
                    <a:pt x="462" y="65"/>
                  </a:lnTo>
                  <a:lnTo>
                    <a:pt x="461" y="62"/>
                  </a:lnTo>
                  <a:lnTo>
                    <a:pt x="461" y="62"/>
                  </a:lnTo>
                  <a:lnTo>
                    <a:pt x="459" y="62"/>
                  </a:lnTo>
                  <a:lnTo>
                    <a:pt x="457" y="60"/>
                  </a:lnTo>
                  <a:lnTo>
                    <a:pt x="457" y="58"/>
                  </a:lnTo>
                  <a:lnTo>
                    <a:pt x="455" y="58"/>
                  </a:lnTo>
                  <a:lnTo>
                    <a:pt x="453" y="60"/>
                  </a:lnTo>
                  <a:lnTo>
                    <a:pt x="452" y="60"/>
                  </a:lnTo>
                  <a:lnTo>
                    <a:pt x="450" y="60"/>
                  </a:lnTo>
                  <a:lnTo>
                    <a:pt x="450" y="60"/>
                  </a:lnTo>
                  <a:lnTo>
                    <a:pt x="448" y="58"/>
                  </a:lnTo>
                  <a:lnTo>
                    <a:pt x="446" y="58"/>
                  </a:lnTo>
                  <a:lnTo>
                    <a:pt x="444" y="58"/>
                  </a:lnTo>
                  <a:lnTo>
                    <a:pt x="444" y="58"/>
                  </a:lnTo>
                  <a:lnTo>
                    <a:pt x="443" y="60"/>
                  </a:lnTo>
                  <a:lnTo>
                    <a:pt x="443" y="60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1" y="62"/>
                  </a:lnTo>
                  <a:lnTo>
                    <a:pt x="441" y="62"/>
                  </a:lnTo>
                  <a:lnTo>
                    <a:pt x="439" y="60"/>
                  </a:lnTo>
                  <a:lnTo>
                    <a:pt x="439" y="58"/>
                  </a:lnTo>
                  <a:lnTo>
                    <a:pt x="439" y="54"/>
                  </a:lnTo>
                  <a:lnTo>
                    <a:pt x="439" y="51"/>
                  </a:lnTo>
                  <a:lnTo>
                    <a:pt x="437" y="49"/>
                  </a:lnTo>
                  <a:lnTo>
                    <a:pt x="437" y="49"/>
                  </a:lnTo>
                  <a:lnTo>
                    <a:pt x="435" y="47"/>
                  </a:lnTo>
                  <a:lnTo>
                    <a:pt x="435" y="47"/>
                  </a:lnTo>
                  <a:lnTo>
                    <a:pt x="432" y="47"/>
                  </a:lnTo>
                  <a:lnTo>
                    <a:pt x="432" y="47"/>
                  </a:lnTo>
                  <a:lnTo>
                    <a:pt x="432" y="45"/>
                  </a:lnTo>
                  <a:lnTo>
                    <a:pt x="432" y="45"/>
                  </a:lnTo>
                  <a:lnTo>
                    <a:pt x="432" y="45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28" y="45"/>
                  </a:lnTo>
                  <a:lnTo>
                    <a:pt x="428" y="47"/>
                  </a:lnTo>
                  <a:lnTo>
                    <a:pt x="426" y="47"/>
                  </a:lnTo>
                  <a:lnTo>
                    <a:pt x="424" y="47"/>
                  </a:lnTo>
                  <a:lnTo>
                    <a:pt x="424" y="47"/>
                  </a:lnTo>
                  <a:lnTo>
                    <a:pt x="421" y="45"/>
                  </a:lnTo>
                  <a:lnTo>
                    <a:pt x="421" y="45"/>
                  </a:lnTo>
                  <a:lnTo>
                    <a:pt x="421" y="44"/>
                  </a:lnTo>
                  <a:lnTo>
                    <a:pt x="419" y="44"/>
                  </a:lnTo>
                  <a:lnTo>
                    <a:pt x="419" y="42"/>
                  </a:lnTo>
                  <a:lnTo>
                    <a:pt x="419" y="36"/>
                  </a:lnTo>
                  <a:lnTo>
                    <a:pt x="417" y="35"/>
                  </a:lnTo>
                  <a:lnTo>
                    <a:pt x="419" y="33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7" y="31"/>
                  </a:lnTo>
                  <a:lnTo>
                    <a:pt x="417" y="29"/>
                  </a:lnTo>
                  <a:lnTo>
                    <a:pt x="415" y="29"/>
                  </a:lnTo>
                  <a:lnTo>
                    <a:pt x="415" y="27"/>
                  </a:lnTo>
                  <a:lnTo>
                    <a:pt x="415" y="27"/>
                  </a:lnTo>
                  <a:lnTo>
                    <a:pt x="415" y="27"/>
                  </a:lnTo>
                  <a:lnTo>
                    <a:pt x="414" y="26"/>
                  </a:lnTo>
                  <a:lnTo>
                    <a:pt x="414" y="24"/>
                  </a:lnTo>
                  <a:lnTo>
                    <a:pt x="412" y="24"/>
                  </a:lnTo>
                  <a:lnTo>
                    <a:pt x="408" y="26"/>
                  </a:lnTo>
                  <a:lnTo>
                    <a:pt x="405" y="26"/>
                  </a:lnTo>
                  <a:lnTo>
                    <a:pt x="405" y="27"/>
                  </a:lnTo>
                  <a:lnTo>
                    <a:pt x="403" y="27"/>
                  </a:lnTo>
                  <a:lnTo>
                    <a:pt x="401" y="31"/>
                  </a:lnTo>
                  <a:lnTo>
                    <a:pt x="401" y="31"/>
                  </a:lnTo>
                  <a:lnTo>
                    <a:pt x="399" y="31"/>
                  </a:lnTo>
                  <a:lnTo>
                    <a:pt x="399" y="31"/>
                  </a:lnTo>
                  <a:lnTo>
                    <a:pt x="396" y="29"/>
                  </a:lnTo>
                  <a:lnTo>
                    <a:pt x="396" y="27"/>
                  </a:lnTo>
                  <a:lnTo>
                    <a:pt x="394" y="27"/>
                  </a:lnTo>
                  <a:lnTo>
                    <a:pt x="394" y="26"/>
                  </a:lnTo>
                  <a:lnTo>
                    <a:pt x="394" y="26"/>
                  </a:lnTo>
                  <a:lnTo>
                    <a:pt x="392" y="24"/>
                  </a:lnTo>
                  <a:lnTo>
                    <a:pt x="392" y="24"/>
                  </a:lnTo>
                  <a:lnTo>
                    <a:pt x="392" y="22"/>
                  </a:lnTo>
                  <a:lnTo>
                    <a:pt x="392" y="22"/>
                  </a:lnTo>
                  <a:lnTo>
                    <a:pt x="390" y="22"/>
                  </a:lnTo>
                  <a:lnTo>
                    <a:pt x="390" y="22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7" y="22"/>
                  </a:lnTo>
                  <a:lnTo>
                    <a:pt x="387" y="20"/>
                  </a:lnTo>
                  <a:lnTo>
                    <a:pt x="387" y="20"/>
                  </a:lnTo>
                  <a:lnTo>
                    <a:pt x="387" y="20"/>
                  </a:lnTo>
                  <a:lnTo>
                    <a:pt x="387" y="20"/>
                  </a:lnTo>
                  <a:lnTo>
                    <a:pt x="387" y="18"/>
                  </a:lnTo>
                  <a:lnTo>
                    <a:pt x="387" y="18"/>
                  </a:lnTo>
                  <a:lnTo>
                    <a:pt x="387" y="18"/>
                  </a:lnTo>
                  <a:lnTo>
                    <a:pt x="385" y="15"/>
                  </a:lnTo>
                  <a:lnTo>
                    <a:pt x="385" y="13"/>
                  </a:lnTo>
                  <a:lnTo>
                    <a:pt x="387" y="13"/>
                  </a:lnTo>
                  <a:lnTo>
                    <a:pt x="387" y="11"/>
                  </a:lnTo>
                  <a:lnTo>
                    <a:pt x="387" y="9"/>
                  </a:lnTo>
                  <a:lnTo>
                    <a:pt x="387" y="9"/>
                  </a:lnTo>
                  <a:lnTo>
                    <a:pt x="385" y="7"/>
                  </a:lnTo>
                  <a:lnTo>
                    <a:pt x="383" y="6"/>
                  </a:lnTo>
                  <a:lnTo>
                    <a:pt x="383" y="2"/>
                  </a:lnTo>
                  <a:lnTo>
                    <a:pt x="383" y="0"/>
                  </a:lnTo>
                  <a:lnTo>
                    <a:pt x="383" y="0"/>
                  </a:lnTo>
                  <a:lnTo>
                    <a:pt x="381" y="0"/>
                  </a:lnTo>
                  <a:lnTo>
                    <a:pt x="379" y="2"/>
                  </a:lnTo>
                  <a:lnTo>
                    <a:pt x="376" y="2"/>
                  </a:lnTo>
                  <a:lnTo>
                    <a:pt x="372" y="2"/>
                  </a:lnTo>
                  <a:lnTo>
                    <a:pt x="372" y="2"/>
                  </a:lnTo>
                  <a:lnTo>
                    <a:pt x="372" y="2"/>
                  </a:lnTo>
                  <a:lnTo>
                    <a:pt x="363" y="6"/>
                  </a:lnTo>
                  <a:lnTo>
                    <a:pt x="356" y="6"/>
                  </a:lnTo>
                  <a:lnTo>
                    <a:pt x="354" y="7"/>
                  </a:lnTo>
                  <a:lnTo>
                    <a:pt x="352" y="7"/>
                  </a:lnTo>
                  <a:lnTo>
                    <a:pt x="343" y="11"/>
                  </a:lnTo>
                  <a:lnTo>
                    <a:pt x="341" y="13"/>
                  </a:lnTo>
                  <a:lnTo>
                    <a:pt x="340" y="15"/>
                  </a:lnTo>
                  <a:lnTo>
                    <a:pt x="340" y="17"/>
                  </a:lnTo>
                  <a:lnTo>
                    <a:pt x="338" y="17"/>
                  </a:lnTo>
                  <a:lnTo>
                    <a:pt x="338" y="17"/>
                  </a:lnTo>
                  <a:lnTo>
                    <a:pt x="336" y="17"/>
                  </a:lnTo>
                  <a:lnTo>
                    <a:pt x="336" y="17"/>
                  </a:lnTo>
                  <a:lnTo>
                    <a:pt x="336" y="18"/>
                  </a:lnTo>
                  <a:lnTo>
                    <a:pt x="336" y="18"/>
                  </a:lnTo>
                  <a:lnTo>
                    <a:pt x="336" y="22"/>
                  </a:lnTo>
                  <a:lnTo>
                    <a:pt x="336" y="24"/>
                  </a:lnTo>
                  <a:lnTo>
                    <a:pt x="336" y="26"/>
                  </a:lnTo>
                  <a:lnTo>
                    <a:pt x="336" y="26"/>
                  </a:lnTo>
                  <a:lnTo>
                    <a:pt x="334" y="29"/>
                  </a:lnTo>
                  <a:lnTo>
                    <a:pt x="334" y="31"/>
                  </a:lnTo>
                  <a:lnTo>
                    <a:pt x="334" y="33"/>
                  </a:lnTo>
                  <a:lnTo>
                    <a:pt x="336" y="36"/>
                  </a:lnTo>
                  <a:lnTo>
                    <a:pt x="336" y="40"/>
                  </a:lnTo>
                  <a:lnTo>
                    <a:pt x="336" y="40"/>
                  </a:lnTo>
                  <a:lnTo>
                    <a:pt x="338" y="42"/>
                  </a:lnTo>
                  <a:lnTo>
                    <a:pt x="336" y="44"/>
                  </a:lnTo>
                  <a:lnTo>
                    <a:pt x="336" y="47"/>
                  </a:lnTo>
                  <a:lnTo>
                    <a:pt x="336" y="51"/>
                  </a:lnTo>
                  <a:lnTo>
                    <a:pt x="334" y="53"/>
                  </a:lnTo>
                  <a:lnTo>
                    <a:pt x="334" y="54"/>
                  </a:lnTo>
                  <a:lnTo>
                    <a:pt x="338" y="56"/>
                  </a:lnTo>
                  <a:lnTo>
                    <a:pt x="338" y="56"/>
                  </a:lnTo>
                  <a:lnTo>
                    <a:pt x="336" y="56"/>
                  </a:lnTo>
                  <a:lnTo>
                    <a:pt x="334" y="56"/>
                  </a:lnTo>
                  <a:lnTo>
                    <a:pt x="334" y="58"/>
                  </a:lnTo>
                  <a:lnTo>
                    <a:pt x="334" y="62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6" y="65"/>
                  </a:lnTo>
                  <a:lnTo>
                    <a:pt x="336" y="67"/>
                  </a:lnTo>
                  <a:lnTo>
                    <a:pt x="338" y="67"/>
                  </a:lnTo>
                  <a:lnTo>
                    <a:pt x="338" y="69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40" y="69"/>
                  </a:lnTo>
                  <a:lnTo>
                    <a:pt x="338" y="69"/>
                  </a:lnTo>
                  <a:lnTo>
                    <a:pt x="340" y="69"/>
                  </a:lnTo>
                  <a:lnTo>
                    <a:pt x="340" y="71"/>
                  </a:lnTo>
                  <a:lnTo>
                    <a:pt x="340" y="71"/>
                  </a:lnTo>
                  <a:lnTo>
                    <a:pt x="340" y="71"/>
                  </a:lnTo>
                  <a:lnTo>
                    <a:pt x="340" y="71"/>
                  </a:lnTo>
                  <a:lnTo>
                    <a:pt x="340" y="71"/>
                  </a:lnTo>
                  <a:lnTo>
                    <a:pt x="340" y="71"/>
                  </a:lnTo>
                  <a:lnTo>
                    <a:pt x="334" y="69"/>
                  </a:lnTo>
                  <a:lnTo>
                    <a:pt x="332" y="69"/>
                  </a:lnTo>
                  <a:lnTo>
                    <a:pt x="331" y="71"/>
                  </a:lnTo>
                  <a:lnTo>
                    <a:pt x="329" y="76"/>
                  </a:lnTo>
                  <a:lnTo>
                    <a:pt x="329" y="76"/>
                  </a:lnTo>
                  <a:lnTo>
                    <a:pt x="329" y="76"/>
                  </a:lnTo>
                  <a:lnTo>
                    <a:pt x="325" y="80"/>
                  </a:lnTo>
                  <a:lnTo>
                    <a:pt x="320" y="85"/>
                  </a:lnTo>
                  <a:lnTo>
                    <a:pt x="318" y="87"/>
                  </a:lnTo>
                  <a:lnTo>
                    <a:pt x="316" y="87"/>
                  </a:lnTo>
                  <a:lnTo>
                    <a:pt x="314" y="89"/>
                  </a:lnTo>
                  <a:lnTo>
                    <a:pt x="294" y="96"/>
                  </a:lnTo>
                  <a:lnTo>
                    <a:pt x="291" y="96"/>
                  </a:lnTo>
                  <a:lnTo>
                    <a:pt x="285" y="96"/>
                  </a:lnTo>
                  <a:lnTo>
                    <a:pt x="284" y="98"/>
                  </a:lnTo>
                  <a:lnTo>
                    <a:pt x="282" y="98"/>
                  </a:lnTo>
                  <a:lnTo>
                    <a:pt x="276" y="101"/>
                  </a:lnTo>
                  <a:lnTo>
                    <a:pt x="276" y="103"/>
                  </a:lnTo>
                  <a:lnTo>
                    <a:pt x="269" y="107"/>
                  </a:lnTo>
                  <a:lnTo>
                    <a:pt x="269" y="107"/>
                  </a:lnTo>
                  <a:lnTo>
                    <a:pt x="267" y="107"/>
                  </a:lnTo>
                  <a:lnTo>
                    <a:pt x="266" y="109"/>
                  </a:lnTo>
                  <a:lnTo>
                    <a:pt x="266" y="109"/>
                  </a:lnTo>
                  <a:lnTo>
                    <a:pt x="264" y="116"/>
                  </a:lnTo>
                  <a:lnTo>
                    <a:pt x="260" y="121"/>
                  </a:lnTo>
                  <a:lnTo>
                    <a:pt x="260" y="121"/>
                  </a:lnTo>
                  <a:lnTo>
                    <a:pt x="260" y="123"/>
                  </a:lnTo>
                  <a:lnTo>
                    <a:pt x="260" y="123"/>
                  </a:lnTo>
                  <a:lnTo>
                    <a:pt x="260" y="123"/>
                  </a:lnTo>
                  <a:lnTo>
                    <a:pt x="262" y="123"/>
                  </a:lnTo>
                  <a:lnTo>
                    <a:pt x="262" y="125"/>
                  </a:lnTo>
                  <a:lnTo>
                    <a:pt x="262" y="125"/>
                  </a:lnTo>
                  <a:lnTo>
                    <a:pt x="264" y="125"/>
                  </a:lnTo>
                  <a:lnTo>
                    <a:pt x="264" y="125"/>
                  </a:lnTo>
                  <a:lnTo>
                    <a:pt x="266" y="125"/>
                  </a:lnTo>
                  <a:lnTo>
                    <a:pt x="269" y="127"/>
                  </a:lnTo>
                  <a:lnTo>
                    <a:pt x="273" y="127"/>
                  </a:lnTo>
                  <a:lnTo>
                    <a:pt x="278" y="127"/>
                  </a:lnTo>
                  <a:lnTo>
                    <a:pt x="282" y="125"/>
                  </a:lnTo>
                  <a:lnTo>
                    <a:pt x="280" y="125"/>
                  </a:lnTo>
                  <a:lnTo>
                    <a:pt x="280" y="127"/>
                  </a:lnTo>
                  <a:lnTo>
                    <a:pt x="276" y="129"/>
                  </a:lnTo>
                  <a:lnTo>
                    <a:pt x="271" y="129"/>
                  </a:lnTo>
                  <a:lnTo>
                    <a:pt x="264" y="130"/>
                  </a:lnTo>
                  <a:lnTo>
                    <a:pt x="262" y="134"/>
                  </a:lnTo>
                  <a:lnTo>
                    <a:pt x="260" y="136"/>
                  </a:lnTo>
                  <a:lnTo>
                    <a:pt x="260" y="136"/>
                  </a:lnTo>
                  <a:lnTo>
                    <a:pt x="258" y="136"/>
                  </a:lnTo>
                  <a:lnTo>
                    <a:pt x="257" y="138"/>
                  </a:lnTo>
                  <a:lnTo>
                    <a:pt x="255" y="138"/>
                  </a:lnTo>
                  <a:lnTo>
                    <a:pt x="248" y="139"/>
                  </a:lnTo>
                  <a:lnTo>
                    <a:pt x="246" y="141"/>
                  </a:lnTo>
                  <a:lnTo>
                    <a:pt x="240" y="138"/>
                  </a:lnTo>
                  <a:lnTo>
                    <a:pt x="238" y="138"/>
                  </a:lnTo>
                  <a:lnTo>
                    <a:pt x="237" y="136"/>
                  </a:lnTo>
                  <a:lnTo>
                    <a:pt x="235" y="136"/>
                  </a:lnTo>
                  <a:lnTo>
                    <a:pt x="233" y="136"/>
                  </a:lnTo>
                  <a:lnTo>
                    <a:pt x="229" y="136"/>
                  </a:lnTo>
                  <a:lnTo>
                    <a:pt x="229" y="136"/>
                  </a:lnTo>
                  <a:lnTo>
                    <a:pt x="228" y="136"/>
                  </a:lnTo>
                  <a:lnTo>
                    <a:pt x="226" y="136"/>
                  </a:lnTo>
                  <a:lnTo>
                    <a:pt x="224" y="136"/>
                  </a:lnTo>
                  <a:lnTo>
                    <a:pt x="215" y="134"/>
                  </a:lnTo>
                  <a:lnTo>
                    <a:pt x="210" y="132"/>
                  </a:lnTo>
                  <a:lnTo>
                    <a:pt x="202" y="132"/>
                  </a:lnTo>
                  <a:lnTo>
                    <a:pt x="202" y="132"/>
                  </a:lnTo>
                  <a:lnTo>
                    <a:pt x="201" y="134"/>
                  </a:lnTo>
                  <a:lnTo>
                    <a:pt x="201" y="134"/>
                  </a:lnTo>
                  <a:lnTo>
                    <a:pt x="201" y="136"/>
                  </a:lnTo>
                  <a:lnTo>
                    <a:pt x="201" y="136"/>
                  </a:lnTo>
                  <a:lnTo>
                    <a:pt x="201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7" y="136"/>
                  </a:lnTo>
                  <a:lnTo>
                    <a:pt x="197" y="136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7" y="132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3" y="125"/>
                  </a:lnTo>
                  <a:lnTo>
                    <a:pt x="193" y="123"/>
                  </a:lnTo>
                  <a:lnTo>
                    <a:pt x="192" y="121"/>
                  </a:lnTo>
                  <a:lnTo>
                    <a:pt x="192" y="119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3" y="118"/>
                  </a:lnTo>
                  <a:lnTo>
                    <a:pt x="193" y="118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3" y="110"/>
                  </a:lnTo>
                  <a:lnTo>
                    <a:pt x="193" y="110"/>
                  </a:lnTo>
                  <a:lnTo>
                    <a:pt x="193" y="109"/>
                  </a:lnTo>
                  <a:lnTo>
                    <a:pt x="193" y="109"/>
                  </a:lnTo>
                  <a:lnTo>
                    <a:pt x="186" y="109"/>
                  </a:lnTo>
                  <a:lnTo>
                    <a:pt x="186" y="109"/>
                  </a:lnTo>
                  <a:lnTo>
                    <a:pt x="184" y="109"/>
                  </a:lnTo>
                  <a:lnTo>
                    <a:pt x="182" y="109"/>
                  </a:lnTo>
                  <a:lnTo>
                    <a:pt x="181" y="110"/>
                  </a:lnTo>
                  <a:lnTo>
                    <a:pt x="181" y="112"/>
                  </a:lnTo>
                  <a:lnTo>
                    <a:pt x="181" y="112"/>
                  </a:lnTo>
                  <a:lnTo>
                    <a:pt x="179" y="112"/>
                  </a:lnTo>
                  <a:lnTo>
                    <a:pt x="179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2" y="110"/>
                  </a:lnTo>
                  <a:lnTo>
                    <a:pt x="168" y="110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4" y="109"/>
                  </a:lnTo>
                  <a:lnTo>
                    <a:pt x="164" y="109"/>
                  </a:lnTo>
                  <a:lnTo>
                    <a:pt x="164" y="109"/>
                  </a:lnTo>
                  <a:lnTo>
                    <a:pt x="164" y="107"/>
                  </a:lnTo>
                  <a:lnTo>
                    <a:pt x="163" y="109"/>
                  </a:lnTo>
                  <a:lnTo>
                    <a:pt x="163" y="107"/>
                  </a:lnTo>
                  <a:lnTo>
                    <a:pt x="161" y="107"/>
                  </a:lnTo>
                  <a:lnTo>
                    <a:pt x="161" y="107"/>
                  </a:lnTo>
                  <a:lnTo>
                    <a:pt x="159" y="107"/>
                  </a:lnTo>
                  <a:lnTo>
                    <a:pt x="159" y="107"/>
                  </a:lnTo>
                  <a:lnTo>
                    <a:pt x="159" y="109"/>
                  </a:lnTo>
                  <a:lnTo>
                    <a:pt x="159" y="110"/>
                  </a:lnTo>
                  <a:lnTo>
                    <a:pt x="161" y="112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64" y="114"/>
                  </a:lnTo>
                  <a:lnTo>
                    <a:pt x="164" y="114"/>
                  </a:lnTo>
                  <a:lnTo>
                    <a:pt x="164" y="116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3" y="121"/>
                  </a:lnTo>
                  <a:lnTo>
                    <a:pt x="163" y="121"/>
                  </a:lnTo>
                  <a:lnTo>
                    <a:pt x="163" y="123"/>
                  </a:lnTo>
                  <a:lnTo>
                    <a:pt x="164" y="123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7"/>
                  </a:lnTo>
                  <a:lnTo>
                    <a:pt x="164" y="127"/>
                  </a:lnTo>
                  <a:lnTo>
                    <a:pt x="164" y="129"/>
                  </a:lnTo>
                  <a:lnTo>
                    <a:pt x="166" y="129"/>
                  </a:lnTo>
                  <a:lnTo>
                    <a:pt x="166" y="130"/>
                  </a:lnTo>
                  <a:lnTo>
                    <a:pt x="164" y="132"/>
                  </a:lnTo>
                  <a:lnTo>
                    <a:pt x="166" y="134"/>
                  </a:lnTo>
                  <a:lnTo>
                    <a:pt x="166" y="134"/>
                  </a:lnTo>
                  <a:lnTo>
                    <a:pt x="166" y="134"/>
                  </a:lnTo>
                  <a:lnTo>
                    <a:pt x="166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70" y="136"/>
                  </a:lnTo>
                  <a:lnTo>
                    <a:pt x="170" y="136"/>
                  </a:lnTo>
                  <a:lnTo>
                    <a:pt x="172" y="136"/>
                  </a:lnTo>
                  <a:lnTo>
                    <a:pt x="172" y="136"/>
                  </a:lnTo>
                  <a:lnTo>
                    <a:pt x="172" y="138"/>
                  </a:lnTo>
                  <a:lnTo>
                    <a:pt x="172" y="138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39"/>
                  </a:lnTo>
                  <a:lnTo>
                    <a:pt x="173" y="141"/>
                  </a:lnTo>
                  <a:lnTo>
                    <a:pt x="173" y="141"/>
                  </a:lnTo>
                  <a:lnTo>
                    <a:pt x="173" y="141"/>
                  </a:lnTo>
                  <a:lnTo>
                    <a:pt x="173" y="141"/>
                  </a:lnTo>
                  <a:lnTo>
                    <a:pt x="173" y="141"/>
                  </a:lnTo>
                  <a:lnTo>
                    <a:pt x="173" y="145"/>
                  </a:lnTo>
                  <a:lnTo>
                    <a:pt x="175" y="145"/>
                  </a:lnTo>
                  <a:lnTo>
                    <a:pt x="175" y="145"/>
                  </a:lnTo>
                  <a:lnTo>
                    <a:pt x="177" y="145"/>
                  </a:lnTo>
                  <a:lnTo>
                    <a:pt x="177" y="145"/>
                  </a:lnTo>
                  <a:lnTo>
                    <a:pt x="179" y="145"/>
                  </a:lnTo>
                  <a:lnTo>
                    <a:pt x="179" y="145"/>
                  </a:lnTo>
                  <a:lnTo>
                    <a:pt x="177" y="145"/>
                  </a:lnTo>
                  <a:lnTo>
                    <a:pt x="175" y="145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8"/>
                  </a:lnTo>
                  <a:lnTo>
                    <a:pt x="177" y="150"/>
                  </a:lnTo>
                  <a:lnTo>
                    <a:pt x="177" y="152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7" y="152"/>
                  </a:lnTo>
                  <a:lnTo>
                    <a:pt x="177" y="152"/>
                  </a:lnTo>
                  <a:lnTo>
                    <a:pt x="177" y="152"/>
                  </a:lnTo>
                  <a:lnTo>
                    <a:pt x="175" y="154"/>
                  </a:lnTo>
                  <a:lnTo>
                    <a:pt x="175" y="154"/>
                  </a:lnTo>
                  <a:lnTo>
                    <a:pt x="175" y="156"/>
                  </a:lnTo>
                  <a:lnTo>
                    <a:pt x="175" y="156"/>
                  </a:lnTo>
                  <a:lnTo>
                    <a:pt x="177" y="156"/>
                  </a:lnTo>
                  <a:lnTo>
                    <a:pt x="177" y="157"/>
                  </a:lnTo>
                  <a:lnTo>
                    <a:pt x="177" y="157"/>
                  </a:lnTo>
                  <a:lnTo>
                    <a:pt x="177" y="159"/>
                  </a:lnTo>
                  <a:lnTo>
                    <a:pt x="177" y="161"/>
                  </a:lnTo>
                  <a:lnTo>
                    <a:pt x="177" y="161"/>
                  </a:lnTo>
                  <a:lnTo>
                    <a:pt x="177" y="161"/>
                  </a:lnTo>
                  <a:lnTo>
                    <a:pt x="177" y="161"/>
                  </a:lnTo>
                  <a:lnTo>
                    <a:pt x="177" y="159"/>
                  </a:lnTo>
                  <a:lnTo>
                    <a:pt x="179" y="159"/>
                  </a:lnTo>
                  <a:lnTo>
                    <a:pt x="181" y="159"/>
                  </a:lnTo>
                  <a:lnTo>
                    <a:pt x="181" y="159"/>
                  </a:lnTo>
                  <a:lnTo>
                    <a:pt x="181" y="161"/>
                  </a:lnTo>
                  <a:lnTo>
                    <a:pt x="179" y="159"/>
                  </a:lnTo>
                  <a:lnTo>
                    <a:pt x="179" y="159"/>
                  </a:lnTo>
                  <a:lnTo>
                    <a:pt x="179" y="161"/>
                  </a:lnTo>
                  <a:lnTo>
                    <a:pt x="179" y="166"/>
                  </a:lnTo>
                  <a:lnTo>
                    <a:pt x="179" y="166"/>
                  </a:lnTo>
                  <a:lnTo>
                    <a:pt x="179" y="166"/>
                  </a:lnTo>
                  <a:lnTo>
                    <a:pt x="179" y="166"/>
                  </a:lnTo>
                  <a:lnTo>
                    <a:pt x="179" y="166"/>
                  </a:lnTo>
                  <a:lnTo>
                    <a:pt x="179" y="168"/>
                  </a:lnTo>
                  <a:lnTo>
                    <a:pt x="179" y="168"/>
                  </a:lnTo>
                  <a:lnTo>
                    <a:pt x="179" y="168"/>
                  </a:lnTo>
                  <a:lnTo>
                    <a:pt x="177" y="172"/>
                  </a:lnTo>
                  <a:lnTo>
                    <a:pt x="177" y="174"/>
                  </a:lnTo>
                  <a:lnTo>
                    <a:pt x="177" y="174"/>
                  </a:lnTo>
                  <a:lnTo>
                    <a:pt x="175" y="174"/>
                  </a:lnTo>
                  <a:lnTo>
                    <a:pt x="175" y="174"/>
                  </a:lnTo>
                  <a:lnTo>
                    <a:pt x="177" y="175"/>
                  </a:lnTo>
                  <a:lnTo>
                    <a:pt x="177" y="175"/>
                  </a:lnTo>
                  <a:lnTo>
                    <a:pt x="179" y="177"/>
                  </a:lnTo>
                  <a:lnTo>
                    <a:pt x="179" y="179"/>
                  </a:lnTo>
                  <a:lnTo>
                    <a:pt x="179" y="181"/>
                  </a:lnTo>
                  <a:lnTo>
                    <a:pt x="181" y="183"/>
                  </a:lnTo>
                  <a:lnTo>
                    <a:pt x="181" y="185"/>
                  </a:lnTo>
                  <a:lnTo>
                    <a:pt x="181" y="186"/>
                  </a:lnTo>
                  <a:lnTo>
                    <a:pt x="182" y="186"/>
                  </a:lnTo>
                  <a:lnTo>
                    <a:pt x="184" y="186"/>
                  </a:lnTo>
                  <a:lnTo>
                    <a:pt x="184" y="186"/>
                  </a:lnTo>
                  <a:lnTo>
                    <a:pt x="184" y="186"/>
                  </a:lnTo>
                  <a:lnTo>
                    <a:pt x="184" y="188"/>
                  </a:lnTo>
                  <a:lnTo>
                    <a:pt x="184" y="188"/>
                  </a:lnTo>
                  <a:lnTo>
                    <a:pt x="184" y="188"/>
                  </a:lnTo>
                  <a:lnTo>
                    <a:pt x="184" y="188"/>
                  </a:lnTo>
                  <a:lnTo>
                    <a:pt x="184" y="188"/>
                  </a:lnTo>
                  <a:lnTo>
                    <a:pt x="186" y="188"/>
                  </a:lnTo>
                  <a:lnTo>
                    <a:pt x="188" y="188"/>
                  </a:lnTo>
                  <a:lnTo>
                    <a:pt x="188" y="190"/>
                  </a:lnTo>
                  <a:lnTo>
                    <a:pt x="186" y="188"/>
                  </a:lnTo>
                  <a:lnTo>
                    <a:pt x="181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3" y="192"/>
                  </a:lnTo>
                  <a:lnTo>
                    <a:pt x="170" y="192"/>
                  </a:lnTo>
                  <a:lnTo>
                    <a:pt x="166" y="192"/>
                  </a:lnTo>
                  <a:lnTo>
                    <a:pt x="164" y="192"/>
                  </a:lnTo>
                  <a:lnTo>
                    <a:pt x="163" y="190"/>
                  </a:lnTo>
                  <a:lnTo>
                    <a:pt x="163" y="188"/>
                  </a:lnTo>
                  <a:lnTo>
                    <a:pt x="164" y="186"/>
                  </a:lnTo>
                  <a:lnTo>
                    <a:pt x="164" y="185"/>
                  </a:lnTo>
                  <a:lnTo>
                    <a:pt x="164" y="185"/>
                  </a:lnTo>
                  <a:lnTo>
                    <a:pt x="164" y="185"/>
                  </a:lnTo>
                  <a:lnTo>
                    <a:pt x="164" y="185"/>
                  </a:lnTo>
                  <a:lnTo>
                    <a:pt x="159" y="185"/>
                  </a:lnTo>
                  <a:lnTo>
                    <a:pt x="159" y="186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5" y="192"/>
                  </a:lnTo>
                  <a:lnTo>
                    <a:pt x="157" y="194"/>
                  </a:lnTo>
                  <a:lnTo>
                    <a:pt x="157" y="194"/>
                  </a:lnTo>
                  <a:lnTo>
                    <a:pt x="157" y="194"/>
                  </a:lnTo>
                  <a:lnTo>
                    <a:pt x="159" y="194"/>
                  </a:lnTo>
                  <a:lnTo>
                    <a:pt x="159" y="195"/>
                  </a:lnTo>
                  <a:lnTo>
                    <a:pt x="157" y="194"/>
                  </a:lnTo>
                  <a:lnTo>
                    <a:pt x="157" y="194"/>
                  </a:lnTo>
                  <a:lnTo>
                    <a:pt x="157" y="194"/>
                  </a:lnTo>
                  <a:lnTo>
                    <a:pt x="157" y="194"/>
                  </a:lnTo>
                  <a:lnTo>
                    <a:pt x="157" y="195"/>
                  </a:lnTo>
                  <a:lnTo>
                    <a:pt x="159" y="195"/>
                  </a:lnTo>
                  <a:lnTo>
                    <a:pt x="157" y="197"/>
                  </a:lnTo>
                  <a:lnTo>
                    <a:pt x="159" y="197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7"/>
                  </a:lnTo>
                  <a:lnTo>
                    <a:pt x="157" y="197"/>
                  </a:lnTo>
                  <a:lnTo>
                    <a:pt x="155" y="195"/>
                  </a:lnTo>
                  <a:lnTo>
                    <a:pt x="155" y="194"/>
                  </a:lnTo>
                  <a:lnTo>
                    <a:pt x="155" y="194"/>
                  </a:lnTo>
                  <a:lnTo>
                    <a:pt x="155" y="194"/>
                  </a:lnTo>
                  <a:lnTo>
                    <a:pt x="155" y="194"/>
                  </a:lnTo>
                  <a:lnTo>
                    <a:pt x="155" y="192"/>
                  </a:lnTo>
                  <a:lnTo>
                    <a:pt x="155" y="192"/>
                  </a:lnTo>
                  <a:lnTo>
                    <a:pt x="154" y="190"/>
                  </a:lnTo>
                  <a:lnTo>
                    <a:pt x="154" y="188"/>
                  </a:lnTo>
                  <a:lnTo>
                    <a:pt x="152" y="190"/>
                  </a:lnTo>
                  <a:lnTo>
                    <a:pt x="148" y="190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8" y="194"/>
                  </a:lnTo>
                  <a:lnTo>
                    <a:pt x="148" y="194"/>
                  </a:lnTo>
                  <a:lnTo>
                    <a:pt x="148" y="194"/>
                  </a:lnTo>
                  <a:lnTo>
                    <a:pt x="148" y="194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6" y="192"/>
                  </a:lnTo>
                  <a:lnTo>
                    <a:pt x="146" y="192"/>
                  </a:lnTo>
                  <a:lnTo>
                    <a:pt x="146" y="194"/>
                  </a:lnTo>
                  <a:lnTo>
                    <a:pt x="146" y="194"/>
                  </a:lnTo>
                  <a:lnTo>
                    <a:pt x="146" y="194"/>
                  </a:lnTo>
                  <a:lnTo>
                    <a:pt x="145" y="194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0"/>
                  </a:lnTo>
                  <a:lnTo>
                    <a:pt x="143" y="188"/>
                  </a:lnTo>
                  <a:lnTo>
                    <a:pt x="143" y="190"/>
                  </a:lnTo>
                  <a:lnTo>
                    <a:pt x="141" y="190"/>
                  </a:lnTo>
                  <a:lnTo>
                    <a:pt x="141" y="192"/>
                  </a:lnTo>
                  <a:lnTo>
                    <a:pt x="139" y="190"/>
                  </a:lnTo>
                  <a:lnTo>
                    <a:pt x="141" y="188"/>
                  </a:lnTo>
                  <a:lnTo>
                    <a:pt x="141" y="188"/>
                  </a:lnTo>
                  <a:lnTo>
                    <a:pt x="141" y="188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1" y="186"/>
                  </a:lnTo>
                  <a:lnTo>
                    <a:pt x="141" y="186"/>
                  </a:lnTo>
                  <a:lnTo>
                    <a:pt x="141" y="185"/>
                  </a:lnTo>
                  <a:lnTo>
                    <a:pt x="139" y="186"/>
                  </a:lnTo>
                  <a:lnTo>
                    <a:pt x="139" y="188"/>
                  </a:lnTo>
                  <a:lnTo>
                    <a:pt x="137" y="188"/>
                  </a:lnTo>
                  <a:lnTo>
                    <a:pt x="136" y="190"/>
                  </a:lnTo>
                  <a:lnTo>
                    <a:pt x="136" y="188"/>
                  </a:lnTo>
                  <a:lnTo>
                    <a:pt x="134" y="188"/>
                  </a:lnTo>
                  <a:lnTo>
                    <a:pt x="132" y="188"/>
                  </a:lnTo>
                  <a:lnTo>
                    <a:pt x="132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2" y="190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7" y="194"/>
                  </a:lnTo>
                  <a:lnTo>
                    <a:pt x="127" y="195"/>
                  </a:lnTo>
                  <a:lnTo>
                    <a:pt x="125" y="197"/>
                  </a:lnTo>
                  <a:lnTo>
                    <a:pt x="125" y="197"/>
                  </a:lnTo>
                  <a:lnTo>
                    <a:pt x="123" y="197"/>
                  </a:lnTo>
                  <a:lnTo>
                    <a:pt x="123" y="197"/>
                  </a:lnTo>
                  <a:lnTo>
                    <a:pt x="123" y="199"/>
                  </a:lnTo>
                  <a:lnTo>
                    <a:pt x="123" y="199"/>
                  </a:lnTo>
                  <a:lnTo>
                    <a:pt x="121" y="199"/>
                  </a:lnTo>
                  <a:lnTo>
                    <a:pt x="121" y="199"/>
                  </a:lnTo>
                  <a:lnTo>
                    <a:pt x="121" y="197"/>
                  </a:lnTo>
                  <a:lnTo>
                    <a:pt x="119" y="197"/>
                  </a:lnTo>
                  <a:lnTo>
                    <a:pt x="119" y="197"/>
                  </a:lnTo>
                  <a:lnTo>
                    <a:pt x="119" y="197"/>
                  </a:lnTo>
                  <a:lnTo>
                    <a:pt x="119" y="197"/>
                  </a:lnTo>
                  <a:lnTo>
                    <a:pt x="121" y="197"/>
                  </a:lnTo>
                  <a:lnTo>
                    <a:pt x="121" y="195"/>
                  </a:lnTo>
                  <a:lnTo>
                    <a:pt x="117" y="194"/>
                  </a:lnTo>
                  <a:lnTo>
                    <a:pt x="116" y="194"/>
                  </a:lnTo>
                  <a:lnTo>
                    <a:pt x="116" y="194"/>
                  </a:lnTo>
                  <a:lnTo>
                    <a:pt x="116" y="194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0"/>
                  </a:lnTo>
                  <a:lnTo>
                    <a:pt x="116" y="188"/>
                  </a:lnTo>
                  <a:lnTo>
                    <a:pt x="112" y="186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0" y="183"/>
                  </a:lnTo>
                  <a:lnTo>
                    <a:pt x="108" y="183"/>
                  </a:lnTo>
                  <a:lnTo>
                    <a:pt x="108" y="183"/>
                  </a:lnTo>
                  <a:lnTo>
                    <a:pt x="108" y="183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7" y="177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5" y="177"/>
                  </a:lnTo>
                  <a:lnTo>
                    <a:pt x="107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3" y="175"/>
                  </a:lnTo>
                  <a:lnTo>
                    <a:pt x="103" y="175"/>
                  </a:lnTo>
                  <a:lnTo>
                    <a:pt x="101" y="177"/>
                  </a:lnTo>
                  <a:lnTo>
                    <a:pt x="99" y="181"/>
                  </a:lnTo>
                  <a:lnTo>
                    <a:pt x="99" y="181"/>
                  </a:lnTo>
                  <a:lnTo>
                    <a:pt x="99" y="181"/>
                  </a:lnTo>
                  <a:lnTo>
                    <a:pt x="101" y="179"/>
                  </a:lnTo>
                  <a:lnTo>
                    <a:pt x="101" y="177"/>
                  </a:lnTo>
                  <a:lnTo>
                    <a:pt x="101" y="175"/>
                  </a:lnTo>
                  <a:lnTo>
                    <a:pt x="103" y="175"/>
                  </a:lnTo>
                  <a:lnTo>
                    <a:pt x="101" y="175"/>
                  </a:lnTo>
                  <a:lnTo>
                    <a:pt x="101" y="174"/>
                  </a:lnTo>
                  <a:lnTo>
                    <a:pt x="101" y="174"/>
                  </a:lnTo>
                  <a:lnTo>
                    <a:pt x="101" y="174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99" y="174"/>
                  </a:lnTo>
                  <a:lnTo>
                    <a:pt x="99" y="174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6" y="175"/>
                  </a:lnTo>
                  <a:lnTo>
                    <a:pt x="96" y="177"/>
                  </a:lnTo>
                  <a:lnTo>
                    <a:pt x="96" y="177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4"/>
                  </a:lnTo>
                  <a:lnTo>
                    <a:pt x="96" y="172"/>
                  </a:lnTo>
                  <a:lnTo>
                    <a:pt x="94" y="172"/>
                  </a:lnTo>
                  <a:lnTo>
                    <a:pt x="94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7"/>
                  </a:lnTo>
                  <a:lnTo>
                    <a:pt x="87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5"/>
                  </a:lnTo>
                  <a:lnTo>
                    <a:pt x="85" y="175"/>
                  </a:lnTo>
                  <a:lnTo>
                    <a:pt x="85" y="175"/>
                  </a:lnTo>
                  <a:lnTo>
                    <a:pt x="83" y="175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5"/>
                  </a:lnTo>
                  <a:lnTo>
                    <a:pt x="80" y="177"/>
                  </a:lnTo>
                  <a:lnTo>
                    <a:pt x="78" y="177"/>
                  </a:lnTo>
                  <a:lnTo>
                    <a:pt x="78" y="179"/>
                  </a:lnTo>
                  <a:lnTo>
                    <a:pt x="78" y="179"/>
                  </a:lnTo>
                  <a:lnTo>
                    <a:pt x="80" y="181"/>
                  </a:lnTo>
                  <a:lnTo>
                    <a:pt x="80" y="183"/>
                  </a:lnTo>
                  <a:lnTo>
                    <a:pt x="78" y="183"/>
                  </a:lnTo>
                  <a:lnTo>
                    <a:pt x="78" y="183"/>
                  </a:lnTo>
                  <a:lnTo>
                    <a:pt x="78" y="185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6" y="186"/>
                  </a:lnTo>
                  <a:lnTo>
                    <a:pt x="74" y="186"/>
                  </a:lnTo>
                  <a:lnTo>
                    <a:pt x="74" y="185"/>
                  </a:lnTo>
                  <a:lnTo>
                    <a:pt x="72" y="185"/>
                  </a:lnTo>
                  <a:lnTo>
                    <a:pt x="72" y="185"/>
                  </a:lnTo>
                  <a:lnTo>
                    <a:pt x="71" y="185"/>
                  </a:lnTo>
                  <a:lnTo>
                    <a:pt x="71" y="185"/>
                  </a:lnTo>
                  <a:lnTo>
                    <a:pt x="69" y="185"/>
                  </a:lnTo>
                  <a:lnTo>
                    <a:pt x="67" y="185"/>
                  </a:lnTo>
                  <a:lnTo>
                    <a:pt x="67" y="183"/>
                  </a:lnTo>
                  <a:lnTo>
                    <a:pt x="65" y="183"/>
                  </a:lnTo>
                  <a:lnTo>
                    <a:pt x="65" y="183"/>
                  </a:lnTo>
                  <a:lnTo>
                    <a:pt x="65" y="183"/>
                  </a:lnTo>
                  <a:lnTo>
                    <a:pt x="65" y="185"/>
                  </a:lnTo>
                  <a:lnTo>
                    <a:pt x="65" y="185"/>
                  </a:lnTo>
                  <a:lnTo>
                    <a:pt x="65" y="185"/>
                  </a:lnTo>
                  <a:lnTo>
                    <a:pt x="65" y="185"/>
                  </a:lnTo>
                  <a:lnTo>
                    <a:pt x="63" y="186"/>
                  </a:lnTo>
                  <a:lnTo>
                    <a:pt x="65" y="188"/>
                  </a:lnTo>
                  <a:lnTo>
                    <a:pt x="63" y="186"/>
                  </a:lnTo>
                  <a:lnTo>
                    <a:pt x="63" y="186"/>
                  </a:lnTo>
                  <a:lnTo>
                    <a:pt x="63" y="186"/>
                  </a:lnTo>
                  <a:lnTo>
                    <a:pt x="63" y="186"/>
                  </a:lnTo>
                  <a:lnTo>
                    <a:pt x="63" y="188"/>
                  </a:lnTo>
                  <a:lnTo>
                    <a:pt x="63" y="188"/>
                  </a:lnTo>
                  <a:lnTo>
                    <a:pt x="63" y="188"/>
                  </a:lnTo>
                  <a:lnTo>
                    <a:pt x="63" y="190"/>
                  </a:lnTo>
                  <a:lnTo>
                    <a:pt x="63" y="190"/>
                  </a:lnTo>
                  <a:lnTo>
                    <a:pt x="63" y="190"/>
                  </a:lnTo>
                  <a:lnTo>
                    <a:pt x="63" y="190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6"/>
                  </a:lnTo>
                  <a:lnTo>
                    <a:pt x="60" y="186"/>
                  </a:lnTo>
                  <a:lnTo>
                    <a:pt x="60" y="186"/>
                  </a:lnTo>
                  <a:lnTo>
                    <a:pt x="58" y="188"/>
                  </a:lnTo>
                  <a:lnTo>
                    <a:pt x="58" y="188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5"/>
                  </a:lnTo>
                  <a:lnTo>
                    <a:pt x="58" y="185"/>
                  </a:lnTo>
                  <a:lnTo>
                    <a:pt x="58" y="185"/>
                  </a:lnTo>
                  <a:lnTo>
                    <a:pt x="58" y="185"/>
                  </a:lnTo>
                  <a:lnTo>
                    <a:pt x="58" y="185"/>
                  </a:lnTo>
                  <a:lnTo>
                    <a:pt x="58" y="185"/>
                  </a:lnTo>
                  <a:lnTo>
                    <a:pt x="58" y="183"/>
                  </a:lnTo>
                  <a:lnTo>
                    <a:pt x="58" y="183"/>
                  </a:lnTo>
                  <a:lnTo>
                    <a:pt x="56" y="183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2" y="185"/>
                  </a:lnTo>
                  <a:lnTo>
                    <a:pt x="54" y="185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6"/>
                  </a:lnTo>
                  <a:lnTo>
                    <a:pt x="52" y="186"/>
                  </a:lnTo>
                  <a:lnTo>
                    <a:pt x="52" y="186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1" y="186"/>
                  </a:lnTo>
                  <a:lnTo>
                    <a:pt x="51" y="185"/>
                  </a:lnTo>
                  <a:lnTo>
                    <a:pt x="49" y="185"/>
                  </a:lnTo>
                  <a:lnTo>
                    <a:pt x="49" y="186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5" y="188"/>
                  </a:lnTo>
                  <a:lnTo>
                    <a:pt x="45" y="188"/>
                  </a:lnTo>
                  <a:lnTo>
                    <a:pt x="47" y="188"/>
                  </a:lnTo>
                  <a:lnTo>
                    <a:pt x="47" y="188"/>
                  </a:lnTo>
                  <a:lnTo>
                    <a:pt x="45" y="188"/>
                  </a:lnTo>
                  <a:lnTo>
                    <a:pt x="45" y="188"/>
                  </a:lnTo>
                  <a:lnTo>
                    <a:pt x="43" y="188"/>
                  </a:lnTo>
                  <a:lnTo>
                    <a:pt x="43" y="188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2" y="188"/>
                  </a:lnTo>
                  <a:lnTo>
                    <a:pt x="40" y="186"/>
                  </a:lnTo>
                  <a:lnTo>
                    <a:pt x="38" y="186"/>
                  </a:lnTo>
                  <a:lnTo>
                    <a:pt x="38" y="188"/>
                  </a:lnTo>
                  <a:lnTo>
                    <a:pt x="36" y="188"/>
                  </a:lnTo>
                  <a:lnTo>
                    <a:pt x="34" y="188"/>
                  </a:lnTo>
                  <a:lnTo>
                    <a:pt x="34" y="188"/>
                  </a:lnTo>
                  <a:lnTo>
                    <a:pt x="34" y="188"/>
                  </a:lnTo>
                  <a:lnTo>
                    <a:pt x="36" y="190"/>
                  </a:lnTo>
                  <a:lnTo>
                    <a:pt x="34" y="190"/>
                  </a:lnTo>
                  <a:lnTo>
                    <a:pt x="33" y="190"/>
                  </a:lnTo>
                  <a:lnTo>
                    <a:pt x="33" y="190"/>
                  </a:lnTo>
                  <a:lnTo>
                    <a:pt x="27" y="190"/>
                  </a:lnTo>
                  <a:lnTo>
                    <a:pt x="27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9" y="192"/>
                  </a:lnTo>
                  <a:lnTo>
                    <a:pt x="27" y="192"/>
                  </a:lnTo>
                  <a:lnTo>
                    <a:pt x="25" y="192"/>
                  </a:lnTo>
                  <a:lnTo>
                    <a:pt x="25" y="194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25" y="194"/>
                  </a:lnTo>
                  <a:lnTo>
                    <a:pt x="24" y="194"/>
                  </a:lnTo>
                  <a:lnTo>
                    <a:pt x="22" y="194"/>
                  </a:lnTo>
                  <a:lnTo>
                    <a:pt x="22" y="195"/>
                  </a:lnTo>
                  <a:lnTo>
                    <a:pt x="20" y="195"/>
                  </a:lnTo>
                  <a:lnTo>
                    <a:pt x="22" y="195"/>
                  </a:lnTo>
                  <a:lnTo>
                    <a:pt x="20" y="195"/>
                  </a:lnTo>
                  <a:lnTo>
                    <a:pt x="20" y="195"/>
                  </a:lnTo>
                  <a:lnTo>
                    <a:pt x="20" y="197"/>
                  </a:lnTo>
                  <a:lnTo>
                    <a:pt x="18" y="199"/>
                  </a:lnTo>
                  <a:lnTo>
                    <a:pt x="18" y="201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16" y="204"/>
                  </a:lnTo>
                  <a:lnTo>
                    <a:pt x="16" y="204"/>
                  </a:lnTo>
                  <a:lnTo>
                    <a:pt x="16" y="206"/>
                  </a:lnTo>
                  <a:lnTo>
                    <a:pt x="18" y="208"/>
                  </a:lnTo>
                  <a:lnTo>
                    <a:pt x="18" y="210"/>
                  </a:lnTo>
                  <a:lnTo>
                    <a:pt x="16" y="210"/>
                  </a:lnTo>
                  <a:lnTo>
                    <a:pt x="16" y="212"/>
                  </a:lnTo>
                  <a:lnTo>
                    <a:pt x="18" y="212"/>
                  </a:lnTo>
                  <a:lnTo>
                    <a:pt x="18" y="212"/>
                  </a:lnTo>
                  <a:lnTo>
                    <a:pt x="20" y="212"/>
                  </a:lnTo>
                  <a:lnTo>
                    <a:pt x="22" y="212"/>
                  </a:lnTo>
                  <a:lnTo>
                    <a:pt x="22" y="212"/>
                  </a:lnTo>
                  <a:lnTo>
                    <a:pt x="22" y="212"/>
                  </a:lnTo>
                  <a:lnTo>
                    <a:pt x="22" y="210"/>
                  </a:lnTo>
                  <a:lnTo>
                    <a:pt x="22" y="212"/>
                  </a:lnTo>
                  <a:lnTo>
                    <a:pt x="24" y="212"/>
                  </a:lnTo>
                  <a:lnTo>
                    <a:pt x="25" y="212"/>
                  </a:lnTo>
                  <a:lnTo>
                    <a:pt x="25" y="212"/>
                  </a:lnTo>
                  <a:lnTo>
                    <a:pt x="27" y="212"/>
                  </a:lnTo>
                  <a:lnTo>
                    <a:pt x="31" y="210"/>
                  </a:lnTo>
                  <a:lnTo>
                    <a:pt x="33" y="208"/>
                  </a:lnTo>
                  <a:lnTo>
                    <a:pt x="34" y="208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6"/>
                  </a:lnTo>
                  <a:lnTo>
                    <a:pt x="42" y="206"/>
                  </a:lnTo>
                  <a:lnTo>
                    <a:pt x="36" y="208"/>
                  </a:lnTo>
                  <a:lnTo>
                    <a:pt x="36" y="208"/>
                  </a:lnTo>
                  <a:lnTo>
                    <a:pt x="33" y="212"/>
                  </a:lnTo>
                  <a:lnTo>
                    <a:pt x="33" y="213"/>
                  </a:lnTo>
                  <a:lnTo>
                    <a:pt x="34" y="213"/>
                  </a:lnTo>
                  <a:lnTo>
                    <a:pt x="34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3"/>
                  </a:lnTo>
                  <a:lnTo>
                    <a:pt x="36" y="212"/>
                  </a:lnTo>
                  <a:lnTo>
                    <a:pt x="38" y="212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40" y="210"/>
                  </a:lnTo>
                  <a:lnTo>
                    <a:pt x="40" y="210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42" y="210"/>
                  </a:lnTo>
                  <a:lnTo>
                    <a:pt x="43" y="210"/>
                  </a:lnTo>
                  <a:lnTo>
                    <a:pt x="42" y="212"/>
                  </a:lnTo>
                  <a:lnTo>
                    <a:pt x="42" y="212"/>
                  </a:lnTo>
                  <a:lnTo>
                    <a:pt x="42" y="212"/>
                  </a:lnTo>
                  <a:lnTo>
                    <a:pt x="42" y="213"/>
                  </a:lnTo>
                  <a:lnTo>
                    <a:pt x="40" y="213"/>
                  </a:lnTo>
                  <a:lnTo>
                    <a:pt x="40" y="213"/>
                  </a:lnTo>
                  <a:lnTo>
                    <a:pt x="40" y="213"/>
                  </a:lnTo>
                  <a:lnTo>
                    <a:pt x="42" y="213"/>
                  </a:lnTo>
                  <a:lnTo>
                    <a:pt x="42" y="213"/>
                  </a:lnTo>
                  <a:lnTo>
                    <a:pt x="43" y="213"/>
                  </a:lnTo>
                  <a:lnTo>
                    <a:pt x="43" y="215"/>
                  </a:lnTo>
                  <a:lnTo>
                    <a:pt x="43" y="213"/>
                  </a:lnTo>
                  <a:lnTo>
                    <a:pt x="45" y="213"/>
                  </a:lnTo>
                  <a:lnTo>
                    <a:pt x="45" y="215"/>
                  </a:lnTo>
                  <a:lnTo>
                    <a:pt x="45" y="215"/>
                  </a:lnTo>
                  <a:lnTo>
                    <a:pt x="47" y="215"/>
                  </a:lnTo>
                  <a:lnTo>
                    <a:pt x="47" y="215"/>
                  </a:lnTo>
                  <a:lnTo>
                    <a:pt x="43" y="217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3" y="215"/>
                  </a:lnTo>
                  <a:lnTo>
                    <a:pt x="43" y="215"/>
                  </a:lnTo>
                  <a:lnTo>
                    <a:pt x="40" y="215"/>
                  </a:lnTo>
                  <a:lnTo>
                    <a:pt x="38" y="217"/>
                  </a:lnTo>
                  <a:lnTo>
                    <a:pt x="36" y="217"/>
                  </a:lnTo>
                  <a:lnTo>
                    <a:pt x="36" y="217"/>
                  </a:lnTo>
                  <a:lnTo>
                    <a:pt x="36" y="215"/>
                  </a:lnTo>
                  <a:lnTo>
                    <a:pt x="34" y="215"/>
                  </a:lnTo>
                  <a:lnTo>
                    <a:pt x="34" y="215"/>
                  </a:lnTo>
                  <a:lnTo>
                    <a:pt x="31" y="215"/>
                  </a:lnTo>
                  <a:lnTo>
                    <a:pt x="29" y="215"/>
                  </a:lnTo>
                  <a:lnTo>
                    <a:pt x="29" y="212"/>
                  </a:lnTo>
                  <a:lnTo>
                    <a:pt x="29" y="212"/>
                  </a:lnTo>
                  <a:lnTo>
                    <a:pt x="29" y="212"/>
                  </a:lnTo>
                  <a:lnTo>
                    <a:pt x="27" y="215"/>
                  </a:lnTo>
                  <a:lnTo>
                    <a:pt x="27" y="215"/>
                  </a:lnTo>
                  <a:lnTo>
                    <a:pt x="27" y="215"/>
                  </a:lnTo>
                  <a:lnTo>
                    <a:pt x="27" y="215"/>
                  </a:lnTo>
                  <a:lnTo>
                    <a:pt x="27" y="217"/>
                  </a:lnTo>
                  <a:lnTo>
                    <a:pt x="25" y="217"/>
                  </a:lnTo>
                  <a:lnTo>
                    <a:pt x="25" y="215"/>
                  </a:lnTo>
                  <a:lnTo>
                    <a:pt x="25" y="215"/>
                  </a:lnTo>
                  <a:lnTo>
                    <a:pt x="25" y="217"/>
                  </a:lnTo>
                  <a:lnTo>
                    <a:pt x="25" y="217"/>
                  </a:lnTo>
                  <a:lnTo>
                    <a:pt x="25" y="217"/>
                  </a:lnTo>
                  <a:lnTo>
                    <a:pt x="27" y="219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9" y="224"/>
                  </a:lnTo>
                  <a:lnTo>
                    <a:pt x="29" y="224"/>
                  </a:lnTo>
                  <a:lnTo>
                    <a:pt x="31" y="222"/>
                  </a:lnTo>
                  <a:lnTo>
                    <a:pt x="31" y="221"/>
                  </a:lnTo>
                  <a:lnTo>
                    <a:pt x="33" y="219"/>
                  </a:lnTo>
                  <a:lnTo>
                    <a:pt x="33" y="219"/>
                  </a:lnTo>
                  <a:lnTo>
                    <a:pt x="36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38" y="222"/>
                  </a:lnTo>
                  <a:lnTo>
                    <a:pt x="38" y="222"/>
                  </a:lnTo>
                  <a:lnTo>
                    <a:pt x="40" y="222"/>
                  </a:lnTo>
                  <a:lnTo>
                    <a:pt x="42" y="222"/>
                  </a:lnTo>
                  <a:lnTo>
                    <a:pt x="42" y="224"/>
                  </a:lnTo>
                  <a:lnTo>
                    <a:pt x="42" y="226"/>
                  </a:lnTo>
                  <a:lnTo>
                    <a:pt x="42" y="226"/>
                  </a:lnTo>
                  <a:lnTo>
                    <a:pt x="42" y="228"/>
                  </a:lnTo>
                  <a:lnTo>
                    <a:pt x="42" y="230"/>
                  </a:lnTo>
                  <a:lnTo>
                    <a:pt x="42" y="230"/>
                  </a:lnTo>
                  <a:lnTo>
                    <a:pt x="42" y="230"/>
                  </a:lnTo>
                  <a:lnTo>
                    <a:pt x="38" y="230"/>
                  </a:lnTo>
                  <a:lnTo>
                    <a:pt x="22" y="233"/>
                  </a:lnTo>
                  <a:lnTo>
                    <a:pt x="22" y="233"/>
                  </a:lnTo>
                  <a:lnTo>
                    <a:pt x="22" y="231"/>
                  </a:lnTo>
                  <a:lnTo>
                    <a:pt x="22" y="231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20" y="233"/>
                  </a:lnTo>
                  <a:lnTo>
                    <a:pt x="20" y="235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7" y="237"/>
                  </a:lnTo>
                  <a:lnTo>
                    <a:pt x="29" y="237"/>
                  </a:lnTo>
                  <a:lnTo>
                    <a:pt x="29" y="237"/>
                  </a:lnTo>
                  <a:lnTo>
                    <a:pt x="29" y="235"/>
                  </a:lnTo>
                  <a:lnTo>
                    <a:pt x="31" y="237"/>
                  </a:lnTo>
                  <a:lnTo>
                    <a:pt x="34" y="239"/>
                  </a:lnTo>
                  <a:lnTo>
                    <a:pt x="36" y="242"/>
                  </a:lnTo>
                  <a:lnTo>
                    <a:pt x="38" y="244"/>
                  </a:lnTo>
                  <a:lnTo>
                    <a:pt x="38" y="246"/>
                  </a:lnTo>
                  <a:lnTo>
                    <a:pt x="38" y="248"/>
                  </a:lnTo>
                  <a:lnTo>
                    <a:pt x="38" y="250"/>
                  </a:lnTo>
                  <a:lnTo>
                    <a:pt x="38" y="250"/>
                  </a:lnTo>
                  <a:lnTo>
                    <a:pt x="38" y="250"/>
                  </a:lnTo>
                  <a:lnTo>
                    <a:pt x="38" y="250"/>
                  </a:lnTo>
                  <a:lnTo>
                    <a:pt x="38" y="250"/>
                  </a:lnTo>
                  <a:lnTo>
                    <a:pt x="38" y="251"/>
                  </a:lnTo>
                  <a:lnTo>
                    <a:pt x="38" y="251"/>
                  </a:lnTo>
                  <a:lnTo>
                    <a:pt x="38" y="251"/>
                  </a:lnTo>
                  <a:lnTo>
                    <a:pt x="45" y="253"/>
                  </a:lnTo>
                  <a:lnTo>
                    <a:pt x="45" y="251"/>
                  </a:lnTo>
                  <a:lnTo>
                    <a:pt x="47" y="251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51" y="248"/>
                  </a:lnTo>
                  <a:lnTo>
                    <a:pt x="51" y="248"/>
                  </a:lnTo>
                  <a:lnTo>
                    <a:pt x="51" y="248"/>
                  </a:lnTo>
                  <a:lnTo>
                    <a:pt x="51" y="246"/>
                  </a:lnTo>
                  <a:lnTo>
                    <a:pt x="49" y="246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51" y="246"/>
                  </a:lnTo>
                  <a:lnTo>
                    <a:pt x="51" y="246"/>
                  </a:lnTo>
                  <a:lnTo>
                    <a:pt x="51" y="248"/>
                  </a:lnTo>
                  <a:lnTo>
                    <a:pt x="52" y="248"/>
                  </a:lnTo>
                  <a:lnTo>
                    <a:pt x="52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6" y="250"/>
                  </a:lnTo>
                  <a:lnTo>
                    <a:pt x="56" y="248"/>
                  </a:lnTo>
                  <a:lnTo>
                    <a:pt x="58" y="246"/>
                  </a:lnTo>
                  <a:lnTo>
                    <a:pt x="56" y="244"/>
                  </a:lnTo>
                  <a:lnTo>
                    <a:pt x="58" y="246"/>
                  </a:lnTo>
                  <a:lnTo>
                    <a:pt x="60" y="246"/>
                  </a:lnTo>
                  <a:lnTo>
                    <a:pt x="60" y="248"/>
                  </a:lnTo>
                  <a:lnTo>
                    <a:pt x="60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50"/>
                  </a:lnTo>
                  <a:lnTo>
                    <a:pt x="62" y="250"/>
                  </a:lnTo>
                  <a:lnTo>
                    <a:pt x="62" y="250"/>
                  </a:lnTo>
                  <a:lnTo>
                    <a:pt x="63" y="251"/>
                  </a:lnTo>
                  <a:lnTo>
                    <a:pt x="63" y="253"/>
                  </a:lnTo>
                  <a:lnTo>
                    <a:pt x="63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71" y="251"/>
                  </a:lnTo>
                  <a:lnTo>
                    <a:pt x="71" y="251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4" y="253"/>
                  </a:lnTo>
                  <a:lnTo>
                    <a:pt x="74" y="253"/>
                  </a:lnTo>
                  <a:lnTo>
                    <a:pt x="74" y="253"/>
                  </a:lnTo>
                  <a:lnTo>
                    <a:pt x="74" y="255"/>
                  </a:lnTo>
                  <a:lnTo>
                    <a:pt x="76" y="255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0" y="255"/>
                  </a:lnTo>
                  <a:lnTo>
                    <a:pt x="80" y="255"/>
                  </a:lnTo>
                  <a:lnTo>
                    <a:pt x="80" y="255"/>
                  </a:lnTo>
                  <a:lnTo>
                    <a:pt x="80" y="255"/>
                  </a:lnTo>
                  <a:lnTo>
                    <a:pt x="81" y="255"/>
                  </a:lnTo>
                  <a:lnTo>
                    <a:pt x="81" y="257"/>
                  </a:lnTo>
                  <a:lnTo>
                    <a:pt x="83" y="259"/>
                  </a:lnTo>
                  <a:lnTo>
                    <a:pt x="83" y="260"/>
                  </a:lnTo>
                  <a:lnTo>
                    <a:pt x="83" y="260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7" y="259"/>
                  </a:lnTo>
                  <a:lnTo>
                    <a:pt x="87" y="257"/>
                  </a:lnTo>
                  <a:lnTo>
                    <a:pt x="87" y="257"/>
                  </a:lnTo>
                  <a:lnTo>
                    <a:pt x="89" y="257"/>
                  </a:lnTo>
                  <a:lnTo>
                    <a:pt x="90" y="257"/>
                  </a:lnTo>
                  <a:lnTo>
                    <a:pt x="90" y="255"/>
                  </a:lnTo>
                  <a:lnTo>
                    <a:pt x="92" y="253"/>
                  </a:lnTo>
                  <a:lnTo>
                    <a:pt x="92" y="255"/>
                  </a:lnTo>
                  <a:lnTo>
                    <a:pt x="92" y="255"/>
                  </a:lnTo>
                  <a:lnTo>
                    <a:pt x="90" y="255"/>
                  </a:lnTo>
                  <a:lnTo>
                    <a:pt x="90" y="257"/>
                  </a:lnTo>
                  <a:lnTo>
                    <a:pt x="90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90" y="259"/>
                  </a:lnTo>
                  <a:lnTo>
                    <a:pt x="90" y="260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0" y="260"/>
                  </a:lnTo>
                  <a:lnTo>
                    <a:pt x="89" y="260"/>
                  </a:lnTo>
                  <a:lnTo>
                    <a:pt x="89" y="260"/>
                  </a:lnTo>
                  <a:lnTo>
                    <a:pt x="90" y="260"/>
                  </a:lnTo>
                  <a:lnTo>
                    <a:pt x="92" y="260"/>
                  </a:lnTo>
                  <a:lnTo>
                    <a:pt x="92" y="260"/>
                  </a:lnTo>
                  <a:lnTo>
                    <a:pt x="94" y="262"/>
                  </a:lnTo>
                  <a:lnTo>
                    <a:pt x="96" y="264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6" y="260"/>
                  </a:lnTo>
                  <a:lnTo>
                    <a:pt x="96" y="260"/>
                  </a:lnTo>
                  <a:lnTo>
                    <a:pt x="96" y="260"/>
                  </a:lnTo>
                  <a:lnTo>
                    <a:pt x="96" y="260"/>
                  </a:lnTo>
                  <a:lnTo>
                    <a:pt x="98" y="260"/>
                  </a:lnTo>
                  <a:lnTo>
                    <a:pt x="98" y="259"/>
                  </a:lnTo>
                  <a:lnTo>
                    <a:pt x="98" y="260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96" y="257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99" y="257"/>
                  </a:lnTo>
                  <a:lnTo>
                    <a:pt x="99" y="257"/>
                  </a:lnTo>
                  <a:lnTo>
                    <a:pt x="99" y="257"/>
                  </a:lnTo>
                  <a:lnTo>
                    <a:pt x="99" y="259"/>
                  </a:lnTo>
                  <a:lnTo>
                    <a:pt x="99" y="259"/>
                  </a:lnTo>
                  <a:lnTo>
                    <a:pt x="99" y="259"/>
                  </a:lnTo>
                  <a:lnTo>
                    <a:pt x="99" y="259"/>
                  </a:lnTo>
                  <a:lnTo>
                    <a:pt x="99" y="259"/>
                  </a:lnTo>
                  <a:lnTo>
                    <a:pt x="99" y="259"/>
                  </a:lnTo>
                  <a:lnTo>
                    <a:pt x="101" y="259"/>
                  </a:lnTo>
                  <a:lnTo>
                    <a:pt x="101" y="260"/>
                  </a:lnTo>
                  <a:lnTo>
                    <a:pt x="98" y="262"/>
                  </a:lnTo>
                  <a:lnTo>
                    <a:pt x="96" y="264"/>
                  </a:lnTo>
                  <a:lnTo>
                    <a:pt x="96" y="264"/>
                  </a:lnTo>
                  <a:lnTo>
                    <a:pt x="96" y="266"/>
                  </a:lnTo>
                  <a:lnTo>
                    <a:pt x="98" y="266"/>
                  </a:lnTo>
                  <a:lnTo>
                    <a:pt x="98" y="266"/>
                  </a:lnTo>
                  <a:lnTo>
                    <a:pt x="98" y="266"/>
                  </a:lnTo>
                  <a:lnTo>
                    <a:pt x="99" y="266"/>
                  </a:lnTo>
                  <a:lnTo>
                    <a:pt x="99" y="268"/>
                  </a:lnTo>
                  <a:lnTo>
                    <a:pt x="99" y="269"/>
                  </a:lnTo>
                  <a:lnTo>
                    <a:pt x="99" y="271"/>
                  </a:lnTo>
                  <a:lnTo>
                    <a:pt x="99" y="271"/>
                  </a:lnTo>
                  <a:lnTo>
                    <a:pt x="99" y="273"/>
                  </a:lnTo>
                  <a:lnTo>
                    <a:pt x="99" y="273"/>
                  </a:lnTo>
                  <a:lnTo>
                    <a:pt x="99" y="275"/>
                  </a:lnTo>
                  <a:lnTo>
                    <a:pt x="99" y="277"/>
                  </a:lnTo>
                  <a:lnTo>
                    <a:pt x="99" y="277"/>
                  </a:lnTo>
                  <a:lnTo>
                    <a:pt x="99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5"/>
                  </a:lnTo>
                  <a:lnTo>
                    <a:pt x="99" y="273"/>
                  </a:lnTo>
                  <a:lnTo>
                    <a:pt x="99" y="271"/>
                  </a:lnTo>
                  <a:lnTo>
                    <a:pt x="99" y="269"/>
                  </a:lnTo>
                  <a:lnTo>
                    <a:pt x="99" y="269"/>
                  </a:lnTo>
                  <a:lnTo>
                    <a:pt x="99" y="268"/>
                  </a:lnTo>
                  <a:lnTo>
                    <a:pt x="99" y="268"/>
                  </a:lnTo>
                  <a:lnTo>
                    <a:pt x="99" y="268"/>
                  </a:lnTo>
                  <a:lnTo>
                    <a:pt x="101" y="268"/>
                  </a:lnTo>
                  <a:lnTo>
                    <a:pt x="101" y="268"/>
                  </a:lnTo>
                  <a:lnTo>
                    <a:pt x="101" y="268"/>
                  </a:lnTo>
                  <a:lnTo>
                    <a:pt x="101" y="269"/>
                  </a:lnTo>
                  <a:lnTo>
                    <a:pt x="101" y="269"/>
                  </a:lnTo>
                  <a:lnTo>
                    <a:pt x="101" y="269"/>
                  </a:lnTo>
                  <a:lnTo>
                    <a:pt x="103" y="269"/>
                  </a:lnTo>
                  <a:lnTo>
                    <a:pt x="105" y="268"/>
                  </a:lnTo>
                  <a:lnTo>
                    <a:pt x="105" y="269"/>
                  </a:lnTo>
                  <a:lnTo>
                    <a:pt x="105" y="269"/>
                  </a:lnTo>
                  <a:lnTo>
                    <a:pt x="105" y="269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7" y="268"/>
                  </a:lnTo>
                  <a:lnTo>
                    <a:pt x="107" y="269"/>
                  </a:lnTo>
                  <a:lnTo>
                    <a:pt x="107" y="269"/>
                  </a:lnTo>
                  <a:lnTo>
                    <a:pt x="107" y="269"/>
                  </a:lnTo>
                  <a:lnTo>
                    <a:pt x="107" y="268"/>
                  </a:lnTo>
                  <a:lnTo>
                    <a:pt x="107" y="268"/>
                  </a:lnTo>
                  <a:lnTo>
                    <a:pt x="108" y="269"/>
                  </a:lnTo>
                  <a:lnTo>
                    <a:pt x="108" y="269"/>
                  </a:lnTo>
                  <a:lnTo>
                    <a:pt x="108" y="269"/>
                  </a:lnTo>
                  <a:lnTo>
                    <a:pt x="108" y="269"/>
                  </a:lnTo>
                  <a:lnTo>
                    <a:pt x="108" y="271"/>
                  </a:lnTo>
                  <a:lnTo>
                    <a:pt x="108" y="269"/>
                  </a:lnTo>
                  <a:lnTo>
                    <a:pt x="110" y="269"/>
                  </a:lnTo>
                  <a:lnTo>
                    <a:pt x="110" y="269"/>
                  </a:lnTo>
                  <a:lnTo>
                    <a:pt x="108" y="269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8" y="266"/>
                  </a:lnTo>
                  <a:lnTo>
                    <a:pt x="108" y="264"/>
                  </a:lnTo>
                  <a:lnTo>
                    <a:pt x="108" y="264"/>
                  </a:lnTo>
                  <a:lnTo>
                    <a:pt x="107" y="264"/>
                  </a:lnTo>
                  <a:lnTo>
                    <a:pt x="107" y="262"/>
                  </a:lnTo>
                  <a:lnTo>
                    <a:pt x="108" y="262"/>
                  </a:lnTo>
                  <a:lnTo>
                    <a:pt x="108" y="264"/>
                  </a:lnTo>
                  <a:lnTo>
                    <a:pt x="108" y="264"/>
                  </a:lnTo>
                  <a:lnTo>
                    <a:pt x="108" y="264"/>
                  </a:lnTo>
                  <a:lnTo>
                    <a:pt x="110" y="264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6" y="266"/>
                  </a:lnTo>
                  <a:lnTo>
                    <a:pt x="117" y="264"/>
                  </a:lnTo>
                  <a:lnTo>
                    <a:pt x="117" y="264"/>
                  </a:lnTo>
                  <a:lnTo>
                    <a:pt x="117" y="264"/>
                  </a:lnTo>
                  <a:lnTo>
                    <a:pt x="119" y="266"/>
                  </a:lnTo>
                  <a:lnTo>
                    <a:pt x="119" y="266"/>
                  </a:lnTo>
                  <a:lnTo>
                    <a:pt x="119" y="266"/>
                  </a:lnTo>
                  <a:lnTo>
                    <a:pt x="117" y="266"/>
                  </a:lnTo>
                  <a:lnTo>
                    <a:pt x="119" y="268"/>
                  </a:lnTo>
                  <a:lnTo>
                    <a:pt x="119" y="268"/>
                  </a:lnTo>
                  <a:lnTo>
                    <a:pt x="121" y="268"/>
                  </a:lnTo>
                  <a:lnTo>
                    <a:pt x="121" y="268"/>
                  </a:lnTo>
                  <a:lnTo>
                    <a:pt x="121" y="268"/>
                  </a:lnTo>
                  <a:lnTo>
                    <a:pt x="121" y="266"/>
                  </a:lnTo>
                  <a:lnTo>
                    <a:pt x="121" y="266"/>
                  </a:lnTo>
                  <a:lnTo>
                    <a:pt x="121" y="266"/>
                  </a:lnTo>
                  <a:lnTo>
                    <a:pt x="121" y="266"/>
                  </a:lnTo>
                  <a:lnTo>
                    <a:pt x="121" y="264"/>
                  </a:lnTo>
                  <a:lnTo>
                    <a:pt x="121" y="264"/>
                  </a:lnTo>
                  <a:lnTo>
                    <a:pt x="121" y="266"/>
                  </a:lnTo>
                  <a:lnTo>
                    <a:pt x="121" y="268"/>
                  </a:lnTo>
                  <a:lnTo>
                    <a:pt x="119" y="269"/>
                  </a:lnTo>
                  <a:lnTo>
                    <a:pt x="119" y="271"/>
                  </a:lnTo>
                  <a:lnTo>
                    <a:pt x="119" y="271"/>
                  </a:lnTo>
                  <a:lnTo>
                    <a:pt x="117" y="271"/>
                  </a:lnTo>
                  <a:lnTo>
                    <a:pt x="116" y="271"/>
                  </a:lnTo>
                  <a:lnTo>
                    <a:pt x="116" y="269"/>
                  </a:lnTo>
                  <a:lnTo>
                    <a:pt x="116" y="271"/>
                  </a:lnTo>
                  <a:lnTo>
                    <a:pt x="116" y="271"/>
                  </a:lnTo>
                  <a:lnTo>
                    <a:pt x="116" y="271"/>
                  </a:lnTo>
                  <a:lnTo>
                    <a:pt x="114" y="271"/>
                  </a:lnTo>
                  <a:lnTo>
                    <a:pt x="114" y="271"/>
                  </a:lnTo>
                  <a:lnTo>
                    <a:pt x="114" y="271"/>
                  </a:lnTo>
                  <a:lnTo>
                    <a:pt x="114" y="271"/>
                  </a:lnTo>
                  <a:lnTo>
                    <a:pt x="112" y="269"/>
                  </a:lnTo>
                  <a:lnTo>
                    <a:pt x="112" y="269"/>
                  </a:lnTo>
                  <a:lnTo>
                    <a:pt x="110" y="271"/>
                  </a:lnTo>
                  <a:lnTo>
                    <a:pt x="112" y="271"/>
                  </a:lnTo>
                  <a:lnTo>
                    <a:pt x="112" y="271"/>
                  </a:lnTo>
                  <a:lnTo>
                    <a:pt x="112" y="271"/>
                  </a:lnTo>
                  <a:lnTo>
                    <a:pt x="112" y="271"/>
                  </a:lnTo>
                  <a:lnTo>
                    <a:pt x="112" y="271"/>
                  </a:lnTo>
                  <a:lnTo>
                    <a:pt x="112" y="271"/>
                  </a:lnTo>
                  <a:lnTo>
                    <a:pt x="112" y="273"/>
                  </a:lnTo>
                  <a:lnTo>
                    <a:pt x="114" y="273"/>
                  </a:lnTo>
                  <a:lnTo>
                    <a:pt x="114" y="273"/>
                  </a:lnTo>
                  <a:lnTo>
                    <a:pt x="114" y="275"/>
                  </a:lnTo>
                  <a:lnTo>
                    <a:pt x="114" y="275"/>
                  </a:lnTo>
                  <a:lnTo>
                    <a:pt x="116" y="275"/>
                  </a:lnTo>
                  <a:lnTo>
                    <a:pt x="116" y="275"/>
                  </a:lnTo>
                  <a:lnTo>
                    <a:pt x="117" y="275"/>
                  </a:lnTo>
                  <a:lnTo>
                    <a:pt x="119" y="275"/>
                  </a:lnTo>
                  <a:lnTo>
                    <a:pt x="121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3"/>
                  </a:lnTo>
                  <a:lnTo>
                    <a:pt x="123" y="273"/>
                  </a:lnTo>
                  <a:lnTo>
                    <a:pt x="125" y="273"/>
                  </a:lnTo>
                  <a:lnTo>
                    <a:pt x="125" y="273"/>
                  </a:lnTo>
                  <a:lnTo>
                    <a:pt x="125" y="273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5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7" y="271"/>
                  </a:lnTo>
                  <a:lnTo>
                    <a:pt x="127" y="273"/>
                  </a:lnTo>
                  <a:lnTo>
                    <a:pt x="125" y="273"/>
                  </a:lnTo>
                  <a:lnTo>
                    <a:pt x="125" y="273"/>
                  </a:lnTo>
                  <a:lnTo>
                    <a:pt x="125" y="273"/>
                  </a:lnTo>
                  <a:lnTo>
                    <a:pt x="125" y="273"/>
                  </a:lnTo>
                  <a:lnTo>
                    <a:pt x="127" y="273"/>
                  </a:lnTo>
                  <a:lnTo>
                    <a:pt x="127" y="273"/>
                  </a:lnTo>
                  <a:lnTo>
                    <a:pt x="128" y="273"/>
                  </a:lnTo>
                  <a:lnTo>
                    <a:pt x="130" y="273"/>
                  </a:lnTo>
                  <a:lnTo>
                    <a:pt x="130" y="273"/>
                  </a:lnTo>
                  <a:lnTo>
                    <a:pt x="132" y="273"/>
                  </a:lnTo>
                  <a:lnTo>
                    <a:pt x="136" y="275"/>
                  </a:lnTo>
                  <a:lnTo>
                    <a:pt x="136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7" y="275"/>
                  </a:lnTo>
                  <a:lnTo>
                    <a:pt x="136" y="275"/>
                  </a:lnTo>
                  <a:lnTo>
                    <a:pt x="132" y="275"/>
                  </a:lnTo>
                  <a:lnTo>
                    <a:pt x="132" y="275"/>
                  </a:lnTo>
                  <a:lnTo>
                    <a:pt x="132" y="277"/>
                  </a:lnTo>
                  <a:lnTo>
                    <a:pt x="132" y="278"/>
                  </a:lnTo>
                  <a:lnTo>
                    <a:pt x="132" y="278"/>
                  </a:lnTo>
                  <a:lnTo>
                    <a:pt x="134" y="278"/>
                  </a:lnTo>
                  <a:lnTo>
                    <a:pt x="134" y="278"/>
                  </a:lnTo>
                  <a:lnTo>
                    <a:pt x="134" y="280"/>
                  </a:lnTo>
                  <a:lnTo>
                    <a:pt x="134" y="280"/>
                  </a:lnTo>
                  <a:lnTo>
                    <a:pt x="136" y="280"/>
                  </a:lnTo>
                  <a:lnTo>
                    <a:pt x="137" y="280"/>
                  </a:lnTo>
                  <a:lnTo>
                    <a:pt x="137" y="280"/>
                  </a:lnTo>
                  <a:lnTo>
                    <a:pt x="136" y="282"/>
                  </a:lnTo>
                  <a:lnTo>
                    <a:pt x="134" y="282"/>
                  </a:lnTo>
                  <a:lnTo>
                    <a:pt x="134" y="282"/>
                  </a:lnTo>
                  <a:lnTo>
                    <a:pt x="134" y="282"/>
                  </a:lnTo>
                  <a:lnTo>
                    <a:pt x="134" y="282"/>
                  </a:lnTo>
                  <a:lnTo>
                    <a:pt x="134" y="282"/>
                  </a:lnTo>
                  <a:lnTo>
                    <a:pt x="134" y="282"/>
                  </a:lnTo>
                  <a:lnTo>
                    <a:pt x="134" y="280"/>
                  </a:lnTo>
                  <a:lnTo>
                    <a:pt x="132" y="280"/>
                  </a:lnTo>
                  <a:lnTo>
                    <a:pt x="128" y="284"/>
                  </a:lnTo>
                  <a:lnTo>
                    <a:pt x="130" y="286"/>
                  </a:lnTo>
                  <a:lnTo>
                    <a:pt x="130" y="286"/>
                  </a:lnTo>
                  <a:lnTo>
                    <a:pt x="132" y="287"/>
                  </a:lnTo>
                  <a:lnTo>
                    <a:pt x="132" y="287"/>
                  </a:lnTo>
                  <a:lnTo>
                    <a:pt x="132" y="287"/>
                  </a:lnTo>
                  <a:lnTo>
                    <a:pt x="132" y="287"/>
                  </a:lnTo>
                  <a:lnTo>
                    <a:pt x="132" y="286"/>
                  </a:lnTo>
                  <a:lnTo>
                    <a:pt x="132" y="286"/>
                  </a:lnTo>
                  <a:lnTo>
                    <a:pt x="132" y="286"/>
                  </a:lnTo>
                  <a:lnTo>
                    <a:pt x="132" y="286"/>
                  </a:lnTo>
                  <a:lnTo>
                    <a:pt x="134" y="287"/>
                  </a:lnTo>
                  <a:lnTo>
                    <a:pt x="134" y="287"/>
                  </a:lnTo>
                  <a:lnTo>
                    <a:pt x="134" y="289"/>
                  </a:lnTo>
                  <a:lnTo>
                    <a:pt x="134" y="289"/>
                  </a:lnTo>
                  <a:lnTo>
                    <a:pt x="132" y="291"/>
                  </a:lnTo>
                  <a:lnTo>
                    <a:pt x="130" y="289"/>
                  </a:lnTo>
                  <a:lnTo>
                    <a:pt x="128" y="289"/>
                  </a:lnTo>
                  <a:lnTo>
                    <a:pt x="128" y="289"/>
                  </a:lnTo>
                  <a:lnTo>
                    <a:pt x="134" y="293"/>
                  </a:lnTo>
                  <a:lnTo>
                    <a:pt x="136" y="293"/>
                  </a:lnTo>
                  <a:lnTo>
                    <a:pt x="136" y="291"/>
                  </a:lnTo>
                  <a:lnTo>
                    <a:pt x="136" y="291"/>
                  </a:lnTo>
                  <a:lnTo>
                    <a:pt x="136" y="291"/>
                  </a:lnTo>
                  <a:lnTo>
                    <a:pt x="136" y="291"/>
                  </a:lnTo>
                  <a:lnTo>
                    <a:pt x="136" y="291"/>
                  </a:lnTo>
                  <a:lnTo>
                    <a:pt x="137" y="291"/>
                  </a:lnTo>
                  <a:lnTo>
                    <a:pt x="137" y="291"/>
                  </a:lnTo>
                  <a:lnTo>
                    <a:pt x="139" y="291"/>
                  </a:lnTo>
                  <a:lnTo>
                    <a:pt x="139" y="293"/>
                  </a:lnTo>
                  <a:lnTo>
                    <a:pt x="141" y="293"/>
                  </a:lnTo>
                  <a:lnTo>
                    <a:pt x="141" y="293"/>
                  </a:lnTo>
                  <a:lnTo>
                    <a:pt x="143" y="293"/>
                  </a:lnTo>
                  <a:lnTo>
                    <a:pt x="143" y="293"/>
                  </a:lnTo>
                  <a:lnTo>
                    <a:pt x="145" y="293"/>
                  </a:lnTo>
                  <a:lnTo>
                    <a:pt x="146" y="291"/>
                  </a:lnTo>
                  <a:lnTo>
                    <a:pt x="146" y="291"/>
                  </a:lnTo>
                  <a:lnTo>
                    <a:pt x="146" y="291"/>
                  </a:lnTo>
                  <a:lnTo>
                    <a:pt x="146" y="289"/>
                  </a:lnTo>
                  <a:lnTo>
                    <a:pt x="146" y="289"/>
                  </a:lnTo>
                  <a:lnTo>
                    <a:pt x="148" y="289"/>
                  </a:lnTo>
                  <a:lnTo>
                    <a:pt x="155" y="287"/>
                  </a:lnTo>
                  <a:lnTo>
                    <a:pt x="157" y="289"/>
                  </a:lnTo>
                  <a:lnTo>
                    <a:pt x="159" y="289"/>
                  </a:lnTo>
                  <a:lnTo>
                    <a:pt x="159" y="289"/>
                  </a:lnTo>
                  <a:lnTo>
                    <a:pt x="161" y="289"/>
                  </a:lnTo>
                  <a:lnTo>
                    <a:pt x="161" y="289"/>
                  </a:lnTo>
                  <a:lnTo>
                    <a:pt x="163" y="291"/>
                  </a:lnTo>
                  <a:lnTo>
                    <a:pt x="164" y="293"/>
                  </a:lnTo>
                  <a:lnTo>
                    <a:pt x="166" y="295"/>
                  </a:lnTo>
                  <a:lnTo>
                    <a:pt x="166" y="295"/>
                  </a:lnTo>
                  <a:lnTo>
                    <a:pt x="168" y="295"/>
                  </a:lnTo>
                  <a:lnTo>
                    <a:pt x="170" y="297"/>
                  </a:lnTo>
                  <a:lnTo>
                    <a:pt x="168" y="297"/>
                  </a:lnTo>
                  <a:lnTo>
                    <a:pt x="166" y="295"/>
                  </a:lnTo>
                  <a:lnTo>
                    <a:pt x="164" y="295"/>
                  </a:lnTo>
                  <a:lnTo>
                    <a:pt x="164" y="295"/>
                  </a:lnTo>
                  <a:lnTo>
                    <a:pt x="163" y="293"/>
                  </a:lnTo>
                  <a:lnTo>
                    <a:pt x="161" y="293"/>
                  </a:lnTo>
                  <a:lnTo>
                    <a:pt x="161" y="291"/>
                  </a:lnTo>
                  <a:lnTo>
                    <a:pt x="161" y="291"/>
                  </a:lnTo>
                  <a:lnTo>
                    <a:pt x="161" y="291"/>
                  </a:lnTo>
                  <a:lnTo>
                    <a:pt x="161" y="291"/>
                  </a:lnTo>
                  <a:lnTo>
                    <a:pt x="159" y="291"/>
                  </a:lnTo>
                  <a:lnTo>
                    <a:pt x="159" y="291"/>
                  </a:lnTo>
                  <a:lnTo>
                    <a:pt x="159" y="291"/>
                  </a:lnTo>
                  <a:lnTo>
                    <a:pt x="159" y="291"/>
                  </a:lnTo>
                  <a:lnTo>
                    <a:pt x="155" y="291"/>
                  </a:lnTo>
                  <a:lnTo>
                    <a:pt x="155" y="289"/>
                  </a:lnTo>
                  <a:lnTo>
                    <a:pt x="155" y="289"/>
                  </a:lnTo>
                  <a:lnTo>
                    <a:pt x="155" y="289"/>
                  </a:lnTo>
                  <a:lnTo>
                    <a:pt x="155" y="289"/>
                  </a:lnTo>
                  <a:lnTo>
                    <a:pt x="154" y="289"/>
                  </a:lnTo>
                  <a:lnTo>
                    <a:pt x="150" y="291"/>
                  </a:lnTo>
                  <a:lnTo>
                    <a:pt x="148" y="291"/>
                  </a:lnTo>
                  <a:lnTo>
                    <a:pt x="148" y="291"/>
                  </a:lnTo>
                  <a:lnTo>
                    <a:pt x="148" y="293"/>
                  </a:lnTo>
                  <a:lnTo>
                    <a:pt x="148" y="293"/>
                  </a:lnTo>
                  <a:lnTo>
                    <a:pt x="148" y="295"/>
                  </a:lnTo>
                  <a:lnTo>
                    <a:pt x="148" y="295"/>
                  </a:lnTo>
                  <a:lnTo>
                    <a:pt x="148" y="297"/>
                  </a:lnTo>
                  <a:lnTo>
                    <a:pt x="148" y="298"/>
                  </a:lnTo>
                  <a:lnTo>
                    <a:pt x="148" y="298"/>
                  </a:lnTo>
                  <a:lnTo>
                    <a:pt x="148" y="300"/>
                  </a:lnTo>
                  <a:lnTo>
                    <a:pt x="148" y="300"/>
                  </a:lnTo>
                  <a:lnTo>
                    <a:pt x="146" y="300"/>
                  </a:lnTo>
                  <a:lnTo>
                    <a:pt x="145" y="300"/>
                  </a:lnTo>
                  <a:lnTo>
                    <a:pt x="145" y="300"/>
                  </a:lnTo>
                  <a:lnTo>
                    <a:pt x="145" y="302"/>
                  </a:lnTo>
                  <a:lnTo>
                    <a:pt x="146" y="302"/>
                  </a:lnTo>
                  <a:lnTo>
                    <a:pt x="152" y="304"/>
                  </a:lnTo>
                  <a:lnTo>
                    <a:pt x="155" y="306"/>
                  </a:lnTo>
                  <a:lnTo>
                    <a:pt x="155" y="306"/>
                  </a:lnTo>
                  <a:lnTo>
                    <a:pt x="155" y="307"/>
                  </a:lnTo>
                  <a:lnTo>
                    <a:pt x="157" y="307"/>
                  </a:lnTo>
                  <a:lnTo>
                    <a:pt x="157" y="309"/>
                  </a:lnTo>
                  <a:lnTo>
                    <a:pt x="155" y="309"/>
                  </a:lnTo>
                  <a:lnTo>
                    <a:pt x="155" y="311"/>
                  </a:lnTo>
                  <a:lnTo>
                    <a:pt x="154" y="313"/>
                  </a:lnTo>
                  <a:lnTo>
                    <a:pt x="154" y="315"/>
                  </a:lnTo>
                  <a:lnTo>
                    <a:pt x="152" y="316"/>
                  </a:lnTo>
                  <a:lnTo>
                    <a:pt x="152" y="316"/>
                  </a:lnTo>
                  <a:lnTo>
                    <a:pt x="152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50" y="322"/>
                  </a:lnTo>
                  <a:lnTo>
                    <a:pt x="150" y="322"/>
                  </a:lnTo>
                  <a:lnTo>
                    <a:pt x="150" y="324"/>
                  </a:lnTo>
                  <a:lnTo>
                    <a:pt x="150" y="325"/>
                  </a:lnTo>
                  <a:lnTo>
                    <a:pt x="150" y="325"/>
                  </a:lnTo>
                  <a:lnTo>
                    <a:pt x="152" y="325"/>
                  </a:lnTo>
                  <a:lnTo>
                    <a:pt x="154" y="327"/>
                  </a:lnTo>
                  <a:lnTo>
                    <a:pt x="157" y="329"/>
                  </a:lnTo>
                  <a:lnTo>
                    <a:pt x="157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61" y="334"/>
                  </a:lnTo>
                  <a:lnTo>
                    <a:pt x="161" y="334"/>
                  </a:lnTo>
                  <a:lnTo>
                    <a:pt x="161" y="336"/>
                  </a:lnTo>
                  <a:lnTo>
                    <a:pt x="163" y="336"/>
                  </a:lnTo>
                  <a:lnTo>
                    <a:pt x="163" y="338"/>
                  </a:lnTo>
                  <a:lnTo>
                    <a:pt x="163" y="338"/>
                  </a:lnTo>
                  <a:lnTo>
                    <a:pt x="164" y="340"/>
                  </a:lnTo>
                  <a:lnTo>
                    <a:pt x="164" y="340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6" y="347"/>
                  </a:lnTo>
                  <a:lnTo>
                    <a:pt x="166" y="349"/>
                  </a:lnTo>
                  <a:lnTo>
                    <a:pt x="166" y="349"/>
                  </a:lnTo>
                  <a:lnTo>
                    <a:pt x="168" y="349"/>
                  </a:lnTo>
                  <a:lnTo>
                    <a:pt x="166" y="347"/>
                  </a:lnTo>
                  <a:lnTo>
                    <a:pt x="166" y="347"/>
                  </a:lnTo>
                  <a:lnTo>
                    <a:pt x="166" y="345"/>
                  </a:lnTo>
                  <a:lnTo>
                    <a:pt x="168" y="347"/>
                  </a:lnTo>
                  <a:lnTo>
                    <a:pt x="168" y="349"/>
                  </a:lnTo>
                  <a:lnTo>
                    <a:pt x="168" y="349"/>
                  </a:lnTo>
                  <a:lnTo>
                    <a:pt x="168" y="349"/>
                  </a:lnTo>
                  <a:lnTo>
                    <a:pt x="170" y="349"/>
                  </a:lnTo>
                  <a:lnTo>
                    <a:pt x="172" y="351"/>
                  </a:lnTo>
                  <a:lnTo>
                    <a:pt x="175" y="351"/>
                  </a:lnTo>
                  <a:lnTo>
                    <a:pt x="175" y="353"/>
                  </a:lnTo>
                  <a:lnTo>
                    <a:pt x="175" y="353"/>
                  </a:lnTo>
                  <a:lnTo>
                    <a:pt x="177" y="354"/>
                  </a:lnTo>
                  <a:lnTo>
                    <a:pt x="179" y="354"/>
                  </a:lnTo>
                  <a:lnTo>
                    <a:pt x="181" y="354"/>
                  </a:lnTo>
                  <a:lnTo>
                    <a:pt x="182" y="354"/>
                  </a:lnTo>
                  <a:lnTo>
                    <a:pt x="182" y="356"/>
                  </a:lnTo>
                  <a:lnTo>
                    <a:pt x="182" y="358"/>
                  </a:lnTo>
                  <a:lnTo>
                    <a:pt x="184" y="360"/>
                  </a:lnTo>
                  <a:lnTo>
                    <a:pt x="184" y="360"/>
                  </a:lnTo>
                  <a:lnTo>
                    <a:pt x="188" y="358"/>
                  </a:lnTo>
                  <a:lnTo>
                    <a:pt x="188" y="360"/>
                  </a:lnTo>
                  <a:lnTo>
                    <a:pt x="190" y="360"/>
                  </a:lnTo>
                  <a:lnTo>
                    <a:pt x="192" y="362"/>
                  </a:lnTo>
                  <a:lnTo>
                    <a:pt x="192" y="362"/>
                  </a:lnTo>
                  <a:lnTo>
                    <a:pt x="192" y="362"/>
                  </a:lnTo>
                  <a:lnTo>
                    <a:pt x="193" y="363"/>
                  </a:lnTo>
                  <a:lnTo>
                    <a:pt x="195" y="363"/>
                  </a:lnTo>
                  <a:lnTo>
                    <a:pt x="195" y="363"/>
                  </a:lnTo>
                  <a:lnTo>
                    <a:pt x="195" y="362"/>
                  </a:lnTo>
                  <a:lnTo>
                    <a:pt x="197" y="362"/>
                  </a:lnTo>
                  <a:lnTo>
                    <a:pt x="199" y="362"/>
                  </a:lnTo>
                  <a:lnTo>
                    <a:pt x="201" y="362"/>
                  </a:lnTo>
                  <a:lnTo>
                    <a:pt x="201" y="363"/>
                  </a:lnTo>
                  <a:lnTo>
                    <a:pt x="201" y="363"/>
                  </a:lnTo>
                  <a:lnTo>
                    <a:pt x="201" y="365"/>
                  </a:lnTo>
                  <a:lnTo>
                    <a:pt x="201" y="365"/>
                  </a:lnTo>
                  <a:lnTo>
                    <a:pt x="197" y="367"/>
                  </a:lnTo>
                  <a:lnTo>
                    <a:pt x="197" y="369"/>
                  </a:lnTo>
                  <a:lnTo>
                    <a:pt x="197" y="371"/>
                  </a:lnTo>
                  <a:lnTo>
                    <a:pt x="197" y="371"/>
                  </a:lnTo>
                  <a:lnTo>
                    <a:pt x="197" y="371"/>
                  </a:lnTo>
                  <a:lnTo>
                    <a:pt x="195" y="372"/>
                  </a:lnTo>
                  <a:lnTo>
                    <a:pt x="195" y="372"/>
                  </a:lnTo>
                  <a:lnTo>
                    <a:pt x="197" y="372"/>
                  </a:lnTo>
                  <a:lnTo>
                    <a:pt x="197" y="372"/>
                  </a:lnTo>
                  <a:lnTo>
                    <a:pt x="197" y="372"/>
                  </a:lnTo>
                  <a:lnTo>
                    <a:pt x="197" y="372"/>
                  </a:lnTo>
                  <a:lnTo>
                    <a:pt x="199" y="372"/>
                  </a:lnTo>
                  <a:lnTo>
                    <a:pt x="199" y="372"/>
                  </a:lnTo>
                  <a:lnTo>
                    <a:pt x="199" y="372"/>
                  </a:lnTo>
                  <a:lnTo>
                    <a:pt x="199" y="374"/>
                  </a:lnTo>
                  <a:lnTo>
                    <a:pt x="199" y="374"/>
                  </a:lnTo>
                  <a:lnTo>
                    <a:pt x="199" y="374"/>
                  </a:lnTo>
                  <a:lnTo>
                    <a:pt x="199" y="374"/>
                  </a:lnTo>
                  <a:lnTo>
                    <a:pt x="201" y="374"/>
                  </a:lnTo>
                  <a:lnTo>
                    <a:pt x="201" y="376"/>
                  </a:lnTo>
                  <a:lnTo>
                    <a:pt x="201" y="376"/>
                  </a:lnTo>
                  <a:lnTo>
                    <a:pt x="201" y="376"/>
                  </a:lnTo>
                  <a:lnTo>
                    <a:pt x="201" y="376"/>
                  </a:lnTo>
                  <a:lnTo>
                    <a:pt x="201" y="376"/>
                  </a:lnTo>
                  <a:lnTo>
                    <a:pt x="201" y="376"/>
                  </a:lnTo>
                  <a:lnTo>
                    <a:pt x="201" y="376"/>
                  </a:lnTo>
                  <a:lnTo>
                    <a:pt x="202" y="378"/>
                  </a:lnTo>
                  <a:lnTo>
                    <a:pt x="202" y="378"/>
                  </a:lnTo>
                  <a:lnTo>
                    <a:pt x="202" y="380"/>
                  </a:lnTo>
                  <a:lnTo>
                    <a:pt x="202" y="380"/>
                  </a:lnTo>
                  <a:lnTo>
                    <a:pt x="202" y="380"/>
                  </a:lnTo>
                  <a:lnTo>
                    <a:pt x="202" y="380"/>
                  </a:lnTo>
                  <a:lnTo>
                    <a:pt x="204" y="381"/>
                  </a:lnTo>
                  <a:lnTo>
                    <a:pt x="204" y="381"/>
                  </a:lnTo>
                  <a:lnTo>
                    <a:pt x="204" y="381"/>
                  </a:lnTo>
                  <a:lnTo>
                    <a:pt x="204" y="381"/>
                  </a:lnTo>
                  <a:lnTo>
                    <a:pt x="204" y="383"/>
                  </a:lnTo>
                  <a:lnTo>
                    <a:pt x="202" y="383"/>
                  </a:lnTo>
                  <a:lnTo>
                    <a:pt x="202" y="383"/>
                  </a:lnTo>
                  <a:lnTo>
                    <a:pt x="201" y="383"/>
                  </a:lnTo>
                  <a:lnTo>
                    <a:pt x="201" y="385"/>
                  </a:lnTo>
                  <a:lnTo>
                    <a:pt x="202" y="387"/>
                  </a:lnTo>
                  <a:lnTo>
                    <a:pt x="202" y="387"/>
                  </a:lnTo>
                  <a:lnTo>
                    <a:pt x="202" y="387"/>
                  </a:lnTo>
                  <a:lnTo>
                    <a:pt x="202" y="387"/>
                  </a:lnTo>
                  <a:lnTo>
                    <a:pt x="202" y="387"/>
                  </a:lnTo>
                  <a:lnTo>
                    <a:pt x="202" y="389"/>
                  </a:lnTo>
                  <a:lnTo>
                    <a:pt x="202" y="389"/>
                  </a:lnTo>
                  <a:lnTo>
                    <a:pt x="202" y="389"/>
                  </a:lnTo>
                  <a:lnTo>
                    <a:pt x="202" y="390"/>
                  </a:lnTo>
                  <a:lnTo>
                    <a:pt x="202" y="390"/>
                  </a:lnTo>
                  <a:lnTo>
                    <a:pt x="202" y="390"/>
                  </a:lnTo>
                  <a:lnTo>
                    <a:pt x="202" y="390"/>
                  </a:lnTo>
                  <a:lnTo>
                    <a:pt x="201" y="390"/>
                  </a:lnTo>
                  <a:lnTo>
                    <a:pt x="201" y="392"/>
                  </a:lnTo>
                  <a:lnTo>
                    <a:pt x="201" y="392"/>
                  </a:lnTo>
                  <a:lnTo>
                    <a:pt x="201" y="392"/>
                  </a:lnTo>
                  <a:lnTo>
                    <a:pt x="199" y="392"/>
                  </a:lnTo>
                  <a:lnTo>
                    <a:pt x="199" y="394"/>
                  </a:lnTo>
                  <a:lnTo>
                    <a:pt x="199" y="394"/>
                  </a:lnTo>
                  <a:lnTo>
                    <a:pt x="199" y="394"/>
                  </a:lnTo>
                  <a:lnTo>
                    <a:pt x="199" y="396"/>
                  </a:lnTo>
                  <a:lnTo>
                    <a:pt x="201" y="396"/>
                  </a:lnTo>
                  <a:lnTo>
                    <a:pt x="201" y="398"/>
                  </a:lnTo>
                  <a:lnTo>
                    <a:pt x="201" y="398"/>
                  </a:lnTo>
                  <a:lnTo>
                    <a:pt x="201" y="399"/>
                  </a:lnTo>
                  <a:lnTo>
                    <a:pt x="206" y="403"/>
                  </a:lnTo>
                  <a:lnTo>
                    <a:pt x="208" y="405"/>
                  </a:lnTo>
                  <a:lnTo>
                    <a:pt x="204" y="403"/>
                  </a:lnTo>
                  <a:lnTo>
                    <a:pt x="202" y="403"/>
                  </a:lnTo>
                  <a:lnTo>
                    <a:pt x="202" y="401"/>
                  </a:lnTo>
                  <a:lnTo>
                    <a:pt x="199" y="398"/>
                  </a:lnTo>
                  <a:lnTo>
                    <a:pt x="199" y="398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3" y="405"/>
                  </a:lnTo>
                  <a:lnTo>
                    <a:pt x="195" y="405"/>
                  </a:lnTo>
                  <a:lnTo>
                    <a:pt x="197" y="405"/>
                  </a:lnTo>
                  <a:lnTo>
                    <a:pt x="197" y="405"/>
                  </a:lnTo>
                  <a:lnTo>
                    <a:pt x="199" y="407"/>
                  </a:lnTo>
                  <a:lnTo>
                    <a:pt x="199" y="407"/>
                  </a:lnTo>
                  <a:lnTo>
                    <a:pt x="199" y="408"/>
                  </a:lnTo>
                  <a:lnTo>
                    <a:pt x="201" y="408"/>
                  </a:lnTo>
                  <a:lnTo>
                    <a:pt x="202" y="408"/>
                  </a:lnTo>
                  <a:lnTo>
                    <a:pt x="204" y="410"/>
                  </a:lnTo>
                  <a:lnTo>
                    <a:pt x="206" y="412"/>
                  </a:lnTo>
                  <a:lnTo>
                    <a:pt x="206" y="412"/>
                  </a:lnTo>
                  <a:lnTo>
                    <a:pt x="208" y="414"/>
                  </a:lnTo>
                  <a:lnTo>
                    <a:pt x="208" y="414"/>
                  </a:lnTo>
                  <a:lnTo>
                    <a:pt x="215" y="419"/>
                  </a:lnTo>
                  <a:lnTo>
                    <a:pt x="217" y="421"/>
                  </a:lnTo>
                  <a:lnTo>
                    <a:pt x="217" y="423"/>
                  </a:lnTo>
                  <a:lnTo>
                    <a:pt x="219" y="425"/>
                  </a:lnTo>
                  <a:lnTo>
                    <a:pt x="220" y="430"/>
                  </a:lnTo>
                  <a:lnTo>
                    <a:pt x="220" y="432"/>
                  </a:lnTo>
                  <a:lnTo>
                    <a:pt x="222" y="446"/>
                  </a:lnTo>
                  <a:lnTo>
                    <a:pt x="224" y="448"/>
                  </a:lnTo>
                  <a:lnTo>
                    <a:pt x="224" y="450"/>
                  </a:lnTo>
                  <a:lnTo>
                    <a:pt x="226" y="452"/>
                  </a:lnTo>
                  <a:lnTo>
                    <a:pt x="228" y="452"/>
                  </a:lnTo>
                  <a:lnTo>
                    <a:pt x="231" y="454"/>
                  </a:lnTo>
                  <a:lnTo>
                    <a:pt x="231" y="455"/>
                  </a:lnTo>
                  <a:lnTo>
                    <a:pt x="231" y="454"/>
                  </a:lnTo>
                  <a:lnTo>
                    <a:pt x="229" y="454"/>
                  </a:lnTo>
                  <a:lnTo>
                    <a:pt x="228" y="454"/>
                  </a:lnTo>
                  <a:lnTo>
                    <a:pt x="226" y="454"/>
                  </a:lnTo>
                  <a:lnTo>
                    <a:pt x="228" y="454"/>
                  </a:lnTo>
                  <a:lnTo>
                    <a:pt x="229" y="455"/>
                  </a:lnTo>
                  <a:lnTo>
                    <a:pt x="229" y="457"/>
                  </a:lnTo>
                  <a:lnTo>
                    <a:pt x="229" y="459"/>
                  </a:lnTo>
                  <a:lnTo>
                    <a:pt x="229" y="459"/>
                  </a:lnTo>
                  <a:lnTo>
                    <a:pt x="229" y="461"/>
                  </a:lnTo>
                  <a:lnTo>
                    <a:pt x="229" y="463"/>
                  </a:lnTo>
                  <a:lnTo>
                    <a:pt x="229" y="463"/>
                  </a:lnTo>
                  <a:lnTo>
                    <a:pt x="228" y="461"/>
                  </a:lnTo>
                  <a:lnTo>
                    <a:pt x="228" y="459"/>
                  </a:lnTo>
                  <a:lnTo>
                    <a:pt x="228" y="457"/>
                  </a:lnTo>
                  <a:lnTo>
                    <a:pt x="228" y="457"/>
                  </a:lnTo>
                  <a:lnTo>
                    <a:pt x="228" y="457"/>
                  </a:lnTo>
                  <a:lnTo>
                    <a:pt x="228" y="455"/>
                  </a:lnTo>
                  <a:lnTo>
                    <a:pt x="228" y="455"/>
                  </a:lnTo>
                  <a:lnTo>
                    <a:pt x="226" y="454"/>
                  </a:lnTo>
                  <a:lnTo>
                    <a:pt x="224" y="452"/>
                  </a:lnTo>
                  <a:lnTo>
                    <a:pt x="222" y="450"/>
                  </a:lnTo>
                  <a:lnTo>
                    <a:pt x="220" y="446"/>
                  </a:lnTo>
                  <a:lnTo>
                    <a:pt x="220" y="445"/>
                  </a:lnTo>
                  <a:lnTo>
                    <a:pt x="219" y="439"/>
                  </a:lnTo>
                  <a:lnTo>
                    <a:pt x="219" y="436"/>
                  </a:lnTo>
                  <a:lnTo>
                    <a:pt x="219" y="434"/>
                  </a:lnTo>
                  <a:lnTo>
                    <a:pt x="219" y="432"/>
                  </a:lnTo>
                  <a:lnTo>
                    <a:pt x="217" y="430"/>
                  </a:lnTo>
                  <a:lnTo>
                    <a:pt x="211" y="423"/>
                  </a:lnTo>
                  <a:lnTo>
                    <a:pt x="210" y="423"/>
                  </a:lnTo>
                  <a:lnTo>
                    <a:pt x="208" y="421"/>
                  </a:lnTo>
                  <a:lnTo>
                    <a:pt x="204" y="419"/>
                  </a:lnTo>
                  <a:lnTo>
                    <a:pt x="204" y="419"/>
                  </a:lnTo>
                  <a:lnTo>
                    <a:pt x="204" y="418"/>
                  </a:lnTo>
                  <a:lnTo>
                    <a:pt x="202" y="418"/>
                  </a:lnTo>
                  <a:lnTo>
                    <a:pt x="202" y="418"/>
                  </a:lnTo>
                  <a:lnTo>
                    <a:pt x="204" y="418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2" y="414"/>
                  </a:lnTo>
                  <a:lnTo>
                    <a:pt x="202" y="416"/>
                  </a:lnTo>
                  <a:lnTo>
                    <a:pt x="201" y="416"/>
                  </a:lnTo>
                  <a:lnTo>
                    <a:pt x="199" y="419"/>
                  </a:lnTo>
                  <a:lnTo>
                    <a:pt x="199" y="421"/>
                  </a:lnTo>
                  <a:lnTo>
                    <a:pt x="199" y="436"/>
                  </a:lnTo>
                  <a:lnTo>
                    <a:pt x="197" y="446"/>
                  </a:lnTo>
                  <a:lnTo>
                    <a:pt x="193" y="481"/>
                  </a:lnTo>
                  <a:lnTo>
                    <a:pt x="193" y="481"/>
                  </a:lnTo>
                  <a:lnTo>
                    <a:pt x="193" y="479"/>
                  </a:lnTo>
                  <a:lnTo>
                    <a:pt x="195" y="475"/>
                  </a:lnTo>
                  <a:lnTo>
                    <a:pt x="197" y="472"/>
                  </a:lnTo>
                  <a:lnTo>
                    <a:pt x="197" y="472"/>
                  </a:lnTo>
                  <a:lnTo>
                    <a:pt x="197" y="472"/>
                  </a:lnTo>
                  <a:lnTo>
                    <a:pt x="197" y="472"/>
                  </a:lnTo>
                  <a:lnTo>
                    <a:pt x="197" y="472"/>
                  </a:lnTo>
                  <a:lnTo>
                    <a:pt x="197" y="472"/>
                  </a:lnTo>
                  <a:lnTo>
                    <a:pt x="199" y="472"/>
                  </a:lnTo>
                  <a:lnTo>
                    <a:pt x="199" y="472"/>
                  </a:lnTo>
                  <a:lnTo>
                    <a:pt x="199" y="472"/>
                  </a:lnTo>
                  <a:lnTo>
                    <a:pt x="199" y="472"/>
                  </a:lnTo>
                  <a:lnTo>
                    <a:pt x="199" y="472"/>
                  </a:lnTo>
                  <a:lnTo>
                    <a:pt x="202" y="475"/>
                  </a:lnTo>
                  <a:lnTo>
                    <a:pt x="204" y="475"/>
                  </a:lnTo>
                  <a:lnTo>
                    <a:pt x="202" y="475"/>
                  </a:lnTo>
                  <a:lnTo>
                    <a:pt x="204" y="477"/>
                  </a:lnTo>
                  <a:lnTo>
                    <a:pt x="204" y="479"/>
                  </a:lnTo>
                  <a:lnTo>
                    <a:pt x="202" y="479"/>
                  </a:lnTo>
                  <a:lnTo>
                    <a:pt x="201" y="479"/>
                  </a:lnTo>
                  <a:lnTo>
                    <a:pt x="199" y="479"/>
                  </a:lnTo>
                  <a:lnTo>
                    <a:pt x="197" y="479"/>
                  </a:lnTo>
                  <a:lnTo>
                    <a:pt x="195" y="481"/>
                  </a:lnTo>
                  <a:lnTo>
                    <a:pt x="195" y="483"/>
                  </a:lnTo>
                  <a:lnTo>
                    <a:pt x="195" y="484"/>
                  </a:lnTo>
                  <a:lnTo>
                    <a:pt x="195" y="484"/>
                  </a:lnTo>
                  <a:lnTo>
                    <a:pt x="193" y="486"/>
                  </a:lnTo>
                  <a:lnTo>
                    <a:pt x="193" y="488"/>
                  </a:lnTo>
                  <a:lnTo>
                    <a:pt x="193" y="490"/>
                  </a:lnTo>
                  <a:lnTo>
                    <a:pt x="193" y="490"/>
                  </a:lnTo>
                  <a:lnTo>
                    <a:pt x="193" y="495"/>
                  </a:lnTo>
                  <a:lnTo>
                    <a:pt x="192" y="504"/>
                  </a:lnTo>
                  <a:lnTo>
                    <a:pt x="190" y="524"/>
                  </a:lnTo>
                  <a:lnTo>
                    <a:pt x="188" y="533"/>
                  </a:lnTo>
                  <a:lnTo>
                    <a:pt x="186" y="537"/>
                  </a:lnTo>
                  <a:lnTo>
                    <a:pt x="184" y="548"/>
                  </a:lnTo>
                  <a:lnTo>
                    <a:pt x="182" y="553"/>
                  </a:lnTo>
                  <a:lnTo>
                    <a:pt x="182" y="555"/>
                  </a:lnTo>
                  <a:lnTo>
                    <a:pt x="181" y="557"/>
                  </a:lnTo>
                  <a:lnTo>
                    <a:pt x="181" y="557"/>
                  </a:lnTo>
                  <a:lnTo>
                    <a:pt x="179" y="560"/>
                  </a:lnTo>
                  <a:lnTo>
                    <a:pt x="179" y="560"/>
                  </a:lnTo>
                  <a:lnTo>
                    <a:pt x="177" y="560"/>
                  </a:lnTo>
                  <a:lnTo>
                    <a:pt x="177" y="564"/>
                  </a:lnTo>
                  <a:lnTo>
                    <a:pt x="177" y="564"/>
                  </a:lnTo>
                  <a:lnTo>
                    <a:pt x="175" y="564"/>
                  </a:lnTo>
                  <a:lnTo>
                    <a:pt x="173" y="566"/>
                  </a:lnTo>
                  <a:lnTo>
                    <a:pt x="173" y="567"/>
                  </a:lnTo>
                  <a:lnTo>
                    <a:pt x="168" y="567"/>
                  </a:lnTo>
                  <a:lnTo>
                    <a:pt x="168" y="567"/>
                  </a:lnTo>
                  <a:lnTo>
                    <a:pt x="168" y="567"/>
                  </a:lnTo>
                  <a:lnTo>
                    <a:pt x="166" y="567"/>
                  </a:lnTo>
                  <a:lnTo>
                    <a:pt x="166" y="567"/>
                  </a:lnTo>
                  <a:lnTo>
                    <a:pt x="166" y="567"/>
                  </a:lnTo>
                  <a:lnTo>
                    <a:pt x="166" y="569"/>
                  </a:lnTo>
                  <a:lnTo>
                    <a:pt x="166" y="569"/>
                  </a:lnTo>
                  <a:lnTo>
                    <a:pt x="166" y="571"/>
                  </a:lnTo>
                  <a:lnTo>
                    <a:pt x="168" y="571"/>
                  </a:lnTo>
                  <a:lnTo>
                    <a:pt x="168" y="573"/>
                  </a:lnTo>
                  <a:lnTo>
                    <a:pt x="168" y="573"/>
                  </a:lnTo>
                  <a:lnTo>
                    <a:pt x="168" y="575"/>
                  </a:lnTo>
                  <a:lnTo>
                    <a:pt x="168" y="575"/>
                  </a:lnTo>
                  <a:lnTo>
                    <a:pt x="170" y="575"/>
                  </a:lnTo>
                  <a:lnTo>
                    <a:pt x="170" y="575"/>
                  </a:lnTo>
                  <a:lnTo>
                    <a:pt x="172" y="573"/>
                  </a:lnTo>
                  <a:lnTo>
                    <a:pt x="172" y="573"/>
                  </a:lnTo>
                  <a:lnTo>
                    <a:pt x="172" y="573"/>
                  </a:lnTo>
                  <a:lnTo>
                    <a:pt x="173" y="573"/>
                  </a:lnTo>
                  <a:lnTo>
                    <a:pt x="173" y="575"/>
                  </a:lnTo>
                  <a:lnTo>
                    <a:pt x="173" y="575"/>
                  </a:lnTo>
                  <a:lnTo>
                    <a:pt x="173" y="575"/>
                  </a:lnTo>
                  <a:lnTo>
                    <a:pt x="173" y="575"/>
                  </a:lnTo>
                  <a:lnTo>
                    <a:pt x="173" y="576"/>
                  </a:lnTo>
                  <a:lnTo>
                    <a:pt x="175" y="576"/>
                  </a:lnTo>
                  <a:lnTo>
                    <a:pt x="175" y="576"/>
                  </a:lnTo>
                  <a:lnTo>
                    <a:pt x="175" y="576"/>
                  </a:lnTo>
                  <a:lnTo>
                    <a:pt x="177" y="576"/>
                  </a:lnTo>
                  <a:lnTo>
                    <a:pt x="177" y="576"/>
                  </a:lnTo>
                  <a:lnTo>
                    <a:pt x="177" y="576"/>
                  </a:lnTo>
                  <a:lnTo>
                    <a:pt x="177" y="575"/>
                  </a:lnTo>
                  <a:lnTo>
                    <a:pt x="179" y="575"/>
                  </a:lnTo>
                  <a:lnTo>
                    <a:pt x="179" y="575"/>
                  </a:lnTo>
                  <a:lnTo>
                    <a:pt x="181" y="575"/>
                  </a:lnTo>
                  <a:lnTo>
                    <a:pt x="182" y="576"/>
                  </a:lnTo>
                  <a:lnTo>
                    <a:pt x="184" y="576"/>
                  </a:lnTo>
                  <a:lnTo>
                    <a:pt x="184" y="576"/>
                  </a:lnTo>
                  <a:lnTo>
                    <a:pt x="184" y="576"/>
                  </a:lnTo>
                  <a:lnTo>
                    <a:pt x="186" y="578"/>
                  </a:lnTo>
                  <a:lnTo>
                    <a:pt x="186" y="580"/>
                  </a:lnTo>
                  <a:lnTo>
                    <a:pt x="186" y="582"/>
                  </a:lnTo>
                  <a:lnTo>
                    <a:pt x="184" y="586"/>
                  </a:lnTo>
                  <a:lnTo>
                    <a:pt x="184" y="586"/>
                  </a:lnTo>
                  <a:lnTo>
                    <a:pt x="182" y="587"/>
                  </a:lnTo>
                  <a:lnTo>
                    <a:pt x="182" y="589"/>
                  </a:lnTo>
                  <a:lnTo>
                    <a:pt x="182" y="589"/>
                  </a:lnTo>
                  <a:lnTo>
                    <a:pt x="182" y="591"/>
                  </a:lnTo>
                  <a:lnTo>
                    <a:pt x="184" y="591"/>
                  </a:lnTo>
                  <a:lnTo>
                    <a:pt x="186" y="593"/>
                  </a:lnTo>
                  <a:lnTo>
                    <a:pt x="188" y="593"/>
                  </a:lnTo>
                  <a:lnTo>
                    <a:pt x="188" y="591"/>
                  </a:lnTo>
                  <a:lnTo>
                    <a:pt x="188" y="591"/>
                  </a:lnTo>
                  <a:lnTo>
                    <a:pt x="188" y="589"/>
                  </a:lnTo>
                  <a:lnTo>
                    <a:pt x="190" y="587"/>
                  </a:lnTo>
                  <a:lnTo>
                    <a:pt x="190" y="587"/>
                  </a:lnTo>
                  <a:lnTo>
                    <a:pt x="192" y="586"/>
                  </a:lnTo>
                  <a:lnTo>
                    <a:pt x="192" y="587"/>
                  </a:lnTo>
                  <a:lnTo>
                    <a:pt x="192" y="587"/>
                  </a:lnTo>
                  <a:lnTo>
                    <a:pt x="190" y="589"/>
                  </a:lnTo>
                  <a:lnTo>
                    <a:pt x="192" y="589"/>
                  </a:lnTo>
                  <a:lnTo>
                    <a:pt x="192" y="591"/>
                  </a:lnTo>
                  <a:lnTo>
                    <a:pt x="193" y="591"/>
                  </a:lnTo>
                  <a:lnTo>
                    <a:pt x="195" y="591"/>
                  </a:lnTo>
                  <a:lnTo>
                    <a:pt x="197" y="593"/>
                  </a:lnTo>
                  <a:lnTo>
                    <a:pt x="199" y="595"/>
                  </a:lnTo>
                  <a:lnTo>
                    <a:pt x="201" y="593"/>
                  </a:lnTo>
                  <a:lnTo>
                    <a:pt x="201" y="595"/>
                  </a:lnTo>
                  <a:lnTo>
                    <a:pt x="202" y="595"/>
                  </a:lnTo>
                  <a:lnTo>
                    <a:pt x="202" y="595"/>
                  </a:lnTo>
                  <a:lnTo>
                    <a:pt x="204" y="595"/>
                  </a:lnTo>
                  <a:lnTo>
                    <a:pt x="204" y="595"/>
                  </a:lnTo>
                  <a:lnTo>
                    <a:pt x="206" y="596"/>
                  </a:lnTo>
                  <a:lnTo>
                    <a:pt x="208" y="596"/>
                  </a:lnTo>
                  <a:lnTo>
                    <a:pt x="210" y="598"/>
                  </a:lnTo>
                  <a:lnTo>
                    <a:pt x="213" y="598"/>
                  </a:lnTo>
                  <a:lnTo>
                    <a:pt x="217" y="598"/>
                  </a:lnTo>
                  <a:lnTo>
                    <a:pt x="219" y="598"/>
                  </a:lnTo>
                  <a:lnTo>
                    <a:pt x="219" y="600"/>
                  </a:lnTo>
                  <a:lnTo>
                    <a:pt x="219" y="600"/>
                  </a:lnTo>
                  <a:lnTo>
                    <a:pt x="219" y="600"/>
                  </a:lnTo>
                  <a:lnTo>
                    <a:pt x="219" y="602"/>
                  </a:lnTo>
                  <a:lnTo>
                    <a:pt x="219" y="602"/>
                  </a:lnTo>
                  <a:lnTo>
                    <a:pt x="219" y="602"/>
                  </a:lnTo>
                  <a:lnTo>
                    <a:pt x="220" y="602"/>
                  </a:lnTo>
                  <a:lnTo>
                    <a:pt x="220" y="602"/>
                  </a:lnTo>
                  <a:lnTo>
                    <a:pt x="220" y="602"/>
                  </a:lnTo>
                  <a:lnTo>
                    <a:pt x="220" y="602"/>
                  </a:lnTo>
                  <a:lnTo>
                    <a:pt x="222" y="604"/>
                  </a:lnTo>
                  <a:lnTo>
                    <a:pt x="224" y="604"/>
                  </a:lnTo>
                  <a:lnTo>
                    <a:pt x="226" y="607"/>
                  </a:lnTo>
                  <a:lnTo>
                    <a:pt x="226" y="607"/>
                  </a:lnTo>
                  <a:lnTo>
                    <a:pt x="226" y="607"/>
                  </a:lnTo>
                  <a:lnTo>
                    <a:pt x="226" y="607"/>
                  </a:lnTo>
                  <a:lnTo>
                    <a:pt x="226" y="607"/>
                  </a:lnTo>
                  <a:lnTo>
                    <a:pt x="228" y="607"/>
                  </a:lnTo>
                  <a:lnTo>
                    <a:pt x="228" y="607"/>
                  </a:lnTo>
                  <a:lnTo>
                    <a:pt x="228" y="609"/>
                  </a:lnTo>
                  <a:lnTo>
                    <a:pt x="228" y="609"/>
                  </a:lnTo>
                  <a:lnTo>
                    <a:pt x="228" y="609"/>
                  </a:lnTo>
                  <a:lnTo>
                    <a:pt x="228" y="609"/>
                  </a:lnTo>
                  <a:lnTo>
                    <a:pt x="228" y="609"/>
                  </a:lnTo>
                  <a:lnTo>
                    <a:pt x="229" y="609"/>
                  </a:lnTo>
                  <a:lnTo>
                    <a:pt x="229" y="609"/>
                  </a:lnTo>
                  <a:lnTo>
                    <a:pt x="229" y="607"/>
                  </a:lnTo>
                  <a:lnTo>
                    <a:pt x="231" y="607"/>
                  </a:lnTo>
                  <a:lnTo>
                    <a:pt x="233" y="609"/>
                  </a:lnTo>
                  <a:lnTo>
                    <a:pt x="235" y="609"/>
                  </a:lnTo>
                  <a:lnTo>
                    <a:pt x="237" y="607"/>
                  </a:lnTo>
                  <a:lnTo>
                    <a:pt x="238" y="605"/>
                  </a:lnTo>
                  <a:lnTo>
                    <a:pt x="238" y="605"/>
                  </a:lnTo>
                  <a:lnTo>
                    <a:pt x="240" y="605"/>
                  </a:lnTo>
                  <a:lnTo>
                    <a:pt x="240" y="605"/>
                  </a:lnTo>
                  <a:lnTo>
                    <a:pt x="240" y="605"/>
                  </a:lnTo>
                  <a:lnTo>
                    <a:pt x="240" y="605"/>
                  </a:lnTo>
                  <a:lnTo>
                    <a:pt x="240" y="605"/>
                  </a:lnTo>
                  <a:lnTo>
                    <a:pt x="244" y="607"/>
                  </a:lnTo>
                  <a:lnTo>
                    <a:pt x="244" y="609"/>
                  </a:lnTo>
                  <a:lnTo>
                    <a:pt x="246" y="609"/>
                  </a:lnTo>
                  <a:lnTo>
                    <a:pt x="248" y="609"/>
                  </a:lnTo>
                  <a:lnTo>
                    <a:pt x="248" y="607"/>
                  </a:lnTo>
                  <a:lnTo>
                    <a:pt x="248" y="609"/>
                  </a:lnTo>
                  <a:lnTo>
                    <a:pt x="249" y="611"/>
                  </a:lnTo>
                  <a:lnTo>
                    <a:pt x="249" y="611"/>
                  </a:lnTo>
                  <a:lnTo>
                    <a:pt x="249" y="613"/>
                  </a:lnTo>
                  <a:lnTo>
                    <a:pt x="249" y="613"/>
                  </a:lnTo>
                  <a:lnTo>
                    <a:pt x="251" y="613"/>
                  </a:lnTo>
                  <a:lnTo>
                    <a:pt x="251" y="613"/>
                  </a:lnTo>
                  <a:lnTo>
                    <a:pt x="251" y="614"/>
                  </a:lnTo>
                  <a:lnTo>
                    <a:pt x="251" y="614"/>
                  </a:lnTo>
                  <a:lnTo>
                    <a:pt x="251" y="614"/>
                  </a:lnTo>
                  <a:lnTo>
                    <a:pt x="253" y="614"/>
                  </a:lnTo>
                  <a:lnTo>
                    <a:pt x="253" y="614"/>
                  </a:lnTo>
                  <a:lnTo>
                    <a:pt x="255" y="616"/>
                  </a:lnTo>
                  <a:lnTo>
                    <a:pt x="257" y="616"/>
                  </a:lnTo>
                  <a:lnTo>
                    <a:pt x="260" y="614"/>
                  </a:lnTo>
                  <a:lnTo>
                    <a:pt x="264" y="613"/>
                  </a:lnTo>
                  <a:lnTo>
                    <a:pt x="264" y="613"/>
                  </a:lnTo>
                  <a:lnTo>
                    <a:pt x="266" y="613"/>
                  </a:lnTo>
                  <a:lnTo>
                    <a:pt x="267" y="613"/>
                  </a:lnTo>
                  <a:lnTo>
                    <a:pt x="267" y="614"/>
                  </a:lnTo>
                  <a:lnTo>
                    <a:pt x="269" y="616"/>
                  </a:lnTo>
                  <a:lnTo>
                    <a:pt x="271" y="616"/>
                  </a:lnTo>
                  <a:lnTo>
                    <a:pt x="271" y="616"/>
                  </a:lnTo>
                  <a:lnTo>
                    <a:pt x="273" y="614"/>
                  </a:lnTo>
                  <a:lnTo>
                    <a:pt x="273" y="614"/>
                  </a:lnTo>
                  <a:lnTo>
                    <a:pt x="275" y="613"/>
                  </a:lnTo>
                  <a:lnTo>
                    <a:pt x="275" y="614"/>
                  </a:lnTo>
                  <a:lnTo>
                    <a:pt x="276" y="614"/>
                  </a:lnTo>
                  <a:lnTo>
                    <a:pt x="276" y="614"/>
                  </a:lnTo>
                  <a:lnTo>
                    <a:pt x="276" y="614"/>
                  </a:lnTo>
                  <a:lnTo>
                    <a:pt x="276" y="616"/>
                  </a:lnTo>
                  <a:lnTo>
                    <a:pt x="276" y="616"/>
                  </a:lnTo>
                  <a:lnTo>
                    <a:pt x="278" y="616"/>
                  </a:lnTo>
                  <a:lnTo>
                    <a:pt x="280" y="614"/>
                  </a:lnTo>
                  <a:lnTo>
                    <a:pt x="280" y="616"/>
                  </a:lnTo>
                  <a:lnTo>
                    <a:pt x="287" y="614"/>
                  </a:lnTo>
                  <a:lnTo>
                    <a:pt x="289" y="616"/>
                  </a:lnTo>
                  <a:lnTo>
                    <a:pt x="289" y="614"/>
                  </a:lnTo>
                  <a:lnTo>
                    <a:pt x="289" y="614"/>
                  </a:lnTo>
                  <a:lnTo>
                    <a:pt x="289" y="614"/>
                  </a:lnTo>
                  <a:lnTo>
                    <a:pt x="289" y="613"/>
                  </a:lnTo>
                  <a:lnTo>
                    <a:pt x="289" y="613"/>
                  </a:lnTo>
                  <a:lnTo>
                    <a:pt x="289" y="613"/>
                  </a:lnTo>
                  <a:lnTo>
                    <a:pt x="287" y="611"/>
                  </a:lnTo>
                  <a:lnTo>
                    <a:pt x="289" y="611"/>
                  </a:lnTo>
                  <a:lnTo>
                    <a:pt x="289" y="611"/>
                  </a:lnTo>
                  <a:lnTo>
                    <a:pt x="289" y="611"/>
                  </a:lnTo>
                  <a:lnTo>
                    <a:pt x="289" y="609"/>
                  </a:lnTo>
                  <a:lnTo>
                    <a:pt x="289" y="607"/>
                  </a:lnTo>
                  <a:lnTo>
                    <a:pt x="289" y="605"/>
                  </a:lnTo>
                  <a:lnTo>
                    <a:pt x="289" y="605"/>
                  </a:lnTo>
                  <a:lnTo>
                    <a:pt x="291" y="605"/>
                  </a:lnTo>
                  <a:lnTo>
                    <a:pt x="291" y="605"/>
                  </a:lnTo>
                  <a:lnTo>
                    <a:pt x="293" y="605"/>
                  </a:lnTo>
                  <a:lnTo>
                    <a:pt x="294" y="605"/>
                  </a:lnTo>
                  <a:lnTo>
                    <a:pt x="294" y="605"/>
                  </a:lnTo>
                  <a:lnTo>
                    <a:pt x="296" y="605"/>
                  </a:lnTo>
                  <a:lnTo>
                    <a:pt x="296" y="605"/>
                  </a:lnTo>
                  <a:lnTo>
                    <a:pt x="300" y="607"/>
                  </a:lnTo>
                  <a:lnTo>
                    <a:pt x="300" y="607"/>
                  </a:lnTo>
                  <a:lnTo>
                    <a:pt x="302" y="607"/>
                  </a:lnTo>
                  <a:lnTo>
                    <a:pt x="302" y="609"/>
                  </a:lnTo>
                  <a:lnTo>
                    <a:pt x="302" y="609"/>
                  </a:lnTo>
                  <a:lnTo>
                    <a:pt x="303" y="609"/>
                  </a:lnTo>
                  <a:lnTo>
                    <a:pt x="303" y="609"/>
                  </a:lnTo>
                  <a:lnTo>
                    <a:pt x="303" y="607"/>
                  </a:lnTo>
                  <a:lnTo>
                    <a:pt x="303" y="609"/>
                  </a:lnTo>
                  <a:lnTo>
                    <a:pt x="305" y="609"/>
                  </a:lnTo>
                  <a:lnTo>
                    <a:pt x="305" y="609"/>
                  </a:lnTo>
                  <a:lnTo>
                    <a:pt x="309" y="609"/>
                  </a:lnTo>
                  <a:lnTo>
                    <a:pt x="311" y="609"/>
                  </a:lnTo>
                  <a:lnTo>
                    <a:pt x="313" y="611"/>
                  </a:lnTo>
                  <a:lnTo>
                    <a:pt x="313" y="611"/>
                  </a:lnTo>
                  <a:lnTo>
                    <a:pt x="313" y="613"/>
                  </a:lnTo>
                  <a:lnTo>
                    <a:pt x="313" y="613"/>
                  </a:lnTo>
                  <a:lnTo>
                    <a:pt x="314" y="614"/>
                  </a:lnTo>
                  <a:lnTo>
                    <a:pt x="314" y="614"/>
                  </a:lnTo>
                  <a:lnTo>
                    <a:pt x="316" y="614"/>
                  </a:lnTo>
                  <a:lnTo>
                    <a:pt x="322" y="614"/>
                  </a:lnTo>
                  <a:lnTo>
                    <a:pt x="323" y="614"/>
                  </a:lnTo>
                  <a:lnTo>
                    <a:pt x="323" y="614"/>
                  </a:lnTo>
                  <a:lnTo>
                    <a:pt x="323" y="614"/>
                  </a:lnTo>
                  <a:lnTo>
                    <a:pt x="323" y="614"/>
                  </a:lnTo>
                  <a:lnTo>
                    <a:pt x="325" y="616"/>
                  </a:lnTo>
                  <a:lnTo>
                    <a:pt x="325" y="616"/>
                  </a:lnTo>
                  <a:lnTo>
                    <a:pt x="327" y="618"/>
                  </a:lnTo>
                  <a:lnTo>
                    <a:pt x="327" y="620"/>
                  </a:lnTo>
                  <a:lnTo>
                    <a:pt x="329" y="622"/>
                  </a:lnTo>
                  <a:lnTo>
                    <a:pt x="329" y="622"/>
                  </a:lnTo>
                  <a:lnTo>
                    <a:pt x="331" y="618"/>
                  </a:lnTo>
                  <a:lnTo>
                    <a:pt x="331" y="618"/>
                  </a:lnTo>
                  <a:lnTo>
                    <a:pt x="332" y="618"/>
                  </a:lnTo>
                  <a:lnTo>
                    <a:pt x="334" y="618"/>
                  </a:lnTo>
                  <a:lnTo>
                    <a:pt x="336" y="620"/>
                  </a:lnTo>
                  <a:lnTo>
                    <a:pt x="336" y="620"/>
                  </a:lnTo>
                  <a:lnTo>
                    <a:pt x="343" y="620"/>
                  </a:lnTo>
                  <a:lnTo>
                    <a:pt x="341" y="622"/>
                  </a:lnTo>
                  <a:lnTo>
                    <a:pt x="343" y="622"/>
                  </a:lnTo>
                  <a:lnTo>
                    <a:pt x="343" y="623"/>
                  </a:lnTo>
                  <a:lnTo>
                    <a:pt x="345" y="623"/>
                  </a:lnTo>
                  <a:lnTo>
                    <a:pt x="345" y="623"/>
                  </a:lnTo>
                  <a:lnTo>
                    <a:pt x="343" y="623"/>
                  </a:lnTo>
                  <a:lnTo>
                    <a:pt x="343" y="625"/>
                  </a:lnTo>
                  <a:lnTo>
                    <a:pt x="341" y="627"/>
                  </a:lnTo>
                  <a:lnTo>
                    <a:pt x="341" y="627"/>
                  </a:lnTo>
                  <a:lnTo>
                    <a:pt x="341" y="627"/>
                  </a:lnTo>
                  <a:lnTo>
                    <a:pt x="341" y="629"/>
                  </a:lnTo>
                  <a:lnTo>
                    <a:pt x="341" y="629"/>
                  </a:lnTo>
                  <a:lnTo>
                    <a:pt x="341" y="629"/>
                  </a:lnTo>
                  <a:lnTo>
                    <a:pt x="343" y="629"/>
                  </a:lnTo>
                  <a:lnTo>
                    <a:pt x="347" y="629"/>
                  </a:lnTo>
                  <a:lnTo>
                    <a:pt x="347" y="629"/>
                  </a:lnTo>
                  <a:lnTo>
                    <a:pt x="350" y="632"/>
                  </a:lnTo>
                  <a:lnTo>
                    <a:pt x="350" y="632"/>
                  </a:lnTo>
                  <a:lnTo>
                    <a:pt x="352" y="632"/>
                  </a:lnTo>
                  <a:lnTo>
                    <a:pt x="352" y="632"/>
                  </a:lnTo>
                  <a:lnTo>
                    <a:pt x="354" y="634"/>
                  </a:lnTo>
                  <a:lnTo>
                    <a:pt x="354" y="636"/>
                  </a:lnTo>
                  <a:lnTo>
                    <a:pt x="354" y="638"/>
                  </a:lnTo>
                  <a:lnTo>
                    <a:pt x="356" y="638"/>
                  </a:lnTo>
                  <a:lnTo>
                    <a:pt x="356" y="638"/>
                  </a:lnTo>
                  <a:lnTo>
                    <a:pt x="358" y="638"/>
                  </a:lnTo>
                  <a:lnTo>
                    <a:pt x="358" y="638"/>
                  </a:lnTo>
                  <a:lnTo>
                    <a:pt x="359" y="638"/>
                  </a:lnTo>
                  <a:lnTo>
                    <a:pt x="359" y="638"/>
                  </a:lnTo>
                  <a:lnTo>
                    <a:pt x="361" y="636"/>
                  </a:lnTo>
                  <a:lnTo>
                    <a:pt x="361" y="636"/>
                  </a:lnTo>
                  <a:lnTo>
                    <a:pt x="361" y="636"/>
                  </a:lnTo>
                  <a:lnTo>
                    <a:pt x="363" y="634"/>
                  </a:lnTo>
                  <a:lnTo>
                    <a:pt x="363" y="634"/>
                  </a:lnTo>
                  <a:lnTo>
                    <a:pt x="363" y="634"/>
                  </a:lnTo>
                  <a:lnTo>
                    <a:pt x="365" y="634"/>
                  </a:lnTo>
                  <a:lnTo>
                    <a:pt x="368" y="632"/>
                  </a:lnTo>
                  <a:lnTo>
                    <a:pt x="370" y="632"/>
                  </a:lnTo>
                  <a:lnTo>
                    <a:pt x="372" y="634"/>
                  </a:lnTo>
                  <a:lnTo>
                    <a:pt x="372" y="634"/>
                  </a:lnTo>
                  <a:lnTo>
                    <a:pt x="376" y="636"/>
                  </a:lnTo>
                  <a:lnTo>
                    <a:pt x="378" y="636"/>
                  </a:lnTo>
                  <a:lnTo>
                    <a:pt x="378" y="636"/>
                  </a:lnTo>
                  <a:lnTo>
                    <a:pt x="378" y="638"/>
                  </a:lnTo>
                  <a:lnTo>
                    <a:pt x="379" y="638"/>
                  </a:lnTo>
                  <a:lnTo>
                    <a:pt x="379" y="640"/>
                  </a:lnTo>
                  <a:lnTo>
                    <a:pt x="381" y="640"/>
                  </a:lnTo>
                  <a:lnTo>
                    <a:pt x="381" y="640"/>
                  </a:lnTo>
                  <a:lnTo>
                    <a:pt x="383" y="640"/>
                  </a:lnTo>
                  <a:lnTo>
                    <a:pt x="383" y="640"/>
                  </a:lnTo>
                  <a:lnTo>
                    <a:pt x="383" y="640"/>
                  </a:lnTo>
                  <a:lnTo>
                    <a:pt x="383" y="638"/>
                  </a:lnTo>
                  <a:lnTo>
                    <a:pt x="385" y="638"/>
                  </a:lnTo>
                  <a:lnTo>
                    <a:pt x="385" y="638"/>
                  </a:lnTo>
                  <a:lnTo>
                    <a:pt x="387" y="638"/>
                  </a:lnTo>
                  <a:lnTo>
                    <a:pt x="388" y="640"/>
                  </a:lnTo>
                  <a:lnTo>
                    <a:pt x="390" y="640"/>
                  </a:lnTo>
                  <a:lnTo>
                    <a:pt x="390" y="638"/>
                  </a:lnTo>
                  <a:lnTo>
                    <a:pt x="388" y="638"/>
                  </a:lnTo>
                  <a:lnTo>
                    <a:pt x="388" y="636"/>
                  </a:lnTo>
                  <a:lnTo>
                    <a:pt x="388" y="636"/>
                  </a:lnTo>
                  <a:lnTo>
                    <a:pt x="390" y="634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6" y="634"/>
                  </a:lnTo>
                  <a:lnTo>
                    <a:pt x="396" y="634"/>
                  </a:lnTo>
                  <a:lnTo>
                    <a:pt x="397" y="634"/>
                  </a:lnTo>
                  <a:lnTo>
                    <a:pt x="397" y="632"/>
                  </a:lnTo>
                  <a:lnTo>
                    <a:pt x="399" y="631"/>
                  </a:lnTo>
                  <a:lnTo>
                    <a:pt x="399" y="631"/>
                  </a:lnTo>
                  <a:lnTo>
                    <a:pt x="401" y="631"/>
                  </a:lnTo>
                  <a:lnTo>
                    <a:pt x="401" y="631"/>
                  </a:lnTo>
                  <a:lnTo>
                    <a:pt x="403" y="631"/>
                  </a:lnTo>
                  <a:lnTo>
                    <a:pt x="405" y="631"/>
                  </a:lnTo>
                  <a:lnTo>
                    <a:pt x="406" y="631"/>
                  </a:lnTo>
                  <a:lnTo>
                    <a:pt x="406" y="631"/>
                  </a:lnTo>
                  <a:lnTo>
                    <a:pt x="408" y="631"/>
                  </a:lnTo>
                  <a:lnTo>
                    <a:pt x="408" y="631"/>
                  </a:lnTo>
                  <a:lnTo>
                    <a:pt x="408" y="631"/>
                  </a:lnTo>
                  <a:lnTo>
                    <a:pt x="408" y="632"/>
                  </a:lnTo>
                  <a:lnTo>
                    <a:pt x="410" y="632"/>
                  </a:lnTo>
                  <a:lnTo>
                    <a:pt x="410" y="632"/>
                  </a:lnTo>
                  <a:lnTo>
                    <a:pt x="410" y="632"/>
                  </a:lnTo>
                  <a:lnTo>
                    <a:pt x="412" y="632"/>
                  </a:lnTo>
                  <a:lnTo>
                    <a:pt x="414" y="632"/>
                  </a:lnTo>
                  <a:lnTo>
                    <a:pt x="415" y="632"/>
                  </a:lnTo>
                  <a:lnTo>
                    <a:pt x="415" y="632"/>
                  </a:lnTo>
                  <a:lnTo>
                    <a:pt x="415" y="631"/>
                  </a:lnTo>
                  <a:lnTo>
                    <a:pt x="414" y="629"/>
                  </a:lnTo>
                  <a:lnTo>
                    <a:pt x="414" y="629"/>
                  </a:lnTo>
                  <a:lnTo>
                    <a:pt x="414" y="629"/>
                  </a:lnTo>
                  <a:lnTo>
                    <a:pt x="414" y="627"/>
                  </a:lnTo>
                  <a:lnTo>
                    <a:pt x="414" y="627"/>
                  </a:lnTo>
                  <a:lnTo>
                    <a:pt x="414" y="627"/>
                  </a:lnTo>
                  <a:lnTo>
                    <a:pt x="412" y="625"/>
                  </a:lnTo>
                  <a:lnTo>
                    <a:pt x="410" y="625"/>
                  </a:lnTo>
                  <a:lnTo>
                    <a:pt x="410" y="625"/>
                  </a:lnTo>
                  <a:lnTo>
                    <a:pt x="408" y="623"/>
                  </a:lnTo>
                  <a:lnTo>
                    <a:pt x="408" y="622"/>
                  </a:lnTo>
                  <a:lnTo>
                    <a:pt x="408" y="620"/>
                  </a:lnTo>
                  <a:lnTo>
                    <a:pt x="408" y="616"/>
                  </a:lnTo>
                  <a:lnTo>
                    <a:pt x="408" y="613"/>
                  </a:lnTo>
                  <a:lnTo>
                    <a:pt x="408" y="611"/>
                  </a:lnTo>
                  <a:lnTo>
                    <a:pt x="408" y="609"/>
                  </a:lnTo>
                  <a:lnTo>
                    <a:pt x="408" y="605"/>
                  </a:lnTo>
                  <a:lnTo>
                    <a:pt x="410" y="600"/>
                  </a:lnTo>
                  <a:lnTo>
                    <a:pt x="410" y="598"/>
                  </a:lnTo>
                  <a:lnTo>
                    <a:pt x="408" y="598"/>
                  </a:lnTo>
                  <a:lnTo>
                    <a:pt x="408" y="598"/>
                  </a:lnTo>
                  <a:lnTo>
                    <a:pt x="408" y="596"/>
                  </a:lnTo>
                  <a:lnTo>
                    <a:pt x="410" y="595"/>
                  </a:lnTo>
                  <a:lnTo>
                    <a:pt x="410" y="593"/>
                  </a:lnTo>
                  <a:lnTo>
                    <a:pt x="410" y="593"/>
                  </a:lnTo>
                  <a:lnTo>
                    <a:pt x="410" y="591"/>
                  </a:lnTo>
                  <a:lnTo>
                    <a:pt x="412" y="589"/>
                  </a:lnTo>
                  <a:lnTo>
                    <a:pt x="412" y="587"/>
                  </a:lnTo>
                  <a:lnTo>
                    <a:pt x="412" y="587"/>
                  </a:lnTo>
                  <a:lnTo>
                    <a:pt x="414" y="586"/>
                  </a:lnTo>
                  <a:lnTo>
                    <a:pt x="414" y="586"/>
                  </a:lnTo>
                  <a:lnTo>
                    <a:pt x="415" y="584"/>
                  </a:lnTo>
                  <a:lnTo>
                    <a:pt x="415" y="582"/>
                  </a:lnTo>
                  <a:lnTo>
                    <a:pt x="415" y="582"/>
                  </a:lnTo>
                  <a:lnTo>
                    <a:pt x="417" y="582"/>
                  </a:lnTo>
                  <a:lnTo>
                    <a:pt x="417" y="580"/>
                  </a:lnTo>
                  <a:lnTo>
                    <a:pt x="417" y="580"/>
                  </a:lnTo>
                  <a:lnTo>
                    <a:pt x="419" y="578"/>
                  </a:lnTo>
                  <a:lnTo>
                    <a:pt x="423" y="576"/>
                  </a:lnTo>
                  <a:lnTo>
                    <a:pt x="426" y="575"/>
                  </a:lnTo>
                  <a:lnTo>
                    <a:pt x="428" y="575"/>
                  </a:lnTo>
                  <a:lnTo>
                    <a:pt x="430" y="575"/>
                  </a:lnTo>
                  <a:lnTo>
                    <a:pt x="432" y="575"/>
                  </a:lnTo>
                  <a:lnTo>
                    <a:pt x="432" y="575"/>
                  </a:lnTo>
                  <a:lnTo>
                    <a:pt x="435" y="569"/>
                  </a:lnTo>
                  <a:lnTo>
                    <a:pt x="437" y="569"/>
                  </a:lnTo>
                  <a:lnTo>
                    <a:pt x="444" y="566"/>
                  </a:lnTo>
                  <a:lnTo>
                    <a:pt x="453" y="558"/>
                  </a:lnTo>
                  <a:lnTo>
                    <a:pt x="453" y="557"/>
                  </a:lnTo>
                  <a:lnTo>
                    <a:pt x="457" y="557"/>
                  </a:lnTo>
                  <a:lnTo>
                    <a:pt x="459" y="557"/>
                  </a:lnTo>
                  <a:lnTo>
                    <a:pt x="462" y="557"/>
                  </a:lnTo>
                  <a:lnTo>
                    <a:pt x="462" y="557"/>
                  </a:lnTo>
                  <a:lnTo>
                    <a:pt x="462" y="558"/>
                  </a:lnTo>
                  <a:lnTo>
                    <a:pt x="462" y="558"/>
                  </a:lnTo>
                  <a:lnTo>
                    <a:pt x="462" y="560"/>
                  </a:lnTo>
                  <a:lnTo>
                    <a:pt x="464" y="562"/>
                  </a:lnTo>
                  <a:lnTo>
                    <a:pt x="466" y="562"/>
                  </a:lnTo>
                  <a:lnTo>
                    <a:pt x="466" y="562"/>
                  </a:lnTo>
                  <a:lnTo>
                    <a:pt x="477" y="564"/>
                  </a:lnTo>
                  <a:lnTo>
                    <a:pt x="482" y="562"/>
                  </a:lnTo>
                  <a:lnTo>
                    <a:pt x="484" y="564"/>
                  </a:lnTo>
                  <a:lnTo>
                    <a:pt x="486" y="564"/>
                  </a:lnTo>
                  <a:lnTo>
                    <a:pt x="486" y="566"/>
                  </a:lnTo>
                  <a:lnTo>
                    <a:pt x="486" y="566"/>
                  </a:lnTo>
                  <a:lnTo>
                    <a:pt x="484" y="567"/>
                  </a:lnTo>
                  <a:lnTo>
                    <a:pt x="484" y="569"/>
                  </a:lnTo>
                  <a:lnTo>
                    <a:pt x="486" y="569"/>
                  </a:lnTo>
                  <a:lnTo>
                    <a:pt x="489" y="571"/>
                  </a:lnTo>
                  <a:lnTo>
                    <a:pt x="497" y="571"/>
                  </a:lnTo>
                  <a:lnTo>
                    <a:pt x="497" y="571"/>
                  </a:lnTo>
                  <a:lnTo>
                    <a:pt x="499" y="569"/>
                  </a:lnTo>
                  <a:lnTo>
                    <a:pt x="497" y="567"/>
                  </a:lnTo>
                  <a:lnTo>
                    <a:pt x="495" y="567"/>
                  </a:lnTo>
                  <a:lnTo>
                    <a:pt x="493" y="566"/>
                  </a:lnTo>
                  <a:lnTo>
                    <a:pt x="493" y="562"/>
                  </a:lnTo>
                  <a:lnTo>
                    <a:pt x="493" y="558"/>
                  </a:lnTo>
                  <a:lnTo>
                    <a:pt x="493" y="557"/>
                  </a:lnTo>
                  <a:lnTo>
                    <a:pt x="491" y="555"/>
                  </a:lnTo>
                  <a:lnTo>
                    <a:pt x="491" y="555"/>
                  </a:lnTo>
                  <a:lnTo>
                    <a:pt x="491" y="555"/>
                  </a:lnTo>
                  <a:lnTo>
                    <a:pt x="493" y="557"/>
                  </a:lnTo>
                  <a:lnTo>
                    <a:pt x="493" y="557"/>
                  </a:lnTo>
                  <a:lnTo>
                    <a:pt x="493" y="558"/>
                  </a:lnTo>
                  <a:lnTo>
                    <a:pt x="493" y="560"/>
                  </a:lnTo>
                  <a:lnTo>
                    <a:pt x="493" y="564"/>
                  </a:lnTo>
                  <a:lnTo>
                    <a:pt x="495" y="566"/>
                  </a:lnTo>
                  <a:lnTo>
                    <a:pt x="497" y="567"/>
                  </a:lnTo>
                  <a:lnTo>
                    <a:pt x="499" y="567"/>
                  </a:lnTo>
                  <a:lnTo>
                    <a:pt x="499" y="569"/>
                  </a:lnTo>
                  <a:lnTo>
                    <a:pt x="499" y="571"/>
                  </a:lnTo>
                  <a:lnTo>
                    <a:pt x="500" y="569"/>
                  </a:lnTo>
                  <a:lnTo>
                    <a:pt x="502" y="569"/>
                  </a:lnTo>
                  <a:lnTo>
                    <a:pt x="500" y="569"/>
                  </a:lnTo>
                  <a:lnTo>
                    <a:pt x="500" y="567"/>
                  </a:lnTo>
                  <a:lnTo>
                    <a:pt x="499" y="567"/>
                  </a:lnTo>
                  <a:lnTo>
                    <a:pt x="499" y="567"/>
                  </a:lnTo>
                  <a:lnTo>
                    <a:pt x="500" y="566"/>
                  </a:lnTo>
                  <a:lnTo>
                    <a:pt x="500" y="566"/>
                  </a:lnTo>
                  <a:lnTo>
                    <a:pt x="502" y="566"/>
                  </a:lnTo>
                  <a:lnTo>
                    <a:pt x="502" y="564"/>
                  </a:lnTo>
                  <a:lnTo>
                    <a:pt x="502" y="564"/>
                  </a:lnTo>
                  <a:lnTo>
                    <a:pt x="506" y="566"/>
                  </a:lnTo>
                  <a:lnTo>
                    <a:pt x="506" y="566"/>
                  </a:lnTo>
                  <a:lnTo>
                    <a:pt x="508" y="566"/>
                  </a:lnTo>
                  <a:lnTo>
                    <a:pt x="509" y="564"/>
                  </a:lnTo>
                  <a:lnTo>
                    <a:pt x="509" y="564"/>
                  </a:lnTo>
                  <a:lnTo>
                    <a:pt x="509" y="562"/>
                  </a:lnTo>
                  <a:lnTo>
                    <a:pt x="508" y="560"/>
                  </a:lnTo>
                  <a:lnTo>
                    <a:pt x="508" y="560"/>
                  </a:lnTo>
                  <a:lnTo>
                    <a:pt x="508" y="560"/>
                  </a:lnTo>
                  <a:lnTo>
                    <a:pt x="508" y="558"/>
                  </a:lnTo>
                  <a:lnTo>
                    <a:pt x="508" y="558"/>
                  </a:lnTo>
                  <a:lnTo>
                    <a:pt x="508" y="557"/>
                  </a:lnTo>
                  <a:lnTo>
                    <a:pt x="508" y="557"/>
                  </a:lnTo>
                  <a:lnTo>
                    <a:pt x="508" y="557"/>
                  </a:lnTo>
                  <a:lnTo>
                    <a:pt x="508" y="557"/>
                  </a:lnTo>
                  <a:lnTo>
                    <a:pt x="509" y="557"/>
                  </a:lnTo>
                  <a:lnTo>
                    <a:pt x="509" y="557"/>
                  </a:lnTo>
                  <a:lnTo>
                    <a:pt x="511" y="557"/>
                  </a:lnTo>
                  <a:lnTo>
                    <a:pt x="511" y="557"/>
                  </a:lnTo>
                  <a:lnTo>
                    <a:pt x="511" y="558"/>
                  </a:lnTo>
                  <a:lnTo>
                    <a:pt x="513" y="558"/>
                  </a:lnTo>
                  <a:lnTo>
                    <a:pt x="513" y="558"/>
                  </a:lnTo>
                  <a:lnTo>
                    <a:pt x="513" y="560"/>
                  </a:lnTo>
                  <a:lnTo>
                    <a:pt x="513" y="560"/>
                  </a:lnTo>
                  <a:lnTo>
                    <a:pt x="515" y="560"/>
                  </a:lnTo>
                  <a:lnTo>
                    <a:pt x="517" y="560"/>
                  </a:lnTo>
                  <a:lnTo>
                    <a:pt x="518" y="560"/>
                  </a:lnTo>
                  <a:lnTo>
                    <a:pt x="518" y="562"/>
                  </a:lnTo>
                  <a:lnTo>
                    <a:pt x="517" y="562"/>
                  </a:lnTo>
                  <a:lnTo>
                    <a:pt x="517" y="564"/>
                  </a:lnTo>
                  <a:lnTo>
                    <a:pt x="515" y="566"/>
                  </a:lnTo>
                  <a:lnTo>
                    <a:pt x="515" y="566"/>
                  </a:lnTo>
                  <a:lnTo>
                    <a:pt x="509" y="566"/>
                  </a:lnTo>
                  <a:lnTo>
                    <a:pt x="508" y="566"/>
                  </a:lnTo>
                  <a:lnTo>
                    <a:pt x="508" y="567"/>
                  </a:lnTo>
                  <a:lnTo>
                    <a:pt x="508" y="569"/>
                  </a:lnTo>
                  <a:lnTo>
                    <a:pt x="508" y="571"/>
                  </a:lnTo>
                  <a:lnTo>
                    <a:pt x="509" y="571"/>
                  </a:lnTo>
                  <a:lnTo>
                    <a:pt x="513" y="571"/>
                  </a:lnTo>
                  <a:lnTo>
                    <a:pt x="515" y="571"/>
                  </a:lnTo>
                  <a:lnTo>
                    <a:pt x="518" y="571"/>
                  </a:lnTo>
                  <a:lnTo>
                    <a:pt x="522" y="569"/>
                  </a:lnTo>
                  <a:lnTo>
                    <a:pt x="524" y="571"/>
                  </a:lnTo>
                  <a:lnTo>
                    <a:pt x="524" y="573"/>
                  </a:lnTo>
                  <a:lnTo>
                    <a:pt x="524" y="575"/>
                  </a:lnTo>
                  <a:lnTo>
                    <a:pt x="524" y="575"/>
                  </a:lnTo>
                  <a:lnTo>
                    <a:pt x="526" y="576"/>
                  </a:lnTo>
                  <a:lnTo>
                    <a:pt x="524" y="576"/>
                  </a:lnTo>
                  <a:lnTo>
                    <a:pt x="524" y="578"/>
                  </a:lnTo>
                  <a:lnTo>
                    <a:pt x="524" y="578"/>
                  </a:lnTo>
                  <a:lnTo>
                    <a:pt x="524" y="580"/>
                  </a:lnTo>
                  <a:lnTo>
                    <a:pt x="526" y="580"/>
                  </a:lnTo>
                  <a:lnTo>
                    <a:pt x="526" y="580"/>
                  </a:lnTo>
                  <a:lnTo>
                    <a:pt x="527" y="580"/>
                  </a:lnTo>
                  <a:lnTo>
                    <a:pt x="529" y="580"/>
                  </a:lnTo>
                  <a:lnTo>
                    <a:pt x="529" y="580"/>
                  </a:lnTo>
                  <a:lnTo>
                    <a:pt x="531" y="580"/>
                  </a:lnTo>
                  <a:lnTo>
                    <a:pt x="533" y="580"/>
                  </a:lnTo>
                  <a:lnTo>
                    <a:pt x="533" y="580"/>
                  </a:lnTo>
                  <a:lnTo>
                    <a:pt x="533" y="580"/>
                  </a:lnTo>
                  <a:lnTo>
                    <a:pt x="535" y="580"/>
                  </a:lnTo>
                  <a:lnTo>
                    <a:pt x="535" y="582"/>
                  </a:lnTo>
                  <a:lnTo>
                    <a:pt x="535" y="582"/>
                  </a:lnTo>
                  <a:lnTo>
                    <a:pt x="536" y="582"/>
                  </a:lnTo>
                  <a:lnTo>
                    <a:pt x="536" y="584"/>
                  </a:lnTo>
                  <a:lnTo>
                    <a:pt x="538" y="582"/>
                  </a:lnTo>
                  <a:lnTo>
                    <a:pt x="538" y="582"/>
                  </a:lnTo>
                  <a:lnTo>
                    <a:pt x="540" y="582"/>
                  </a:lnTo>
                  <a:lnTo>
                    <a:pt x="540" y="582"/>
                  </a:lnTo>
                  <a:lnTo>
                    <a:pt x="542" y="582"/>
                  </a:lnTo>
                  <a:lnTo>
                    <a:pt x="542" y="584"/>
                  </a:lnTo>
                  <a:lnTo>
                    <a:pt x="544" y="586"/>
                  </a:lnTo>
                  <a:lnTo>
                    <a:pt x="545" y="586"/>
                  </a:lnTo>
                  <a:lnTo>
                    <a:pt x="545" y="586"/>
                  </a:lnTo>
                  <a:lnTo>
                    <a:pt x="545" y="586"/>
                  </a:lnTo>
                  <a:lnTo>
                    <a:pt x="545" y="586"/>
                  </a:lnTo>
                  <a:lnTo>
                    <a:pt x="547" y="587"/>
                  </a:lnTo>
                  <a:lnTo>
                    <a:pt x="547" y="587"/>
                  </a:lnTo>
                  <a:lnTo>
                    <a:pt x="547" y="587"/>
                  </a:lnTo>
                  <a:lnTo>
                    <a:pt x="547" y="587"/>
                  </a:lnTo>
                  <a:lnTo>
                    <a:pt x="545" y="589"/>
                  </a:lnTo>
                  <a:lnTo>
                    <a:pt x="545" y="589"/>
                  </a:lnTo>
                  <a:lnTo>
                    <a:pt x="547" y="591"/>
                  </a:lnTo>
                  <a:lnTo>
                    <a:pt x="549" y="591"/>
                  </a:lnTo>
                  <a:lnTo>
                    <a:pt x="551" y="589"/>
                  </a:lnTo>
                  <a:lnTo>
                    <a:pt x="551" y="589"/>
                  </a:lnTo>
                  <a:lnTo>
                    <a:pt x="553" y="589"/>
                  </a:lnTo>
                  <a:lnTo>
                    <a:pt x="554" y="589"/>
                  </a:lnTo>
                  <a:lnTo>
                    <a:pt x="554" y="589"/>
                  </a:lnTo>
                  <a:lnTo>
                    <a:pt x="553" y="587"/>
                  </a:lnTo>
                  <a:lnTo>
                    <a:pt x="553" y="587"/>
                  </a:lnTo>
                  <a:lnTo>
                    <a:pt x="551" y="586"/>
                  </a:lnTo>
                  <a:lnTo>
                    <a:pt x="551" y="586"/>
                  </a:lnTo>
                  <a:lnTo>
                    <a:pt x="553" y="586"/>
                  </a:lnTo>
                  <a:lnTo>
                    <a:pt x="553" y="586"/>
                  </a:lnTo>
                  <a:lnTo>
                    <a:pt x="554" y="586"/>
                  </a:lnTo>
                  <a:lnTo>
                    <a:pt x="553" y="586"/>
                  </a:lnTo>
                  <a:lnTo>
                    <a:pt x="553" y="586"/>
                  </a:lnTo>
                  <a:lnTo>
                    <a:pt x="553" y="586"/>
                  </a:lnTo>
                  <a:lnTo>
                    <a:pt x="554" y="587"/>
                  </a:lnTo>
                  <a:lnTo>
                    <a:pt x="556" y="587"/>
                  </a:lnTo>
                  <a:lnTo>
                    <a:pt x="558" y="587"/>
                  </a:lnTo>
                  <a:lnTo>
                    <a:pt x="558" y="589"/>
                  </a:lnTo>
                  <a:lnTo>
                    <a:pt x="558" y="589"/>
                  </a:lnTo>
                  <a:lnTo>
                    <a:pt x="562" y="589"/>
                  </a:lnTo>
                  <a:lnTo>
                    <a:pt x="562" y="589"/>
                  </a:lnTo>
                  <a:lnTo>
                    <a:pt x="564" y="589"/>
                  </a:lnTo>
                  <a:lnTo>
                    <a:pt x="564" y="591"/>
                  </a:lnTo>
                  <a:lnTo>
                    <a:pt x="564" y="591"/>
                  </a:lnTo>
                  <a:lnTo>
                    <a:pt x="562" y="591"/>
                  </a:lnTo>
                  <a:lnTo>
                    <a:pt x="562" y="591"/>
                  </a:lnTo>
                  <a:lnTo>
                    <a:pt x="562" y="593"/>
                  </a:lnTo>
                  <a:lnTo>
                    <a:pt x="564" y="591"/>
                  </a:lnTo>
                  <a:lnTo>
                    <a:pt x="565" y="591"/>
                  </a:lnTo>
                  <a:lnTo>
                    <a:pt x="565" y="591"/>
                  </a:lnTo>
                  <a:lnTo>
                    <a:pt x="565" y="591"/>
                  </a:lnTo>
                  <a:lnTo>
                    <a:pt x="564" y="591"/>
                  </a:lnTo>
                  <a:lnTo>
                    <a:pt x="564" y="589"/>
                  </a:lnTo>
                  <a:lnTo>
                    <a:pt x="565" y="587"/>
                  </a:lnTo>
                  <a:lnTo>
                    <a:pt x="565" y="587"/>
                  </a:lnTo>
                  <a:lnTo>
                    <a:pt x="567" y="587"/>
                  </a:lnTo>
                  <a:lnTo>
                    <a:pt x="567" y="586"/>
                  </a:lnTo>
                  <a:lnTo>
                    <a:pt x="569" y="586"/>
                  </a:lnTo>
                  <a:lnTo>
                    <a:pt x="571" y="586"/>
                  </a:lnTo>
                  <a:lnTo>
                    <a:pt x="573" y="587"/>
                  </a:lnTo>
                  <a:lnTo>
                    <a:pt x="573" y="587"/>
                  </a:lnTo>
                  <a:lnTo>
                    <a:pt x="573" y="587"/>
                  </a:lnTo>
                  <a:lnTo>
                    <a:pt x="574" y="587"/>
                  </a:lnTo>
                  <a:lnTo>
                    <a:pt x="576" y="587"/>
                  </a:lnTo>
                  <a:lnTo>
                    <a:pt x="574" y="587"/>
                  </a:lnTo>
                  <a:lnTo>
                    <a:pt x="574" y="586"/>
                  </a:lnTo>
                  <a:lnTo>
                    <a:pt x="576" y="586"/>
                  </a:lnTo>
                  <a:lnTo>
                    <a:pt x="576" y="584"/>
                  </a:lnTo>
                  <a:lnTo>
                    <a:pt x="578" y="584"/>
                  </a:lnTo>
                  <a:lnTo>
                    <a:pt x="580" y="584"/>
                  </a:lnTo>
                  <a:lnTo>
                    <a:pt x="580" y="584"/>
                  </a:lnTo>
                  <a:lnTo>
                    <a:pt x="582" y="584"/>
                  </a:lnTo>
                  <a:lnTo>
                    <a:pt x="583" y="584"/>
                  </a:lnTo>
                  <a:lnTo>
                    <a:pt x="583" y="582"/>
                  </a:lnTo>
                  <a:lnTo>
                    <a:pt x="583" y="582"/>
                  </a:lnTo>
                  <a:lnTo>
                    <a:pt x="585" y="582"/>
                  </a:lnTo>
                  <a:lnTo>
                    <a:pt x="585" y="582"/>
                  </a:lnTo>
                  <a:lnTo>
                    <a:pt x="587" y="582"/>
                  </a:lnTo>
                  <a:lnTo>
                    <a:pt x="587" y="582"/>
                  </a:lnTo>
                  <a:lnTo>
                    <a:pt x="587" y="582"/>
                  </a:lnTo>
                  <a:lnTo>
                    <a:pt x="587" y="582"/>
                  </a:lnTo>
                  <a:lnTo>
                    <a:pt x="589" y="582"/>
                  </a:lnTo>
                  <a:lnTo>
                    <a:pt x="589" y="582"/>
                  </a:lnTo>
                  <a:lnTo>
                    <a:pt x="591" y="582"/>
                  </a:lnTo>
                  <a:lnTo>
                    <a:pt x="591" y="580"/>
                  </a:lnTo>
                  <a:lnTo>
                    <a:pt x="591" y="580"/>
                  </a:lnTo>
                  <a:lnTo>
                    <a:pt x="591" y="578"/>
                  </a:lnTo>
                  <a:lnTo>
                    <a:pt x="591" y="578"/>
                  </a:lnTo>
                  <a:lnTo>
                    <a:pt x="591" y="576"/>
                  </a:lnTo>
                  <a:lnTo>
                    <a:pt x="592" y="576"/>
                  </a:lnTo>
                  <a:lnTo>
                    <a:pt x="591" y="575"/>
                  </a:lnTo>
                  <a:lnTo>
                    <a:pt x="591" y="575"/>
                  </a:lnTo>
                  <a:lnTo>
                    <a:pt x="587" y="576"/>
                  </a:lnTo>
                  <a:lnTo>
                    <a:pt x="587" y="576"/>
                  </a:lnTo>
                  <a:lnTo>
                    <a:pt x="587" y="575"/>
                  </a:lnTo>
                  <a:lnTo>
                    <a:pt x="589" y="575"/>
                  </a:lnTo>
                  <a:lnTo>
                    <a:pt x="589" y="573"/>
                  </a:lnTo>
                  <a:lnTo>
                    <a:pt x="591" y="573"/>
                  </a:lnTo>
                  <a:lnTo>
                    <a:pt x="591" y="571"/>
                  </a:lnTo>
                  <a:lnTo>
                    <a:pt x="591" y="571"/>
                  </a:lnTo>
                  <a:lnTo>
                    <a:pt x="591" y="571"/>
                  </a:lnTo>
                  <a:lnTo>
                    <a:pt x="592" y="569"/>
                  </a:lnTo>
                  <a:lnTo>
                    <a:pt x="592" y="569"/>
                  </a:lnTo>
                  <a:lnTo>
                    <a:pt x="594" y="567"/>
                  </a:lnTo>
                  <a:lnTo>
                    <a:pt x="592" y="566"/>
                  </a:lnTo>
                  <a:lnTo>
                    <a:pt x="594" y="566"/>
                  </a:lnTo>
                  <a:lnTo>
                    <a:pt x="594" y="566"/>
                  </a:lnTo>
                  <a:lnTo>
                    <a:pt x="596" y="566"/>
                  </a:lnTo>
                  <a:lnTo>
                    <a:pt x="596" y="566"/>
                  </a:lnTo>
                  <a:lnTo>
                    <a:pt x="598" y="566"/>
                  </a:lnTo>
                  <a:lnTo>
                    <a:pt x="598" y="566"/>
                  </a:lnTo>
                  <a:lnTo>
                    <a:pt x="600" y="566"/>
                  </a:lnTo>
                  <a:lnTo>
                    <a:pt x="600" y="566"/>
                  </a:lnTo>
                  <a:lnTo>
                    <a:pt x="600" y="564"/>
                  </a:lnTo>
                  <a:lnTo>
                    <a:pt x="600" y="564"/>
                  </a:lnTo>
                  <a:lnTo>
                    <a:pt x="600" y="564"/>
                  </a:lnTo>
                  <a:lnTo>
                    <a:pt x="600" y="564"/>
                  </a:lnTo>
                  <a:lnTo>
                    <a:pt x="600" y="564"/>
                  </a:lnTo>
                  <a:lnTo>
                    <a:pt x="600" y="566"/>
                  </a:lnTo>
                  <a:lnTo>
                    <a:pt x="601" y="566"/>
                  </a:lnTo>
                  <a:lnTo>
                    <a:pt x="601" y="564"/>
                  </a:lnTo>
                  <a:lnTo>
                    <a:pt x="603" y="564"/>
                  </a:lnTo>
                  <a:lnTo>
                    <a:pt x="603" y="562"/>
                  </a:lnTo>
                  <a:lnTo>
                    <a:pt x="605" y="560"/>
                  </a:lnTo>
                  <a:lnTo>
                    <a:pt x="605" y="560"/>
                  </a:lnTo>
                  <a:lnTo>
                    <a:pt x="605" y="560"/>
                  </a:lnTo>
                  <a:lnTo>
                    <a:pt x="605" y="558"/>
                  </a:lnTo>
                  <a:lnTo>
                    <a:pt x="603" y="558"/>
                  </a:lnTo>
                  <a:lnTo>
                    <a:pt x="603" y="558"/>
                  </a:lnTo>
                  <a:lnTo>
                    <a:pt x="605" y="557"/>
                  </a:lnTo>
                  <a:lnTo>
                    <a:pt x="605" y="557"/>
                  </a:lnTo>
                  <a:lnTo>
                    <a:pt x="607" y="557"/>
                  </a:lnTo>
                  <a:lnTo>
                    <a:pt x="607" y="557"/>
                  </a:lnTo>
                  <a:lnTo>
                    <a:pt x="609" y="557"/>
                  </a:lnTo>
                  <a:lnTo>
                    <a:pt x="609" y="557"/>
                  </a:lnTo>
                  <a:lnTo>
                    <a:pt x="609" y="557"/>
                  </a:lnTo>
                  <a:lnTo>
                    <a:pt x="610" y="557"/>
                  </a:lnTo>
                  <a:lnTo>
                    <a:pt x="610" y="555"/>
                  </a:lnTo>
                  <a:lnTo>
                    <a:pt x="610" y="555"/>
                  </a:lnTo>
                  <a:lnTo>
                    <a:pt x="612" y="555"/>
                  </a:lnTo>
                  <a:lnTo>
                    <a:pt x="612" y="555"/>
                  </a:lnTo>
                  <a:lnTo>
                    <a:pt x="612" y="557"/>
                  </a:lnTo>
                  <a:lnTo>
                    <a:pt x="614" y="557"/>
                  </a:lnTo>
                  <a:lnTo>
                    <a:pt x="614" y="555"/>
                  </a:lnTo>
                  <a:lnTo>
                    <a:pt x="614" y="555"/>
                  </a:lnTo>
                  <a:lnTo>
                    <a:pt x="614" y="555"/>
                  </a:lnTo>
                  <a:lnTo>
                    <a:pt x="612" y="553"/>
                  </a:lnTo>
                  <a:lnTo>
                    <a:pt x="614" y="551"/>
                  </a:lnTo>
                  <a:lnTo>
                    <a:pt x="614" y="549"/>
                  </a:lnTo>
                  <a:lnTo>
                    <a:pt x="614" y="549"/>
                  </a:lnTo>
                  <a:lnTo>
                    <a:pt x="614" y="549"/>
                  </a:lnTo>
                  <a:lnTo>
                    <a:pt x="614" y="549"/>
                  </a:lnTo>
                  <a:lnTo>
                    <a:pt x="616" y="549"/>
                  </a:lnTo>
                  <a:lnTo>
                    <a:pt x="616" y="549"/>
                  </a:lnTo>
                  <a:lnTo>
                    <a:pt x="618" y="549"/>
                  </a:lnTo>
                  <a:lnTo>
                    <a:pt x="618" y="549"/>
                  </a:lnTo>
                  <a:lnTo>
                    <a:pt x="618" y="549"/>
                  </a:lnTo>
                  <a:lnTo>
                    <a:pt x="618" y="548"/>
                  </a:lnTo>
                  <a:lnTo>
                    <a:pt x="620" y="548"/>
                  </a:lnTo>
                  <a:lnTo>
                    <a:pt x="620" y="546"/>
                  </a:lnTo>
                  <a:lnTo>
                    <a:pt x="621" y="546"/>
                  </a:lnTo>
                  <a:lnTo>
                    <a:pt x="621" y="548"/>
                  </a:lnTo>
                  <a:lnTo>
                    <a:pt x="623" y="548"/>
                  </a:lnTo>
                  <a:lnTo>
                    <a:pt x="623" y="548"/>
                  </a:lnTo>
                  <a:lnTo>
                    <a:pt x="623" y="546"/>
                  </a:lnTo>
                  <a:lnTo>
                    <a:pt x="623" y="546"/>
                  </a:lnTo>
                  <a:lnTo>
                    <a:pt x="625" y="546"/>
                  </a:lnTo>
                  <a:lnTo>
                    <a:pt x="625" y="544"/>
                  </a:lnTo>
                  <a:lnTo>
                    <a:pt x="625" y="544"/>
                  </a:lnTo>
                  <a:lnTo>
                    <a:pt x="625" y="542"/>
                  </a:lnTo>
                  <a:lnTo>
                    <a:pt x="627" y="542"/>
                  </a:lnTo>
                  <a:lnTo>
                    <a:pt x="627" y="542"/>
                  </a:lnTo>
                  <a:lnTo>
                    <a:pt x="629" y="542"/>
                  </a:lnTo>
                  <a:lnTo>
                    <a:pt x="629" y="542"/>
                  </a:lnTo>
                  <a:lnTo>
                    <a:pt x="629" y="542"/>
                  </a:lnTo>
                  <a:lnTo>
                    <a:pt x="630" y="542"/>
                  </a:lnTo>
                  <a:lnTo>
                    <a:pt x="630" y="542"/>
                  </a:lnTo>
                  <a:lnTo>
                    <a:pt x="630" y="542"/>
                  </a:lnTo>
                  <a:lnTo>
                    <a:pt x="630" y="542"/>
                  </a:lnTo>
                  <a:lnTo>
                    <a:pt x="630" y="542"/>
                  </a:lnTo>
                  <a:lnTo>
                    <a:pt x="630" y="540"/>
                  </a:lnTo>
                  <a:lnTo>
                    <a:pt x="630" y="540"/>
                  </a:lnTo>
                  <a:lnTo>
                    <a:pt x="630" y="540"/>
                  </a:lnTo>
                  <a:lnTo>
                    <a:pt x="630" y="540"/>
                  </a:lnTo>
                  <a:lnTo>
                    <a:pt x="630" y="540"/>
                  </a:lnTo>
                  <a:lnTo>
                    <a:pt x="632" y="540"/>
                  </a:lnTo>
                  <a:lnTo>
                    <a:pt x="630" y="537"/>
                  </a:lnTo>
                  <a:lnTo>
                    <a:pt x="630" y="535"/>
                  </a:lnTo>
                  <a:lnTo>
                    <a:pt x="632" y="533"/>
                  </a:lnTo>
                  <a:lnTo>
                    <a:pt x="634" y="531"/>
                  </a:lnTo>
                  <a:lnTo>
                    <a:pt x="634" y="530"/>
                  </a:lnTo>
                  <a:lnTo>
                    <a:pt x="638" y="528"/>
                  </a:lnTo>
                  <a:lnTo>
                    <a:pt x="638" y="526"/>
                  </a:lnTo>
                  <a:lnTo>
                    <a:pt x="639" y="524"/>
                  </a:lnTo>
                  <a:lnTo>
                    <a:pt x="639" y="524"/>
                  </a:lnTo>
                  <a:lnTo>
                    <a:pt x="639" y="522"/>
                  </a:lnTo>
                  <a:lnTo>
                    <a:pt x="639" y="522"/>
                  </a:lnTo>
                  <a:lnTo>
                    <a:pt x="641" y="520"/>
                  </a:lnTo>
                  <a:lnTo>
                    <a:pt x="641" y="520"/>
                  </a:lnTo>
                  <a:lnTo>
                    <a:pt x="641" y="519"/>
                  </a:lnTo>
                  <a:lnTo>
                    <a:pt x="641" y="519"/>
                  </a:lnTo>
                  <a:lnTo>
                    <a:pt x="641" y="517"/>
                  </a:lnTo>
                  <a:lnTo>
                    <a:pt x="639" y="517"/>
                  </a:lnTo>
                  <a:lnTo>
                    <a:pt x="639" y="515"/>
                  </a:lnTo>
                  <a:lnTo>
                    <a:pt x="639" y="513"/>
                  </a:lnTo>
                  <a:lnTo>
                    <a:pt x="638" y="513"/>
                  </a:lnTo>
                  <a:lnTo>
                    <a:pt x="636" y="513"/>
                  </a:lnTo>
                  <a:lnTo>
                    <a:pt x="634" y="515"/>
                  </a:lnTo>
                  <a:lnTo>
                    <a:pt x="625" y="517"/>
                  </a:lnTo>
                  <a:lnTo>
                    <a:pt x="623" y="517"/>
                  </a:lnTo>
                  <a:lnTo>
                    <a:pt x="623" y="517"/>
                  </a:lnTo>
                  <a:lnTo>
                    <a:pt x="623" y="517"/>
                  </a:lnTo>
                  <a:lnTo>
                    <a:pt x="623" y="515"/>
                  </a:lnTo>
                  <a:lnTo>
                    <a:pt x="621" y="515"/>
                  </a:lnTo>
                  <a:lnTo>
                    <a:pt x="621" y="515"/>
                  </a:lnTo>
                  <a:lnTo>
                    <a:pt x="620" y="515"/>
                  </a:lnTo>
                  <a:lnTo>
                    <a:pt x="620" y="515"/>
                  </a:lnTo>
                  <a:lnTo>
                    <a:pt x="614" y="511"/>
                  </a:lnTo>
                  <a:lnTo>
                    <a:pt x="612" y="510"/>
                  </a:lnTo>
                  <a:lnTo>
                    <a:pt x="609" y="508"/>
                  </a:lnTo>
                  <a:lnTo>
                    <a:pt x="609" y="508"/>
                  </a:lnTo>
                  <a:lnTo>
                    <a:pt x="607" y="508"/>
                  </a:lnTo>
                  <a:lnTo>
                    <a:pt x="607" y="508"/>
                  </a:lnTo>
                  <a:lnTo>
                    <a:pt x="607" y="510"/>
                  </a:lnTo>
                  <a:lnTo>
                    <a:pt x="605" y="508"/>
                  </a:lnTo>
                  <a:lnTo>
                    <a:pt x="605" y="508"/>
                  </a:lnTo>
                  <a:lnTo>
                    <a:pt x="605" y="508"/>
                  </a:lnTo>
                  <a:lnTo>
                    <a:pt x="605" y="506"/>
                  </a:lnTo>
                  <a:lnTo>
                    <a:pt x="605" y="506"/>
                  </a:lnTo>
                  <a:lnTo>
                    <a:pt x="605" y="506"/>
                  </a:lnTo>
                  <a:lnTo>
                    <a:pt x="603" y="504"/>
                  </a:lnTo>
                  <a:lnTo>
                    <a:pt x="603" y="504"/>
                  </a:lnTo>
                  <a:lnTo>
                    <a:pt x="603" y="504"/>
                  </a:lnTo>
                  <a:lnTo>
                    <a:pt x="601" y="502"/>
                  </a:lnTo>
                  <a:lnTo>
                    <a:pt x="601" y="502"/>
                  </a:lnTo>
                  <a:lnTo>
                    <a:pt x="600" y="501"/>
                  </a:lnTo>
                  <a:lnTo>
                    <a:pt x="600" y="501"/>
                  </a:lnTo>
                  <a:lnTo>
                    <a:pt x="600" y="499"/>
                  </a:lnTo>
                  <a:lnTo>
                    <a:pt x="600" y="499"/>
                  </a:lnTo>
                  <a:lnTo>
                    <a:pt x="600" y="499"/>
                  </a:lnTo>
                  <a:lnTo>
                    <a:pt x="601" y="497"/>
                  </a:lnTo>
                  <a:lnTo>
                    <a:pt x="601" y="495"/>
                  </a:lnTo>
                  <a:lnTo>
                    <a:pt x="603" y="495"/>
                  </a:lnTo>
                  <a:lnTo>
                    <a:pt x="601" y="493"/>
                  </a:lnTo>
                  <a:lnTo>
                    <a:pt x="600" y="492"/>
                  </a:lnTo>
                  <a:lnTo>
                    <a:pt x="598" y="490"/>
                  </a:lnTo>
                  <a:lnTo>
                    <a:pt x="598" y="488"/>
                  </a:lnTo>
                  <a:lnTo>
                    <a:pt x="600" y="488"/>
                  </a:lnTo>
                  <a:lnTo>
                    <a:pt x="601" y="484"/>
                  </a:lnTo>
                  <a:lnTo>
                    <a:pt x="603" y="483"/>
                  </a:lnTo>
                  <a:lnTo>
                    <a:pt x="603" y="483"/>
                  </a:lnTo>
                  <a:lnTo>
                    <a:pt x="603" y="481"/>
                  </a:lnTo>
                  <a:lnTo>
                    <a:pt x="603" y="479"/>
                  </a:lnTo>
                  <a:lnTo>
                    <a:pt x="605" y="477"/>
                  </a:lnTo>
                  <a:lnTo>
                    <a:pt x="605" y="477"/>
                  </a:lnTo>
                  <a:lnTo>
                    <a:pt x="607" y="477"/>
                  </a:lnTo>
                  <a:lnTo>
                    <a:pt x="609" y="477"/>
                  </a:lnTo>
                  <a:lnTo>
                    <a:pt x="609" y="477"/>
                  </a:lnTo>
                  <a:lnTo>
                    <a:pt x="609" y="477"/>
                  </a:lnTo>
                  <a:lnTo>
                    <a:pt x="607" y="474"/>
                  </a:lnTo>
                  <a:lnTo>
                    <a:pt x="607" y="474"/>
                  </a:lnTo>
                  <a:lnTo>
                    <a:pt x="607" y="472"/>
                  </a:lnTo>
                  <a:lnTo>
                    <a:pt x="607" y="470"/>
                  </a:lnTo>
                  <a:lnTo>
                    <a:pt x="607" y="470"/>
                  </a:lnTo>
                  <a:lnTo>
                    <a:pt x="607" y="468"/>
                  </a:lnTo>
                  <a:lnTo>
                    <a:pt x="607" y="468"/>
                  </a:lnTo>
                  <a:lnTo>
                    <a:pt x="607" y="468"/>
                  </a:lnTo>
                  <a:lnTo>
                    <a:pt x="607" y="468"/>
                  </a:lnTo>
                  <a:lnTo>
                    <a:pt x="607" y="468"/>
                  </a:lnTo>
                  <a:lnTo>
                    <a:pt x="607" y="468"/>
                  </a:lnTo>
                  <a:lnTo>
                    <a:pt x="607" y="466"/>
                  </a:lnTo>
                  <a:lnTo>
                    <a:pt x="605" y="466"/>
                  </a:lnTo>
                  <a:lnTo>
                    <a:pt x="603" y="464"/>
                  </a:lnTo>
                  <a:lnTo>
                    <a:pt x="603" y="464"/>
                  </a:lnTo>
                  <a:lnTo>
                    <a:pt x="600" y="466"/>
                  </a:lnTo>
                  <a:lnTo>
                    <a:pt x="600" y="464"/>
                  </a:lnTo>
                  <a:lnTo>
                    <a:pt x="596" y="463"/>
                  </a:lnTo>
                  <a:lnTo>
                    <a:pt x="594" y="463"/>
                  </a:lnTo>
                  <a:lnTo>
                    <a:pt x="592" y="461"/>
                  </a:lnTo>
                  <a:lnTo>
                    <a:pt x="592" y="457"/>
                  </a:lnTo>
                  <a:lnTo>
                    <a:pt x="592" y="454"/>
                  </a:lnTo>
                  <a:lnTo>
                    <a:pt x="592" y="454"/>
                  </a:lnTo>
                  <a:lnTo>
                    <a:pt x="591" y="454"/>
                  </a:lnTo>
                  <a:lnTo>
                    <a:pt x="589" y="454"/>
                  </a:lnTo>
                  <a:lnTo>
                    <a:pt x="589" y="452"/>
                  </a:lnTo>
                  <a:lnTo>
                    <a:pt x="589" y="452"/>
                  </a:lnTo>
                  <a:lnTo>
                    <a:pt x="589" y="450"/>
                  </a:lnTo>
                  <a:lnTo>
                    <a:pt x="589" y="450"/>
                  </a:lnTo>
                  <a:lnTo>
                    <a:pt x="587" y="450"/>
                  </a:lnTo>
                  <a:lnTo>
                    <a:pt x="587" y="448"/>
                  </a:lnTo>
                  <a:lnTo>
                    <a:pt x="587" y="446"/>
                  </a:lnTo>
                  <a:lnTo>
                    <a:pt x="589" y="446"/>
                  </a:lnTo>
                  <a:lnTo>
                    <a:pt x="589" y="446"/>
                  </a:lnTo>
                  <a:lnTo>
                    <a:pt x="591" y="445"/>
                  </a:lnTo>
                  <a:lnTo>
                    <a:pt x="591" y="445"/>
                  </a:lnTo>
                  <a:lnTo>
                    <a:pt x="591" y="445"/>
                  </a:lnTo>
                  <a:lnTo>
                    <a:pt x="592" y="445"/>
                  </a:lnTo>
                  <a:lnTo>
                    <a:pt x="592" y="445"/>
                  </a:lnTo>
                  <a:lnTo>
                    <a:pt x="592" y="445"/>
                  </a:lnTo>
                  <a:lnTo>
                    <a:pt x="594" y="445"/>
                  </a:lnTo>
                  <a:lnTo>
                    <a:pt x="596" y="445"/>
                  </a:lnTo>
                  <a:lnTo>
                    <a:pt x="598" y="445"/>
                  </a:lnTo>
                  <a:lnTo>
                    <a:pt x="600" y="446"/>
                  </a:lnTo>
                  <a:lnTo>
                    <a:pt x="600" y="445"/>
                  </a:lnTo>
                  <a:lnTo>
                    <a:pt x="601" y="445"/>
                  </a:lnTo>
                  <a:lnTo>
                    <a:pt x="600" y="445"/>
                  </a:lnTo>
                  <a:lnTo>
                    <a:pt x="600" y="445"/>
                  </a:lnTo>
                  <a:lnTo>
                    <a:pt x="600" y="443"/>
                  </a:lnTo>
                  <a:lnTo>
                    <a:pt x="601" y="443"/>
                  </a:lnTo>
                  <a:lnTo>
                    <a:pt x="601" y="443"/>
                  </a:lnTo>
                  <a:lnTo>
                    <a:pt x="603" y="443"/>
                  </a:lnTo>
                  <a:lnTo>
                    <a:pt x="603" y="443"/>
                  </a:lnTo>
                  <a:lnTo>
                    <a:pt x="603" y="441"/>
                  </a:lnTo>
                  <a:lnTo>
                    <a:pt x="605" y="441"/>
                  </a:lnTo>
                  <a:lnTo>
                    <a:pt x="607" y="439"/>
                  </a:lnTo>
                  <a:lnTo>
                    <a:pt x="609" y="439"/>
                  </a:lnTo>
                  <a:lnTo>
                    <a:pt x="609" y="439"/>
                  </a:lnTo>
                  <a:lnTo>
                    <a:pt x="609" y="441"/>
                  </a:lnTo>
                  <a:lnTo>
                    <a:pt x="609" y="441"/>
                  </a:lnTo>
                  <a:lnTo>
                    <a:pt x="610" y="439"/>
                  </a:lnTo>
                  <a:lnTo>
                    <a:pt x="610" y="437"/>
                  </a:lnTo>
                  <a:lnTo>
                    <a:pt x="612" y="437"/>
                  </a:lnTo>
                  <a:lnTo>
                    <a:pt x="612" y="436"/>
                  </a:lnTo>
                  <a:lnTo>
                    <a:pt x="612" y="434"/>
                  </a:lnTo>
                  <a:lnTo>
                    <a:pt x="610" y="432"/>
                  </a:lnTo>
                  <a:lnTo>
                    <a:pt x="612" y="432"/>
                  </a:lnTo>
                  <a:lnTo>
                    <a:pt x="614" y="430"/>
                  </a:lnTo>
                  <a:lnTo>
                    <a:pt x="614" y="428"/>
                  </a:lnTo>
                  <a:lnTo>
                    <a:pt x="614" y="427"/>
                  </a:lnTo>
                  <a:lnTo>
                    <a:pt x="614" y="427"/>
                  </a:lnTo>
                  <a:lnTo>
                    <a:pt x="614" y="427"/>
                  </a:lnTo>
                  <a:lnTo>
                    <a:pt x="612" y="425"/>
                  </a:lnTo>
                  <a:lnTo>
                    <a:pt x="612" y="425"/>
                  </a:lnTo>
                  <a:lnTo>
                    <a:pt x="610" y="423"/>
                  </a:lnTo>
                  <a:lnTo>
                    <a:pt x="610" y="423"/>
                  </a:lnTo>
                  <a:lnTo>
                    <a:pt x="610" y="423"/>
                  </a:lnTo>
                  <a:lnTo>
                    <a:pt x="610" y="421"/>
                  </a:lnTo>
                  <a:lnTo>
                    <a:pt x="609" y="421"/>
                  </a:lnTo>
                  <a:lnTo>
                    <a:pt x="605" y="419"/>
                  </a:lnTo>
                  <a:lnTo>
                    <a:pt x="605" y="418"/>
                  </a:lnTo>
                  <a:lnTo>
                    <a:pt x="605" y="416"/>
                  </a:lnTo>
                  <a:lnTo>
                    <a:pt x="605" y="414"/>
                  </a:lnTo>
                  <a:lnTo>
                    <a:pt x="605" y="414"/>
                  </a:lnTo>
                  <a:lnTo>
                    <a:pt x="605" y="414"/>
                  </a:lnTo>
                  <a:lnTo>
                    <a:pt x="605" y="412"/>
                  </a:lnTo>
                  <a:lnTo>
                    <a:pt x="605" y="412"/>
                  </a:lnTo>
                  <a:lnTo>
                    <a:pt x="605" y="410"/>
                  </a:lnTo>
                  <a:lnTo>
                    <a:pt x="605" y="410"/>
                  </a:lnTo>
                  <a:lnTo>
                    <a:pt x="605" y="410"/>
                  </a:lnTo>
                  <a:lnTo>
                    <a:pt x="603" y="408"/>
                  </a:lnTo>
                  <a:lnTo>
                    <a:pt x="601" y="408"/>
                  </a:lnTo>
                  <a:lnTo>
                    <a:pt x="601" y="407"/>
                  </a:lnTo>
                  <a:lnTo>
                    <a:pt x="600" y="407"/>
                  </a:lnTo>
                  <a:lnTo>
                    <a:pt x="600" y="407"/>
                  </a:lnTo>
                  <a:lnTo>
                    <a:pt x="598" y="407"/>
                  </a:lnTo>
                  <a:lnTo>
                    <a:pt x="596" y="405"/>
                  </a:lnTo>
                  <a:lnTo>
                    <a:pt x="596" y="401"/>
                  </a:lnTo>
                  <a:lnTo>
                    <a:pt x="596" y="399"/>
                  </a:lnTo>
                  <a:lnTo>
                    <a:pt x="596" y="399"/>
                  </a:lnTo>
                  <a:lnTo>
                    <a:pt x="596" y="398"/>
                  </a:lnTo>
                  <a:lnTo>
                    <a:pt x="596" y="396"/>
                  </a:lnTo>
                  <a:lnTo>
                    <a:pt x="598" y="396"/>
                  </a:lnTo>
                  <a:lnTo>
                    <a:pt x="600" y="396"/>
                  </a:lnTo>
                  <a:lnTo>
                    <a:pt x="600" y="396"/>
                  </a:lnTo>
                  <a:lnTo>
                    <a:pt x="600" y="396"/>
                  </a:lnTo>
                  <a:lnTo>
                    <a:pt x="600" y="396"/>
                  </a:lnTo>
                  <a:lnTo>
                    <a:pt x="600" y="396"/>
                  </a:lnTo>
                  <a:lnTo>
                    <a:pt x="600" y="396"/>
                  </a:lnTo>
                  <a:lnTo>
                    <a:pt x="600" y="396"/>
                  </a:lnTo>
                  <a:lnTo>
                    <a:pt x="600" y="396"/>
                  </a:lnTo>
                  <a:lnTo>
                    <a:pt x="601" y="396"/>
                  </a:lnTo>
                  <a:lnTo>
                    <a:pt x="601" y="396"/>
                  </a:lnTo>
                  <a:lnTo>
                    <a:pt x="603" y="394"/>
                  </a:lnTo>
                  <a:lnTo>
                    <a:pt x="605" y="394"/>
                  </a:lnTo>
                  <a:lnTo>
                    <a:pt x="605" y="394"/>
                  </a:lnTo>
                  <a:lnTo>
                    <a:pt x="605" y="392"/>
                  </a:lnTo>
                  <a:lnTo>
                    <a:pt x="607" y="392"/>
                  </a:lnTo>
                  <a:lnTo>
                    <a:pt x="607" y="390"/>
                  </a:lnTo>
                  <a:lnTo>
                    <a:pt x="607" y="390"/>
                  </a:lnTo>
                  <a:lnTo>
                    <a:pt x="609" y="389"/>
                  </a:lnTo>
                  <a:lnTo>
                    <a:pt x="607" y="389"/>
                  </a:lnTo>
                  <a:lnTo>
                    <a:pt x="607" y="389"/>
                  </a:lnTo>
                  <a:lnTo>
                    <a:pt x="607" y="387"/>
                  </a:lnTo>
                  <a:lnTo>
                    <a:pt x="607" y="385"/>
                  </a:lnTo>
                  <a:lnTo>
                    <a:pt x="607" y="385"/>
                  </a:lnTo>
                  <a:lnTo>
                    <a:pt x="605" y="385"/>
                  </a:lnTo>
                  <a:lnTo>
                    <a:pt x="603" y="381"/>
                  </a:lnTo>
                  <a:lnTo>
                    <a:pt x="601" y="380"/>
                  </a:lnTo>
                  <a:lnTo>
                    <a:pt x="601" y="380"/>
                  </a:lnTo>
                  <a:lnTo>
                    <a:pt x="601" y="381"/>
                  </a:lnTo>
                  <a:lnTo>
                    <a:pt x="600" y="381"/>
                  </a:lnTo>
                  <a:lnTo>
                    <a:pt x="600" y="381"/>
                  </a:lnTo>
                  <a:lnTo>
                    <a:pt x="600" y="381"/>
                  </a:lnTo>
                  <a:lnTo>
                    <a:pt x="600" y="380"/>
                  </a:lnTo>
                  <a:lnTo>
                    <a:pt x="600" y="380"/>
                  </a:lnTo>
                  <a:lnTo>
                    <a:pt x="600" y="380"/>
                  </a:lnTo>
                  <a:lnTo>
                    <a:pt x="600" y="380"/>
                  </a:lnTo>
                  <a:lnTo>
                    <a:pt x="600" y="378"/>
                  </a:lnTo>
                  <a:lnTo>
                    <a:pt x="600" y="378"/>
                  </a:lnTo>
                  <a:lnTo>
                    <a:pt x="600" y="378"/>
                  </a:lnTo>
                  <a:lnTo>
                    <a:pt x="600" y="378"/>
                  </a:lnTo>
                  <a:lnTo>
                    <a:pt x="600" y="378"/>
                  </a:lnTo>
                  <a:lnTo>
                    <a:pt x="600" y="376"/>
                  </a:lnTo>
                  <a:lnTo>
                    <a:pt x="600" y="376"/>
                  </a:lnTo>
                  <a:lnTo>
                    <a:pt x="600" y="376"/>
                  </a:lnTo>
                  <a:lnTo>
                    <a:pt x="596" y="374"/>
                  </a:lnTo>
                  <a:lnTo>
                    <a:pt x="594" y="372"/>
                  </a:lnTo>
                  <a:lnTo>
                    <a:pt x="596" y="371"/>
                  </a:lnTo>
                  <a:lnTo>
                    <a:pt x="596" y="369"/>
                  </a:lnTo>
                  <a:lnTo>
                    <a:pt x="598" y="365"/>
                  </a:lnTo>
                  <a:lnTo>
                    <a:pt x="598" y="363"/>
                  </a:lnTo>
                  <a:lnTo>
                    <a:pt x="596" y="362"/>
                  </a:lnTo>
                  <a:lnTo>
                    <a:pt x="594" y="360"/>
                  </a:lnTo>
                  <a:lnTo>
                    <a:pt x="594" y="358"/>
                  </a:lnTo>
                  <a:lnTo>
                    <a:pt x="596" y="356"/>
                  </a:lnTo>
                  <a:lnTo>
                    <a:pt x="596" y="356"/>
                  </a:lnTo>
                  <a:lnTo>
                    <a:pt x="596" y="354"/>
                  </a:lnTo>
                  <a:lnTo>
                    <a:pt x="596" y="354"/>
                  </a:lnTo>
                  <a:lnTo>
                    <a:pt x="596" y="354"/>
                  </a:lnTo>
                  <a:lnTo>
                    <a:pt x="596" y="354"/>
                  </a:lnTo>
                  <a:lnTo>
                    <a:pt x="594" y="353"/>
                  </a:lnTo>
                  <a:lnTo>
                    <a:pt x="587" y="351"/>
                  </a:lnTo>
                  <a:lnTo>
                    <a:pt x="583" y="351"/>
                  </a:lnTo>
                  <a:lnTo>
                    <a:pt x="582" y="353"/>
                  </a:lnTo>
                  <a:lnTo>
                    <a:pt x="576" y="354"/>
                  </a:lnTo>
                  <a:lnTo>
                    <a:pt x="574" y="354"/>
                  </a:lnTo>
                  <a:lnTo>
                    <a:pt x="573" y="354"/>
                  </a:lnTo>
                  <a:lnTo>
                    <a:pt x="573" y="356"/>
                  </a:lnTo>
                  <a:lnTo>
                    <a:pt x="571" y="358"/>
                  </a:lnTo>
                  <a:lnTo>
                    <a:pt x="569" y="360"/>
                  </a:lnTo>
                  <a:lnTo>
                    <a:pt x="567" y="360"/>
                  </a:lnTo>
                  <a:lnTo>
                    <a:pt x="567" y="362"/>
                  </a:lnTo>
                  <a:lnTo>
                    <a:pt x="567" y="362"/>
                  </a:lnTo>
                  <a:lnTo>
                    <a:pt x="569" y="363"/>
                  </a:lnTo>
                  <a:lnTo>
                    <a:pt x="569" y="363"/>
                  </a:lnTo>
                  <a:lnTo>
                    <a:pt x="569" y="365"/>
                  </a:lnTo>
                  <a:lnTo>
                    <a:pt x="569" y="365"/>
                  </a:lnTo>
                  <a:lnTo>
                    <a:pt x="569" y="365"/>
                  </a:lnTo>
                  <a:lnTo>
                    <a:pt x="571" y="365"/>
                  </a:lnTo>
                  <a:lnTo>
                    <a:pt x="571" y="365"/>
                  </a:lnTo>
                  <a:lnTo>
                    <a:pt x="571" y="367"/>
                  </a:lnTo>
                  <a:lnTo>
                    <a:pt x="569" y="369"/>
                  </a:lnTo>
                  <a:lnTo>
                    <a:pt x="567" y="371"/>
                  </a:lnTo>
                  <a:lnTo>
                    <a:pt x="564" y="374"/>
                  </a:lnTo>
                  <a:lnTo>
                    <a:pt x="562" y="374"/>
                  </a:lnTo>
                  <a:lnTo>
                    <a:pt x="560" y="374"/>
                  </a:lnTo>
                  <a:lnTo>
                    <a:pt x="558" y="374"/>
                  </a:lnTo>
                  <a:lnTo>
                    <a:pt x="556" y="374"/>
                  </a:lnTo>
                  <a:lnTo>
                    <a:pt x="554" y="374"/>
                  </a:lnTo>
                  <a:lnTo>
                    <a:pt x="554" y="372"/>
                  </a:lnTo>
                  <a:lnTo>
                    <a:pt x="556" y="372"/>
                  </a:lnTo>
                  <a:lnTo>
                    <a:pt x="556" y="372"/>
                  </a:lnTo>
                  <a:lnTo>
                    <a:pt x="554" y="371"/>
                  </a:lnTo>
                  <a:lnTo>
                    <a:pt x="554" y="371"/>
                  </a:lnTo>
                  <a:lnTo>
                    <a:pt x="554" y="369"/>
                  </a:lnTo>
                  <a:lnTo>
                    <a:pt x="556" y="369"/>
                  </a:lnTo>
                  <a:lnTo>
                    <a:pt x="558" y="367"/>
                  </a:lnTo>
                  <a:lnTo>
                    <a:pt x="558" y="367"/>
                  </a:lnTo>
                  <a:lnTo>
                    <a:pt x="558" y="367"/>
                  </a:lnTo>
                  <a:lnTo>
                    <a:pt x="560" y="367"/>
                  </a:lnTo>
                  <a:lnTo>
                    <a:pt x="560" y="367"/>
                  </a:lnTo>
                  <a:lnTo>
                    <a:pt x="560" y="367"/>
                  </a:lnTo>
                  <a:lnTo>
                    <a:pt x="560" y="367"/>
                  </a:lnTo>
                  <a:lnTo>
                    <a:pt x="562" y="367"/>
                  </a:lnTo>
                  <a:lnTo>
                    <a:pt x="562" y="365"/>
                  </a:lnTo>
                  <a:lnTo>
                    <a:pt x="562" y="365"/>
                  </a:lnTo>
                  <a:lnTo>
                    <a:pt x="562" y="365"/>
                  </a:lnTo>
                  <a:lnTo>
                    <a:pt x="562" y="362"/>
                  </a:lnTo>
                  <a:lnTo>
                    <a:pt x="562" y="362"/>
                  </a:lnTo>
                  <a:lnTo>
                    <a:pt x="562" y="360"/>
                  </a:lnTo>
                  <a:lnTo>
                    <a:pt x="564" y="358"/>
                  </a:lnTo>
                  <a:lnTo>
                    <a:pt x="564" y="358"/>
                  </a:lnTo>
                  <a:lnTo>
                    <a:pt x="564" y="356"/>
                  </a:lnTo>
                  <a:lnTo>
                    <a:pt x="562" y="356"/>
                  </a:lnTo>
                  <a:lnTo>
                    <a:pt x="560" y="354"/>
                  </a:lnTo>
                  <a:lnTo>
                    <a:pt x="560" y="354"/>
                  </a:lnTo>
                  <a:lnTo>
                    <a:pt x="560" y="353"/>
                  </a:lnTo>
                  <a:lnTo>
                    <a:pt x="560" y="353"/>
                  </a:lnTo>
                  <a:lnTo>
                    <a:pt x="560" y="353"/>
                  </a:lnTo>
                  <a:lnTo>
                    <a:pt x="560" y="353"/>
                  </a:lnTo>
                  <a:lnTo>
                    <a:pt x="560" y="353"/>
                  </a:lnTo>
                  <a:lnTo>
                    <a:pt x="560" y="351"/>
                  </a:lnTo>
                  <a:lnTo>
                    <a:pt x="560" y="351"/>
                  </a:lnTo>
                  <a:lnTo>
                    <a:pt x="560" y="351"/>
                  </a:lnTo>
                  <a:lnTo>
                    <a:pt x="560" y="351"/>
                  </a:lnTo>
                  <a:lnTo>
                    <a:pt x="560" y="349"/>
                  </a:lnTo>
                  <a:lnTo>
                    <a:pt x="562" y="347"/>
                  </a:lnTo>
                  <a:lnTo>
                    <a:pt x="564" y="343"/>
                  </a:lnTo>
                  <a:lnTo>
                    <a:pt x="564" y="343"/>
                  </a:lnTo>
                  <a:lnTo>
                    <a:pt x="562" y="342"/>
                  </a:lnTo>
                  <a:lnTo>
                    <a:pt x="564" y="342"/>
                  </a:lnTo>
                  <a:lnTo>
                    <a:pt x="571" y="334"/>
                  </a:lnTo>
                  <a:lnTo>
                    <a:pt x="574" y="333"/>
                  </a:lnTo>
                  <a:lnTo>
                    <a:pt x="574" y="333"/>
                  </a:lnTo>
                  <a:lnTo>
                    <a:pt x="576" y="331"/>
                  </a:lnTo>
                  <a:lnTo>
                    <a:pt x="576" y="331"/>
                  </a:lnTo>
                  <a:lnTo>
                    <a:pt x="578" y="329"/>
                  </a:lnTo>
                  <a:lnTo>
                    <a:pt x="578" y="329"/>
                  </a:lnTo>
                  <a:lnTo>
                    <a:pt x="578" y="329"/>
                  </a:lnTo>
                  <a:lnTo>
                    <a:pt x="578" y="327"/>
                  </a:lnTo>
                  <a:lnTo>
                    <a:pt x="578" y="327"/>
                  </a:lnTo>
                  <a:lnTo>
                    <a:pt x="578" y="327"/>
                  </a:lnTo>
                  <a:lnTo>
                    <a:pt x="578" y="325"/>
                  </a:lnTo>
                  <a:lnTo>
                    <a:pt x="578" y="325"/>
                  </a:lnTo>
                  <a:lnTo>
                    <a:pt x="578" y="324"/>
                  </a:lnTo>
                  <a:lnTo>
                    <a:pt x="578" y="324"/>
                  </a:lnTo>
                  <a:lnTo>
                    <a:pt x="578" y="322"/>
                  </a:lnTo>
                  <a:lnTo>
                    <a:pt x="580" y="322"/>
                  </a:lnTo>
                  <a:lnTo>
                    <a:pt x="580" y="322"/>
                  </a:lnTo>
                  <a:lnTo>
                    <a:pt x="580" y="320"/>
                  </a:lnTo>
                  <a:lnTo>
                    <a:pt x="578" y="318"/>
                  </a:lnTo>
                  <a:lnTo>
                    <a:pt x="578" y="318"/>
                  </a:lnTo>
                  <a:lnTo>
                    <a:pt x="578" y="316"/>
                  </a:lnTo>
                  <a:lnTo>
                    <a:pt x="582" y="315"/>
                  </a:lnTo>
                  <a:lnTo>
                    <a:pt x="587" y="313"/>
                  </a:lnTo>
                  <a:lnTo>
                    <a:pt x="591" y="311"/>
                  </a:lnTo>
                  <a:lnTo>
                    <a:pt x="591" y="309"/>
                  </a:lnTo>
                  <a:lnTo>
                    <a:pt x="591" y="307"/>
                  </a:lnTo>
                  <a:lnTo>
                    <a:pt x="591" y="306"/>
                  </a:lnTo>
                  <a:lnTo>
                    <a:pt x="592" y="306"/>
                  </a:lnTo>
                  <a:lnTo>
                    <a:pt x="592" y="306"/>
                  </a:lnTo>
                  <a:lnTo>
                    <a:pt x="592" y="304"/>
                  </a:lnTo>
                  <a:lnTo>
                    <a:pt x="592" y="304"/>
                  </a:lnTo>
                  <a:lnTo>
                    <a:pt x="594" y="304"/>
                  </a:lnTo>
                  <a:lnTo>
                    <a:pt x="594" y="302"/>
                  </a:lnTo>
                  <a:lnTo>
                    <a:pt x="596" y="302"/>
                  </a:lnTo>
                  <a:lnTo>
                    <a:pt x="598" y="300"/>
                  </a:lnTo>
                  <a:lnTo>
                    <a:pt x="598" y="298"/>
                  </a:lnTo>
                  <a:lnTo>
                    <a:pt x="600" y="298"/>
                  </a:lnTo>
                  <a:lnTo>
                    <a:pt x="601" y="297"/>
                  </a:lnTo>
                  <a:lnTo>
                    <a:pt x="605" y="293"/>
                  </a:lnTo>
                  <a:lnTo>
                    <a:pt x="605" y="291"/>
                  </a:lnTo>
                  <a:lnTo>
                    <a:pt x="605" y="291"/>
                  </a:lnTo>
                  <a:lnTo>
                    <a:pt x="605" y="289"/>
                  </a:lnTo>
                  <a:lnTo>
                    <a:pt x="607" y="289"/>
                  </a:lnTo>
                  <a:lnTo>
                    <a:pt x="607" y="289"/>
                  </a:lnTo>
                  <a:lnTo>
                    <a:pt x="607" y="287"/>
                  </a:lnTo>
                  <a:lnTo>
                    <a:pt x="607" y="287"/>
                  </a:lnTo>
                  <a:lnTo>
                    <a:pt x="609" y="287"/>
                  </a:lnTo>
                  <a:lnTo>
                    <a:pt x="609" y="287"/>
                  </a:lnTo>
                  <a:lnTo>
                    <a:pt x="609" y="287"/>
                  </a:lnTo>
                  <a:lnTo>
                    <a:pt x="609" y="286"/>
                  </a:lnTo>
                  <a:lnTo>
                    <a:pt x="607" y="286"/>
                  </a:lnTo>
                  <a:lnTo>
                    <a:pt x="607" y="284"/>
                  </a:lnTo>
                  <a:lnTo>
                    <a:pt x="607" y="286"/>
                  </a:lnTo>
                  <a:lnTo>
                    <a:pt x="600" y="286"/>
                  </a:lnTo>
                  <a:lnTo>
                    <a:pt x="600" y="284"/>
                  </a:lnTo>
                  <a:lnTo>
                    <a:pt x="601" y="284"/>
                  </a:lnTo>
                  <a:lnTo>
                    <a:pt x="601" y="282"/>
                  </a:lnTo>
                  <a:lnTo>
                    <a:pt x="603" y="282"/>
                  </a:lnTo>
                  <a:lnTo>
                    <a:pt x="603" y="280"/>
                  </a:lnTo>
                  <a:lnTo>
                    <a:pt x="605" y="280"/>
                  </a:lnTo>
                  <a:lnTo>
                    <a:pt x="605" y="280"/>
                  </a:lnTo>
                  <a:lnTo>
                    <a:pt x="605" y="278"/>
                  </a:lnTo>
                  <a:lnTo>
                    <a:pt x="607" y="278"/>
                  </a:lnTo>
                  <a:lnTo>
                    <a:pt x="607" y="277"/>
                  </a:lnTo>
                  <a:lnTo>
                    <a:pt x="605" y="277"/>
                  </a:lnTo>
                  <a:lnTo>
                    <a:pt x="605" y="275"/>
                  </a:lnTo>
                  <a:lnTo>
                    <a:pt x="607" y="275"/>
                  </a:lnTo>
                  <a:lnTo>
                    <a:pt x="607" y="275"/>
                  </a:lnTo>
                  <a:lnTo>
                    <a:pt x="607" y="275"/>
                  </a:lnTo>
                  <a:lnTo>
                    <a:pt x="607" y="275"/>
                  </a:lnTo>
                  <a:lnTo>
                    <a:pt x="609" y="275"/>
                  </a:lnTo>
                  <a:lnTo>
                    <a:pt x="609" y="275"/>
                  </a:lnTo>
                  <a:lnTo>
                    <a:pt x="612" y="275"/>
                  </a:lnTo>
                  <a:lnTo>
                    <a:pt x="612" y="275"/>
                  </a:lnTo>
                  <a:lnTo>
                    <a:pt x="614" y="277"/>
                  </a:lnTo>
                  <a:lnTo>
                    <a:pt x="614" y="277"/>
                  </a:lnTo>
                  <a:lnTo>
                    <a:pt x="614" y="277"/>
                  </a:lnTo>
                  <a:lnTo>
                    <a:pt x="616" y="275"/>
                  </a:lnTo>
                  <a:lnTo>
                    <a:pt x="614" y="278"/>
                  </a:lnTo>
                  <a:lnTo>
                    <a:pt x="616" y="278"/>
                  </a:lnTo>
                  <a:lnTo>
                    <a:pt x="616" y="280"/>
                  </a:lnTo>
                  <a:lnTo>
                    <a:pt x="618" y="280"/>
                  </a:lnTo>
                  <a:lnTo>
                    <a:pt x="618" y="280"/>
                  </a:lnTo>
                  <a:lnTo>
                    <a:pt x="618" y="280"/>
                  </a:lnTo>
                  <a:lnTo>
                    <a:pt x="618" y="280"/>
                  </a:lnTo>
                  <a:lnTo>
                    <a:pt x="620" y="280"/>
                  </a:lnTo>
                  <a:lnTo>
                    <a:pt x="620" y="280"/>
                  </a:lnTo>
                  <a:lnTo>
                    <a:pt x="621" y="280"/>
                  </a:lnTo>
                  <a:lnTo>
                    <a:pt x="621" y="280"/>
                  </a:lnTo>
                  <a:lnTo>
                    <a:pt x="623" y="280"/>
                  </a:lnTo>
                  <a:lnTo>
                    <a:pt x="625" y="280"/>
                  </a:lnTo>
                  <a:lnTo>
                    <a:pt x="627" y="280"/>
                  </a:lnTo>
                  <a:lnTo>
                    <a:pt x="627" y="280"/>
                  </a:lnTo>
                  <a:lnTo>
                    <a:pt x="629" y="278"/>
                  </a:lnTo>
                  <a:lnTo>
                    <a:pt x="629" y="278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7" y="277"/>
                  </a:lnTo>
                  <a:lnTo>
                    <a:pt x="627" y="275"/>
                  </a:lnTo>
                  <a:lnTo>
                    <a:pt x="629" y="275"/>
                  </a:lnTo>
                  <a:lnTo>
                    <a:pt x="629" y="275"/>
                  </a:lnTo>
                  <a:lnTo>
                    <a:pt x="629" y="277"/>
                  </a:lnTo>
                  <a:lnTo>
                    <a:pt x="630" y="277"/>
                  </a:lnTo>
                  <a:lnTo>
                    <a:pt x="630" y="277"/>
                  </a:lnTo>
                  <a:lnTo>
                    <a:pt x="630" y="275"/>
                  </a:lnTo>
                  <a:lnTo>
                    <a:pt x="630" y="275"/>
                  </a:lnTo>
                  <a:lnTo>
                    <a:pt x="630" y="275"/>
                  </a:lnTo>
                  <a:lnTo>
                    <a:pt x="630" y="275"/>
                  </a:lnTo>
                  <a:lnTo>
                    <a:pt x="630" y="275"/>
                  </a:lnTo>
                  <a:lnTo>
                    <a:pt x="630" y="275"/>
                  </a:lnTo>
                  <a:lnTo>
                    <a:pt x="630" y="275"/>
                  </a:lnTo>
                  <a:lnTo>
                    <a:pt x="630" y="275"/>
                  </a:lnTo>
                  <a:lnTo>
                    <a:pt x="630" y="273"/>
                  </a:lnTo>
                  <a:lnTo>
                    <a:pt x="630" y="273"/>
                  </a:lnTo>
                  <a:lnTo>
                    <a:pt x="632" y="273"/>
                  </a:lnTo>
                  <a:lnTo>
                    <a:pt x="632" y="273"/>
                  </a:lnTo>
                  <a:lnTo>
                    <a:pt x="632" y="273"/>
                  </a:lnTo>
                  <a:lnTo>
                    <a:pt x="632" y="273"/>
                  </a:lnTo>
                  <a:lnTo>
                    <a:pt x="632" y="273"/>
                  </a:lnTo>
                  <a:lnTo>
                    <a:pt x="630" y="271"/>
                  </a:lnTo>
                  <a:lnTo>
                    <a:pt x="630" y="271"/>
                  </a:lnTo>
                  <a:lnTo>
                    <a:pt x="632" y="269"/>
                  </a:lnTo>
                  <a:lnTo>
                    <a:pt x="634" y="269"/>
                  </a:lnTo>
                  <a:lnTo>
                    <a:pt x="634" y="269"/>
                  </a:lnTo>
                  <a:lnTo>
                    <a:pt x="636" y="269"/>
                  </a:lnTo>
                  <a:lnTo>
                    <a:pt x="636" y="269"/>
                  </a:lnTo>
                  <a:lnTo>
                    <a:pt x="636" y="268"/>
                  </a:lnTo>
                  <a:lnTo>
                    <a:pt x="636" y="268"/>
                  </a:lnTo>
                  <a:lnTo>
                    <a:pt x="636" y="268"/>
                  </a:lnTo>
                  <a:lnTo>
                    <a:pt x="636" y="266"/>
                  </a:lnTo>
                  <a:lnTo>
                    <a:pt x="636" y="266"/>
                  </a:lnTo>
                  <a:lnTo>
                    <a:pt x="636" y="266"/>
                  </a:lnTo>
                  <a:lnTo>
                    <a:pt x="634" y="264"/>
                  </a:lnTo>
                  <a:lnTo>
                    <a:pt x="634" y="262"/>
                  </a:lnTo>
                  <a:lnTo>
                    <a:pt x="632" y="262"/>
                  </a:lnTo>
                  <a:lnTo>
                    <a:pt x="632" y="262"/>
                  </a:lnTo>
                  <a:lnTo>
                    <a:pt x="632" y="260"/>
                  </a:lnTo>
                  <a:lnTo>
                    <a:pt x="632" y="260"/>
                  </a:lnTo>
                  <a:lnTo>
                    <a:pt x="632" y="259"/>
                  </a:lnTo>
                  <a:lnTo>
                    <a:pt x="634" y="259"/>
                  </a:lnTo>
                  <a:lnTo>
                    <a:pt x="634" y="259"/>
                  </a:lnTo>
                  <a:lnTo>
                    <a:pt x="634" y="257"/>
                  </a:lnTo>
                  <a:lnTo>
                    <a:pt x="632" y="253"/>
                  </a:lnTo>
                  <a:lnTo>
                    <a:pt x="634" y="253"/>
                  </a:lnTo>
                  <a:lnTo>
                    <a:pt x="634" y="251"/>
                  </a:lnTo>
                  <a:lnTo>
                    <a:pt x="634" y="250"/>
                  </a:lnTo>
                  <a:lnTo>
                    <a:pt x="634" y="250"/>
                  </a:lnTo>
                  <a:lnTo>
                    <a:pt x="636" y="250"/>
                  </a:lnTo>
                  <a:lnTo>
                    <a:pt x="634" y="248"/>
                  </a:lnTo>
                  <a:lnTo>
                    <a:pt x="634" y="248"/>
                  </a:lnTo>
                  <a:lnTo>
                    <a:pt x="634" y="248"/>
                  </a:lnTo>
                  <a:lnTo>
                    <a:pt x="634" y="246"/>
                  </a:lnTo>
                  <a:lnTo>
                    <a:pt x="634" y="246"/>
                  </a:lnTo>
                  <a:lnTo>
                    <a:pt x="634" y="246"/>
                  </a:lnTo>
                  <a:lnTo>
                    <a:pt x="636" y="246"/>
                  </a:lnTo>
                  <a:lnTo>
                    <a:pt x="636" y="246"/>
                  </a:lnTo>
                  <a:lnTo>
                    <a:pt x="636" y="244"/>
                  </a:lnTo>
                  <a:lnTo>
                    <a:pt x="636" y="244"/>
                  </a:lnTo>
                  <a:lnTo>
                    <a:pt x="636" y="242"/>
                  </a:lnTo>
                  <a:lnTo>
                    <a:pt x="636" y="242"/>
                  </a:lnTo>
                  <a:lnTo>
                    <a:pt x="638" y="241"/>
                  </a:lnTo>
                  <a:lnTo>
                    <a:pt x="638" y="241"/>
                  </a:lnTo>
                  <a:lnTo>
                    <a:pt x="638" y="237"/>
                  </a:lnTo>
                  <a:lnTo>
                    <a:pt x="636" y="233"/>
                  </a:lnTo>
                  <a:lnTo>
                    <a:pt x="636" y="231"/>
                  </a:lnTo>
                  <a:lnTo>
                    <a:pt x="636" y="230"/>
                  </a:lnTo>
                  <a:lnTo>
                    <a:pt x="636" y="228"/>
                  </a:lnTo>
                  <a:lnTo>
                    <a:pt x="636" y="228"/>
                  </a:lnTo>
                  <a:lnTo>
                    <a:pt x="638" y="226"/>
                  </a:lnTo>
                  <a:lnTo>
                    <a:pt x="638" y="226"/>
                  </a:lnTo>
                  <a:lnTo>
                    <a:pt x="638" y="226"/>
                  </a:lnTo>
                  <a:lnTo>
                    <a:pt x="638" y="224"/>
                  </a:lnTo>
                  <a:lnTo>
                    <a:pt x="641" y="221"/>
                  </a:lnTo>
                  <a:lnTo>
                    <a:pt x="641" y="219"/>
                  </a:lnTo>
                  <a:lnTo>
                    <a:pt x="641" y="217"/>
                  </a:lnTo>
                  <a:lnTo>
                    <a:pt x="641" y="215"/>
                  </a:lnTo>
                  <a:lnTo>
                    <a:pt x="641" y="215"/>
                  </a:lnTo>
                  <a:lnTo>
                    <a:pt x="643" y="213"/>
                  </a:lnTo>
                  <a:lnTo>
                    <a:pt x="643" y="213"/>
                  </a:lnTo>
                  <a:lnTo>
                    <a:pt x="645" y="212"/>
                  </a:lnTo>
                  <a:lnTo>
                    <a:pt x="645" y="212"/>
                  </a:lnTo>
                  <a:lnTo>
                    <a:pt x="645" y="210"/>
                  </a:lnTo>
                  <a:lnTo>
                    <a:pt x="643" y="210"/>
                  </a:lnTo>
                  <a:lnTo>
                    <a:pt x="643" y="208"/>
                  </a:lnTo>
                  <a:lnTo>
                    <a:pt x="643" y="208"/>
                  </a:lnTo>
                  <a:lnTo>
                    <a:pt x="645" y="206"/>
                  </a:lnTo>
                  <a:lnTo>
                    <a:pt x="645" y="204"/>
                  </a:lnTo>
                  <a:lnTo>
                    <a:pt x="645" y="204"/>
                  </a:lnTo>
                  <a:lnTo>
                    <a:pt x="645" y="203"/>
                  </a:lnTo>
                  <a:lnTo>
                    <a:pt x="645" y="203"/>
                  </a:lnTo>
                  <a:lnTo>
                    <a:pt x="645" y="201"/>
                  </a:lnTo>
                  <a:lnTo>
                    <a:pt x="645" y="201"/>
                  </a:lnTo>
                  <a:lnTo>
                    <a:pt x="647" y="199"/>
                  </a:lnTo>
                  <a:lnTo>
                    <a:pt x="647" y="199"/>
                  </a:lnTo>
                  <a:lnTo>
                    <a:pt x="647" y="199"/>
                  </a:lnTo>
                  <a:lnTo>
                    <a:pt x="647" y="197"/>
                  </a:lnTo>
                  <a:lnTo>
                    <a:pt x="647" y="194"/>
                  </a:lnTo>
                  <a:lnTo>
                    <a:pt x="647" y="192"/>
                  </a:lnTo>
                  <a:lnTo>
                    <a:pt x="650" y="188"/>
                  </a:lnTo>
                  <a:lnTo>
                    <a:pt x="650" y="188"/>
                  </a:lnTo>
                  <a:lnTo>
                    <a:pt x="650" y="188"/>
                  </a:lnTo>
                  <a:lnTo>
                    <a:pt x="652" y="186"/>
                  </a:lnTo>
                  <a:lnTo>
                    <a:pt x="654" y="185"/>
                  </a:lnTo>
                  <a:lnTo>
                    <a:pt x="654" y="185"/>
                  </a:lnTo>
                  <a:lnTo>
                    <a:pt x="654" y="185"/>
                  </a:lnTo>
                  <a:lnTo>
                    <a:pt x="656" y="183"/>
                  </a:lnTo>
                  <a:lnTo>
                    <a:pt x="656" y="183"/>
                  </a:lnTo>
                  <a:lnTo>
                    <a:pt x="656" y="181"/>
                  </a:lnTo>
                  <a:lnTo>
                    <a:pt x="656" y="181"/>
                  </a:lnTo>
                  <a:lnTo>
                    <a:pt x="656" y="181"/>
                  </a:lnTo>
                  <a:lnTo>
                    <a:pt x="657" y="181"/>
                  </a:lnTo>
                  <a:lnTo>
                    <a:pt x="657" y="181"/>
                  </a:lnTo>
                  <a:lnTo>
                    <a:pt x="657" y="181"/>
                  </a:lnTo>
                  <a:lnTo>
                    <a:pt x="657" y="179"/>
                  </a:lnTo>
                  <a:lnTo>
                    <a:pt x="657" y="179"/>
                  </a:lnTo>
                  <a:lnTo>
                    <a:pt x="659" y="179"/>
                  </a:lnTo>
                  <a:lnTo>
                    <a:pt x="659" y="179"/>
                  </a:lnTo>
                  <a:lnTo>
                    <a:pt x="659" y="179"/>
                  </a:lnTo>
                  <a:lnTo>
                    <a:pt x="659" y="179"/>
                  </a:lnTo>
                  <a:lnTo>
                    <a:pt x="661" y="177"/>
                  </a:lnTo>
                  <a:lnTo>
                    <a:pt x="661" y="177"/>
                  </a:lnTo>
                  <a:lnTo>
                    <a:pt x="661" y="175"/>
                  </a:lnTo>
                  <a:lnTo>
                    <a:pt x="665" y="170"/>
                  </a:lnTo>
                  <a:lnTo>
                    <a:pt x="666" y="166"/>
                  </a:lnTo>
                  <a:lnTo>
                    <a:pt x="666" y="166"/>
                  </a:lnTo>
                  <a:lnTo>
                    <a:pt x="666" y="166"/>
                  </a:lnTo>
                  <a:lnTo>
                    <a:pt x="666" y="165"/>
                  </a:lnTo>
                  <a:lnTo>
                    <a:pt x="661" y="165"/>
                  </a:lnTo>
                  <a:close/>
                  <a:moveTo>
                    <a:pt x="356" y="632"/>
                  </a:moveTo>
                  <a:lnTo>
                    <a:pt x="356" y="632"/>
                  </a:lnTo>
                  <a:lnTo>
                    <a:pt x="356" y="632"/>
                  </a:lnTo>
                  <a:lnTo>
                    <a:pt x="354" y="632"/>
                  </a:lnTo>
                  <a:lnTo>
                    <a:pt x="354" y="631"/>
                  </a:lnTo>
                  <a:lnTo>
                    <a:pt x="354" y="631"/>
                  </a:lnTo>
                  <a:lnTo>
                    <a:pt x="354" y="629"/>
                  </a:lnTo>
                  <a:lnTo>
                    <a:pt x="354" y="629"/>
                  </a:lnTo>
                  <a:lnTo>
                    <a:pt x="356" y="629"/>
                  </a:lnTo>
                  <a:lnTo>
                    <a:pt x="356" y="631"/>
                  </a:lnTo>
                  <a:lnTo>
                    <a:pt x="356" y="632"/>
                  </a:lnTo>
                  <a:lnTo>
                    <a:pt x="356" y="632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E7AA9621-ACF8-382B-E76D-637483DCFA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20100" y="693738"/>
              <a:ext cx="958850" cy="1949450"/>
            </a:xfrm>
            <a:custGeom>
              <a:avLst/>
              <a:gdLst>
                <a:gd name="T0" fmla="*/ 49 w 604"/>
                <a:gd name="T1" fmla="*/ 1208 h 1228"/>
                <a:gd name="T2" fmla="*/ 31 w 604"/>
                <a:gd name="T3" fmla="*/ 1210 h 1228"/>
                <a:gd name="T4" fmla="*/ 6 w 604"/>
                <a:gd name="T5" fmla="*/ 1188 h 1228"/>
                <a:gd name="T6" fmla="*/ 64 w 604"/>
                <a:gd name="T7" fmla="*/ 1181 h 1228"/>
                <a:gd name="T8" fmla="*/ 26 w 604"/>
                <a:gd name="T9" fmla="*/ 1190 h 1228"/>
                <a:gd name="T10" fmla="*/ 29 w 604"/>
                <a:gd name="T11" fmla="*/ 1174 h 1228"/>
                <a:gd name="T12" fmla="*/ 13 w 604"/>
                <a:gd name="T13" fmla="*/ 1187 h 1228"/>
                <a:gd name="T14" fmla="*/ 78 w 604"/>
                <a:gd name="T15" fmla="*/ 1161 h 1228"/>
                <a:gd name="T16" fmla="*/ 168 w 604"/>
                <a:gd name="T17" fmla="*/ 1210 h 1228"/>
                <a:gd name="T18" fmla="*/ 121 w 604"/>
                <a:gd name="T19" fmla="*/ 1197 h 1228"/>
                <a:gd name="T20" fmla="*/ 116 w 604"/>
                <a:gd name="T21" fmla="*/ 1196 h 1228"/>
                <a:gd name="T22" fmla="*/ 121 w 604"/>
                <a:gd name="T23" fmla="*/ 1196 h 1228"/>
                <a:gd name="T24" fmla="*/ 309 w 604"/>
                <a:gd name="T25" fmla="*/ 1185 h 1228"/>
                <a:gd name="T26" fmla="*/ 150 w 604"/>
                <a:gd name="T27" fmla="*/ 1208 h 1228"/>
                <a:gd name="T28" fmla="*/ 138 w 604"/>
                <a:gd name="T29" fmla="*/ 1183 h 1228"/>
                <a:gd name="T30" fmla="*/ 140 w 604"/>
                <a:gd name="T31" fmla="*/ 1172 h 1228"/>
                <a:gd name="T32" fmla="*/ 118 w 604"/>
                <a:gd name="T33" fmla="*/ 1174 h 1228"/>
                <a:gd name="T34" fmla="*/ 91 w 604"/>
                <a:gd name="T35" fmla="*/ 1161 h 1228"/>
                <a:gd name="T36" fmla="*/ 87 w 604"/>
                <a:gd name="T37" fmla="*/ 1147 h 1228"/>
                <a:gd name="T38" fmla="*/ 93 w 604"/>
                <a:gd name="T39" fmla="*/ 1087 h 1228"/>
                <a:gd name="T40" fmla="*/ 82 w 604"/>
                <a:gd name="T41" fmla="*/ 896 h 1228"/>
                <a:gd name="T42" fmla="*/ 84 w 604"/>
                <a:gd name="T43" fmla="*/ 871 h 1228"/>
                <a:gd name="T44" fmla="*/ 132 w 604"/>
                <a:gd name="T45" fmla="*/ 860 h 1228"/>
                <a:gd name="T46" fmla="*/ 123 w 604"/>
                <a:gd name="T47" fmla="*/ 852 h 1228"/>
                <a:gd name="T48" fmla="*/ 163 w 604"/>
                <a:gd name="T49" fmla="*/ 815 h 1228"/>
                <a:gd name="T50" fmla="*/ 587 w 604"/>
                <a:gd name="T51" fmla="*/ 885 h 1228"/>
                <a:gd name="T52" fmla="*/ 524 w 604"/>
                <a:gd name="T53" fmla="*/ 719 h 1228"/>
                <a:gd name="T54" fmla="*/ 526 w 604"/>
                <a:gd name="T55" fmla="*/ 585 h 1228"/>
                <a:gd name="T56" fmla="*/ 492 w 604"/>
                <a:gd name="T57" fmla="*/ 280 h 1228"/>
                <a:gd name="T58" fmla="*/ 391 w 604"/>
                <a:gd name="T59" fmla="*/ 18 h 1228"/>
                <a:gd name="T60" fmla="*/ 313 w 604"/>
                <a:gd name="T61" fmla="*/ 135 h 1228"/>
                <a:gd name="T62" fmla="*/ 232 w 604"/>
                <a:gd name="T63" fmla="*/ 184 h 1228"/>
                <a:gd name="T64" fmla="*/ 89 w 604"/>
                <a:gd name="T65" fmla="*/ 186 h 1228"/>
                <a:gd name="T66" fmla="*/ 183 w 604"/>
                <a:gd name="T67" fmla="*/ 271 h 1228"/>
                <a:gd name="T68" fmla="*/ 206 w 604"/>
                <a:gd name="T69" fmla="*/ 386 h 1228"/>
                <a:gd name="T70" fmla="*/ 206 w 604"/>
                <a:gd name="T71" fmla="*/ 493 h 1228"/>
                <a:gd name="T72" fmla="*/ 255 w 604"/>
                <a:gd name="T73" fmla="*/ 563 h 1228"/>
                <a:gd name="T74" fmla="*/ 291 w 604"/>
                <a:gd name="T75" fmla="*/ 616 h 1228"/>
                <a:gd name="T76" fmla="*/ 291 w 604"/>
                <a:gd name="T77" fmla="*/ 670 h 1228"/>
                <a:gd name="T78" fmla="*/ 252 w 604"/>
                <a:gd name="T79" fmla="*/ 690 h 1228"/>
                <a:gd name="T80" fmla="*/ 221 w 604"/>
                <a:gd name="T81" fmla="*/ 751 h 1228"/>
                <a:gd name="T82" fmla="*/ 185 w 604"/>
                <a:gd name="T83" fmla="*/ 796 h 1228"/>
                <a:gd name="T84" fmla="*/ 159 w 604"/>
                <a:gd name="T85" fmla="*/ 822 h 1228"/>
                <a:gd name="T86" fmla="*/ 141 w 604"/>
                <a:gd name="T87" fmla="*/ 847 h 1228"/>
                <a:gd name="T88" fmla="*/ 118 w 604"/>
                <a:gd name="T89" fmla="*/ 869 h 1228"/>
                <a:gd name="T90" fmla="*/ 96 w 604"/>
                <a:gd name="T91" fmla="*/ 894 h 1228"/>
                <a:gd name="T92" fmla="*/ 80 w 604"/>
                <a:gd name="T93" fmla="*/ 952 h 1228"/>
                <a:gd name="T94" fmla="*/ 89 w 604"/>
                <a:gd name="T95" fmla="*/ 1008 h 1228"/>
                <a:gd name="T96" fmla="*/ 96 w 604"/>
                <a:gd name="T97" fmla="*/ 1058 h 1228"/>
                <a:gd name="T98" fmla="*/ 94 w 604"/>
                <a:gd name="T99" fmla="*/ 1102 h 1228"/>
                <a:gd name="T100" fmla="*/ 98 w 604"/>
                <a:gd name="T101" fmla="*/ 1136 h 1228"/>
                <a:gd name="T102" fmla="*/ 116 w 604"/>
                <a:gd name="T103" fmla="*/ 1150 h 1228"/>
                <a:gd name="T104" fmla="*/ 149 w 604"/>
                <a:gd name="T105" fmla="*/ 1183 h 1228"/>
                <a:gd name="T106" fmla="*/ 176 w 604"/>
                <a:gd name="T107" fmla="*/ 1205 h 1228"/>
                <a:gd name="T108" fmla="*/ 186 w 604"/>
                <a:gd name="T109" fmla="*/ 1221 h 1228"/>
                <a:gd name="T110" fmla="*/ 233 w 604"/>
                <a:gd name="T111" fmla="*/ 1206 h 1228"/>
                <a:gd name="T112" fmla="*/ 259 w 604"/>
                <a:gd name="T113" fmla="*/ 1199 h 1228"/>
                <a:gd name="T114" fmla="*/ 293 w 604"/>
                <a:gd name="T115" fmla="*/ 1183 h 1228"/>
                <a:gd name="T116" fmla="*/ 318 w 604"/>
                <a:gd name="T117" fmla="*/ 1170 h 1228"/>
                <a:gd name="T118" fmla="*/ 342 w 604"/>
                <a:gd name="T119" fmla="*/ 1170 h 1228"/>
                <a:gd name="T120" fmla="*/ 365 w 604"/>
                <a:gd name="T121" fmla="*/ 1163 h 1228"/>
                <a:gd name="T122" fmla="*/ 400 w 604"/>
                <a:gd name="T123" fmla="*/ 1160 h 1228"/>
                <a:gd name="T124" fmla="*/ 488 w 604"/>
                <a:gd name="T125" fmla="*/ 1076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4" h="1228">
                  <a:moveTo>
                    <a:pt x="69" y="1217"/>
                  </a:moveTo>
                  <a:lnTo>
                    <a:pt x="69" y="1216"/>
                  </a:lnTo>
                  <a:lnTo>
                    <a:pt x="69" y="1216"/>
                  </a:lnTo>
                  <a:lnTo>
                    <a:pt x="67" y="1216"/>
                  </a:lnTo>
                  <a:lnTo>
                    <a:pt x="67" y="1217"/>
                  </a:lnTo>
                  <a:lnTo>
                    <a:pt x="67" y="1217"/>
                  </a:lnTo>
                  <a:lnTo>
                    <a:pt x="69" y="1219"/>
                  </a:lnTo>
                  <a:lnTo>
                    <a:pt x="69" y="1219"/>
                  </a:lnTo>
                  <a:lnTo>
                    <a:pt x="71" y="1219"/>
                  </a:lnTo>
                  <a:lnTo>
                    <a:pt x="71" y="1219"/>
                  </a:lnTo>
                  <a:lnTo>
                    <a:pt x="71" y="1217"/>
                  </a:lnTo>
                  <a:lnTo>
                    <a:pt x="69" y="1217"/>
                  </a:lnTo>
                  <a:close/>
                  <a:moveTo>
                    <a:pt x="75" y="1216"/>
                  </a:moveTo>
                  <a:lnTo>
                    <a:pt x="75" y="1216"/>
                  </a:lnTo>
                  <a:lnTo>
                    <a:pt x="75" y="1216"/>
                  </a:lnTo>
                  <a:lnTo>
                    <a:pt x="75" y="1216"/>
                  </a:lnTo>
                  <a:lnTo>
                    <a:pt x="73" y="1216"/>
                  </a:lnTo>
                  <a:lnTo>
                    <a:pt x="71" y="1214"/>
                  </a:lnTo>
                  <a:lnTo>
                    <a:pt x="71" y="1214"/>
                  </a:lnTo>
                  <a:lnTo>
                    <a:pt x="71" y="1216"/>
                  </a:lnTo>
                  <a:lnTo>
                    <a:pt x="71" y="1216"/>
                  </a:lnTo>
                  <a:lnTo>
                    <a:pt x="71" y="1216"/>
                  </a:lnTo>
                  <a:lnTo>
                    <a:pt x="71" y="1216"/>
                  </a:lnTo>
                  <a:lnTo>
                    <a:pt x="75" y="1217"/>
                  </a:lnTo>
                  <a:lnTo>
                    <a:pt x="75" y="1217"/>
                  </a:lnTo>
                  <a:lnTo>
                    <a:pt x="75" y="1216"/>
                  </a:lnTo>
                  <a:lnTo>
                    <a:pt x="73" y="1216"/>
                  </a:lnTo>
                  <a:lnTo>
                    <a:pt x="73" y="1216"/>
                  </a:lnTo>
                  <a:lnTo>
                    <a:pt x="75" y="1216"/>
                  </a:lnTo>
                  <a:close/>
                  <a:moveTo>
                    <a:pt x="44" y="1208"/>
                  </a:moveTo>
                  <a:lnTo>
                    <a:pt x="42" y="1208"/>
                  </a:lnTo>
                  <a:lnTo>
                    <a:pt x="42" y="1208"/>
                  </a:lnTo>
                  <a:lnTo>
                    <a:pt x="40" y="1210"/>
                  </a:lnTo>
                  <a:lnTo>
                    <a:pt x="38" y="1212"/>
                  </a:lnTo>
                  <a:lnTo>
                    <a:pt x="38" y="1214"/>
                  </a:lnTo>
                  <a:lnTo>
                    <a:pt x="40" y="1214"/>
                  </a:lnTo>
                  <a:lnTo>
                    <a:pt x="40" y="1214"/>
                  </a:lnTo>
                  <a:lnTo>
                    <a:pt x="40" y="1212"/>
                  </a:lnTo>
                  <a:lnTo>
                    <a:pt x="42" y="1212"/>
                  </a:lnTo>
                  <a:lnTo>
                    <a:pt x="42" y="1212"/>
                  </a:lnTo>
                  <a:lnTo>
                    <a:pt x="44" y="1212"/>
                  </a:lnTo>
                  <a:lnTo>
                    <a:pt x="47" y="1210"/>
                  </a:lnTo>
                  <a:lnTo>
                    <a:pt x="46" y="1210"/>
                  </a:lnTo>
                  <a:lnTo>
                    <a:pt x="44" y="1208"/>
                  </a:lnTo>
                  <a:close/>
                  <a:moveTo>
                    <a:pt x="55" y="1205"/>
                  </a:moveTo>
                  <a:lnTo>
                    <a:pt x="55" y="1205"/>
                  </a:lnTo>
                  <a:lnTo>
                    <a:pt x="55" y="1205"/>
                  </a:lnTo>
                  <a:lnTo>
                    <a:pt x="55" y="1205"/>
                  </a:lnTo>
                  <a:lnTo>
                    <a:pt x="55" y="1205"/>
                  </a:lnTo>
                  <a:lnTo>
                    <a:pt x="55" y="1205"/>
                  </a:lnTo>
                  <a:lnTo>
                    <a:pt x="55" y="1205"/>
                  </a:lnTo>
                  <a:lnTo>
                    <a:pt x="53" y="1205"/>
                  </a:lnTo>
                  <a:lnTo>
                    <a:pt x="53" y="1205"/>
                  </a:lnTo>
                  <a:lnTo>
                    <a:pt x="53" y="1205"/>
                  </a:lnTo>
                  <a:lnTo>
                    <a:pt x="53" y="1205"/>
                  </a:lnTo>
                  <a:lnTo>
                    <a:pt x="51" y="1205"/>
                  </a:lnTo>
                  <a:lnTo>
                    <a:pt x="51" y="1205"/>
                  </a:lnTo>
                  <a:lnTo>
                    <a:pt x="49" y="1208"/>
                  </a:lnTo>
                  <a:lnTo>
                    <a:pt x="49" y="1208"/>
                  </a:lnTo>
                  <a:lnTo>
                    <a:pt x="49" y="1208"/>
                  </a:lnTo>
                  <a:lnTo>
                    <a:pt x="51" y="1210"/>
                  </a:lnTo>
                  <a:lnTo>
                    <a:pt x="51" y="1208"/>
                  </a:lnTo>
                  <a:lnTo>
                    <a:pt x="51" y="1208"/>
                  </a:lnTo>
                  <a:lnTo>
                    <a:pt x="53" y="1208"/>
                  </a:lnTo>
                  <a:lnTo>
                    <a:pt x="53" y="1208"/>
                  </a:lnTo>
                  <a:lnTo>
                    <a:pt x="55" y="1208"/>
                  </a:lnTo>
                  <a:lnTo>
                    <a:pt x="55" y="1208"/>
                  </a:lnTo>
                  <a:lnTo>
                    <a:pt x="55" y="1208"/>
                  </a:lnTo>
                  <a:lnTo>
                    <a:pt x="55" y="1206"/>
                  </a:lnTo>
                  <a:lnTo>
                    <a:pt x="55" y="1206"/>
                  </a:lnTo>
                  <a:lnTo>
                    <a:pt x="55" y="1206"/>
                  </a:lnTo>
                  <a:lnTo>
                    <a:pt x="55" y="1206"/>
                  </a:lnTo>
                  <a:lnTo>
                    <a:pt x="55" y="1206"/>
                  </a:lnTo>
                  <a:lnTo>
                    <a:pt x="55" y="1206"/>
                  </a:lnTo>
                  <a:lnTo>
                    <a:pt x="55" y="1205"/>
                  </a:lnTo>
                  <a:lnTo>
                    <a:pt x="55" y="1205"/>
                  </a:lnTo>
                  <a:close/>
                  <a:moveTo>
                    <a:pt x="46" y="1205"/>
                  </a:moveTo>
                  <a:lnTo>
                    <a:pt x="44" y="1206"/>
                  </a:lnTo>
                  <a:lnTo>
                    <a:pt x="44" y="1206"/>
                  </a:lnTo>
                  <a:lnTo>
                    <a:pt x="44" y="1208"/>
                  </a:lnTo>
                  <a:lnTo>
                    <a:pt x="46" y="1206"/>
                  </a:lnTo>
                  <a:lnTo>
                    <a:pt x="47" y="1206"/>
                  </a:lnTo>
                  <a:lnTo>
                    <a:pt x="47" y="1203"/>
                  </a:lnTo>
                  <a:lnTo>
                    <a:pt x="47" y="1203"/>
                  </a:lnTo>
                  <a:lnTo>
                    <a:pt x="46" y="1205"/>
                  </a:lnTo>
                  <a:close/>
                  <a:moveTo>
                    <a:pt x="51" y="1205"/>
                  </a:moveTo>
                  <a:lnTo>
                    <a:pt x="51" y="1205"/>
                  </a:lnTo>
                  <a:lnTo>
                    <a:pt x="51" y="1203"/>
                  </a:lnTo>
                  <a:lnTo>
                    <a:pt x="51" y="1203"/>
                  </a:lnTo>
                  <a:lnTo>
                    <a:pt x="51" y="1203"/>
                  </a:lnTo>
                  <a:lnTo>
                    <a:pt x="51" y="1203"/>
                  </a:lnTo>
                  <a:lnTo>
                    <a:pt x="51" y="1203"/>
                  </a:lnTo>
                  <a:lnTo>
                    <a:pt x="51" y="1203"/>
                  </a:lnTo>
                  <a:lnTo>
                    <a:pt x="51" y="1203"/>
                  </a:lnTo>
                  <a:lnTo>
                    <a:pt x="49" y="1203"/>
                  </a:lnTo>
                  <a:lnTo>
                    <a:pt x="47" y="1205"/>
                  </a:lnTo>
                  <a:lnTo>
                    <a:pt x="47" y="1206"/>
                  </a:lnTo>
                  <a:lnTo>
                    <a:pt x="49" y="1206"/>
                  </a:lnTo>
                  <a:lnTo>
                    <a:pt x="51" y="1205"/>
                  </a:lnTo>
                  <a:lnTo>
                    <a:pt x="51" y="1205"/>
                  </a:lnTo>
                  <a:close/>
                  <a:moveTo>
                    <a:pt x="35" y="1206"/>
                  </a:moveTo>
                  <a:lnTo>
                    <a:pt x="35" y="1203"/>
                  </a:lnTo>
                  <a:lnTo>
                    <a:pt x="33" y="1201"/>
                  </a:lnTo>
                  <a:lnTo>
                    <a:pt x="31" y="1201"/>
                  </a:lnTo>
                  <a:lnTo>
                    <a:pt x="29" y="1201"/>
                  </a:lnTo>
                  <a:lnTo>
                    <a:pt x="28" y="1203"/>
                  </a:lnTo>
                  <a:lnTo>
                    <a:pt x="26" y="1203"/>
                  </a:lnTo>
                  <a:lnTo>
                    <a:pt x="26" y="1205"/>
                  </a:lnTo>
                  <a:lnTo>
                    <a:pt x="28" y="1206"/>
                  </a:lnTo>
                  <a:lnTo>
                    <a:pt x="28" y="1206"/>
                  </a:lnTo>
                  <a:lnTo>
                    <a:pt x="29" y="1206"/>
                  </a:lnTo>
                  <a:lnTo>
                    <a:pt x="31" y="1208"/>
                  </a:lnTo>
                  <a:lnTo>
                    <a:pt x="31" y="1210"/>
                  </a:lnTo>
                  <a:lnTo>
                    <a:pt x="29" y="1210"/>
                  </a:lnTo>
                  <a:lnTo>
                    <a:pt x="31" y="1210"/>
                  </a:lnTo>
                  <a:lnTo>
                    <a:pt x="31" y="1210"/>
                  </a:lnTo>
                  <a:lnTo>
                    <a:pt x="33" y="1210"/>
                  </a:lnTo>
                  <a:lnTo>
                    <a:pt x="33" y="1210"/>
                  </a:lnTo>
                  <a:lnTo>
                    <a:pt x="33" y="1212"/>
                  </a:lnTo>
                  <a:lnTo>
                    <a:pt x="33" y="1212"/>
                  </a:lnTo>
                  <a:lnTo>
                    <a:pt x="35" y="1210"/>
                  </a:lnTo>
                  <a:lnTo>
                    <a:pt x="37" y="1210"/>
                  </a:lnTo>
                  <a:lnTo>
                    <a:pt x="35" y="1208"/>
                  </a:lnTo>
                  <a:lnTo>
                    <a:pt x="35" y="1206"/>
                  </a:lnTo>
                  <a:close/>
                  <a:moveTo>
                    <a:pt x="38" y="1199"/>
                  </a:moveTo>
                  <a:lnTo>
                    <a:pt x="40" y="1197"/>
                  </a:lnTo>
                  <a:lnTo>
                    <a:pt x="38" y="1196"/>
                  </a:lnTo>
                  <a:lnTo>
                    <a:pt x="37" y="1196"/>
                  </a:lnTo>
                  <a:lnTo>
                    <a:pt x="37" y="1196"/>
                  </a:lnTo>
                  <a:lnTo>
                    <a:pt x="38" y="1197"/>
                  </a:lnTo>
                  <a:lnTo>
                    <a:pt x="37" y="1199"/>
                  </a:lnTo>
                  <a:lnTo>
                    <a:pt x="37" y="1197"/>
                  </a:lnTo>
                  <a:lnTo>
                    <a:pt x="35" y="1196"/>
                  </a:lnTo>
                  <a:lnTo>
                    <a:pt x="35" y="1196"/>
                  </a:lnTo>
                  <a:lnTo>
                    <a:pt x="35" y="1197"/>
                  </a:lnTo>
                  <a:lnTo>
                    <a:pt x="35" y="1199"/>
                  </a:lnTo>
                  <a:lnTo>
                    <a:pt x="35" y="1201"/>
                  </a:lnTo>
                  <a:lnTo>
                    <a:pt x="35" y="1201"/>
                  </a:lnTo>
                  <a:lnTo>
                    <a:pt x="37" y="1203"/>
                  </a:lnTo>
                  <a:lnTo>
                    <a:pt x="37" y="1203"/>
                  </a:lnTo>
                  <a:lnTo>
                    <a:pt x="37" y="1203"/>
                  </a:lnTo>
                  <a:lnTo>
                    <a:pt x="38" y="1203"/>
                  </a:lnTo>
                  <a:lnTo>
                    <a:pt x="38" y="1203"/>
                  </a:lnTo>
                  <a:lnTo>
                    <a:pt x="38" y="1201"/>
                  </a:lnTo>
                  <a:lnTo>
                    <a:pt x="38" y="1199"/>
                  </a:lnTo>
                  <a:close/>
                  <a:moveTo>
                    <a:pt x="58" y="1197"/>
                  </a:moveTo>
                  <a:lnTo>
                    <a:pt x="58" y="1196"/>
                  </a:lnTo>
                  <a:lnTo>
                    <a:pt x="58" y="1196"/>
                  </a:lnTo>
                  <a:lnTo>
                    <a:pt x="58" y="1196"/>
                  </a:lnTo>
                  <a:lnTo>
                    <a:pt x="56" y="1194"/>
                  </a:lnTo>
                  <a:lnTo>
                    <a:pt x="56" y="1196"/>
                  </a:lnTo>
                  <a:lnTo>
                    <a:pt x="56" y="1196"/>
                  </a:lnTo>
                  <a:lnTo>
                    <a:pt x="56" y="1197"/>
                  </a:lnTo>
                  <a:lnTo>
                    <a:pt x="56" y="1197"/>
                  </a:lnTo>
                  <a:lnTo>
                    <a:pt x="58" y="1199"/>
                  </a:lnTo>
                  <a:lnTo>
                    <a:pt x="58" y="1199"/>
                  </a:lnTo>
                  <a:lnTo>
                    <a:pt x="58" y="1197"/>
                  </a:lnTo>
                  <a:lnTo>
                    <a:pt x="58" y="1197"/>
                  </a:lnTo>
                  <a:lnTo>
                    <a:pt x="58" y="1197"/>
                  </a:lnTo>
                  <a:close/>
                  <a:moveTo>
                    <a:pt x="58" y="1187"/>
                  </a:moveTo>
                  <a:lnTo>
                    <a:pt x="58" y="1187"/>
                  </a:lnTo>
                  <a:lnTo>
                    <a:pt x="58" y="1188"/>
                  </a:lnTo>
                  <a:lnTo>
                    <a:pt x="58" y="1188"/>
                  </a:lnTo>
                  <a:lnTo>
                    <a:pt x="58" y="1190"/>
                  </a:lnTo>
                  <a:lnTo>
                    <a:pt x="58" y="1190"/>
                  </a:lnTo>
                  <a:lnTo>
                    <a:pt x="60" y="1190"/>
                  </a:lnTo>
                  <a:lnTo>
                    <a:pt x="60" y="1188"/>
                  </a:lnTo>
                  <a:lnTo>
                    <a:pt x="60" y="1188"/>
                  </a:lnTo>
                  <a:lnTo>
                    <a:pt x="58" y="1187"/>
                  </a:lnTo>
                  <a:close/>
                  <a:moveTo>
                    <a:pt x="8" y="1190"/>
                  </a:moveTo>
                  <a:lnTo>
                    <a:pt x="8" y="1190"/>
                  </a:lnTo>
                  <a:lnTo>
                    <a:pt x="8" y="1190"/>
                  </a:lnTo>
                  <a:lnTo>
                    <a:pt x="6" y="1188"/>
                  </a:lnTo>
                  <a:lnTo>
                    <a:pt x="6" y="1188"/>
                  </a:lnTo>
                  <a:lnTo>
                    <a:pt x="6" y="1187"/>
                  </a:lnTo>
                  <a:lnTo>
                    <a:pt x="6" y="1187"/>
                  </a:lnTo>
                  <a:lnTo>
                    <a:pt x="6" y="1185"/>
                  </a:lnTo>
                  <a:lnTo>
                    <a:pt x="4" y="1185"/>
                  </a:lnTo>
                  <a:lnTo>
                    <a:pt x="4" y="1183"/>
                  </a:lnTo>
                  <a:lnTo>
                    <a:pt x="4" y="1183"/>
                  </a:lnTo>
                  <a:lnTo>
                    <a:pt x="2" y="1185"/>
                  </a:lnTo>
                  <a:lnTo>
                    <a:pt x="2" y="1185"/>
                  </a:lnTo>
                  <a:lnTo>
                    <a:pt x="2" y="1187"/>
                  </a:lnTo>
                  <a:lnTo>
                    <a:pt x="0" y="1187"/>
                  </a:lnTo>
                  <a:lnTo>
                    <a:pt x="0" y="1188"/>
                  </a:lnTo>
                  <a:lnTo>
                    <a:pt x="0" y="1188"/>
                  </a:lnTo>
                  <a:lnTo>
                    <a:pt x="0" y="1190"/>
                  </a:lnTo>
                  <a:lnTo>
                    <a:pt x="0" y="1190"/>
                  </a:lnTo>
                  <a:lnTo>
                    <a:pt x="0" y="1190"/>
                  </a:lnTo>
                  <a:lnTo>
                    <a:pt x="0" y="1192"/>
                  </a:lnTo>
                  <a:lnTo>
                    <a:pt x="0" y="1192"/>
                  </a:lnTo>
                  <a:lnTo>
                    <a:pt x="0" y="1192"/>
                  </a:lnTo>
                  <a:lnTo>
                    <a:pt x="0" y="1196"/>
                  </a:lnTo>
                  <a:lnTo>
                    <a:pt x="2" y="1196"/>
                  </a:lnTo>
                  <a:lnTo>
                    <a:pt x="2" y="1197"/>
                  </a:lnTo>
                  <a:lnTo>
                    <a:pt x="4" y="1196"/>
                  </a:lnTo>
                  <a:lnTo>
                    <a:pt x="4" y="1196"/>
                  </a:lnTo>
                  <a:lnTo>
                    <a:pt x="4" y="1194"/>
                  </a:lnTo>
                  <a:lnTo>
                    <a:pt x="4" y="1192"/>
                  </a:lnTo>
                  <a:lnTo>
                    <a:pt x="4" y="1190"/>
                  </a:lnTo>
                  <a:lnTo>
                    <a:pt x="4" y="1190"/>
                  </a:lnTo>
                  <a:lnTo>
                    <a:pt x="6" y="1194"/>
                  </a:lnTo>
                  <a:lnTo>
                    <a:pt x="6" y="1194"/>
                  </a:lnTo>
                  <a:lnTo>
                    <a:pt x="8" y="1194"/>
                  </a:lnTo>
                  <a:lnTo>
                    <a:pt x="8" y="1194"/>
                  </a:lnTo>
                  <a:lnTo>
                    <a:pt x="8" y="1194"/>
                  </a:lnTo>
                  <a:lnTo>
                    <a:pt x="8" y="1194"/>
                  </a:lnTo>
                  <a:lnTo>
                    <a:pt x="8" y="1192"/>
                  </a:lnTo>
                  <a:lnTo>
                    <a:pt x="8" y="1190"/>
                  </a:lnTo>
                  <a:close/>
                  <a:moveTo>
                    <a:pt x="44" y="1185"/>
                  </a:moveTo>
                  <a:lnTo>
                    <a:pt x="44" y="1187"/>
                  </a:lnTo>
                  <a:lnTo>
                    <a:pt x="44" y="1188"/>
                  </a:lnTo>
                  <a:lnTo>
                    <a:pt x="44" y="1188"/>
                  </a:lnTo>
                  <a:lnTo>
                    <a:pt x="44" y="1188"/>
                  </a:lnTo>
                  <a:lnTo>
                    <a:pt x="44" y="1190"/>
                  </a:lnTo>
                  <a:lnTo>
                    <a:pt x="44" y="1190"/>
                  </a:lnTo>
                  <a:lnTo>
                    <a:pt x="44" y="1190"/>
                  </a:lnTo>
                  <a:lnTo>
                    <a:pt x="46" y="1185"/>
                  </a:lnTo>
                  <a:lnTo>
                    <a:pt x="46" y="1185"/>
                  </a:lnTo>
                  <a:lnTo>
                    <a:pt x="46" y="1185"/>
                  </a:lnTo>
                  <a:lnTo>
                    <a:pt x="46" y="1183"/>
                  </a:lnTo>
                  <a:lnTo>
                    <a:pt x="46" y="1183"/>
                  </a:lnTo>
                  <a:lnTo>
                    <a:pt x="46" y="1183"/>
                  </a:lnTo>
                  <a:lnTo>
                    <a:pt x="44" y="1183"/>
                  </a:lnTo>
                  <a:lnTo>
                    <a:pt x="42" y="1183"/>
                  </a:lnTo>
                  <a:lnTo>
                    <a:pt x="42" y="1185"/>
                  </a:lnTo>
                  <a:lnTo>
                    <a:pt x="42" y="1187"/>
                  </a:lnTo>
                  <a:lnTo>
                    <a:pt x="42" y="1187"/>
                  </a:lnTo>
                  <a:lnTo>
                    <a:pt x="44" y="1185"/>
                  </a:lnTo>
                  <a:close/>
                  <a:moveTo>
                    <a:pt x="66" y="1181"/>
                  </a:moveTo>
                  <a:lnTo>
                    <a:pt x="66" y="1181"/>
                  </a:lnTo>
                  <a:lnTo>
                    <a:pt x="64" y="1181"/>
                  </a:lnTo>
                  <a:lnTo>
                    <a:pt x="64" y="1183"/>
                  </a:lnTo>
                  <a:lnTo>
                    <a:pt x="64" y="1187"/>
                  </a:lnTo>
                  <a:lnTo>
                    <a:pt x="66" y="1187"/>
                  </a:lnTo>
                  <a:lnTo>
                    <a:pt x="66" y="1185"/>
                  </a:lnTo>
                  <a:lnTo>
                    <a:pt x="66" y="1185"/>
                  </a:lnTo>
                  <a:lnTo>
                    <a:pt x="67" y="1185"/>
                  </a:lnTo>
                  <a:lnTo>
                    <a:pt x="67" y="1185"/>
                  </a:lnTo>
                  <a:lnTo>
                    <a:pt x="67" y="1183"/>
                  </a:lnTo>
                  <a:lnTo>
                    <a:pt x="67" y="1183"/>
                  </a:lnTo>
                  <a:lnTo>
                    <a:pt x="66" y="1181"/>
                  </a:lnTo>
                  <a:close/>
                  <a:moveTo>
                    <a:pt x="64" y="1176"/>
                  </a:moveTo>
                  <a:lnTo>
                    <a:pt x="64" y="1174"/>
                  </a:lnTo>
                  <a:lnTo>
                    <a:pt x="64" y="1174"/>
                  </a:lnTo>
                  <a:lnTo>
                    <a:pt x="64" y="1172"/>
                  </a:lnTo>
                  <a:lnTo>
                    <a:pt x="62" y="1172"/>
                  </a:lnTo>
                  <a:lnTo>
                    <a:pt x="62" y="1172"/>
                  </a:lnTo>
                  <a:lnTo>
                    <a:pt x="62" y="1174"/>
                  </a:lnTo>
                  <a:lnTo>
                    <a:pt x="62" y="1174"/>
                  </a:lnTo>
                  <a:lnTo>
                    <a:pt x="62" y="1174"/>
                  </a:lnTo>
                  <a:lnTo>
                    <a:pt x="62" y="1174"/>
                  </a:lnTo>
                  <a:lnTo>
                    <a:pt x="62" y="1176"/>
                  </a:lnTo>
                  <a:lnTo>
                    <a:pt x="62" y="1176"/>
                  </a:lnTo>
                  <a:lnTo>
                    <a:pt x="62" y="1178"/>
                  </a:lnTo>
                  <a:lnTo>
                    <a:pt x="62" y="1178"/>
                  </a:lnTo>
                  <a:lnTo>
                    <a:pt x="62" y="1178"/>
                  </a:lnTo>
                  <a:lnTo>
                    <a:pt x="62" y="1178"/>
                  </a:lnTo>
                  <a:lnTo>
                    <a:pt x="64" y="1178"/>
                  </a:lnTo>
                  <a:lnTo>
                    <a:pt x="64" y="1176"/>
                  </a:lnTo>
                  <a:lnTo>
                    <a:pt x="64" y="1176"/>
                  </a:lnTo>
                  <a:close/>
                  <a:moveTo>
                    <a:pt x="28" y="1201"/>
                  </a:moveTo>
                  <a:lnTo>
                    <a:pt x="28" y="1199"/>
                  </a:lnTo>
                  <a:lnTo>
                    <a:pt x="28" y="1199"/>
                  </a:lnTo>
                  <a:lnTo>
                    <a:pt x="26" y="1199"/>
                  </a:lnTo>
                  <a:lnTo>
                    <a:pt x="26" y="1199"/>
                  </a:lnTo>
                  <a:lnTo>
                    <a:pt x="26" y="1197"/>
                  </a:lnTo>
                  <a:lnTo>
                    <a:pt x="26" y="1197"/>
                  </a:lnTo>
                  <a:lnTo>
                    <a:pt x="26" y="1196"/>
                  </a:lnTo>
                  <a:lnTo>
                    <a:pt x="26" y="1192"/>
                  </a:lnTo>
                  <a:lnTo>
                    <a:pt x="26" y="1192"/>
                  </a:lnTo>
                  <a:lnTo>
                    <a:pt x="26" y="1194"/>
                  </a:lnTo>
                  <a:lnTo>
                    <a:pt x="26" y="1194"/>
                  </a:lnTo>
                  <a:lnTo>
                    <a:pt x="26" y="1194"/>
                  </a:lnTo>
                  <a:lnTo>
                    <a:pt x="24" y="1194"/>
                  </a:lnTo>
                  <a:lnTo>
                    <a:pt x="24" y="1194"/>
                  </a:lnTo>
                  <a:lnTo>
                    <a:pt x="24" y="1192"/>
                  </a:lnTo>
                  <a:lnTo>
                    <a:pt x="22" y="1192"/>
                  </a:lnTo>
                  <a:lnTo>
                    <a:pt x="22" y="1192"/>
                  </a:lnTo>
                  <a:lnTo>
                    <a:pt x="20" y="1190"/>
                  </a:lnTo>
                  <a:lnTo>
                    <a:pt x="20" y="1188"/>
                  </a:lnTo>
                  <a:lnTo>
                    <a:pt x="20" y="1188"/>
                  </a:lnTo>
                  <a:lnTo>
                    <a:pt x="20" y="1187"/>
                  </a:lnTo>
                  <a:lnTo>
                    <a:pt x="22" y="1187"/>
                  </a:lnTo>
                  <a:lnTo>
                    <a:pt x="22" y="1188"/>
                  </a:lnTo>
                  <a:lnTo>
                    <a:pt x="22" y="1188"/>
                  </a:lnTo>
                  <a:lnTo>
                    <a:pt x="22" y="1190"/>
                  </a:lnTo>
                  <a:lnTo>
                    <a:pt x="22" y="1190"/>
                  </a:lnTo>
                  <a:lnTo>
                    <a:pt x="26" y="1192"/>
                  </a:lnTo>
                  <a:lnTo>
                    <a:pt x="26" y="1190"/>
                  </a:lnTo>
                  <a:lnTo>
                    <a:pt x="26" y="1190"/>
                  </a:lnTo>
                  <a:lnTo>
                    <a:pt x="26" y="1188"/>
                  </a:lnTo>
                  <a:lnTo>
                    <a:pt x="26" y="1188"/>
                  </a:lnTo>
                  <a:lnTo>
                    <a:pt x="26" y="1187"/>
                  </a:lnTo>
                  <a:lnTo>
                    <a:pt x="24" y="1185"/>
                  </a:lnTo>
                  <a:lnTo>
                    <a:pt x="24" y="1183"/>
                  </a:lnTo>
                  <a:lnTo>
                    <a:pt x="24" y="1181"/>
                  </a:lnTo>
                  <a:lnTo>
                    <a:pt x="24" y="1183"/>
                  </a:lnTo>
                  <a:lnTo>
                    <a:pt x="26" y="1181"/>
                  </a:lnTo>
                  <a:lnTo>
                    <a:pt x="26" y="1181"/>
                  </a:lnTo>
                  <a:lnTo>
                    <a:pt x="26" y="1179"/>
                  </a:lnTo>
                  <a:lnTo>
                    <a:pt x="26" y="1178"/>
                  </a:lnTo>
                  <a:lnTo>
                    <a:pt x="28" y="1179"/>
                  </a:lnTo>
                  <a:lnTo>
                    <a:pt x="28" y="1181"/>
                  </a:lnTo>
                  <a:lnTo>
                    <a:pt x="26" y="1183"/>
                  </a:lnTo>
                  <a:lnTo>
                    <a:pt x="26" y="1185"/>
                  </a:lnTo>
                  <a:lnTo>
                    <a:pt x="26" y="1187"/>
                  </a:lnTo>
                  <a:lnTo>
                    <a:pt x="28" y="1187"/>
                  </a:lnTo>
                  <a:lnTo>
                    <a:pt x="28" y="1188"/>
                  </a:lnTo>
                  <a:lnTo>
                    <a:pt x="28" y="1190"/>
                  </a:lnTo>
                  <a:lnTo>
                    <a:pt x="28" y="1190"/>
                  </a:lnTo>
                  <a:lnTo>
                    <a:pt x="29" y="1187"/>
                  </a:lnTo>
                  <a:lnTo>
                    <a:pt x="29" y="1187"/>
                  </a:lnTo>
                  <a:lnTo>
                    <a:pt x="31" y="1185"/>
                  </a:lnTo>
                  <a:lnTo>
                    <a:pt x="33" y="1185"/>
                  </a:lnTo>
                  <a:lnTo>
                    <a:pt x="33" y="1187"/>
                  </a:lnTo>
                  <a:lnTo>
                    <a:pt x="31" y="1187"/>
                  </a:lnTo>
                  <a:lnTo>
                    <a:pt x="29" y="1188"/>
                  </a:lnTo>
                  <a:lnTo>
                    <a:pt x="29" y="1188"/>
                  </a:lnTo>
                  <a:lnTo>
                    <a:pt x="29" y="1190"/>
                  </a:lnTo>
                  <a:lnTo>
                    <a:pt x="29" y="1192"/>
                  </a:lnTo>
                  <a:lnTo>
                    <a:pt x="29" y="1192"/>
                  </a:lnTo>
                  <a:lnTo>
                    <a:pt x="31" y="1192"/>
                  </a:lnTo>
                  <a:lnTo>
                    <a:pt x="31" y="1192"/>
                  </a:lnTo>
                  <a:lnTo>
                    <a:pt x="33" y="1192"/>
                  </a:lnTo>
                  <a:lnTo>
                    <a:pt x="33" y="1194"/>
                  </a:lnTo>
                  <a:lnTo>
                    <a:pt x="33" y="1192"/>
                  </a:lnTo>
                  <a:lnTo>
                    <a:pt x="33" y="1192"/>
                  </a:lnTo>
                  <a:lnTo>
                    <a:pt x="33" y="1190"/>
                  </a:lnTo>
                  <a:lnTo>
                    <a:pt x="35" y="1190"/>
                  </a:lnTo>
                  <a:lnTo>
                    <a:pt x="35" y="1190"/>
                  </a:lnTo>
                  <a:lnTo>
                    <a:pt x="35" y="1190"/>
                  </a:lnTo>
                  <a:lnTo>
                    <a:pt x="35" y="1190"/>
                  </a:lnTo>
                  <a:lnTo>
                    <a:pt x="37" y="1190"/>
                  </a:lnTo>
                  <a:lnTo>
                    <a:pt x="35" y="1188"/>
                  </a:lnTo>
                  <a:lnTo>
                    <a:pt x="35" y="1187"/>
                  </a:lnTo>
                  <a:lnTo>
                    <a:pt x="37" y="1187"/>
                  </a:lnTo>
                  <a:lnTo>
                    <a:pt x="37" y="1185"/>
                  </a:lnTo>
                  <a:lnTo>
                    <a:pt x="38" y="1181"/>
                  </a:lnTo>
                  <a:lnTo>
                    <a:pt x="37" y="1181"/>
                  </a:lnTo>
                  <a:lnTo>
                    <a:pt x="35" y="1181"/>
                  </a:lnTo>
                  <a:lnTo>
                    <a:pt x="35" y="1181"/>
                  </a:lnTo>
                  <a:lnTo>
                    <a:pt x="35" y="1181"/>
                  </a:lnTo>
                  <a:lnTo>
                    <a:pt x="33" y="1181"/>
                  </a:lnTo>
                  <a:lnTo>
                    <a:pt x="35" y="1178"/>
                  </a:lnTo>
                  <a:lnTo>
                    <a:pt x="33" y="1178"/>
                  </a:lnTo>
                  <a:lnTo>
                    <a:pt x="31" y="1176"/>
                  </a:lnTo>
                  <a:lnTo>
                    <a:pt x="29" y="1174"/>
                  </a:lnTo>
                  <a:lnTo>
                    <a:pt x="29" y="1174"/>
                  </a:lnTo>
                  <a:lnTo>
                    <a:pt x="29" y="1174"/>
                  </a:lnTo>
                  <a:lnTo>
                    <a:pt x="28" y="1174"/>
                  </a:lnTo>
                  <a:lnTo>
                    <a:pt x="26" y="1174"/>
                  </a:lnTo>
                  <a:lnTo>
                    <a:pt x="26" y="1174"/>
                  </a:lnTo>
                  <a:lnTo>
                    <a:pt x="26" y="1174"/>
                  </a:lnTo>
                  <a:lnTo>
                    <a:pt x="26" y="1176"/>
                  </a:lnTo>
                  <a:lnTo>
                    <a:pt x="26" y="1176"/>
                  </a:lnTo>
                  <a:lnTo>
                    <a:pt x="24" y="1174"/>
                  </a:lnTo>
                  <a:lnTo>
                    <a:pt x="22" y="1174"/>
                  </a:lnTo>
                  <a:lnTo>
                    <a:pt x="20" y="1174"/>
                  </a:lnTo>
                  <a:lnTo>
                    <a:pt x="20" y="1172"/>
                  </a:lnTo>
                  <a:lnTo>
                    <a:pt x="20" y="1170"/>
                  </a:lnTo>
                  <a:lnTo>
                    <a:pt x="20" y="1169"/>
                  </a:lnTo>
                  <a:lnTo>
                    <a:pt x="19" y="1169"/>
                  </a:lnTo>
                  <a:lnTo>
                    <a:pt x="17" y="1169"/>
                  </a:lnTo>
                  <a:lnTo>
                    <a:pt x="17" y="1170"/>
                  </a:lnTo>
                  <a:lnTo>
                    <a:pt x="15" y="1170"/>
                  </a:lnTo>
                  <a:lnTo>
                    <a:pt x="15" y="1172"/>
                  </a:lnTo>
                  <a:lnTo>
                    <a:pt x="15" y="1172"/>
                  </a:lnTo>
                  <a:lnTo>
                    <a:pt x="15" y="1174"/>
                  </a:lnTo>
                  <a:lnTo>
                    <a:pt x="13" y="1174"/>
                  </a:lnTo>
                  <a:lnTo>
                    <a:pt x="15" y="1174"/>
                  </a:lnTo>
                  <a:lnTo>
                    <a:pt x="15" y="1176"/>
                  </a:lnTo>
                  <a:lnTo>
                    <a:pt x="17" y="1176"/>
                  </a:lnTo>
                  <a:lnTo>
                    <a:pt x="17" y="1178"/>
                  </a:lnTo>
                  <a:lnTo>
                    <a:pt x="17" y="1178"/>
                  </a:lnTo>
                  <a:lnTo>
                    <a:pt x="19" y="1178"/>
                  </a:lnTo>
                  <a:lnTo>
                    <a:pt x="19" y="1176"/>
                  </a:lnTo>
                  <a:lnTo>
                    <a:pt x="19" y="1176"/>
                  </a:lnTo>
                  <a:lnTo>
                    <a:pt x="19" y="1176"/>
                  </a:lnTo>
                  <a:lnTo>
                    <a:pt x="19" y="1176"/>
                  </a:lnTo>
                  <a:lnTo>
                    <a:pt x="19" y="1176"/>
                  </a:lnTo>
                  <a:lnTo>
                    <a:pt x="20" y="1178"/>
                  </a:lnTo>
                  <a:lnTo>
                    <a:pt x="20" y="1178"/>
                  </a:lnTo>
                  <a:lnTo>
                    <a:pt x="20" y="1179"/>
                  </a:lnTo>
                  <a:lnTo>
                    <a:pt x="20" y="1181"/>
                  </a:lnTo>
                  <a:lnTo>
                    <a:pt x="20" y="1181"/>
                  </a:lnTo>
                  <a:lnTo>
                    <a:pt x="20" y="1183"/>
                  </a:lnTo>
                  <a:lnTo>
                    <a:pt x="20" y="1183"/>
                  </a:lnTo>
                  <a:lnTo>
                    <a:pt x="19" y="1183"/>
                  </a:lnTo>
                  <a:lnTo>
                    <a:pt x="19" y="1181"/>
                  </a:lnTo>
                  <a:lnTo>
                    <a:pt x="19" y="1181"/>
                  </a:lnTo>
                  <a:lnTo>
                    <a:pt x="19" y="1179"/>
                  </a:lnTo>
                  <a:lnTo>
                    <a:pt x="19" y="1181"/>
                  </a:lnTo>
                  <a:lnTo>
                    <a:pt x="19" y="1183"/>
                  </a:lnTo>
                  <a:lnTo>
                    <a:pt x="19" y="1183"/>
                  </a:lnTo>
                  <a:lnTo>
                    <a:pt x="17" y="1185"/>
                  </a:lnTo>
                  <a:lnTo>
                    <a:pt x="17" y="1188"/>
                  </a:lnTo>
                  <a:lnTo>
                    <a:pt x="17" y="1187"/>
                  </a:lnTo>
                  <a:lnTo>
                    <a:pt x="15" y="1187"/>
                  </a:lnTo>
                  <a:lnTo>
                    <a:pt x="15" y="1187"/>
                  </a:lnTo>
                  <a:lnTo>
                    <a:pt x="15" y="1188"/>
                  </a:lnTo>
                  <a:lnTo>
                    <a:pt x="15" y="1190"/>
                  </a:lnTo>
                  <a:lnTo>
                    <a:pt x="15" y="1190"/>
                  </a:lnTo>
                  <a:lnTo>
                    <a:pt x="15" y="1190"/>
                  </a:lnTo>
                  <a:lnTo>
                    <a:pt x="13" y="1190"/>
                  </a:lnTo>
                  <a:lnTo>
                    <a:pt x="13" y="1187"/>
                  </a:lnTo>
                  <a:lnTo>
                    <a:pt x="13" y="1187"/>
                  </a:lnTo>
                  <a:lnTo>
                    <a:pt x="13" y="1185"/>
                  </a:lnTo>
                  <a:lnTo>
                    <a:pt x="13" y="1185"/>
                  </a:lnTo>
                  <a:lnTo>
                    <a:pt x="13" y="1183"/>
                  </a:lnTo>
                  <a:lnTo>
                    <a:pt x="15" y="1179"/>
                  </a:lnTo>
                  <a:lnTo>
                    <a:pt x="13" y="1179"/>
                  </a:lnTo>
                  <a:lnTo>
                    <a:pt x="13" y="1179"/>
                  </a:lnTo>
                  <a:lnTo>
                    <a:pt x="13" y="1179"/>
                  </a:lnTo>
                  <a:lnTo>
                    <a:pt x="13" y="1179"/>
                  </a:lnTo>
                  <a:lnTo>
                    <a:pt x="11" y="1179"/>
                  </a:lnTo>
                  <a:lnTo>
                    <a:pt x="13" y="1179"/>
                  </a:lnTo>
                  <a:lnTo>
                    <a:pt x="13" y="1181"/>
                  </a:lnTo>
                  <a:lnTo>
                    <a:pt x="13" y="1181"/>
                  </a:lnTo>
                  <a:lnTo>
                    <a:pt x="11" y="1183"/>
                  </a:lnTo>
                  <a:lnTo>
                    <a:pt x="10" y="1183"/>
                  </a:lnTo>
                  <a:lnTo>
                    <a:pt x="10" y="1183"/>
                  </a:lnTo>
                  <a:lnTo>
                    <a:pt x="10" y="1183"/>
                  </a:lnTo>
                  <a:lnTo>
                    <a:pt x="10" y="1185"/>
                  </a:lnTo>
                  <a:lnTo>
                    <a:pt x="10" y="1187"/>
                  </a:lnTo>
                  <a:lnTo>
                    <a:pt x="10" y="1185"/>
                  </a:lnTo>
                  <a:lnTo>
                    <a:pt x="8" y="1183"/>
                  </a:lnTo>
                  <a:lnTo>
                    <a:pt x="8" y="1183"/>
                  </a:lnTo>
                  <a:lnTo>
                    <a:pt x="6" y="1183"/>
                  </a:lnTo>
                  <a:lnTo>
                    <a:pt x="8" y="1187"/>
                  </a:lnTo>
                  <a:lnTo>
                    <a:pt x="8" y="1188"/>
                  </a:lnTo>
                  <a:lnTo>
                    <a:pt x="8" y="1188"/>
                  </a:lnTo>
                  <a:lnTo>
                    <a:pt x="10" y="1190"/>
                  </a:lnTo>
                  <a:lnTo>
                    <a:pt x="10" y="1192"/>
                  </a:lnTo>
                  <a:lnTo>
                    <a:pt x="10" y="1196"/>
                  </a:lnTo>
                  <a:lnTo>
                    <a:pt x="11" y="1199"/>
                  </a:lnTo>
                  <a:lnTo>
                    <a:pt x="13" y="1203"/>
                  </a:lnTo>
                  <a:lnTo>
                    <a:pt x="13" y="1201"/>
                  </a:lnTo>
                  <a:lnTo>
                    <a:pt x="13" y="1201"/>
                  </a:lnTo>
                  <a:lnTo>
                    <a:pt x="15" y="1199"/>
                  </a:lnTo>
                  <a:lnTo>
                    <a:pt x="15" y="1201"/>
                  </a:lnTo>
                  <a:lnTo>
                    <a:pt x="15" y="1201"/>
                  </a:lnTo>
                  <a:lnTo>
                    <a:pt x="17" y="1201"/>
                  </a:lnTo>
                  <a:lnTo>
                    <a:pt x="17" y="1201"/>
                  </a:lnTo>
                  <a:lnTo>
                    <a:pt x="17" y="1201"/>
                  </a:lnTo>
                  <a:lnTo>
                    <a:pt x="19" y="1201"/>
                  </a:lnTo>
                  <a:lnTo>
                    <a:pt x="19" y="1201"/>
                  </a:lnTo>
                  <a:lnTo>
                    <a:pt x="19" y="1201"/>
                  </a:lnTo>
                  <a:lnTo>
                    <a:pt x="19" y="1199"/>
                  </a:lnTo>
                  <a:lnTo>
                    <a:pt x="20" y="1199"/>
                  </a:lnTo>
                  <a:lnTo>
                    <a:pt x="20" y="1201"/>
                  </a:lnTo>
                  <a:lnTo>
                    <a:pt x="22" y="1205"/>
                  </a:lnTo>
                  <a:lnTo>
                    <a:pt x="22" y="1205"/>
                  </a:lnTo>
                  <a:lnTo>
                    <a:pt x="22" y="1205"/>
                  </a:lnTo>
                  <a:lnTo>
                    <a:pt x="22" y="1205"/>
                  </a:lnTo>
                  <a:lnTo>
                    <a:pt x="22" y="1203"/>
                  </a:lnTo>
                  <a:lnTo>
                    <a:pt x="22" y="1201"/>
                  </a:lnTo>
                  <a:lnTo>
                    <a:pt x="22" y="1201"/>
                  </a:lnTo>
                  <a:lnTo>
                    <a:pt x="24" y="1201"/>
                  </a:lnTo>
                  <a:lnTo>
                    <a:pt x="26" y="1201"/>
                  </a:lnTo>
                  <a:lnTo>
                    <a:pt x="28" y="1201"/>
                  </a:lnTo>
                  <a:close/>
                  <a:moveTo>
                    <a:pt x="78" y="1161"/>
                  </a:moveTo>
                  <a:lnTo>
                    <a:pt x="78" y="1161"/>
                  </a:lnTo>
                  <a:lnTo>
                    <a:pt x="78" y="1161"/>
                  </a:lnTo>
                  <a:lnTo>
                    <a:pt x="78" y="1161"/>
                  </a:lnTo>
                  <a:lnTo>
                    <a:pt x="78" y="1163"/>
                  </a:lnTo>
                  <a:lnTo>
                    <a:pt x="78" y="1165"/>
                  </a:lnTo>
                  <a:lnTo>
                    <a:pt x="78" y="1165"/>
                  </a:lnTo>
                  <a:lnTo>
                    <a:pt x="78" y="1165"/>
                  </a:lnTo>
                  <a:lnTo>
                    <a:pt x="80" y="1163"/>
                  </a:lnTo>
                  <a:lnTo>
                    <a:pt x="80" y="1161"/>
                  </a:lnTo>
                  <a:lnTo>
                    <a:pt x="78" y="1161"/>
                  </a:lnTo>
                  <a:close/>
                  <a:moveTo>
                    <a:pt x="150" y="1223"/>
                  </a:moveTo>
                  <a:lnTo>
                    <a:pt x="149" y="1223"/>
                  </a:lnTo>
                  <a:lnTo>
                    <a:pt x="149" y="1223"/>
                  </a:lnTo>
                  <a:lnTo>
                    <a:pt x="147" y="1223"/>
                  </a:lnTo>
                  <a:lnTo>
                    <a:pt x="147" y="1223"/>
                  </a:lnTo>
                  <a:lnTo>
                    <a:pt x="147" y="1223"/>
                  </a:lnTo>
                  <a:lnTo>
                    <a:pt x="145" y="1223"/>
                  </a:lnTo>
                  <a:lnTo>
                    <a:pt x="145" y="1225"/>
                  </a:lnTo>
                  <a:lnTo>
                    <a:pt x="145" y="1225"/>
                  </a:lnTo>
                  <a:lnTo>
                    <a:pt x="147" y="1225"/>
                  </a:lnTo>
                  <a:lnTo>
                    <a:pt x="147" y="1225"/>
                  </a:lnTo>
                  <a:lnTo>
                    <a:pt x="150" y="1223"/>
                  </a:lnTo>
                  <a:lnTo>
                    <a:pt x="150" y="1223"/>
                  </a:lnTo>
                  <a:lnTo>
                    <a:pt x="150" y="1223"/>
                  </a:lnTo>
                  <a:lnTo>
                    <a:pt x="150" y="1223"/>
                  </a:lnTo>
                  <a:close/>
                  <a:moveTo>
                    <a:pt x="221" y="1212"/>
                  </a:moveTo>
                  <a:lnTo>
                    <a:pt x="219" y="1212"/>
                  </a:lnTo>
                  <a:lnTo>
                    <a:pt x="219" y="1212"/>
                  </a:lnTo>
                  <a:lnTo>
                    <a:pt x="217" y="1214"/>
                  </a:lnTo>
                  <a:lnTo>
                    <a:pt x="217" y="1214"/>
                  </a:lnTo>
                  <a:lnTo>
                    <a:pt x="217" y="1214"/>
                  </a:lnTo>
                  <a:lnTo>
                    <a:pt x="217" y="1214"/>
                  </a:lnTo>
                  <a:lnTo>
                    <a:pt x="219" y="1216"/>
                  </a:lnTo>
                  <a:lnTo>
                    <a:pt x="219" y="1216"/>
                  </a:lnTo>
                  <a:lnTo>
                    <a:pt x="219" y="1216"/>
                  </a:lnTo>
                  <a:lnTo>
                    <a:pt x="219" y="1216"/>
                  </a:lnTo>
                  <a:lnTo>
                    <a:pt x="219" y="1214"/>
                  </a:lnTo>
                  <a:lnTo>
                    <a:pt x="221" y="1214"/>
                  </a:lnTo>
                  <a:lnTo>
                    <a:pt x="221" y="1214"/>
                  </a:lnTo>
                  <a:lnTo>
                    <a:pt x="221" y="1214"/>
                  </a:lnTo>
                  <a:lnTo>
                    <a:pt x="221" y="1214"/>
                  </a:lnTo>
                  <a:lnTo>
                    <a:pt x="221" y="1212"/>
                  </a:lnTo>
                  <a:close/>
                  <a:moveTo>
                    <a:pt x="170" y="1206"/>
                  </a:moveTo>
                  <a:lnTo>
                    <a:pt x="170" y="1206"/>
                  </a:lnTo>
                  <a:lnTo>
                    <a:pt x="170" y="1206"/>
                  </a:lnTo>
                  <a:lnTo>
                    <a:pt x="170" y="1205"/>
                  </a:lnTo>
                  <a:lnTo>
                    <a:pt x="170" y="1205"/>
                  </a:lnTo>
                  <a:lnTo>
                    <a:pt x="170" y="1203"/>
                  </a:lnTo>
                  <a:lnTo>
                    <a:pt x="170" y="1203"/>
                  </a:lnTo>
                  <a:lnTo>
                    <a:pt x="168" y="1203"/>
                  </a:lnTo>
                  <a:lnTo>
                    <a:pt x="168" y="1203"/>
                  </a:lnTo>
                  <a:lnTo>
                    <a:pt x="167" y="1205"/>
                  </a:lnTo>
                  <a:lnTo>
                    <a:pt x="168" y="1205"/>
                  </a:lnTo>
                  <a:lnTo>
                    <a:pt x="168" y="1205"/>
                  </a:lnTo>
                  <a:lnTo>
                    <a:pt x="168" y="1205"/>
                  </a:lnTo>
                  <a:lnTo>
                    <a:pt x="168" y="1205"/>
                  </a:lnTo>
                  <a:lnTo>
                    <a:pt x="167" y="1206"/>
                  </a:lnTo>
                  <a:lnTo>
                    <a:pt x="167" y="1206"/>
                  </a:lnTo>
                  <a:lnTo>
                    <a:pt x="168" y="1208"/>
                  </a:lnTo>
                  <a:lnTo>
                    <a:pt x="168" y="1210"/>
                  </a:lnTo>
                  <a:lnTo>
                    <a:pt x="168" y="1208"/>
                  </a:lnTo>
                  <a:lnTo>
                    <a:pt x="168" y="1208"/>
                  </a:lnTo>
                  <a:lnTo>
                    <a:pt x="168" y="1206"/>
                  </a:lnTo>
                  <a:lnTo>
                    <a:pt x="170" y="1206"/>
                  </a:lnTo>
                  <a:close/>
                  <a:moveTo>
                    <a:pt x="147" y="1210"/>
                  </a:moveTo>
                  <a:lnTo>
                    <a:pt x="147" y="1210"/>
                  </a:lnTo>
                  <a:lnTo>
                    <a:pt x="147" y="1208"/>
                  </a:lnTo>
                  <a:lnTo>
                    <a:pt x="147" y="1206"/>
                  </a:lnTo>
                  <a:lnTo>
                    <a:pt x="147" y="1203"/>
                  </a:lnTo>
                  <a:lnTo>
                    <a:pt x="147" y="1201"/>
                  </a:lnTo>
                  <a:lnTo>
                    <a:pt x="145" y="1201"/>
                  </a:lnTo>
                  <a:lnTo>
                    <a:pt x="145" y="1203"/>
                  </a:lnTo>
                  <a:lnTo>
                    <a:pt x="145" y="1205"/>
                  </a:lnTo>
                  <a:lnTo>
                    <a:pt x="143" y="1205"/>
                  </a:lnTo>
                  <a:lnTo>
                    <a:pt x="143" y="1203"/>
                  </a:lnTo>
                  <a:lnTo>
                    <a:pt x="143" y="1203"/>
                  </a:lnTo>
                  <a:lnTo>
                    <a:pt x="143" y="1201"/>
                  </a:lnTo>
                  <a:lnTo>
                    <a:pt x="143" y="1203"/>
                  </a:lnTo>
                  <a:lnTo>
                    <a:pt x="141" y="1203"/>
                  </a:lnTo>
                  <a:lnTo>
                    <a:pt x="141" y="1205"/>
                  </a:lnTo>
                  <a:lnTo>
                    <a:pt x="141" y="1206"/>
                  </a:lnTo>
                  <a:lnTo>
                    <a:pt x="143" y="1208"/>
                  </a:lnTo>
                  <a:lnTo>
                    <a:pt x="143" y="1210"/>
                  </a:lnTo>
                  <a:lnTo>
                    <a:pt x="143" y="1210"/>
                  </a:lnTo>
                  <a:lnTo>
                    <a:pt x="143" y="1210"/>
                  </a:lnTo>
                  <a:lnTo>
                    <a:pt x="145" y="1210"/>
                  </a:lnTo>
                  <a:lnTo>
                    <a:pt x="145" y="1208"/>
                  </a:lnTo>
                  <a:lnTo>
                    <a:pt x="145" y="1208"/>
                  </a:lnTo>
                  <a:lnTo>
                    <a:pt x="147" y="1210"/>
                  </a:lnTo>
                  <a:close/>
                  <a:moveTo>
                    <a:pt x="168" y="1201"/>
                  </a:moveTo>
                  <a:lnTo>
                    <a:pt x="170" y="1201"/>
                  </a:lnTo>
                  <a:lnTo>
                    <a:pt x="170" y="1201"/>
                  </a:lnTo>
                  <a:lnTo>
                    <a:pt x="170" y="1201"/>
                  </a:lnTo>
                  <a:lnTo>
                    <a:pt x="172" y="1201"/>
                  </a:lnTo>
                  <a:lnTo>
                    <a:pt x="172" y="1201"/>
                  </a:lnTo>
                  <a:lnTo>
                    <a:pt x="172" y="1201"/>
                  </a:lnTo>
                  <a:lnTo>
                    <a:pt x="172" y="1201"/>
                  </a:lnTo>
                  <a:lnTo>
                    <a:pt x="172" y="1201"/>
                  </a:lnTo>
                  <a:lnTo>
                    <a:pt x="172" y="1199"/>
                  </a:lnTo>
                  <a:lnTo>
                    <a:pt x="172" y="1199"/>
                  </a:lnTo>
                  <a:lnTo>
                    <a:pt x="172" y="1199"/>
                  </a:lnTo>
                  <a:lnTo>
                    <a:pt x="172" y="1197"/>
                  </a:lnTo>
                  <a:lnTo>
                    <a:pt x="172" y="1197"/>
                  </a:lnTo>
                  <a:lnTo>
                    <a:pt x="170" y="1197"/>
                  </a:lnTo>
                  <a:lnTo>
                    <a:pt x="168" y="1197"/>
                  </a:lnTo>
                  <a:lnTo>
                    <a:pt x="168" y="1199"/>
                  </a:lnTo>
                  <a:lnTo>
                    <a:pt x="168" y="1199"/>
                  </a:lnTo>
                  <a:lnTo>
                    <a:pt x="168" y="1199"/>
                  </a:lnTo>
                  <a:lnTo>
                    <a:pt x="167" y="1201"/>
                  </a:lnTo>
                  <a:lnTo>
                    <a:pt x="167" y="1201"/>
                  </a:lnTo>
                  <a:lnTo>
                    <a:pt x="167" y="1201"/>
                  </a:lnTo>
                  <a:lnTo>
                    <a:pt x="168" y="1201"/>
                  </a:lnTo>
                  <a:lnTo>
                    <a:pt x="168" y="1201"/>
                  </a:lnTo>
                  <a:close/>
                  <a:moveTo>
                    <a:pt x="123" y="1197"/>
                  </a:moveTo>
                  <a:lnTo>
                    <a:pt x="123" y="1197"/>
                  </a:lnTo>
                  <a:lnTo>
                    <a:pt x="123" y="1196"/>
                  </a:lnTo>
                  <a:lnTo>
                    <a:pt x="121" y="1196"/>
                  </a:lnTo>
                  <a:lnTo>
                    <a:pt x="121" y="1197"/>
                  </a:lnTo>
                  <a:lnTo>
                    <a:pt x="121" y="1197"/>
                  </a:lnTo>
                  <a:lnTo>
                    <a:pt x="121" y="1197"/>
                  </a:lnTo>
                  <a:lnTo>
                    <a:pt x="121" y="1199"/>
                  </a:lnTo>
                  <a:lnTo>
                    <a:pt x="123" y="1199"/>
                  </a:lnTo>
                  <a:lnTo>
                    <a:pt x="123" y="1199"/>
                  </a:lnTo>
                  <a:lnTo>
                    <a:pt x="125" y="1197"/>
                  </a:lnTo>
                  <a:lnTo>
                    <a:pt x="125" y="1197"/>
                  </a:lnTo>
                  <a:lnTo>
                    <a:pt x="125" y="1197"/>
                  </a:lnTo>
                  <a:lnTo>
                    <a:pt x="123" y="1197"/>
                  </a:lnTo>
                  <a:close/>
                  <a:moveTo>
                    <a:pt x="103" y="1192"/>
                  </a:moveTo>
                  <a:lnTo>
                    <a:pt x="102" y="1194"/>
                  </a:lnTo>
                  <a:lnTo>
                    <a:pt x="100" y="1196"/>
                  </a:lnTo>
                  <a:lnTo>
                    <a:pt x="102" y="1196"/>
                  </a:lnTo>
                  <a:lnTo>
                    <a:pt x="102" y="1196"/>
                  </a:lnTo>
                  <a:lnTo>
                    <a:pt x="102" y="1197"/>
                  </a:lnTo>
                  <a:lnTo>
                    <a:pt x="100" y="1197"/>
                  </a:lnTo>
                  <a:lnTo>
                    <a:pt x="100" y="1197"/>
                  </a:lnTo>
                  <a:lnTo>
                    <a:pt x="98" y="1197"/>
                  </a:lnTo>
                  <a:lnTo>
                    <a:pt x="100" y="1199"/>
                  </a:lnTo>
                  <a:lnTo>
                    <a:pt x="100" y="1199"/>
                  </a:lnTo>
                  <a:lnTo>
                    <a:pt x="100" y="1199"/>
                  </a:lnTo>
                  <a:lnTo>
                    <a:pt x="102" y="1199"/>
                  </a:lnTo>
                  <a:lnTo>
                    <a:pt x="102" y="1199"/>
                  </a:lnTo>
                  <a:lnTo>
                    <a:pt x="103" y="1199"/>
                  </a:lnTo>
                  <a:lnTo>
                    <a:pt x="103" y="1199"/>
                  </a:lnTo>
                  <a:lnTo>
                    <a:pt x="105" y="1199"/>
                  </a:lnTo>
                  <a:lnTo>
                    <a:pt x="105" y="1199"/>
                  </a:lnTo>
                  <a:lnTo>
                    <a:pt x="105" y="1199"/>
                  </a:lnTo>
                  <a:lnTo>
                    <a:pt x="107" y="1197"/>
                  </a:lnTo>
                  <a:lnTo>
                    <a:pt x="107" y="1197"/>
                  </a:lnTo>
                  <a:lnTo>
                    <a:pt x="105" y="1197"/>
                  </a:lnTo>
                  <a:lnTo>
                    <a:pt x="105" y="1197"/>
                  </a:lnTo>
                  <a:lnTo>
                    <a:pt x="107" y="1196"/>
                  </a:lnTo>
                  <a:lnTo>
                    <a:pt x="107" y="1196"/>
                  </a:lnTo>
                  <a:lnTo>
                    <a:pt x="107" y="1194"/>
                  </a:lnTo>
                  <a:lnTo>
                    <a:pt x="105" y="1192"/>
                  </a:lnTo>
                  <a:lnTo>
                    <a:pt x="103" y="1192"/>
                  </a:lnTo>
                  <a:close/>
                  <a:moveTo>
                    <a:pt x="114" y="1190"/>
                  </a:moveTo>
                  <a:lnTo>
                    <a:pt x="112" y="1190"/>
                  </a:lnTo>
                  <a:lnTo>
                    <a:pt x="111" y="1192"/>
                  </a:lnTo>
                  <a:lnTo>
                    <a:pt x="111" y="1192"/>
                  </a:lnTo>
                  <a:lnTo>
                    <a:pt x="111" y="1194"/>
                  </a:lnTo>
                  <a:lnTo>
                    <a:pt x="111" y="1194"/>
                  </a:lnTo>
                  <a:lnTo>
                    <a:pt x="111" y="1196"/>
                  </a:lnTo>
                  <a:lnTo>
                    <a:pt x="111" y="1196"/>
                  </a:lnTo>
                  <a:lnTo>
                    <a:pt x="109" y="1196"/>
                  </a:lnTo>
                  <a:lnTo>
                    <a:pt x="111" y="1197"/>
                  </a:lnTo>
                  <a:lnTo>
                    <a:pt x="111" y="1197"/>
                  </a:lnTo>
                  <a:lnTo>
                    <a:pt x="109" y="1197"/>
                  </a:lnTo>
                  <a:lnTo>
                    <a:pt x="111" y="1199"/>
                  </a:lnTo>
                  <a:lnTo>
                    <a:pt x="112" y="1197"/>
                  </a:lnTo>
                  <a:lnTo>
                    <a:pt x="114" y="1197"/>
                  </a:lnTo>
                  <a:lnTo>
                    <a:pt x="114" y="1196"/>
                  </a:lnTo>
                  <a:lnTo>
                    <a:pt x="114" y="1196"/>
                  </a:lnTo>
                  <a:lnTo>
                    <a:pt x="114" y="1196"/>
                  </a:lnTo>
                  <a:lnTo>
                    <a:pt x="114" y="1196"/>
                  </a:lnTo>
                  <a:lnTo>
                    <a:pt x="116" y="1196"/>
                  </a:lnTo>
                  <a:lnTo>
                    <a:pt x="116" y="1196"/>
                  </a:lnTo>
                  <a:lnTo>
                    <a:pt x="114" y="1194"/>
                  </a:lnTo>
                  <a:lnTo>
                    <a:pt x="118" y="1194"/>
                  </a:lnTo>
                  <a:lnTo>
                    <a:pt x="118" y="1194"/>
                  </a:lnTo>
                  <a:lnTo>
                    <a:pt x="116" y="1192"/>
                  </a:lnTo>
                  <a:lnTo>
                    <a:pt x="118" y="1192"/>
                  </a:lnTo>
                  <a:lnTo>
                    <a:pt x="118" y="1192"/>
                  </a:lnTo>
                  <a:lnTo>
                    <a:pt x="118" y="1192"/>
                  </a:lnTo>
                  <a:lnTo>
                    <a:pt x="120" y="1192"/>
                  </a:lnTo>
                  <a:lnTo>
                    <a:pt x="120" y="1192"/>
                  </a:lnTo>
                  <a:lnTo>
                    <a:pt x="118" y="1190"/>
                  </a:lnTo>
                  <a:lnTo>
                    <a:pt x="114" y="1190"/>
                  </a:lnTo>
                  <a:close/>
                  <a:moveTo>
                    <a:pt x="141" y="1192"/>
                  </a:moveTo>
                  <a:lnTo>
                    <a:pt x="143" y="1192"/>
                  </a:lnTo>
                  <a:lnTo>
                    <a:pt x="143" y="1190"/>
                  </a:lnTo>
                  <a:lnTo>
                    <a:pt x="143" y="1190"/>
                  </a:lnTo>
                  <a:lnTo>
                    <a:pt x="140" y="1190"/>
                  </a:lnTo>
                  <a:lnTo>
                    <a:pt x="140" y="1190"/>
                  </a:lnTo>
                  <a:lnTo>
                    <a:pt x="140" y="1192"/>
                  </a:lnTo>
                  <a:lnTo>
                    <a:pt x="140" y="1192"/>
                  </a:lnTo>
                  <a:lnTo>
                    <a:pt x="140" y="1192"/>
                  </a:lnTo>
                  <a:lnTo>
                    <a:pt x="140" y="1192"/>
                  </a:lnTo>
                  <a:lnTo>
                    <a:pt x="140" y="1194"/>
                  </a:lnTo>
                  <a:lnTo>
                    <a:pt x="140" y="1194"/>
                  </a:lnTo>
                  <a:lnTo>
                    <a:pt x="140" y="1194"/>
                  </a:lnTo>
                  <a:lnTo>
                    <a:pt x="140" y="1196"/>
                  </a:lnTo>
                  <a:lnTo>
                    <a:pt x="140" y="1196"/>
                  </a:lnTo>
                  <a:lnTo>
                    <a:pt x="141" y="1196"/>
                  </a:lnTo>
                  <a:lnTo>
                    <a:pt x="141" y="1196"/>
                  </a:lnTo>
                  <a:lnTo>
                    <a:pt x="141" y="1194"/>
                  </a:lnTo>
                  <a:lnTo>
                    <a:pt x="141" y="1194"/>
                  </a:lnTo>
                  <a:lnTo>
                    <a:pt x="141" y="1194"/>
                  </a:lnTo>
                  <a:lnTo>
                    <a:pt x="141" y="1192"/>
                  </a:lnTo>
                  <a:close/>
                  <a:moveTo>
                    <a:pt x="93" y="1190"/>
                  </a:moveTo>
                  <a:lnTo>
                    <a:pt x="93" y="1188"/>
                  </a:lnTo>
                  <a:lnTo>
                    <a:pt x="89" y="1188"/>
                  </a:lnTo>
                  <a:lnTo>
                    <a:pt x="89" y="1190"/>
                  </a:lnTo>
                  <a:lnTo>
                    <a:pt x="87" y="1190"/>
                  </a:lnTo>
                  <a:lnTo>
                    <a:pt x="89" y="1190"/>
                  </a:lnTo>
                  <a:lnTo>
                    <a:pt x="89" y="1192"/>
                  </a:lnTo>
                  <a:lnTo>
                    <a:pt x="91" y="1192"/>
                  </a:lnTo>
                  <a:lnTo>
                    <a:pt x="91" y="1192"/>
                  </a:lnTo>
                  <a:lnTo>
                    <a:pt x="93" y="1192"/>
                  </a:lnTo>
                  <a:lnTo>
                    <a:pt x="93" y="1192"/>
                  </a:lnTo>
                  <a:lnTo>
                    <a:pt x="94" y="1194"/>
                  </a:lnTo>
                  <a:lnTo>
                    <a:pt x="94" y="1194"/>
                  </a:lnTo>
                  <a:lnTo>
                    <a:pt x="94" y="1192"/>
                  </a:lnTo>
                  <a:lnTo>
                    <a:pt x="94" y="1192"/>
                  </a:lnTo>
                  <a:lnTo>
                    <a:pt x="96" y="1192"/>
                  </a:lnTo>
                  <a:lnTo>
                    <a:pt x="96" y="1190"/>
                  </a:lnTo>
                  <a:lnTo>
                    <a:pt x="94" y="1190"/>
                  </a:lnTo>
                  <a:lnTo>
                    <a:pt x="93" y="1190"/>
                  </a:lnTo>
                  <a:close/>
                  <a:moveTo>
                    <a:pt x="127" y="1188"/>
                  </a:moveTo>
                  <a:lnTo>
                    <a:pt x="127" y="1188"/>
                  </a:lnTo>
                  <a:lnTo>
                    <a:pt x="125" y="1188"/>
                  </a:lnTo>
                  <a:lnTo>
                    <a:pt x="125" y="1190"/>
                  </a:lnTo>
                  <a:lnTo>
                    <a:pt x="121" y="1192"/>
                  </a:lnTo>
                  <a:lnTo>
                    <a:pt x="121" y="1192"/>
                  </a:lnTo>
                  <a:lnTo>
                    <a:pt x="121" y="1196"/>
                  </a:lnTo>
                  <a:lnTo>
                    <a:pt x="123" y="1196"/>
                  </a:lnTo>
                  <a:lnTo>
                    <a:pt x="125" y="1196"/>
                  </a:lnTo>
                  <a:lnTo>
                    <a:pt x="127" y="1194"/>
                  </a:lnTo>
                  <a:lnTo>
                    <a:pt x="127" y="1194"/>
                  </a:lnTo>
                  <a:lnTo>
                    <a:pt x="125" y="1194"/>
                  </a:lnTo>
                  <a:lnTo>
                    <a:pt x="125" y="1192"/>
                  </a:lnTo>
                  <a:lnTo>
                    <a:pt x="129" y="1190"/>
                  </a:lnTo>
                  <a:lnTo>
                    <a:pt x="127" y="1188"/>
                  </a:lnTo>
                  <a:close/>
                  <a:moveTo>
                    <a:pt x="317" y="1188"/>
                  </a:moveTo>
                  <a:lnTo>
                    <a:pt x="315" y="1188"/>
                  </a:lnTo>
                  <a:lnTo>
                    <a:pt x="317" y="1190"/>
                  </a:lnTo>
                  <a:lnTo>
                    <a:pt x="317" y="1190"/>
                  </a:lnTo>
                  <a:lnTo>
                    <a:pt x="317" y="1190"/>
                  </a:lnTo>
                  <a:lnTo>
                    <a:pt x="318" y="1190"/>
                  </a:lnTo>
                  <a:lnTo>
                    <a:pt x="318" y="1188"/>
                  </a:lnTo>
                  <a:lnTo>
                    <a:pt x="317" y="1188"/>
                  </a:lnTo>
                  <a:lnTo>
                    <a:pt x="317" y="1188"/>
                  </a:lnTo>
                  <a:close/>
                  <a:moveTo>
                    <a:pt x="140" y="1185"/>
                  </a:moveTo>
                  <a:lnTo>
                    <a:pt x="138" y="1185"/>
                  </a:lnTo>
                  <a:lnTo>
                    <a:pt x="138" y="1185"/>
                  </a:lnTo>
                  <a:lnTo>
                    <a:pt x="136" y="1187"/>
                  </a:lnTo>
                  <a:lnTo>
                    <a:pt x="134" y="1190"/>
                  </a:lnTo>
                  <a:lnTo>
                    <a:pt x="136" y="1192"/>
                  </a:lnTo>
                  <a:lnTo>
                    <a:pt x="138" y="1190"/>
                  </a:lnTo>
                  <a:lnTo>
                    <a:pt x="140" y="1188"/>
                  </a:lnTo>
                  <a:lnTo>
                    <a:pt x="140" y="1185"/>
                  </a:lnTo>
                  <a:close/>
                  <a:moveTo>
                    <a:pt x="105" y="1183"/>
                  </a:moveTo>
                  <a:lnTo>
                    <a:pt x="103" y="1183"/>
                  </a:lnTo>
                  <a:lnTo>
                    <a:pt x="103" y="1185"/>
                  </a:lnTo>
                  <a:lnTo>
                    <a:pt x="103" y="1187"/>
                  </a:lnTo>
                  <a:lnTo>
                    <a:pt x="103" y="1187"/>
                  </a:lnTo>
                  <a:lnTo>
                    <a:pt x="103" y="1188"/>
                  </a:lnTo>
                  <a:lnTo>
                    <a:pt x="103" y="1187"/>
                  </a:lnTo>
                  <a:lnTo>
                    <a:pt x="103" y="1188"/>
                  </a:lnTo>
                  <a:lnTo>
                    <a:pt x="105" y="1187"/>
                  </a:lnTo>
                  <a:lnTo>
                    <a:pt x="105" y="1187"/>
                  </a:lnTo>
                  <a:lnTo>
                    <a:pt x="105" y="1187"/>
                  </a:lnTo>
                  <a:lnTo>
                    <a:pt x="105" y="1185"/>
                  </a:lnTo>
                  <a:lnTo>
                    <a:pt x="105" y="1185"/>
                  </a:lnTo>
                  <a:lnTo>
                    <a:pt x="105" y="1185"/>
                  </a:lnTo>
                  <a:lnTo>
                    <a:pt x="105" y="1185"/>
                  </a:lnTo>
                  <a:lnTo>
                    <a:pt x="105" y="1185"/>
                  </a:lnTo>
                  <a:lnTo>
                    <a:pt x="105" y="1183"/>
                  </a:lnTo>
                  <a:lnTo>
                    <a:pt x="105" y="1183"/>
                  </a:lnTo>
                  <a:close/>
                  <a:moveTo>
                    <a:pt x="304" y="1179"/>
                  </a:moveTo>
                  <a:lnTo>
                    <a:pt x="304" y="1181"/>
                  </a:lnTo>
                  <a:lnTo>
                    <a:pt x="304" y="1185"/>
                  </a:lnTo>
                  <a:lnTo>
                    <a:pt x="304" y="1185"/>
                  </a:lnTo>
                  <a:lnTo>
                    <a:pt x="306" y="1187"/>
                  </a:lnTo>
                  <a:lnTo>
                    <a:pt x="306" y="1187"/>
                  </a:lnTo>
                  <a:lnTo>
                    <a:pt x="306" y="1188"/>
                  </a:lnTo>
                  <a:lnTo>
                    <a:pt x="306" y="1188"/>
                  </a:lnTo>
                  <a:lnTo>
                    <a:pt x="306" y="1190"/>
                  </a:lnTo>
                  <a:lnTo>
                    <a:pt x="306" y="1188"/>
                  </a:lnTo>
                  <a:lnTo>
                    <a:pt x="307" y="1187"/>
                  </a:lnTo>
                  <a:lnTo>
                    <a:pt x="307" y="1187"/>
                  </a:lnTo>
                  <a:lnTo>
                    <a:pt x="309" y="1187"/>
                  </a:lnTo>
                  <a:lnTo>
                    <a:pt x="309" y="1185"/>
                  </a:lnTo>
                  <a:lnTo>
                    <a:pt x="304" y="1181"/>
                  </a:lnTo>
                  <a:lnTo>
                    <a:pt x="304" y="1179"/>
                  </a:lnTo>
                  <a:close/>
                  <a:moveTo>
                    <a:pt x="165" y="1201"/>
                  </a:moveTo>
                  <a:lnTo>
                    <a:pt x="167" y="1199"/>
                  </a:lnTo>
                  <a:lnTo>
                    <a:pt x="167" y="1196"/>
                  </a:lnTo>
                  <a:lnTo>
                    <a:pt x="167" y="1196"/>
                  </a:lnTo>
                  <a:lnTo>
                    <a:pt x="167" y="1194"/>
                  </a:lnTo>
                  <a:lnTo>
                    <a:pt x="167" y="1194"/>
                  </a:lnTo>
                  <a:lnTo>
                    <a:pt x="165" y="1194"/>
                  </a:lnTo>
                  <a:lnTo>
                    <a:pt x="167" y="1194"/>
                  </a:lnTo>
                  <a:lnTo>
                    <a:pt x="167" y="1194"/>
                  </a:lnTo>
                  <a:lnTo>
                    <a:pt x="167" y="1192"/>
                  </a:lnTo>
                  <a:lnTo>
                    <a:pt x="167" y="1192"/>
                  </a:lnTo>
                  <a:lnTo>
                    <a:pt x="167" y="1192"/>
                  </a:lnTo>
                  <a:lnTo>
                    <a:pt x="167" y="1190"/>
                  </a:lnTo>
                  <a:lnTo>
                    <a:pt x="167" y="1190"/>
                  </a:lnTo>
                  <a:lnTo>
                    <a:pt x="168" y="1188"/>
                  </a:lnTo>
                  <a:lnTo>
                    <a:pt x="168" y="1188"/>
                  </a:lnTo>
                  <a:lnTo>
                    <a:pt x="168" y="1187"/>
                  </a:lnTo>
                  <a:lnTo>
                    <a:pt x="168" y="1187"/>
                  </a:lnTo>
                  <a:lnTo>
                    <a:pt x="170" y="1185"/>
                  </a:lnTo>
                  <a:lnTo>
                    <a:pt x="170" y="1185"/>
                  </a:lnTo>
                  <a:lnTo>
                    <a:pt x="172" y="1183"/>
                  </a:lnTo>
                  <a:lnTo>
                    <a:pt x="172" y="1181"/>
                  </a:lnTo>
                  <a:lnTo>
                    <a:pt x="170" y="1179"/>
                  </a:lnTo>
                  <a:lnTo>
                    <a:pt x="168" y="1181"/>
                  </a:lnTo>
                  <a:lnTo>
                    <a:pt x="168" y="1183"/>
                  </a:lnTo>
                  <a:lnTo>
                    <a:pt x="167" y="1185"/>
                  </a:lnTo>
                  <a:lnTo>
                    <a:pt x="165" y="1187"/>
                  </a:lnTo>
                  <a:lnTo>
                    <a:pt x="156" y="1188"/>
                  </a:lnTo>
                  <a:lnTo>
                    <a:pt x="154" y="1188"/>
                  </a:lnTo>
                  <a:lnTo>
                    <a:pt x="152" y="1190"/>
                  </a:lnTo>
                  <a:lnTo>
                    <a:pt x="149" y="1192"/>
                  </a:lnTo>
                  <a:lnTo>
                    <a:pt x="147" y="1190"/>
                  </a:lnTo>
                  <a:lnTo>
                    <a:pt x="147" y="1190"/>
                  </a:lnTo>
                  <a:lnTo>
                    <a:pt x="149" y="1187"/>
                  </a:lnTo>
                  <a:lnTo>
                    <a:pt x="147" y="1188"/>
                  </a:lnTo>
                  <a:lnTo>
                    <a:pt x="147" y="1190"/>
                  </a:lnTo>
                  <a:lnTo>
                    <a:pt x="147" y="1192"/>
                  </a:lnTo>
                  <a:lnTo>
                    <a:pt x="145" y="1196"/>
                  </a:lnTo>
                  <a:lnTo>
                    <a:pt x="154" y="1196"/>
                  </a:lnTo>
                  <a:lnTo>
                    <a:pt x="154" y="1196"/>
                  </a:lnTo>
                  <a:lnTo>
                    <a:pt x="150" y="1196"/>
                  </a:lnTo>
                  <a:lnTo>
                    <a:pt x="149" y="1197"/>
                  </a:lnTo>
                  <a:lnTo>
                    <a:pt x="147" y="1197"/>
                  </a:lnTo>
                  <a:lnTo>
                    <a:pt x="145" y="1197"/>
                  </a:lnTo>
                  <a:lnTo>
                    <a:pt x="147" y="1199"/>
                  </a:lnTo>
                  <a:lnTo>
                    <a:pt x="147" y="1199"/>
                  </a:lnTo>
                  <a:lnTo>
                    <a:pt x="149" y="1201"/>
                  </a:lnTo>
                  <a:lnTo>
                    <a:pt x="149" y="1201"/>
                  </a:lnTo>
                  <a:lnTo>
                    <a:pt x="149" y="1203"/>
                  </a:lnTo>
                  <a:lnTo>
                    <a:pt x="149" y="1205"/>
                  </a:lnTo>
                  <a:lnTo>
                    <a:pt x="149" y="1205"/>
                  </a:lnTo>
                  <a:lnTo>
                    <a:pt x="149" y="1206"/>
                  </a:lnTo>
                  <a:lnTo>
                    <a:pt x="149" y="1208"/>
                  </a:lnTo>
                  <a:lnTo>
                    <a:pt x="149" y="1210"/>
                  </a:lnTo>
                  <a:lnTo>
                    <a:pt x="149" y="1210"/>
                  </a:lnTo>
                  <a:lnTo>
                    <a:pt x="150" y="1208"/>
                  </a:lnTo>
                  <a:lnTo>
                    <a:pt x="152" y="1208"/>
                  </a:lnTo>
                  <a:lnTo>
                    <a:pt x="154" y="1206"/>
                  </a:lnTo>
                  <a:lnTo>
                    <a:pt x="154" y="1205"/>
                  </a:lnTo>
                  <a:lnTo>
                    <a:pt x="154" y="1206"/>
                  </a:lnTo>
                  <a:lnTo>
                    <a:pt x="154" y="1206"/>
                  </a:lnTo>
                  <a:lnTo>
                    <a:pt x="154" y="1208"/>
                  </a:lnTo>
                  <a:lnTo>
                    <a:pt x="154" y="1210"/>
                  </a:lnTo>
                  <a:lnTo>
                    <a:pt x="154" y="1208"/>
                  </a:lnTo>
                  <a:lnTo>
                    <a:pt x="154" y="1208"/>
                  </a:lnTo>
                  <a:lnTo>
                    <a:pt x="154" y="1210"/>
                  </a:lnTo>
                  <a:lnTo>
                    <a:pt x="154" y="1212"/>
                  </a:lnTo>
                  <a:lnTo>
                    <a:pt x="156" y="1212"/>
                  </a:lnTo>
                  <a:lnTo>
                    <a:pt x="154" y="1210"/>
                  </a:lnTo>
                  <a:lnTo>
                    <a:pt x="156" y="1210"/>
                  </a:lnTo>
                  <a:lnTo>
                    <a:pt x="156" y="1210"/>
                  </a:lnTo>
                  <a:lnTo>
                    <a:pt x="158" y="1208"/>
                  </a:lnTo>
                  <a:lnTo>
                    <a:pt x="158" y="1206"/>
                  </a:lnTo>
                  <a:lnTo>
                    <a:pt x="158" y="1208"/>
                  </a:lnTo>
                  <a:lnTo>
                    <a:pt x="159" y="1210"/>
                  </a:lnTo>
                  <a:lnTo>
                    <a:pt x="159" y="1210"/>
                  </a:lnTo>
                  <a:lnTo>
                    <a:pt x="159" y="1208"/>
                  </a:lnTo>
                  <a:lnTo>
                    <a:pt x="161" y="1210"/>
                  </a:lnTo>
                  <a:lnTo>
                    <a:pt x="161" y="1208"/>
                  </a:lnTo>
                  <a:lnTo>
                    <a:pt x="161" y="1206"/>
                  </a:lnTo>
                  <a:lnTo>
                    <a:pt x="163" y="1206"/>
                  </a:lnTo>
                  <a:lnTo>
                    <a:pt x="161" y="1206"/>
                  </a:lnTo>
                  <a:lnTo>
                    <a:pt x="161" y="1206"/>
                  </a:lnTo>
                  <a:lnTo>
                    <a:pt x="161" y="1206"/>
                  </a:lnTo>
                  <a:lnTo>
                    <a:pt x="161" y="1205"/>
                  </a:lnTo>
                  <a:lnTo>
                    <a:pt x="165" y="1201"/>
                  </a:lnTo>
                  <a:close/>
                  <a:moveTo>
                    <a:pt x="123" y="1181"/>
                  </a:moveTo>
                  <a:lnTo>
                    <a:pt x="123" y="1181"/>
                  </a:lnTo>
                  <a:lnTo>
                    <a:pt x="123" y="1181"/>
                  </a:lnTo>
                  <a:lnTo>
                    <a:pt x="123" y="1181"/>
                  </a:lnTo>
                  <a:lnTo>
                    <a:pt x="125" y="1181"/>
                  </a:lnTo>
                  <a:lnTo>
                    <a:pt x="125" y="1181"/>
                  </a:lnTo>
                  <a:lnTo>
                    <a:pt x="125" y="1179"/>
                  </a:lnTo>
                  <a:lnTo>
                    <a:pt x="125" y="1179"/>
                  </a:lnTo>
                  <a:lnTo>
                    <a:pt x="123" y="1181"/>
                  </a:lnTo>
                  <a:close/>
                  <a:moveTo>
                    <a:pt x="123" y="1181"/>
                  </a:moveTo>
                  <a:lnTo>
                    <a:pt x="123" y="1179"/>
                  </a:lnTo>
                  <a:lnTo>
                    <a:pt x="123" y="1179"/>
                  </a:lnTo>
                  <a:lnTo>
                    <a:pt x="123" y="1178"/>
                  </a:lnTo>
                  <a:lnTo>
                    <a:pt x="121" y="1178"/>
                  </a:lnTo>
                  <a:lnTo>
                    <a:pt x="120" y="1179"/>
                  </a:lnTo>
                  <a:lnTo>
                    <a:pt x="120" y="1179"/>
                  </a:lnTo>
                  <a:lnTo>
                    <a:pt x="118" y="1179"/>
                  </a:lnTo>
                  <a:lnTo>
                    <a:pt x="118" y="1179"/>
                  </a:lnTo>
                  <a:lnTo>
                    <a:pt x="120" y="1181"/>
                  </a:lnTo>
                  <a:lnTo>
                    <a:pt x="120" y="1181"/>
                  </a:lnTo>
                  <a:lnTo>
                    <a:pt x="120" y="1181"/>
                  </a:lnTo>
                  <a:lnTo>
                    <a:pt x="121" y="1181"/>
                  </a:lnTo>
                  <a:lnTo>
                    <a:pt x="121" y="1181"/>
                  </a:lnTo>
                  <a:lnTo>
                    <a:pt x="123" y="1181"/>
                  </a:lnTo>
                  <a:close/>
                  <a:moveTo>
                    <a:pt x="136" y="1185"/>
                  </a:moveTo>
                  <a:lnTo>
                    <a:pt x="138" y="1183"/>
                  </a:lnTo>
                  <a:lnTo>
                    <a:pt x="138" y="1183"/>
                  </a:lnTo>
                  <a:lnTo>
                    <a:pt x="138" y="1183"/>
                  </a:lnTo>
                  <a:lnTo>
                    <a:pt x="140" y="1183"/>
                  </a:lnTo>
                  <a:lnTo>
                    <a:pt x="140" y="1183"/>
                  </a:lnTo>
                  <a:lnTo>
                    <a:pt x="140" y="1183"/>
                  </a:lnTo>
                  <a:lnTo>
                    <a:pt x="140" y="1183"/>
                  </a:lnTo>
                  <a:lnTo>
                    <a:pt x="140" y="1183"/>
                  </a:lnTo>
                  <a:lnTo>
                    <a:pt x="141" y="1183"/>
                  </a:lnTo>
                  <a:lnTo>
                    <a:pt x="141" y="1183"/>
                  </a:lnTo>
                  <a:lnTo>
                    <a:pt x="141" y="1181"/>
                  </a:lnTo>
                  <a:lnTo>
                    <a:pt x="141" y="1179"/>
                  </a:lnTo>
                  <a:lnTo>
                    <a:pt x="138" y="1179"/>
                  </a:lnTo>
                  <a:lnTo>
                    <a:pt x="131" y="1178"/>
                  </a:lnTo>
                  <a:lnTo>
                    <a:pt x="131" y="1178"/>
                  </a:lnTo>
                  <a:lnTo>
                    <a:pt x="129" y="1179"/>
                  </a:lnTo>
                  <a:lnTo>
                    <a:pt x="129" y="1181"/>
                  </a:lnTo>
                  <a:lnTo>
                    <a:pt x="129" y="1183"/>
                  </a:lnTo>
                  <a:lnTo>
                    <a:pt x="129" y="1183"/>
                  </a:lnTo>
                  <a:lnTo>
                    <a:pt x="131" y="1183"/>
                  </a:lnTo>
                  <a:lnTo>
                    <a:pt x="131" y="1183"/>
                  </a:lnTo>
                  <a:lnTo>
                    <a:pt x="132" y="1183"/>
                  </a:lnTo>
                  <a:lnTo>
                    <a:pt x="134" y="1181"/>
                  </a:lnTo>
                  <a:lnTo>
                    <a:pt x="132" y="1181"/>
                  </a:lnTo>
                  <a:lnTo>
                    <a:pt x="132" y="1181"/>
                  </a:lnTo>
                  <a:lnTo>
                    <a:pt x="134" y="1181"/>
                  </a:lnTo>
                  <a:lnTo>
                    <a:pt x="134" y="1181"/>
                  </a:lnTo>
                  <a:lnTo>
                    <a:pt x="136" y="1183"/>
                  </a:lnTo>
                  <a:lnTo>
                    <a:pt x="134" y="1185"/>
                  </a:lnTo>
                  <a:lnTo>
                    <a:pt x="136" y="1185"/>
                  </a:lnTo>
                  <a:close/>
                  <a:moveTo>
                    <a:pt x="145" y="1174"/>
                  </a:moveTo>
                  <a:lnTo>
                    <a:pt x="145" y="1174"/>
                  </a:lnTo>
                  <a:lnTo>
                    <a:pt x="143" y="1174"/>
                  </a:lnTo>
                  <a:lnTo>
                    <a:pt x="141" y="1174"/>
                  </a:lnTo>
                  <a:lnTo>
                    <a:pt x="141" y="1176"/>
                  </a:lnTo>
                  <a:lnTo>
                    <a:pt x="140" y="1178"/>
                  </a:lnTo>
                  <a:lnTo>
                    <a:pt x="141" y="1178"/>
                  </a:lnTo>
                  <a:lnTo>
                    <a:pt x="143" y="1178"/>
                  </a:lnTo>
                  <a:lnTo>
                    <a:pt x="143" y="1178"/>
                  </a:lnTo>
                  <a:lnTo>
                    <a:pt x="143" y="1179"/>
                  </a:lnTo>
                  <a:lnTo>
                    <a:pt x="143" y="1179"/>
                  </a:lnTo>
                  <a:lnTo>
                    <a:pt x="143" y="1181"/>
                  </a:lnTo>
                  <a:lnTo>
                    <a:pt x="145" y="1181"/>
                  </a:lnTo>
                  <a:lnTo>
                    <a:pt x="145" y="1179"/>
                  </a:lnTo>
                  <a:lnTo>
                    <a:pt x="147" y="1179"/>
                  </a:lnTo>
                  <a:lnTo>
                    <a:pt x="149" y="1178"/>
                  </a:lnTo>
                  <a:lnTo>
                    <a:pt x="149" y="1176"/>
                  </a:lnTo>
                  <a:lnTo>
                    <a:pt x="147" y="1176"/>
                  </a:lnTo>
                  <a:lnTo>
                    <a:pt x="147" y="1176"/>
                  </a:lnTo>
                  <a:lnTo>
                    <a:pt x="147" y="1176"/>
                  </a:lnTo>
                  <a:lnTo>
                    <a:pt x="145" y="1176"/>
                  </a:lnTo>
                  <a:lnTo>
                    <a:pt x="145" y="1176"/>
                  </a:lnTo>
                  <a:lnTo>
                    <a:pt x="145" y="1174"/>
                  </a:lnTo>
                  <a:lnTo>
                    <a:pt x="145" y="1174"/>
                  </a:lnTo>
                  <a:close/>
                  <a:moveTo>
                    <a:pt x="132" y="1174"/>
                  </a:moveTo>
                  <a:lnTo>
                    <a:pt x="132" y="1176"/>
                  </a:lnTo>
                  <a:lnTo>
                    <a:pt x="134" y="1176"/>
                  </a:lnTo>
                  <a:lnTo>
                    <a:pt x="134" y="1176"/>
                  </a:lnTo>
                  <a:lnTo>
                    <a:pt x="140" y="1174"/>
                  </a:lnTo>
                  <a:lnTo>
                    <a:pt x="140" y="1172"/>
                  </a:lnTo>
                  <a:lnTo>
                    <a:pt x="140" y="1172"/>
                  </a:lnTo>
                  <a:lnTo>
                    <a:pt x="138" y="1172"/>
                  </a:lnTo>
                  <a:lnTo>
                    <a:pt x="132" y="1174"/>
                  </a:lnTo>
                  <a:lnTo>
                    <a:pt x="132" y="1174"/>
                  </a:lnTo>
                  <a:lnTo>
                    <a:pt x="132" y="1174"/>
                  </a:lnTo>
                  <a:close/>
                  <a:moveTo>
                    <a:pt x="132" y="1172"/>
                  </a:moveTo>
                  <a:lnTo>
                    <a:pt x="132" y="1172"/>
                  </a:lnTo>
                  <a:lnTo>
                    <a:pt x="131" y="1172"/>
                  </a:lnTo>
                  <a:lnTo>
                    <a:pt x="131" y="1174"/>
                  </a:lnTo>
                  <a:lnTo>
                    <a:pt x="131" y="1174"/>
                  </a:lnTo>
                  <a:lnTo>
                    <a:pt x="134" y="1172"/>
                  </a:lnTo>
                  <a:lnTo>
                    <a:pt x="134" y="1172"/>
                  </a:lnTo>
                  <a:lnTo>
                    <a:pt x="132" y="1172"/>
                  </a:lnTo>
                  <a:close/>
                  <a:moveTo>
                    <a:pt x="91" y="1174"/>
                  </a:moveTo>
                  <a:lnTo>
                    <a:pt x="93" y="1174"/>
                  </a:lnTo>
                  <a:lnTo>
                    <a:pt x="93" y="1174"/>
                  </a:lnTo>
                  <a:lnTo>
                    <a:pt x="93" y="1174"/>
                  </a:lnTo>
                  <a:lnTo>
                    <a:pt x="93" y="1174"/>
                  </a:lnTo>
                  <a:lnTo>
                    <a:pt x="93" y="1172"/>
                  </a:lnTo>
                  <a:lnTo>
                    <a:pt x="91" y="1172"/>
                  </a:lnTo>
                  <a:lnTo>
                    <a:pt x="91" y="1170"/>
                  </a:lnTo>
                  <a:lnTo>
                    <a:pt x="91" y="1170"/>
                  </a:lnTo>
                  <a:lnTo>
                    <a:pt x="89" y="1170"/>
                  </a:lnTo>
                  <a:lnTo>
                    <a:pt x="89" y="1172"/>
                  </a:lnTo>
                  <a:lnTo>
                    <a:pt x="89" y="1172"/>
                  </a:lnTo>
                  <a:lnTo>
                    <a:pt x="89" y="1174"/>
                  </a:lnTo>
                  <a:lnTo>
                    <a:pt x="91" y="1172"/>
                  </a:lnTo>
                  <a:lnTo>
                    <a:pt x="91" y="1174"/>
                  </a:lnTo>
                  <a:lnTo>
                    <a:pt x="91" y="1174"/>
                  </a:lnTo>
                  <a:lnTo>
                    <a:pt x="91" y="1174"/>
                  </a:lnTo>
                  <a:lnTo>
                    <a:pt x="91" y="1174"/>
                  </a:lnTo>
                  <a:close/>
                  <a:moveTo>
                    <a:pt x="354" y="1165"/>
                  </a:moveTo>
                  <a:lnTo>
                    <a:pt x="354" y="1165"/>
                  </a:lnTo>
                  <a:lnTo>
                    <a:pt x="354" y="1165"/>
                  </a:lnTo>
                  <a:lnTo>
                    <a:pt x="354" y="1167"/>
                  </a:lnTo>
                  <a:lnTo>
                    <a:pt x="354" y="1167"/>
                  </a:lnTo>
                  <a:lnTo>
                    <a:pt x="354" y="1167"/>
                  </a:lnTo>
                  <a:lnTo>
                    <a:pt x="353" y="1169"/>
                  </a:lnTo>
                  <a:lnTo>
                    <a:pt x="351" y="1169"/>
                  </a:lnTo>
                  <a:lnTo>
                    <a:pt x="351" y="1169"/>
                  </a:lnTo>
                  <a:lnTo>
                    <a:pt x="351" y="1170"/>
                  </a:lnTo>
                  <a:lnTo>
                    <a:pt x="351" y="1172"/>
                  </a:lnTo>
                  <a:lnTo>
                    <a:pt x="353" y="1172"/>
                  </a:lnTo>
                  <a:lnTo>
                    <a:pt x="353" y="1170"/>
                  </a:lnTo>
                  <a:lnTo>
                    <a:pt x="353" y="1169"/>
                  </a:lnTo>
                  <a:lnTo>
                    <a:pt x="356" y="1169"/>
                  </a:lnTo>
                  <a:lnTo>
                    <a:pt x="358" y="1167"/>
                  </a:lnTo>
                  <a:lnTo>
                    <a:pt x="358" y="1167"/>
                  </a:lnTo>
                  <a:lnTo>
                    <a:pt x="356" y="1167"/>
                  </a:lnTo>
                  <a:lnTo>
                    <a:pt x="354" y="1165"/>
                  </a:lnTo>
                  <a:close/>
                  <a:moveTo>
                    <a:pt x="116" y="1169"/>
                  </a:moveTo>
                  <a:lnTo>
                    <a:pt x="114" y="1169"/>
                  </a:lnTo>
                  <a:lnTo>
                    <a:pt x="114" y="1170"/>
                  </a:lnTo>
                  <a:lnTo>
                    <a:pt x="114" y="1170"/>
                  </a:lnTo>
                  <a:lnTo>
                    <a:pt x="114" y="1172"/>
                  </a:lnTo>
                  <a:lnTo>
                    <a:pt x="116" y="1174"/>
                  </a:lnTo>
                  <a:lnTo>
                    <a:pt x="116" y="1174"/>
                  </a:lnTo>
                  <a:lnTo>
                    <a:pt x="118" y="1174"/>
                  </a:lnTo>
                  <a:lnTo>
                    <a:pt x="118" y="1174"/>
                  </a:lnTo>
                  <a:lnTo>
                    <a:pt x="120" y="1176"/>
                  </a:lnTo>
                  <a:lnTo>
                    <a:pt x="120" y="1176"/>
                  </a:lnTo>
                  <a:lnTo>
                    <a:pt x="120" y="1178"/>
                  </a:lnTo>
                  <a:lnTo>
                    <a:pt x="120" y="1178"/>
                  </a:lnTo>
                  <a:lnTo>
                    <a:pt x="120" y="1178"/>
                  </a:lnTo>
                  <a:lnTo>
                    <a:pt x="120" y="1178"/>
                  </a:lnTo>
                  <a:lnTo>
                    <a:pt x="120" y="1176"/>
                  </a:lnTo>
                  <a:lnTo>
                    <a:pt x="121" y="1176"/>
                  </a:lnTo>
                  <a:lnTo>
                    <a:pt x="121" y="1178"/>
                  </a:lnTo>
                  <a:lnTo>
                    <a:pt x="123" y="1178"/>
                  </a:lnTo>
                  <a:lnTo>
                    <a:pt x="123" y="1178"/>
                  </a:lnTo>
                  <a:lnTo>
                    <a:pt x="125" y="1176"/>
                  </a:lnTo>
                  <a:lnTo>
                    <a:pt x="125" y="1176"/>
                  </a:lnTo>
                  <a:lnTo>
                    <a:pt x="123" y="1176"/>
                  </a:lnTo>
                  <a:lnTo>
                    <a:pt x="123" y="1176"/>
                  </a:lnTo>
                  <a:lnTo>
                    <a:pt x="123" y="1176"/>
                  </a:lnTo>
                  <a:lnTo>
                    <a:pt x="123" y="1174"/>
                  </a:lnTo>
                  <a:lnTo>
                    <a:pt x="125" y="1174"/>
                  </a:lnTo>
                  <a:lnTo>
                    <a:pt x="123" y="1172"/>
                  </a:lnTo>
                  <a:lnTo>
                    <a:pt x="123" y="1172"/>
                  </a:lnTo>
                  <a:lnTo>
                    <a:pt x="121" y="1172"/>
                  </a:lnTo>
                  <a:lnTo>
                    <a:pt x="121" y="1172"/>
                  </a:lnTo>
                  <a:lnTo>
                    <a:pt x="121" y="1172"/>
                  </a:lnTo>
                  <a:lnTo>
                    <a:pt x="120" y="1170"/>
                  </a:lnTo>
                  <a:lnTo>
                    <a:pt x="120" y="1170"/>
                  </a:lnTo>
                  <a:lnTo>
                    <a:pt x="120" y="1169"/>
                  </a:lnTo>
                  <a:lnTo>
                    <a:pt x="121" y="1170"/>
                  </a:lnTo>
                  <a:lnTo>
                    <a:pt x="121" y="1170"/>
                  </a:lnTo>
                  <a:lnTo>
                    <a:pt x="121" y="1169"/>
                  </a:lnTo>
                  <a:lnTo>
                    <a:pt x="121" y="1167"/>
                  </a:lnTo>
                  <a:lnTo>
                    <a:pt x="121" y="1167"/>
                  </a:lnTo>
                  <a:lnTo>
                    <a:pt x="120" y="1167"/>
                  </a:lnTo>
                  <a:lnTo>
                    <a:pt x="120" y="1167"/>
                  </a:lnTo>
                  <a:lnTo>
                    <a:pt x="120" y="1165"/>
                  </a:lnTo>
                  <a:lnTo>
                    <a:pt x="120" y="1165"/>
                  </a:lnTo>
                  <a:lnTo>
                    <a:pt x="116" y="1163"/>
                  </a:lnTo>
                  <a:lnTo>
                    <a:pt x="116" y="1163"/>
                  </a:lnTo>
                  <a:lnTo>
                    <a:pt x="116" y="1163"/>
                  </a:lnTo>
                  <a:lnTo>
                    <a:pt x="114" y="1163"/>
                  </a:lnTo>
                  <a:lnTo>
                    <a:pt x="114" y="1163"/>
                  </a:lnTo>
                  <a:lnTo>
                    <a:pt x="114" y="1165"/>
                  </a:lnTo>
                  <a:lnTo>
                    <a:pt x="116" y="1169"/>
                  </a:lnTo>
                  <a:lnTo>
                    <a:pt x="116" y="1169"/>
                  </a:lnTo>
                  <a:lnTo>
                    <a:pt x="116" y="1169"/>
                  </a:lnTo>
                  <a:close/>
                  <a:moveTo>
                    <a:pt x="111" y="1163"/>
                  </a:moveTo>
                  <a:lnTo>
                    <a:pt x="111" y="1161"/>
                  </a:lnTo>
                  <a:lnTo>
                    <a:pt x="112" y="1160"/>
                  </a:lnTo>
                  <a:lnTo>
                    <a:pt x="112" y="1158"/>
                  </a:lnTo>
                  <a:lnTo>
                    <a:pt x="112" y="1158"/>
                  </a:lnTo>
                  <a:lnTo>
                    <a:pt x="112" y="1156"/>
                  </a:lnTo>
                  <a:lnTo>
                    <a:pt x="111" y="1158"/>
                  </a:lnTo>
                  <a:lnTo>
                    <a:pt x="109" y="1161"/>
                  </a:lnTo>
                  <a:lnTo>
                    <a:pt x="109" y="1163"/>
                  </a:lnTo>
                  <a:lnTo>
                    <a:pt x="109" y="1163"/>
                  </a:lnTo>
                  <a:lnTo>
                    <a:pt x="109" y="1163"/>
                  </a:lnTo>
                  <a:lnTo>
                    <a:pt x="111" y="1163"/>
                  </a:lnTo>
                  <a:close/>
                  <a:moveTo>
                    <a:pt x="91" y="1161"/>
                  </a:moveTo>
                  <a:lnTo>
                    <a:pt x="91" y="1161"/>
                  </a:lnTo>
                  <a:lnTo>
                    <a:pt x="91" y="1158"/>
                  </a:lnTo>
                  <a:lnTo>
                    <a:pt x="89" y="1158"/>
                  </a:lnTo>
                  <a:lnTo>
                    <a:pt x="89" y="1156"/>
                  </a:lnTo>
                  <a:lnTo>
                    <a:pt x="87" y="1154"/>
                  </a:lnTo>
                  <a:lnTo>
                    <a:pt x="85" y="1154"/>
                  </a:lnTo>
                  <a:lnTo>
                    <a:pt x="87" y="1156"/>
                  </a:lnTo>
                  <a:lnTo>
                    <a:pt x="87" y="1156"/>
                  </a:lnTo>
                  <a:lnTo>
                    <a:pt x="87" y="1158"/>
                  </a:lnTo>
                  <a:lnTo>
                    <a:pt x="87" y="1160"/>
                  </a:lnTo>
                  <a:lnTo>
                    <a:pt x="87" y="1161"/>
                  </a:lnTo>
                  <a:lnTo>
                    <a:pt x="89" y="1161"/>
                  </a:lnTo>
                  <a:lnTo>
                    <a:pt x="91" y="1161"/>
                  </a:lnTo>
                  <a:close/>
                  <a:moveTo>
                    <a:pt x="98" y="1156"/>
                  </a:moveTo>
                  <a:lnTo>
                    <a:pt x="94" y="1156"/>
                  </a:lnTo>
                  <a:lnTo>
                    <a:pt x="94" y="1154"/>
                  </a:lnTo>
                  <a:lnTo>
                    <a:pt x="93" y="1152"/>
                  </a:lnTo>
                  <a:lnTo>
                    <a:pt x="91" y="1154"/>
                  </a:lnTo>
                  <a:lnTo>
                    <a:pt x="91" y="1156"/>
                  </a:lnTo>
                  <a:lnTo>
                    <a:pt x="91" y="1158"/>
                  </a:lnTo>
                  <a:lnTo>
                    <a:pt x="91" y="1158"/>
                  </a:lnTo>
                  <a:lnTo>
                    <a:pt x="93" y="1158"/>
                  </a:lnTo>
                  <a:lnTo>
                    <a:pt x="93" y="1156"/>
                  </a:lnTo>
                  <a:lnTo>
                    <a:pt x="93" y="1158"/>
                  </a:lnTo>
                  <a:lnTo>
                    <a:pt x="94" y="1161"/>
                  </a:lnTo>
                  <a:lnTo>
                    <a:pt x="96" y="1161"/>
                  </a:lnTo>
                  <a:lnTo>
                    <a:pt x="96" y="1163"/>
                  </a:lnTo>
                  <a:lnTo>
                    <a:pt x="96" y="1161"/>
                  </a:lnTo>
                  <a:lnTo>
                    <a:pt x="96" y="1161"/>
                  </a:lnTo>
                  <a:lnTo>
                    <a:pt x="96" y="1160"/>
                  </a:lnTo>
                  <a:lnTo>
                    <a:pt x="98" y="1160"/>
                  </a:lnTo>
                  <a:lnTo>
                    <a:pt x="98" y="1160"/>
                  </a:lnTo>
                  <a:lnTo>
                    <a:pt x="98" y="1160"/>
                  </a:lnTo>
                  <a:lnTo>
                    <a:pt x="98" y="1158"/>
                  </a:lnTo>
                  <a:lnTo>
                    <a:pt x="98" y="1158"/>
                  </a:lnTo>
                  <a:lnTo>
                    <a:pt x="98" y="1158"/>
                  </a:lnTo>
                  <a:lnTo>
                    <a:pt x="98" y="1158"/>
                  </a:lnTo>
                  <a:lnTo>
                    <a:pt x="98" y="1158"/>
                  </a:lnTo>
                  <a:lnTo>
                    <a:pt x="98" y="1158"/>
                  </a:lnTo>
                  <a:lnTo>
                    <a:pt x="98" y="1156"/>
                  </a:lnTo>
                  <a:close/>
                  <a:moveTo>
                    <a:pt x="87" y="1150"/>
                  </a:moveTo>
                  <a:lnTo>
                    <a:pt x="87" y="1150"/>
                  </a:lnTo>
                  <a:lnTo>
                    <a:pt x="87" y="1150"/>
                  </a:lnTo>
                  <a:lnTo>
                    <a:pt x="89" y="1152"/>
                  </a:lnTo>
                  <a:lnTo>
                    <a:pt x="89" y="1152"/>
                  </a:lnTo>
                  <a:lnTo>
                    <a:pt x="89" y="1152"/>
                  </a:lnTo>
                  <a:lnTo>
                    <a:pt x="89" y="1152"/>
                  </a:lnTo>
                  <a:lnTo>
                    <a:pt x="89" y="1152"/>
                  </a:lnTo>
                  <a:lnTo>
                    <a:pt x="89" y="1150"/>
                  </a:lnTo>
                  <a:lnTo>
                    <a:pt x="89" y="1149"/>
                  </a:lnTo>
                  <a:lnTo>
                    <a:pt x="89" y="1147"/>
                  </a:lnTo>
                  <a:lnTo>
                    <a:pt x="89" y="1147"/>
                  </a:lnTo>
                  <a:lnTo>
                    <a:pt x="89" y="1147"/>
                  </a:lnTo>
                  <a:lnTo>
                    <a:pt x="89" y="1145"/>
                  </a:lnTo>
                  <a:lnTo>
                    <a:pt x="87" y="1145"/>
                  </a:lnTo>
                  <a:lnTo>
                    <a:pt x="87" y="1145"/>
                  </a:lnTo>
                  <a:lnTo>
                    <a:pt x="87" y="1145"/>
                  </a:lnTo>
                  <a:lnTo>
                    <a:pt x="87" y="1145"/>
                  </a:lnTo>
                  <a:lnTo>
                    <a:pt x="87" y="1147"/>
                  </a:lnTo>
                  <a:lnTo>
                    <a:pt x="85" y="1147"/>
                  </a:lnTo>
                  <a:lnTo>
                    <a:pt x="85" y="1147"/>
                  </a:lnTo>
                  <a:lnTo>
                    <a:pt x="85" y="1149"/>
                  </a:lnTo>
                  <a:lnTo>
                    <a:pt x="85" y="1150"/>
                  </a:lnTo>
                  <a:lnTo>
                    <a:pt x="87" y="1150"/>
                  </a:lnTo>
                  <a:close/>
                  <a:moveTo>
                    <a:pt x="87" y="1125"/>
                  </a:moveTo>
                  <a:lnTo>
                    <a:pt x="87" y="1125"/>
                  </a:lnTo>
                  <a:lnTo>
                    <a:pt x="87" y="1123"/>
                  </a:lnTo>
                  <a:lnTo>
                    <a:pt x="87" y="1123"/>
                  </a:lnTo>
                  <a:lnTo>
                    <a:pt x="87" y="1123"/>
                  </a:lnTo>
                  <a:lnTo>
                    <a:pt x="87" y="1123"/>
                  </a:lnTo>
                  <a:lnTo>
                    <a:pt x="87" y="1123"/>
                  </a:lnTo>
                  <a:lnTo>
                    <a:pt x="87" y="1123"/>
                  </a:lnTo>
                  <a:lnTo>
                    <a:pt x="85" y="1123"/>
                  </a:lnTo>
                  <a:lnTo>
                    <a:pt x="85" y="1123"/>
                  </a:lnTo>
                  <a:lnTo>
                    <a:pt x="85" y="1123"/>
                  </a:lnTo>
                  <a:lnTo>
                    <a:pt x="85" y="1122"/>
                  </a:lnTo>
                  <a:lnTo>
                    <a:pt x="84" y="1123"/>
                  </a:lnTo>
                  <a:lnTo>
                    <a:pt x="84" y="1123"/>
                  </a:lnTo>
                  <a:lnTo>
                    <a:pt x="84" y="1123"/>
                  </a:lnTo>
                  <a:lnTo>
                    <a:pt x="85" y="1123"/>
                  </a:lnTo>
                  <a:lnTo>
                    <a:pt x="85" y="1123"/>
                  </a:lnTo>
                  <a:lnTo>
                    <a:pt x="85" y="1125"/>
                  </a:lnTo>
                  <a:lnTo>
                    <a:pt x="85" y="1123"/>
                  </a:lnTo>
                  <a:lnTo>
                    <a:pt x="87" y="1125"/>
                  </a:lnTo>
                  <a:lnTo>
                    <a:pt x="87" y="1125"/>
                  </a:lnTo>
                  <a:close/>
                  <a:moveTo>
                    <a:pt x="85" y="1118"/>
                  </a:moveTo>
                  <a:lnTo>
                    <a:pt x="85" y="1120"/>
                  </a:lnTo>
                  <a:lnTo>
                    <a:pt x="85" y="1120"/>
                  </a:lnTo>
                  <a:lnTo>
                    <a:pt x="85" y="1120"/>
                  </a:lnTo>
                  <a:lnTo>
                    <a:pt x="87" y="1120"/>
                  </a:lnTo>
                  <a:lnTo>
                    <a:pt x="89" y="1120"/>
                  </a:lnTo>
                  <a:lnTo>
                    <a:pt x="89" y="1122"/>
                  </a:lnTo>
                  <a:lnTo>
                    <a:pt x="91" y="1120"/>
                  </a:lnTo>
                  <a:lnTo>
                    <a:pt x="91" y="1120"/>
                  </a:lnTo>
                  <a:lnTo>
                    <a:pt x="91" y="1118"/>
                  </a:lnTo>
                  <a:lnTo>
                    <a:pt x="91" y="1116"/>
                  </a:lnTo>
                  <a:lnTo>
                    <a:pt x="93" y="1116"/>
                  </a:lnTo>
                  <a:lnTo>
                    <a:pt x="93" y="1116"/>
                  </a:lnTo>
                  <a:lnTo>
                    <a:pt x="91" y="1114"/>
                  </a:lnTo>
                  <a:lnTo>
                    <a:pt x="91" y="1113"/>
                  </a:lnTo>
                  <a:lnTo>
                    <a:pt x="89" y="1111"/>
                  </a:lnTo>
                  <a:lnTo>
                    <a:pt x="89" y="1111"/>
                  </a:lnTo>
                  <a:lnTo>
                    <a:pt x="87" y="1111"/>
                  </a:lnTo>
                  <a:lnTo>
                    <a:pt x="87" y="1113"/>
                  </a:lnTo>
                  <a:lnTo>
                    <a:pt x="87" y="1114"/>
                  </a:lnTo>
                  <a:lnTo>
                    <a:pt x="89" y="1114"/>
                  </a:lnTo>
                  <a:lnTo>
                    <a:pt x="91" y="1116"/>
                  </a:lnTo>
                  <a:lnTo>
                    <a:pt x="89" y="1116"/>
                  </a:lnTo>
                  <a:lnTo>
                    <a:pt x="89" y="1118"/>
                  </a:lnTo>
                  <a:lnTo>
                    <a:pt x="89" y="1118"/>
                  </a:lnTo>
                  <a:lnTo>
                    <a:pt x="89" y="1118"/>
                  </a:lnTo>
                  <a:lnTo>
                    <a:pt x="89" y="1118"/>
                  </a:lnTo>
                  <a:lnTo>
                    <a:pt x="89" y="1118"/>
                  </a:lnTo>
                  <a:lnTo>
                    <a:pt x="89" y="1120"/>
                  </a:lnTo>
                  <a:lnTo>
                    <a:pt x="89" y="1120"/>
                  </a:lnTo>
                  <a:lnTo>
                    <a:pt x="85" y="1118"/>
                  </a:lnTo>
                  <a:close/>
                  <a:moveTo>
                    <a:pt x="93" y="1087"/>
                  </a:moveTo>
                  <a:lnTo>
                    <a:pt x="91" y="1089"/>
                  </a:lnTo>
                  <a:lnTo>
                    <a:pt x="93" y="1089"/>
                  </a:lnTo>
                  <a:lnTo>
                    <a:pt x="93" y="1089"/>
                  </a:lnTo>
                  <a:lnTo>
                    <a:pt x="93" y="1089"/>
                  </a:lnTo>
                  <a:lnTo>
                    <a:pt x="93" y="1089"/>
                  </a:lnTo>
                  <a:lnTo>
                    <a:pt x="93" y="1091"/>
                  </a:lnTo>
                  <a:lnTo>
                    <a:pt x="93" y="1091"/>
                  </a:lnTo>
                  <a:lnTo>
                    <a:pt x="94" y="1089"/>
                  </a:lnTo>
                  <a:lnTo>
                    <a:pt x="96" y="1091"/>
                  </a:lnTo>
                  <a:lnTo>
                    <a:pt x="96" y="1091"/>
                  </a:lnTo>
                  <a:lnTo>
                    <a:pt x="96" y="1091"/>
                  </a:lnTo>
                  <a:lnTo>
                    <a:pt x="96" y="1091"/>
                  </a:lnTo>
                  <a:lnTo>
                    <a:pt x="94" y="1089"/>
                  </a:lnTo>
                  <a:lnTo>
                    <a:pt x="94" y="1087"/>
                  </a:lnTo>
                  <a:lnTo>
                    <a:pt x="94" y="1087"/>
                  </a:lnTo>
                  <a:lnTo>
                    <a:pt x="94" y="1085"/>
                  </a:lnTo>
                  <a:lnTo>
                    <a:pt x="93" y="1087"/>
                  </a:lnTo>
                  <a:lnTo>
                    <a:pt x="93" y="1087"/>
                  </a:lnTo>
                  <a:lnTo>
                    <a:pt x="93" y="1087"/>
                  </a:lnTo>
                  <a:lnTo>
                    <a:pt x="93" y="1087"/>
                  </a:lnTo>
                  <a:lnTo>
                    <a:pt x="93" y="1087"/>
                  </a:lnTo>
                  <a:close/>
                  <a:moveTo>
                    <a:pt x="98" y="1044"/>
                  </a:moveTo>
                  <a:lnTo>
                    <a:pt x="100" y="1044"/>
                  </a:lnTo>
                  <a:lnTo>
                    <a:pt x="100" y="1044"/>
                  </a:lnTo>
                  <a:lnTo>
                    <a:pt x="100" y="1044"/>
                  </a:lnTo>
                  <a:lnTo>
                    <a:pt x="100" y="1044"/>
                  </a:lnTo>
                  <a:lnTo>
                    <a:pt x="100" y="1044"/>
                  </a:lnTo>
                  <a:lnTo>
                    <a:pt x="102" y="1042"/>
                  </a:lnTo>
                  <a:lnTo>
                    <a:pt x="102" y="1042"/>
                  </a:lnTo>
                  <a:lnTo>
                    <a:pt x="100" y="1042"/>
                  </a:lnTo>
                  <a:lnTo>
                    <a:pt x="98" y="1042"/>
                  </a:lnTo>
                  <a:lnTo>
                    <a:pt x="98" y="1042"/>
                  </a:lnTo>
                  <a:lnTo>
                    <a:pt x="98" y="1042"/>
                  </a:lnTo>
                  <a:lnTo>
                    <a:pt x="98" y="1044"/>
                  </a:lnTo>
                  <a:lnTo>
                    <a:pt x="98" y="1044"/>
                  </a:lnTo>
                  <a:close/>
                  <a:moveTo>
                    <a:pt x="82" y="899"/>
                  </a:moveTo>
                  <a:lnTo>
                    <a:pt x="82" y="899"/>
                  </a:lnTo>
                  <a:lnTo>
                    <a:pt x="82" y="899"/>
                  </a:lnTo>
                  <a:lnTo>
                    <a:pt x="82" y="899"/>
                  </a:lnTo>
                  <a:lnTo>
                    <a:pt x="82" y="899"/>
                  </a:lnTo>
                  <a:lnTo>
                    <a:pt x="82" y="901"/>
                  </a:lnTo>
                  <a:lnTo>
                    <a:pt x="84" y="901"/>
                  </a:lnTo>
                  <a:lnTo>
                    <a:pt x="84" y="901"/>
                  </a:lnTo>
                  <a:lnTo>
                    <a:pt x="84" y="899"/>
                  </a:lnTo>
                  <a:lnTo>
                    <a:pt x="85" y="901"/>
                  </a:lnTo>
                  <a:lnTo>
                    <a:pt x="85" y="901"/>
                  </a:lnTo>
                  <a:lnTo>
                    <a:pt x="85" y="901"/>
                  </a:lnTo>
                  <a:lnTo>
                    <a:pt x="85" y="899"/>
                  </a:lnTo>
                  <a:lnTo>
                    <a:pt x="85" y="898"/>
                  </a:lnTo>
                  <a:lnTo>
                    <a:pt x="85" y="898"/>
                  </a:lnTo>
                  <a:lnTo>
                    <a:pt x="84" y="896"/>
                  </a:lnTo>
                  <a:lnTo>
                    <a:pt x="84" y="896"/>
                  </a:lnTo>
                  <a:lnTo>
                    <a:pt x="82" y="894"/>
                  </a:lnTo>
                  <a:lnTo>
                    <a:pt x="82" y="894"/>
                  </a:lnTo>
                  <a:lnTo>
                    <a:pt x="82" y="894"/>
                  </a:lnTo>
                  <a:lnTo>
                    <a:pt x="82" y="894"/>
                  </a:lnTo>
                  <a:lnTo>
                    <a:pt x="82" y="894"/>
                  </a:lnTo>
                  <a:lnTo>
                    <a:pt x="82" y="896"/>
                  </a:lnTo>
                  <a:lnTo>
                    <a:pt x="82" y="896"/>
                  </a:lnTo>
                  <a:lnTo>
                    <a:pt x="82" y="898"/>
                  </a:lnTo>
                  <a:lnTo>
                    <a:pt x="82" y="898"/>
                  </a:lnTo>
                  <a:lnTo>
                    <a:pt x="82" y="898"/>
                  </a:lnTo>
                  <a:lnTo>
                    <a:pt x="82" y="899"/>
                  </a:lnTo>
                  <a:lnTo>
                    <a:pt x="82" y="899"/>
                  </a:lnTo>
                  <a:close/>
                  <a:moveTo>
                    <a:pt x="82" y="865"/>
                  </a:moveTo>
                  <a:lnTo>
                    <a:pt x="80" y="865"/>
                  </a:lnTo>
                  <a:lnTo>
                    <a:pt x="78" y="863"/>
                  </a:lnTo>
                  <a:lnTo>
                    <a:pt x="78" y="865"/>
                  </a:lnTo>
                  <a:lnTo>
                    <a:pt x="80" y="869"/>
                  </a:lnTo>
                  <a:lnTo>
                    <a:pt x="80" y="869"/>
                  </a:lnTo>
                  <a:lnTo>
                    <a:pt x="80" y="871"/>
                  </a:lnTo>
                  <a:lnTo>
                    <a:pt x="82" y="872"/>
                  </a:lnTo>
                  <a:lnTo>
                    <a:pt x="82" y="872"/>
                  </a:lnTo>
                  <a:lnTo>
                    <a:pt x="82" y="874"/>
                  </a:lnTo>
                  <a:lnTo>
                    <a:pt x="82" y="874"/>
                  </a:lnTo>
                  <a:lnTo>
                    <a:pt x="82" y="876"/>
                  </a:lnTo>
                  <a:lnTo>
                    <a:pt x="82" y="876"/>
                  </a:lnTo>
                  <a:lnTo>
                    <a:pt x="84" y="874"/>
                  </a:lnTo>
                  <a:lnTo>
                    <a:pt x="84" y="874"/>
                  </a:lnTo>
                  <a:lnTo>
                    <a:pt x="85" y="874"/>
                  </a:lnTo>
                  <a:lnTo>
                    <a:pt x="85" y="876"/>
                  </a:lnTo>
                  <a:lnTo>
                    <a:pt x="85" y="878"/>
                  </a:lnTo>
                  <a:lnTo>
                    <a:pt x="87" y="878"/>
                  </a:lnTo>
                  <a:lnTo>
                    <a:pt x="89" y="878"/>
                  </a:lnTo>
                  <a:lnTo>
                    <a:pt x="89" y="878"/>
                  </a:lnTo>
                  <a:lnTo>
                    <a:pt x="91" y="878"/>
                  </a:lnTo>
                  <a:lnTo>
                    <a:pt x="89" y="876"/>
                  </a:lnTo>
                  <a:lnTo>
                    <a:pt x="89" y="876"/>
                  </a:lnTo>
                  <a:lnTo>
                    <a:pt x="89" y="876"/>
                  </a:lnTo>
                  <a:lnTo>
                    <a:pt x="93" y="872"/>
                  </a:lnTo>
                  <a:lnTo>
                    <a:pt x="94" y="872"/>
                  </a:lnTo>
                  <a:lnTo>
                    <a:pt x="93" y="874"/>
                  </a:lnTo>
                  <a:lnTo>
                    <a:pt x="93" y="874"/>
                  </a:lnTo>
                  <a:lnTo>
                    <a:pt x="94" y="874"/>
                  </a:lnTo>
                  <a:lnTo>
                    <a:pt x="96" y="874"/>
                  </a:lnTo>
                  <a:lnTo>
                    <a:pt x="96" y="872"/>
                  </a:lnTo>
                  <a:lnTo>
                    <a:pt x="94" y="871"/>
                  </a:lnTo>
                  <a:lnTo>
                    <a:pt x="94" y="869"/>
                  </a:lnTo>
                  <a:lnTo>
                    <a:pt x="96" y="869"/>
                  </a:lnTo>
                  <a:lnTo>
                    <a:pt x="94" y="867"/>
                  </a:lnTo>
                  <a:lnTo>
                    <a:pt x="93" y="867"/>
                  </a:lnTo>
                  <a:lnTo>
                    <a:pt x="91" y="867"/>
                  </a:lnTo>
                  <a:lnTo>
                    <a:pt x="89" y="869"/>
                  </a:lnTo>
                  <a:lnTo>
                    <a:pt x="89" y="869"/>
                  </a:lnTo>
                  <a:lnTo>
                    <a:pt x="89" y="871"/>
                  </a:lnTo>
                  <a:lnTo>
                    <a:pt x="89" y="871"/>
                  </a:lnTo>
                  <a:lnTo>
                    <a:pt x="89" y="871"/>
                  </a:lnTo>
                  <a:lnTo>
                    <a:pt x="89" y="872"/>
                  </a:lnTo>
                  <a:lnTo>
                    <a:pt x="89" y="872"/>
                  </a:lnTo>
                  <a:lnTo>
                    <a:pt x="89" y="871"/>
                  </a:lnTo>
                  <a:lnTo>
                    <a:pt x="87" y="871"/>
                  </a:lnTo>
                  <a:lnTo>
                    <a:pt x="85" y="871"/>
                  </a:lnTo>
                  <a:lnTo>
                    <a:pt x="84" y="871"/>
                  </a:lnTo>
                  <a:lnTo>
                    <a:pt x="84" y="871"/>
                  </a:lnTo>
                  <a:lnTo>
                    <a:pt x="85" y="871"/>
                  </a:lnTo>
                  <a:lnTo>
                    <a:pt x="84" y="871"/>
                  </a:lnTo>
                  <a:lnTo>
                    <a:pt x="84" y="869"/>
                  </a:lnTo>
                  <a:lnTo>
                    <a:pt x="85" y="867"/>
                  </a:lnTo>
                  <a:lnTo>
                    <a:pt x="85" y="865"/>
                  </a:lnTo>
                  <a:lnTo>
                    <a:pt x="87" y="865"/>
                  </a:lnTo>
                  <a:lnTo>
                    <a:pt x="87" y="863"/>
                  </a:lnTo>
                  <a:lnTo>
                    <a:pt x="85" y="863"/>
                  </a:lnTo>
                  <a:lnTo>
                    <a:pt x="82" y="865"/>
                  </a:lnTo>
                  <a:close/>
                  <a:moveTo>
                    <a:pt x="125" y="865"/>
                  </a:moveTo>
                  <a:lnTo>
                    <a:pt x="127" y="865"/>
                  </a:lnTo>
                  <a:lnTo>
                    <a:pt x="127" y="863"/>
                  </a:lnTo>
                  <a:lnTo>
                    <a:pt x="127" y="863"/>
                  </a:lnTo>
                  <a:lnTo>
                    <a:pt x="127" y="861"/>
                  </a:lnTo>
                  <a:lnTo>
                    <a:pt x="127" y="860"/>
                  </a:lnTo>
                  <a:lnTo>
                    <a:pt x="125" y="860"/>
                  </a:lnTo>
                  <a:lnTo>
                    <a:pt x="125" y="860"/>
                  </a:lnTo>
                  <a:lnTo>
                    <a:pt x="125" y="860"/>
                  </a:lnTo>
                  <a:lnTo>
                    <a:pt x="125" y="860"/>
                  </a:lnTo>
                  <a:lnTo>
                    <a:pt x="125" y="860"/>
                  </a:lnTo>
                  <a:lnTo>
                    <a:pt x="125" y="860"/>
                  </a:lnTo>
                  <a:lnTo>
                    <a:pt x="125" y="860"/>
                  </a:lnTo>
                  <a:lnTo>
                    <a:pt x="127" y="861"/>
                  </a:lnTo>
                  <a:lnTo>
                    <a:pt x="125" y="861"/>
                  </a:lnTo>
                  <a:lnTo>
                    <a:pt x="125" y="860"/>
                  </a:lnTo>
                  <a:lnTo>
                    <a:pt x="123" y="861"/>
                  </a:lnTo>
                  <a:lnTo>
                    <a:pt x="123" y="861"/>
                  </a:lnTo>
                  <a:lnTo>
                    <a:pt x="123" y="863"/>
                  </a:lnTo>
                  <a:lnTo>
                    <a:pt x="123" y="865"/>
                  </a:lnTo>
                  <a:lnTo>
                    <a:pt x="123" y="865"/>
                  </a:lnTo>
                  <a:lnTo>
                    <a:pt x="123" y="865"/>
                  </a:lnTo>
                  <a:lnTo>
                    <a:pt x="125" y="865"/>
                  </a:lnTo>
                  <a:lnTo>
                    <a:pt x="125" y="863"/>
                  </a:lnTo>
                  <a:lnTo>
                    <a:pt x="125" y="863"/>
                  </a:lnTo>
                  <a:lnTo>
                    <a:pt x="125" y="863"/>
                  </a:lnTo>
                  <a:lnTo>
                    <a:pt x="125" y="863"/>
                  </a:lnTo>
                  <a:lnTo>
                    <a:pt x="125" y="863"/>
                  </a:lnTo>
                  <a:lnTo>
                    <a:pt x="125" y="865"/>
                  </a:lnTo>
                  <a:close/>
                  <a:moveTo>
                    <a:pt x="132" y="863"/>
                  </a:moveTo>
                  <a:lnTo>
                    <a:pt x="134" y="865"/>
                  </a:lnTo>
                  <a:lnTo>
                    <a:pt x="134" y="865"/>
                  </a:lnTo>
                  <a:lnTo>
                    <a:pt x="136" y="865"/>
                  </a:lnTo>
                  <a:lnTo>
                    <a:pt x="136" y="863"/>
                  </a:lnTo>
                  <a:lnTo>
                    <a:pt x="136" y="861"/>
                  </a:lnTo>
                  <a:lnTo>
                    <a:pt x="138" y="861"/>
                  </a:lnTo>
                  <a:lnTo>
                    <a:pt x="136" y="860"/>
                  </a:lnTo>
                  <a:lnTo>
                    <a:pt x="136" y="860"/>
                  </a:lnTo>
                  <a:lnTo>
                    <a:pt x="136" y="858"/>
                  </a:lnTo>
                  <a:lnTo>
                    <a:pt x="136" y="858"/>
                  </a:lnTo>
                  <a:lnTo>
                    <a:pt x="136" y="858"/>
                  </a:lnTo>
                  <a:lnTo>
                    <a:pt x="136" y="858"/>
                  </a:lnTo>
                  <a:lnTo>
                    <a:pt x="136" y="858"/>
                  </a:lnTo>
                  <a:lnTo>
                    <a:pt x="136" y="860"/>
                  </a:lnTo>
                  <a:lnTo>
                    <a:pt x="134" y="860"/>
                  </a:lnTo>
                  <a:lnTo>
                    <a:pt x="134" y="861"/>
                  </a:lnTo>
                  <a:lnTo>
                    <a:pt x="134" y="861"/>
                  </a:lnTo>
                  <a:lnTo>
                    <a:pt x="134" y="861"/>
                  </a:lnTo>
                  <a:lnTo>
                    <a:pt x="134" y="860"/>
                  </a:lnTo>
                  <a:lnTo>
                    <a:pt x="134" y="860"/>
                  </a:lnTo>
                  <a:lnTo>
                    <a:pt x="132" y="860"/>
                  </a:lnTo>
                  <a:lnTo>
                    <a:pt x="132" y="860"/>
                  </a:lnTo>
                  <a:lnTo>
                    <a:pt x="132" y="861"/>
                  </a:lnTo>
                  <a:lnTo>
                    <a:pt x="132" y="861"/>
                  </a:lnTo>
                  <a:lnTo>
                    <a:pt x="132" y="860"/>
                  </a:lnTo>
                  <a:lnTo>
                    <a:pt x="132" y="860"/>
                  </a:lnTo>
                  <a:lnTo>
                    <a:pt x="131" y="860"/>
                  </a:lnTo>
                  <a:lnTo>
                    <a:pt x="131" y="860"/>
                  </a:lnTo>
                  <a:lnTo>
                    <a:pt x="131" y="860"/>
                  </a:lnTo>
                  <a:lnTo>
                    <a:pt x="129" y="860"/>
                  </a:lnTo>
                  <a:lnTo>
                    <a:pt x="129" y="860"/>
                  </a:lnTo>
                  <a:lnTo>
                    <a:pt x="129" y="860"/>
                  </a:lnTo>
                  <a:lnTo>
                    <a:pt x="129" y="861"/>
                  </a:lnTo>
                  <a:lnTo>
                    <a:pt x="129" y="861"/>
                  </a:lnTo>
                  <a:lnTo>
                    <a:pt x="129" y="863"/>
                  </a:lnTo>
                  <a:lnTo>
                    <a:pt x="129" y="863"/>
                  </a:lnTo>
                  <a:lnTo>
                    <a:pt x="129" y="863"/>
                  </a:lnTo>
                  <a:lnTo>
                    <a:pt x="129" y="863"/>
                  </a:lnTo>
                  <a:lnTo>
                    <a:pt x="129" y="865"/>
                  </a:lnTo>
                  <a:lnTo>
                    <a:pt x="129" y="865"/>
                  </a:lnTo>
                  <a:lnTo>
                    <a:pt x="129" y="865"/>
                  </a:lnTo>
                  <a:lnTo>
                    <a:pt x="129" y="865"/>
                  </a:lnTo>
                  <a:lnTo>
                    <a:pt x="129" y="867"/>
                  </a:lnTo>
                  <a:lnTo>
                    <a:pt x="131" y="867"/>
                  </a:lnTo>
                  <a:lnTo>
                    <a:pt x="132" y="867"/>
                  </a:lnTo>
                  <a:lnTo>
                    <a:pt x="132" y="867"/>
                  </a:lnTo>
                  <a:lnTo>
                    <a:pt x="132" y="867"/>
                  </a:lnTo>
                  <a:lnTo>
                    <a:pt x="132" y="867"/>
                  </a:lnTo>
                  <a:lnTo>
                    <a:pt x="132" y="867"/>
                  </a:lnTo>
                  <a:lnTo>
                    <a:pt x="132" y="865"/>
                  </a:lnTo>
                  <a:lnTo>
                    <a:pt x="132" y="865"/>
                  </a:lnTo>
                  <a:lnTo>
                    <a:pt x="131" y="863"/>
                  </a:lnTo>
                  <a:lnTo>
                    <a:pt x="131" y="863"/>
                  </a:lnTo>
                  <a:lnTo>
                    <a:pt x="132" y="863"/>
                  </a:lnTo>
                  <a:close/>
                  <a:moveTo>
                    <a:pt x="89" y="861"/>
                  </a:moveTo>
                  <a:lnTo>
                    <a:pt x="89" y="861"/>
                  </a:lnTo>
                  <a:lnTo>
                    <a:pt x="91" y="861"/>
                  </a:lnTo>
                  <a:lnTo>
                    <a:pt x="91" y="863"/>
                  </a:lnTo>
                  <a:lnTo>
                    <a:pt x="93" y="860"/>
                  </a:lnTo>
                  <a:lnTo>
                    <a:pt x="93" y="858"/>
                  </a:lnTo>
                  <a:lnTo>
                    <a:pt x="93" y="856"/>
                  </a:lnTo>
                  <a:lnTo>
                    <a:pt x="93" y="854"/>
                  </a:lnTo>
                  <a:lnTo>
                    <a:pt x="91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87" y="858"/>
                  </a:lnTo>
                  <a:lnTo>
                    <a:pt x="85" y="858"/>
                  </a:lnTo>
                  <a:lnTo>
                    <a:pt x="85" y="860"/>
                  </a:lnTo>
                  <a:lnTo>
                    <a:pt x="89" y="861"/>
                  </a:lnTo>
                  <a:lnTo>
                    <a:pt x="89" y="861"/>
                  </a:lnTo>
                  <a:close/>
                  <a:moveTo>
                    <a:pt x="129" y="852"/>
                  </a:moveTo>
                  <a:lnTo>
                    <a:pt x="129" y="852"/>
                  </a:lnTo>
                  <a:lnTo>
                    <a:pt x="127" y="852"/>
                  </a:lnTo>
                  <a:lnTo>
                    <a:pt x="127" y="852"/>
                  </a:lnTo>
                  <a:lnTo>
                    <a:pt x="127" y="852"/>
                  </a:lnTo>
                  <a:lnTo>
                    <a:pt x="127" y="852"/>
                  </a:lnTo>
                  <a:lnTo>
                    <a:pt x="125" y="852"/>
                  </a:lnTo>
                  <a:lnTo>
                    <a:pt x="125" y="852"/>
                  </a:lnTo>
                  <a:lnTo>
                    <a:pt x="123" y="852"/>
                  </a:lnTo>
                  <a:lnTo>
                    <a:pt x="123" y="854"/>
                  </a:lnTo>
                  <a:lnTo>
                    <a:pt x="123" y="854"/>
                  </a:lnTo>
                  <a:lnTo>
                    <a:pt x="123" y="854"/>
                  </a:lnTo>
                  <a:lnTo>
                    <a:pt x="123" y="856"/>
                  </a:lnTo>
                  <a:lnTo>
                    <a:pt x="123" y="856"/>
                  </a:lnTo>
                  <a:lnTo>
                    <a:pt x="121" y="856"/>
                  </a:lnTo>
                  <a:lnTo>
                    <a:pt x="121" y="858"/>
                  </a:lnTo>
                  <a:lnTo>
                    <a:pt x="121" y="858"/>
                  </a:lnTo>
                  <a:lnTo>
                    <a:pt x="121" y="858"/>
                  </a:lnTo>
                  <a:lnTo>
                    <a:pt x="121" y="858"/>
                  </a:lnTo>
                  <a:lnTo>
                    <a:pt x="123" y="858"/>
                  </a:lnTo>
                  <a:lnTo>
                    <a:pt x="123" y="858"/>
                  </a:lnTo>
                  <a:lnTo>
                    <a:pt x="123" y="858"/>
                  </a:lnTo>
                  <a:lnTo>
                    <a:pt x="125" y="856"/>
                  </a:lnTo>
                  <a:lnTo>
                    <a:pt x="125" y="856"/>
                  </a:lnTo>
                  <a:lnTo>
                    <a:pt x="125" y="854"/>
                  </a:lnTo>
                  <a:lnTo>
                    <a:pt x="125" y="854"/>
                  </a:lnTo>
                  <a:lnTo>
                    <a:pt x="127" y="856"/>
                  </a:lnTo>
                  <a:lnTo>
                    <a:pt x="129" y="856"/>
                  </a:lnTo>
                  <a:lnTo>
                    <a:pt x="129" y="854"/>
                  </a:lnTo>
                  <a:lnTo>
                    <a:pt x="129" y="854"/>
                  </a:lnTo>
                  <a:lnTo>
                    <a:pt x="129" y="854"/>
                  </a:lnTo>
                  <a:lnTo>
                    <a:pt x="129" y="854"/>
                  </a:lnTo>
                  <a:lnTo>
                    <a:pt x="129" y="852"/>
                  </a:lnTo>
                  <a:lnTo>
                    <a:pt x="129" y="852"/>
                  </a:lnTo>
                  <a:lnTo>
                    <a:pt x="129" y="852"/>
                  </a:lnTo>
                  <a:lnTo>
                    <a:pt x="129" y="852"/>
                  </a:lnTo>
                  <a:close/>
                  <a:moveTo>
                    <a:pt x="165" y="813"/>
                  </a:moveTo>
                  <a:lnTo>
                    <a:pt x="165" y="813"/>
                  </a:lnTo>
                  <a:lnTo>
                    <a:pt x="165" y="813"/>
                  </a:lnTo>
                  <a:lnTo>
                    <a:pt x="165" y="811"/>
                  </a:lnTo>
                  <a:lnTo>
                    <a:pt x="165" y="811"/>
                  </a:lnTo>
                  <a:lnTo>
                    <a:pt x="165" y="811"/>
                  </a:lnTo>
                  <a:lnTo>
                    <a:pt x="165" y="809"/>
                  </a:lnTo>
                  <a:lnTo>
                    <a:pt x="165" y="809"/>
                  </a:lnTo>
                  <a:lnTo>
                    <a:pt x="167" y="809"/>
                  </a:lnTo>
                  <a:lnTo>
                    <a:pt x="167" y="809"/>
                  </a:lnTo>
                  <a:lnTo>
                    <a:pt x="167" y="809"/>
                  </a:lnTo>
                  <a:lnTo>
                    <a:pt x="165" y="809"/>
                  </a:lnTo>
                  <a:lnTo>
                    <a:pt x="165" y="809"/>
                  </a:lnTo>
                  <a:lnTo>
                    <a:pt x="165" y="809"/>
                  </a:lnTo>
                  <a:lnTo>
                    <a:pt x="165" y="809"/>
                  </a:lnTo>
                  <a:lnTo>
                    <a:pt x="165" y="807"/>
                  </a:lnTo>
                  <a:lnTo>
                    <a:pt x="163" y="807"/>
                  </a:lnTo>
                  <a:lnTo>
                    <a:pt x="163" y="807"/>
                  </a:lnTo>
                  <a:lnTo>
                    <a:pt x="161" y="807"/>
                  </a:lnTo>
                  <a:lnTo>
                    <a:pt x="161" y="809"/>
                  </a:lnTo>
                  <a:lnTo>
                    <a:pt x="159" y="809"/>
                  </a:lnTo>
                  <a:lnTo>
                    <a:pt x="159" y="809"/>
                  </a:lnTo>
                  <a:lnTo>
                    <a:pt x="159" y="811"/>
                  </a:lnTo>
                  <a:lnTo>
                    <a:pt x="159" y="811"/>
                  </a:lnTo>
                  <a:lnTo>
                    <a:pt x="159" y="811"/>
                  </a:lnTo>
                  <a:lnTo>
                    <a:pt x="159" y="811"/>
                  </a:lnTo>
                  <a:lnTo>
                    <a:pt x="159" y="813"/>
                  </a:lnTo>
                  <a:lnTo>
                    <a:pt x="161" y="815"/>
                  </a:lnTo>
                  <a:lnTo>
                    <a:pt x="161" y="815"/>
                  </a:lnTo>
                  <a:lnTo>
                    <a:pt x="163" y="815"/>
                  </a:lnTo>
                  <a:lnTo>
                    <a:pt x="163" y="815"/>
                  </a:lnTo>
                  <a:lnTo>
                    <a:pt x="163" y="815"/>
                  </a:lnTo>
                  <a:lnTo>
                    <a:pt x="163" y="813"/>
                  </a:lnTo>
                  <a:lnTo>
                    <a:pt x="163" y="813"/>
                  </a:lnTo>
                  <a:lnTo>
                    <a:pt x="163" y="813"/>
                  </a:lnTo>
                  <a:lnTo>
                    <a:pt x="165" y="813"/>
                  </a:lnTo>
                  <a:close/>
                  <a:moveTo>
                    <a:pt x="270" y="657"/>
                  </a:moveTo>
                  <a:lnTo>
                    <a:pt x="266" y="656"/>
                  </a:lnTo>
                  <a:lnTo>
                    <a:pt x="262" y="657"/>
                  </a:lnTo>
                  <a:lnTo>
                    <a:pt x="257" y="657"/>
                  </a:lnTo>
                  <a:lnTo>
                    <a:pt x="253" y="661"/>
                  </a:lnTo>
                  <a:lnTo>
                    <a:pt x="253" y="663"/>
                  </a:lnTo>
                  <a:lnTo>
                    <a:pt x="253" y="665"/>
                  </a:lnTo>
                  <a:lnTo>
                    <a:pt x="253" y="666"/>
                  </a:lnTo>
                  <a:lnTo>
                    <a:pt x="255" y="668"/>
                  </a:lnTo>
                  <a:lnTo>
                    <a:pt x="257" y="670"/>
                  </a:lnTo>
                  <a:lnTo>
                    <a:pt x="257" y="670"/>
                  </a:lnTo>
                  <a:lnTo>
                    <a:pt x="259" y="668"/>
                  </a:lnTo>
                  <a:lnTo>
                    <a:pt x="259" y="668"/>
                  </a:lnTo>
                  <a:lnTo>
                    <a:pt x="261" y="670"/>
                  </a:lnTo>
                  <a:lnTo>
                    <a:pt x="261" y="670"/>
                  </a:lnTo>
                  <a:lnTo>
                    <a:pt x="261" y="672"/>
                  </a:lnTo>
                  <a:lnTo>
                    <a:pt x="261" y="672"/>
                  </a:lnTo>
                  <a:lnTo>
                    <a:pt x="262" y="674"/>
                  </a:lnTo>
                  <a:lnTo>
                    <a:pt x="262" y="672"/>
                  </a:lnTo>
                  <a:lnTo>
                    <a:pt x="262" y="672"/>
                  </a:lnTo>
                  <a:lnTo>
                    <a:pt x="264" y="672"/>
                  </a:lnTo>
                  <a:lnTo>
                    <a:pt x="264" y="672"/>
                  </a:lnTo>
                  <a:lnTo>
                    <a:pt x="264" y="670"/>
                  </a:lnTo>
                  <a:lnTo>
                    <a:pt x="264" y="670"/>
                  </a:lnTo>
                  <a:lnTo>
                    <a:pt x="266" y="670"/>
                  </a:lnTo>
                  <a:lnTo>
                    <a:pt x="266" y="670"/>
                  </a:lnTo>
                  <a:lnTo>
                    <a:pt x="266" y="670"/>
                  </a:lnTo>
                  <a:lnTo>
                    <a:pt x="262" y="670"/>
                  </a:lnTo>
                  <a:lnTo>
                    <a:pt x="261" y="666"/>
                  </a:lnTo>
                  <a:lnTo>
                    <a:pt x="264" y="665"/>
                  </a:lnTo>
                  <a:lnTo>
                    <a:pt x="266" y="661"/>
                  </a:lnTo>
                  <a:lnTo>
                    <a:pt x="268" y="661"/>
                  </a:lnTo>
                  <a:lnTo>
                    <a:pt x="273" y="663"/>
                  </a:lnTo>
                  <a:lnTo>
                    <a:pt x="277" y="663"/>
                  </a:lnTo>
                  <a:lnTo>
                    <a:pt x="279" y="661"/>
                  </a:lnTo>
                  <a:lnTo>
                    <a:pt x="277" y="661"/>
                  </a:lnTo>
                  <a:lnTo>
                    <a:pt x="275" y="661"/>
                  </a:lnTo>
                  <a:lnTo>
                    <a:pt x="271" y="659"/>
                  </a:lnTo>
                  <a:lnTo>
                    <a:pt x="270" y="659"/>
                  </a:lnTo>
                  <a:lnTo>
                    <a:pt x="270" y="659"/>
                  </a:lnTo>
                  <a:lnTo>
                    <a:pt x="268" y="659"/>
                  </a:lnTo>
                  <a:lnTo>
                    <a:pt x="270" y="659"/>
                  </a:lnTo>
                  <a:lnTo>
                    <a:pt x="270" y="657"/>
                  </a:lnTo>
                  <a:close/>
                  <a:moveTo>
                    <a:pt x="602" y="905"/>
                  </a:moveTo>
                  <a:lnTo>
                    <a:pt x="602" y="901"/>
                  </a:lnTo>
                  <a:lnTo>
                    <a:pt x="600" y="899"/>
                  </a:lnTo>
                  <a:lnTo>
                    <a:pt x="598" y="898"/>
                  </a:lnTo>
                  <a:lnTo>
                    <a:pt x="598" y="896"/>
                  </a:lnTo>
                  <a:lnTo>
                    <a:pt x="596" y="896"/>
                  </a:lnTo>
                  <a:lnTo>
                    <a:pt x="595" y="890"/>
                  </a:lnTo>
                  <a:lnTo>
                    <a:pt x="593" y="889"/>
                  </a:lnTo>
                  <a:lnTo>
                    <a:pt x="589" y="887"/>
                  </a:lnTo>
                  <a:lnTo>
                    <a:pt x="587" y="885"/>
                  </a:lnTo>
                  <a:lnTo>
                    <a:pt x="587" y="883"/>
                  </a:lnTo>
                  <a:lnTo>
                    <a:pt x="587" y="880"/>
                  </a:lnTo>
                  <a:lnTo>
                    <a:pt x="587" y="878"/>
                  </a:lnTo>
                  <a:lnTo>
                    <a:pt x="587" y="876"/>
                  </a:lnTo>
                  <a:lnTo>
                    <a:pt x="586" y="874"/>
                  </a:lnTo>
                  <a:lnTo>
                    <a:pt x="586" y="872"/>
                  </a:lnTo>
                  <a:lnTo>
                    <a:pt x="584" y="871"/>
                  </a:lnTo>
                  <a:lnTo>
                    <a:pt x="573" y="863"/>
                  </a:lnTo>
                  <a:lnTo>
                    <a:pt x="566" y="854"/>
                  </a:lnTo>
                  <a:lnTo>
                    <a:pt x="549" y="843"/>
                  </a:lnTo>
                  <a:lnTo>
                    <a:pt x="548" y="843"/>
                  </a:lnTo>
                  <a:lnTo>
                    <a:pt x="548" y="840"/>
                  </a:lnTo>
                  <a:lnTo>
                    <a:pt x="544" y="836"/>
                  </a:lnTo>
                  <a:lnTo>
                    <a:pt x="537" y="831"/>
                  </a:lnTo>
                  <a:lnTo>
                    <a:pt x="524" y="816"/>
                  </a:lnTo>
                  <a:lnTo>
                    <a:pt x="524" y="813"/>
                  </a:lnTo>
                  <a:lnTo>
                    <a:pt x="524" y="813"/>
                  </a:lnTo>
                  <a:lnTo>
                    <a:pt x="528" y="809"/>
                  </a:lnTo>
                  <a:lnTo>
                    <a:pt x="535" y="807"/>
                  </a:lnTo>
                  <a:lnTo>
                    <a:pt x="539" y="802"/>
                  </a:lnTo>
                  <a:lnTo>
                    <a:pt x="542" y="795"/>
                  </a:lnTo>
                  <a:lnTo>
                    <a:pt x="551" y="784"/>
                  </a:lnTo>
                  <a:lnTo>
                    <a:pt x="551" y="784"/>
                  </a:lnTo>
                  <a:lnTo>
                    <a:pt x="553" y="780"/>
                  </a:lnTo>
                  <a:lnTo>
                    <a:pt x="555" y="777"/>
                  </a:lnTo>
                  <a:lnTo>
                    <a:pt x="555" y="773"/>
                  </a:lnTo>
                  <a:lnTo>
                    <a:pt x="553" y="769"/>
                  </a:lnTo>
                  <a:lnTo>
                    <a:pt x="553" y="766"/>
                  </a:lnTo>
                  <a:lnTo>
                    <a:pt x="551" y="764"/>
                  </a:lnTo>
                  <a:lnTo>
                    <a:pt x="551" y="762"/>
                  </a:lnTo>
                  <a:lnTo>
                    <a:pt x="553" y="760"/>
                  </a:lnTo>
                  <a:lnTo>
                    <a:pt x="553" y="759"/>
                  </a:lnTo>
                  <a:lnTo>
                    <a:pt x="551" y="757"/>
                  </a:lnTo>
                  <a:lnTo>
                    <a:pt x="549" y="755"/>
                  </a:lnTo>
                  <a:lnTo>
                    <a:pt x="548" y="755"/>
                  </a:lnTo>
                  <a:lnTo>
                    <a:pt x="546" y="753"/>
                  </a:lnTo>
                  <a:lnTo>
                    <a:pt x="546" y="751"/>
                  </a:lnTo>
                  <a:lnTo>
                    <a:pt x="544" y="749"/>
                  </a:lnTo>
                  <a:lnTo>
                    <a:pt x="540" y="746"/>
                  </a:lnTo>
                  <a:lnTo>
                    <a:pt x="533" y="744"/>
                  </a:lnTo>
                  <a:lnTo>
                    <a:pt x="530" y="742"/>
                  </a:lnTo>
                  <a:lnTo>
                    <a:pt x="528" y="740"/>
                  </a:lnTo>
                  <a:lnTo>
                    <a:pt x="526" y="737"/>
                  </a:lnTo>
                  <a:lnTo>
                    <a:pt x="528" y="735"/>
                  </a:lnTo>
                  <a:lnTo>
                    <a:pt x="528" y="731"/>
                  </a:lnTo>
                  <a:lnTo>
                    <a:pt x="528" y="730"/>
                  </a:lnTo>
                  <a:lnTo>
                    <a:pt x="526" y="726"/>
                  </a:lnTo>
                  <a:lnTo>
                    <a:pt x="524" y="726"/>
                  </a:lnTo>
                  <a:lnTo>
                    <a:pt x="524" y="724"/>
                  </a:lnTo>
                  <a:lnTo>
                    <a:pt x="524" y="724"/>
                  </a:lnTo>
                  <a:lnTo>
                    <a:pt x="524" y="724"/>
                  </a:lnTo>
                  <a:lnTo>
                    <a:pt x="524" y="724"/>
                  </a:lnTo>
                  <a:lnTo>
                    <a:pt x="524" y="722"/>
                  </a:lnTo>
                  <a:lnTo>
                    <a:pt x="524" y="722"/>
                  </a:lnTo>
                  <a:lnTo>
                    <a:pt x="524" y="722"/>
                  </a:lnTo>
                  <a:lnTo>
                    <a:pt x="524" y="721"/>
                  </a:lnTo>
                  <a:lnTo>
                    <a:pt x="524" y="721"/>
                  </a:lnTo>
                  <a:lnTo>
                    <a:pt x="524" y="719"/>
                  </a:lnTo>
                  <a:lnTo>
                    <a:pt x="522" y="719"/>
                  </a:lnTo>
                  <a:lnTo>
                    <a:pt x="522" y="719"/>
                  </a:lnTo>
                  <a:lnTo>
                    <a:pt x="522" y="717"/>
                  </a:lnTo>
                  <a:lnTo>
                    <a:pt x="522" y="717"/>
                  </a:lnTo>
                  <a:lnTo>
                    <a:pt x="522" y="717"/>
                  </a:lnTo>
                  <a:lnTo>
                    <a:pt x="531" y="712"/>
                  </a:lnTo>
                  <a:lnTo>
                    <a:pt x="533" y="712"/>
                  </a:lnTo>
                  <a:lnTo>
                    <a:pt x="533" y="710"/>
                  </a:lnTo>
                  <a:lnTo>
                    <a:pt x="535" y="706"/>
                  </a:lnTo>
                  <a:lnTo>
                    <a:pt x="533" y="704"/>
                  </a:lnTo>
                  <a:lnTo>
                    <a:pt x="531" y="703"/>
                  </a:lnTo>
                  <a:lnTo>
                    <a:pt x="531" y="701"/>
                  </a:lnTo>
                  <a:lnTo>
                    <a:pt x="530" y="701"/>
                  </a:lnTo>
                  <a:lnTo>
                    <a:pt x="530" y="699"/>
                  </a:lnTo>
                  <a:lnTo>
                    <a:pt x="530" y="699"/>
                  </a:lnTo>
                  <a:lnTo>
                    <a:pt x="531" y="697"/>
                  </a:lnTo>
                  <a:lnTo>
                    <a:pt x="531" y="695"/>
                  </a:lnTo>
                  <a:lnTo>
                    <a:pt x="531" y="695"/>
                  </a:lnTo>
                  <a:lnTo>
                    <a:pt x="531" y="694"/>
                  </a:lnTo>
                  <a:lnTo>
                    <a:pt x="530" y="694"/>
                  </a:lnTo>
                  <a:lnTo>
                    <a:pt x="528" y="692"/>
                  </a:lnTo>
                  <a:lnTo>
                    <a:pt x="519" y="692"/>
                  </a:lnTo>
                  <a:lnTo>
                    <a:pt x="513" y="692"/>
                  </a:lnTo>
                  <a:lnTo>
                    <a:pt x="510" y="686"/>
                  </a:lnTo>
                  <a:lnTo>
                    <a:pt x="506" y="677"/>
                  </a:lnTo>
                  <a:lnTo>
                    <a:pt x="504" y="668"/>
                  </a:lnTo>
                  <a:lnTo>
                    <a:pt x="504" y="663"/>
                  </a:lnTo>
                  <a:lnTo>
                    <a:pt x="506" y="659"/>
                  </a:lnTo>
                  <a:lnTo>
                    <a:pt x="508" y="657"/>
                  </a:lnTo>
                  <a:lnTo>
                    <a:pt x="515" y="656"/>
                  </a:lnTo>
                  <a:lnTo>
                    <a:pt x="517" y="654"/>
                  </a:lnTo>
                  <a:lnTo>
                    <a:pt x="517" y="652"/>
                  </a:lnTo>
                  <a:lnTo>
                    <a:pt x="517" y="652"/>
                  </a:lnTo>
                  <a:lnTo>
                    <a:pt x="515" y="652"/>
                  </a:lnTo>
                  <a:lnTo>
                    <a:pt x="515" y="650"/>
                  </a:lnTo>
                  <a:lnTo>
                    <a:pt x="515" y="650"/>
                  </a:lnTo>
                  <a:lnTo>
                    <a:pt x="515" y="648"/>
                  </a:lnTo>
                  <a:lnTo>
                    <a:pt x="517" y="648"/>
                  </a:lnTo>
                  <a:lnTo>
                    <a:pt x="517" y="647"/>
                  </a:lnTo>
                  <a:lnTo>
                    <a:pt x="517" y="643"/>
                  </a:lnTo>
                  <a:lnTo>
                    <a:pt x="513" y="641"/>
                  </a:lnTo>
                  <a:lnTo>
                    <a:pt x="506" y="641"/>
                  </a:lnTo>
                  <a:lnTo>
                    <a:pt x="504" y="639"/>
                  </a:lnTo>
                  <a:lnTo>
                    <a:pt x="506" y="636"/>
                  </a:lnTo>
                  <a:lnTo>
                    <a:pt x="512" y="628"/>
                  </a:lnTo>
                  <a:lnTo>
                    <a:pt x="512" y="623"/>
                  </a:lnTo>
                  <a:lnTo>
                    <a:pt x="512" y="612"/>
                  </a:lnTo>
                  <a:lnTo>
                    <a:pt x="512" y="609"/>
                  </a:lnTo>
                  <a:lnTo>
                    <a:pt x="512" y="609"/>
                  </a:lnTo>
                  <a:lnTo>
                    <a:pt x="512" y="607"/>
                  </a:lnTo>
                  <a:lnTo>
                    <a:pt x="512" y="607"/>
                  </a:lnTo>
                  <a:lnTo>
                    <a:pt x="517" y="601"/>
                  </a:lnTo>
                  <a:lnTo>
                    <a:pt x="517" y="600"/>
                  </a:lnTo>
                  <a:lnTo>
                    <a:pt x="515" y="598"/>
                  </a:lnTo>
                  <a:lnTo>
                    <a:pt x="512" y="594"/>
                  </a:lnTo>
                  <a:lnTo>
                    <a:pt x="510" y="592"/>
                  </a:lnTo>
                  <a:lnTo>
                    <a:pt x="513" y="589"/>
                  </a:lnTo>
                  <a:lnTo>
                    <a:pt x="526" y="585"/>
                  </a:lnTo>
                  <a:lnTo>
                    <a:pt x="528" y="587"/>
                  </a:lnTo>
                  <a:lnTo>
                    <a:pt x="530" y="589"/>
                  </a:lnTo>
                  <a:lnTo>
                    <a:pt x="531" y="587"/>
                  </a:lnTo>
                  <a:lnTo>
                    <a:pt x="531" y="585"/>
                  </a:lnTo>
                  <a:lnTo>
                    <a:pt x="531" y="582"/>
                  </a:lnTo>
                  <a:lnTo>
                    <a:pt x="530" y="571"/>
                  </a:lnTo>
                  <a:lnTo>
                    <a:pt x="530" y="569"/>
                  </a:lnTo>
                  <a:lnTo>
                    <a:pt x="528" y="563"/>
                  </a:lnTo>
                  <a:lnTo>
                    <a:pt x="526" y="556"/>
                  </a:lnTo>
                  <a:lnTo>
                    <a:pt x="524" y="554"/>
                  </a:lnTo>
                  <a:lnTo>
                    <a:pt x="522" y="549"/>
                  </a:lnTo>
                  <a:lnTo>
                    <a:pt x="522" y="547"/>
                  </a:lnTo>
                  <a:lnTo>
                    <a:pt x="521" y="538"/>
                  </a:lnTo>
                  <a:lnTo>
                    <a:pt x="521" y="533"/>
                  </a:lnTo>
                  <a:lnTo>
                    <a:pt x="519" y="529"/>
                  </a:lnTo>
                  <a:lnTo>
                    <a:pt x="515" y="524"/>
                  </a:lnTo>
                  <a:lnTo>
                    <a:pt x="508" y="511"/>
                  </a:lnTo>
                  <a:lnTo>
                    <a:pt x="504" y="504"/>
                  </a:lnTo>
                  <a:lnTo>
                    <a:pt x="504" y="500"/>
                  </a:lnTo>
                  <a:lnTo>
                    <a:pt x="503" y="495"/>
                  </a:lnTo>
                  <a:lnTo>
                    <a:pt x="503" y="493"/>
                  </a:lnTo>
                  <a:lnTo>
                    <a:pt x="503" y="488"/>
                  </a:lnTo>
                  <a:lnTo>
                    <a:pt x="501" y="486"/>
                  </a:lnTo>
                  <a:lnTo>
                    <a:pt x="495" y="475"/>
                  </a:lnTo>
                  <a:lnTo>
                    <a:pt x="495" y="475"/>
                  </a:lnTo>
                  <a:lnTo>
                    <a:pt x="495" y="473"/>
                  </a:lnTo>
                  <a:lnTo>
                    <a:pt x="495" y="471"/>
                  </a:lnTo>
                  <a:lnTo>
                    <a:pt x="495" y="471"/>
                  </a:lnTo>
                  <a:lnTo>
                    <a:pt x="493" y="470"/>
                  </a:lnTo>
                  <a:lnTo>
                    <a:pt x="493" y="468"/>
                  </a:lnTo>
                  <a:lnTo>
                    <a:pt x="492" y="462"/>
                  </a:lnTo>
                  <a:lnTo>
                    <a:pt x="479" y="442"/>
                  </a:lnTo>
                  <a:lnTo>
                    <a:pt x="477" y="433"/>
                  </a:lnTo>
                  <a:lnTo>
                    <a:pt x="479" y="423"/>
                  </a:lnTo>
                  <a:lnTo>
                    <a:pt x="479" y="423"/>
                  </a:lnTo>
                  <a:lnTo>
                    <a:pt x="481" y="423"/>
                  </a:lnTo>
                  <a:lnTo>
                    <a:pt x="481" y="423"/>
                  </a:lnTo>
                  <a:lnTo>
                    <a:pt x="497" y="392"/>
                  </a:lnTo>
                  <a:lnTo>
                    <a:pt x="499" y="388"/>
                  </a:lnTo>
                  <a:lnTo>
                    <a:pt x="499" y="386"/>
                  </a:lnTo>
                  <a:lnTo>
                    <a:pt x="501" y="386"/>
                  </a:lnTo>
                  <a:lnTo>
                    <a:pt x="501" y="385"/>
                  </a:lnTo>
                  <a:lnTo>
                    <a:pt x="501" y="383"/>
                  </a:lnTo>
                  <a:lnTo>
                    <a:pt x="521" y="356"/>
                  </a:lnTo>
                  <a:lnTo>
                    <a:pt x="522" y="352"/>
                  </a:lnTo>
                  <a:lnTo>
                    <a:pt x="522" y="347"/>
                  </a:lnTo>
                  <a:lnTo>
                    <a:pt x="522" y="345"/>
                  </a:lnTo>
                  <a:lnTo>
                    <a:pt x="524" y="336"/>
                  </a:lnTo>
                  <a:lnTo>
                    <a:pt x="524" y="336"/>
                  </a:lnTo>
                  <a:lnTo>
                    <a:pt x="524" y="334"/>
                  </a:lnTo>
                  <a:lnTo>
                    <a:pt x="526" y="332"/>
                  </a:lnTo>
                  <a:lnTo>
                    <a:pt x="512" y="318"/>
                  </a:lnTo>
                  <a:lnTo>
                    <a:pt x="508" y="314"/>
                  </a:lnTo>
                  <a:lnTo>
                    <a:pt x="499" y="296"/>
                  </a:lnTo>
                  <a:lnTo>
                    <a:pt x="497" y="291"/>
                  </a:lnTo>
                  <a:lnTo>
                    <a:pt x="497" y="291"/>
                  </a:lnTo>
                  <a:lnTo>
                    <a:pt x="493" y="283"/>
                  </a:lnTo>
                  <a:lnTo>
                    <a:pt x="492" y="280"/>
                  </a:lnTo>
                  <a:lnTo>
                    <a:pt x="490" y="280"/>
                  </a:lnTo>
                  <a:lnTo>
                    <a:pt x="475" y="273"/>
                  </a:lnTo>
                  <a:lnTo>
                    <a:pt x="461" y="267"/>
                  </a:lnTo>
                  <a:lnTo>
                    <a:pt x="459" y="265"/>
                  </a:lnTo>
                  <a:lnTo>
                    <a:pt x="457" y="264"/>
                  </a:lnTo>
                  <a:lnTo>
                    <a:pt x="448" y="227"/>
                  </a:lnTo>
                  <a:lnTo>
                    <a:pt x="448" y="224"/>
                  </a:lnTo>
                  <a:lnTo>
                    <a:pt x="447" y="220"/>
                  </a:lnTo>
                  <a:lnTo>
                    <a:pt x="447" y="218"/>
                  </a:lnTo>
                  <a:lnTo>
                    <a:pt x="448" y="217"/>
                  </a:lnTo>
                  <a:lnTo>
                    <a:pt x="461" y="191"/>
                  </a:lnTo>
                  <a:lnTo>
                    <a:pt x="463" y="188"/>
                  </a:lnTo>
                  <a:lnTo>
                    <a:pt x="465" y="177"/>
                  </a:lnTo>
                  <a:lnTo>
                    <a:pt x="461" y="173"/>
                  </a:lnTo>
                  <a:lnTo>
                    <a:pt x="457" y="171"/>
                  </a:lnTo>
                  <a:lnTo>
                    <a:pt x="447" y="171"/>
                  </a:lnTo>
                  <a:lnTo>
                    <a:pt x="447" y="171"/>
                  </a:lnTo>
                  <a:lnTo>
                    <a:pt x="445" y="170"/>
                  </a:lnTo>
                  <a:lnTo>
                    <a:pt x="445" y="168"/>
                  </a:lnTo>
                  <a:lnTo>
                    <a:pt x="448" y="168"/>
                  </a:lnTo>
                  <a:lnTo>
                    <a:pt x="461" y="159"/>
                  </a:lnTo>
                  <a:lnTo>
                    <a:pt x="466" y="155"/>
                  </a:lnTo>
                  <a:lnTo>
                    <a:pt x="472" y="150"/>
                  </a:lnTo>
                  <a:lnTo>
                    <a:pt x="466" y="143"/>
                  </a:lnTo>
                  <a:lnTo>
                    <a:pt x="466" y="141"/>
                  </a:lnTo>
                  <a:lnTo>
                    <a:pt x="466" y="139"/>
                  </a:lnTo>
                  <a:lnTo>
                    <a:pt x="466" y="128"/>
                  </a:lnTo>
                  <a:lnTo>
                    <a:pt x="468" y="125"/>
                  </a:lnTo>
                  <a:lnTo>
                    <a:pt x="468" y="123"/>
                  </a:lnTo>
                  <a:lnTo>
                    <a:pt x="486" y="101"/>
                  </a:lnTo>
                  <a:lnTo>
                    <a:pt x="492" y="88"/>
                  </a:lnTo>
                  <a:lnTo>
                    <a:pt x="484" y="70"/>
                  </a:lnTo>
                  <a:lnTo>
                    <a:pt x="483" y="59"/>
                  </a:lnTo>
                  <a:lnTo>
                    <a:pt x="481" y="58"/>
                  </a:lnTo>
                  <a:lnTo>
                    <a:pt x="465" y="50"/>
                  </a:lnTo>
                  <a:lnTo>
                    <a:pt x="448" y="41"/>
                  </a:lnTo>
                  <a:lnTo>
                    <a:pt x="447" y="41"/>
                  </a:lnTo>
                  <a:lnTo>
                    <a:pt x="445" y="40"/>
                  </a:lnTo>
                  <a:lnTo>
                    <a:pt x="445" y="36"/>
                  </a:lnTo>
                  <a:lnTo>
                    <a:pt x="445" y="32"/>
                  </a:lnTo>
                  <a:lnTo>
                    <a:pt x="434" y="27"/>
                  </a:lnTo>
                  <a:lnTo>
                    <a:pt x="434" y="27"/>
                  </a:lnTo>
                  <a:lnTo>
                    <a:pt x="423" y="9"/>
                  </a:lnTo>
                  <a:lnTo>
                    <a:pt x="421" y="3"/>
                  </a:lnTo>
                  <a:lnTo>
                    <a:pt x="419" y="0"/>
                  </a:lnTo>
                  <a:lnTo>
                    <a:pt x="418" y="0"/>
                  </a:lnTo>
                  <a:lnTo>
                    <a:pt x="414" y="2"/>
                  </a:lnTo>
                  <a:lnTo>
                    <a:pt x="409" y="2"/>
                  </a:lnTo>
                  <a:lnTo>
                    <a:pt x="405" y="2"/>
                  </a:lnTo>
                  <a:lnTo>
                    <a:pt x="403" y="5"/>
                  </a:lnTo>
                  <a:lnTo>
                    <a:pt x="403" y="7"/>
                  </a:lnTo>
                  <a:lnTo>
                    <a:pt x="398" y="11"/>
                  </a:lnTo>
                  <a:lnTo>
                    <a:pt x="394" y="14"/>
                  </a:lnTo>
                  <a:lnTo>
                    <a:pt x="392" y="14"/>
                  </a:lnTo>
                  <a:lnTo>
                    <a:pt x="392" y="14"/>
                  </a:lnTo>
                  <a:lnTo>
                    <a:pt x="392" y="16"/>
                  </a:lnTo>
                  <a:lnTo>
                    <a:pt x="391" y="16"/>
                  </a:lnTo>
                  <a:lnTo>
                    <a:pt x="391" y="18"/>
                  </a:lnTo>
                  <a:lnTo>
                    <a:pt x="392" y="18"/>
                  </a:lnTo>
                  <a:lnTo>
                    <a:pt x="392" y="18"/>
                  </a:lnTo>
                  <a:lnTo>
                    <a:pt x="391" y="22"/>
                  </a:lnTo>
                  <a:lnTo>
                    <a:pt x="380" y="25"/>
                  </a:lnTo>
                  <a:lnTo>
                    <a:pt x="380" y="25"/>
                  </a:lnTo>
                  <a:lnTo>
                    <a:pt x="376" y="22"/>
                  </a:lnTo>
                  <a:lnTo>
                    <a:pt x="374" y="22"/>
                  </a:lnTo>
                  <a:lnTo>
                    <a:pt x="373" y="23"/>
                  </a:lnTo>
                  <a:lnTo>
                    <a:pt x="369" y="20"/>
                  </a:lnTo>
                  <a:lnTo>
                    <a:pt x="369" y="20"/>
                  </a:lnTo>
                  <a:lnTo>
                    <a:pt x="363" y="22"/>
                  </a:lnTo>
                  <a:lnTo>
                    <a:pt x="360" y="20"/>
                  </a:lnTo>
                  <a:lnTo>
                    <a:pt x="351" y="22"/>
                  </a:lnTo>
                  <a:lnTo>
                    <a:pt x="349" y="23"/>
                  </a:lnTo>
                  <a:lnTo>
                    <a:pt x="349" y="25"/>
                  </a:lnTo>
                  <a:lnTo>
                    <a:pt x="347" y="29"/>
                  </a:lnTo>
                  <a:lnTo>
                    <a:pt x="347" y="29"/>
                  </a:lnTo>
                  <a:lnTo>
                    <a:pt x="347" y="32"/>
                  </a:lnTo>
                  <a:lnTo>
                    <a:pt x="345" y="34"/>
                  </a:lnTo>
                  <a:lnTo>
                    <a:pt x="340" y="41"/>
                  </a:lnTo>
                  <a:lnTo>
                    <a:pt x="338" y="47"/>
                  </a:lnTo>
                  <a:lnTo>
                    <a:pt x="336" y="50"/>
                  </a:lnTo>
                  <a:lnTo>
                    <a:pt x="335" y="50"/>
                  </a:lnTo>
                  <a:lnTo>
                    <a:pt x="335" y="52"/>
                  </a:lnTo>
                  <a:lnTo>
                    <a:pt x="335" y="52"/>
                  </a:lnTo>
                  <a:lnTo>
                    <a:pt x="326" y="54"/>
                  </a:lnTo>
                  <a:lnTo>
                    <a:pt x="326" y="56"/>
                  </a:lnTo>
                  <a:lnTo>
                    <a:pt x="324" y="58"/>
                  </a:lnTo>
                  <a:lnTo>
                    <a:pt x="324" y="59"/>
                  </a:lnTo>
                  <a:lnTo>
                    <a:pt x="324" y="61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6" y="67"/>
                  </a:lnTo>
                  <a:lnTo>
                    <a:pt x="326" y="70"/>
                  </a:lnTo>
                  <a:lnTo>
                    <a:pt x="324" y="74"/>
                  </a:lnTo>
                  <a:lnTo>
                    <a:pt x="322" y="76"/>
                  </a:lnTo>
                  <a:lnTo>
                    <a:pt x="320" y="79"/>
                  </a:lnTo>
                  <a:lnTo>
                    <a:pt x="318" y="79"/>
                  </a:lnTo>
                  <a:lnTo>
                    <a:pt x="320" y="81"/>
                  </a:lnTo>
                  <a:lnTo>
                    <a:pt x="320" y="81"/>
                  </a:lnTo>
                  <a:lnTo>
                    <a:pt x="320" y="83"/>
                  </a:lnTo>
                  <a:lnTo>
                    <a:pt x="320" y="85"/>
                  </a:lnTo>
                  <a:lnTo>
                    <a:pt x="318" y="87"/>
                  </a:lnTo>
                  <a:lnTo>
                    <a:pt x="318" y="90"/>
                  </a:lnTo>
                  <a:lnTo>
                    <a:pt x="318" y="90"/>
                  </a:lnTo>
                  <a:lnTo>
                    <a:pt x="318" y="92"/>
                  </a:lnTo>
                  <a:lnTo>
                    <a:pt x="317" y="96"/>
                  </a:lnTo>
                  <a:lnTo>
                    <a:pt x="318" y="101"/>
                  </a:lnTo>
                  <a:lnTo>
                    <a:pt x="318" y="101"/>
                  </a:lnTo>
                  <a:lnTo>
                    <a:pt x="315" y="110"/>
                  </a:lnTo>
                  <a:lnTo>
                    <a:pt x="313" y="112"/>
                  </a:lnTo>
                  <a:lnTo>
                    <a:pt x="311" y="123"/>
                  </a:lnTo>
                  <a:lnTo>
                    <a:pt x="311" y="126"/>
                  </a:lnTo>
                  <a:lnTo>
                    <a:pt x="313" y="130"/>
                  </a:lnTo>
                  <a:lnTo>
                    <a:pt x="313" y="132"/>
                  </a:lnTo>
                  <a:lnTo>
                    <a:pt x="313" y="134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7"/>
                  </a:lnTo>
                  <a:lnTo>
                    <a:pt x="313" y="137"/>
                  </a:lnTo>
                  <a:lnTo>
                    <a:pt x="313" y="137"/>
                  </a:lnTo>
                  <a:lnTo>
                    <a:pt x="313" y="143"/>
                  </a:lnTo>
                  <a:lnTo>
                    <a:pt x="313" y="143"/>
                  </a:lnTo>
                  <a:lnTo>
                    <a:pt x="313" y="144"/>
                  </a:lnTo>
                  <a:lnTo>
                    <a:pt x="313" y="146"/>
                  </a:lnTo>
                  <a:lnTo>
                    <a:pt x="313" y="148"/>
                  </a:lnTo>
                  <a:lnTo>
                    <a:pt x="313" y="148"/>
                  </a:lnTo>
                  <a:lnTo>
                    <a:pt x="313" y="148"/>
                  </a:lnTo>
                  <a:lnTo>
                    <a:pt x="313" y="150"/>
                  </a:lnTo>
                  <a:lnTo>
                    <a:pt x="313" y="150"/>
                  </a:lnTo>
                  <a:lnTo>
                    <a:pt x="315" y="152"/>
                  </a:lnTo>
                  <a:lnTo>
                    <a:pt x="315" y="152"/>
                  </a:lnTo>
                  <a:lnTo>
                    <a:pt x="315" y="153"/>
                  </a:lnTo>
                  <a:lnTo>
                    <a:pt x="315" y="155"/>
                  </a:lnTo>
                  <a:lnTo>
                    <a:pt x="313" y="157"/>
                  </a:lnTo>
                  <a:lnTo>
                    <a:pt x="311" y="159"/>
                  </a:lnTo>
                  <a:lnTo>
                    <a:pt x="311" y="161"/>
                  </a:lnTo>
                  <a:lnTo>
                    <a:pt x="311" y="162"/>
                  </a:lnTo>
                  <a:lnTo>
                    <a:pt x="309" y="164"/>
                  </a:lnTo>
                  <a:lnTo>
                    <a:pt x="309" y="166"/>
                  </a:lnTo>
                  <a:lnTo>
                    <a:pt x="307" y="168"/>
                  </a:lnTo>
                  <a:lnTo>
                    <a:pt x="307" y="170"/>
                  </a:lnTo>
                  <a:lnTo>
                    <a:pt x="306" y="171"/>
                  </a:lnTo>
                  <a:lnTo>
                    <a:pt x="306" y="171"/>
                  </a:lnTo>
                  <a:lnTo>
                    <a:pt x="298" y="170"/>
                  </a:lnTo>
                  <a:lnTo>
                    <a:pt x="297" y="170"/>
                  </a:lnTo>
                  <a:lnTo>
                    <a:pt x="295" y="171"/>
                  </a:lnTo>
                  <a:lnTo>
                    <a:pt x="284" y="181"/>
                  </a:lnTo>
                  <a:lnTo>
                    <a:pt x="282" y="184"/>
                  </a:lnTo>
                  <a:lnTo>
                    <a:pt x="282" y="186"/>
                  </a:lnTo>
                  <a:lnTo>
                    <a:pt x="282" y="190"/>
                  </a:lnTo>
                  <a:lnTo>
                    <a:pt x="282" y="195"/>
                  </a:lnTo>
                  <a:lnTo>
                    <a:pt x="282" y="197"/>
                  </a:lnTo>
                  <a:lnTo>
                    <a:pt x="282" y="199"/>
                  </a:lnTo>
                  <a:lnTo>
                    <a:pt x="282" y="199"/>
                  </a:lnTo>
                  <a:lnTo>
                    <a:pt x="282" y="200"/>
                  </a:lnTo>
                  <a:lnTo>
                    <a:pt x="282" y="202"/>
                  </a:lnTo>
                  <a:lnTo>
                    <a:pt x="280" y="204"/>
                  </a:lnTo>
                  <a:lnTo>
                    <a:pt x="280" y="204"/>
                  </a:lnTo>
                  <a:lnTo>
                    <a:pt x="279" y="204"/>
                  </a:lnTo>
                  <a:lnTo>
                    <a:pt x="275" y="208"/>
                  </a:lnTo>
                  <a:lnTo>
                    <a:pt x="273" y="208"/>
                  </a:lnTo>
                  <a:lnTo>
                    <a:pt x="273" y="208"/>
                  </a:lnTo>
                  <a:lnTo>
                    <a:pt x="271" y="211"/>
                  </a:lnTo>
                  <a:lnTo>
                    <a:pt x="271" y="213"/>
                  </a:lnTo>
                  <a:lnTo>
                    <a:pt x="270" y="215"/>
                  </a:lnTo>
                  <a:lnTo>
                    <a:pt x="270" y="215"/>
                  </a:lnTo>
                  <a:lnTo>
                    <a:pt x="268" y="215"/>
                  </a:lnTo>
                  <a:lnTo>
                    <a:pt x="266" y="209"/>
                  </a:lnTo>
                  <a:lnTo>
                    <a:pt x="262" y="204"/>
                  </a:lnTo>
                  <a:lnTo>
                    <a:pt x="259" y="200"/>
                  </a:lnTo>
                  <a:lnTo>
                    <a:pt x="248" y="197"/>
                  </a:lnTo>
                  <a:lnTo>
                    <a:pt x="241" y="195"/>
                  </a:lnTo>
                  <a:lnTo>
                    <a:pt x="233" y="190"/>
                  </a:lnTo>
                  <a:lnTo>
                    <a:pt x="233" y="188"/>
                  </a:lnTo>
                  <a:lnTo>
                    <a:pt x="232" y="184"/>
                  </a:lnTo>
                  <a:lnTo>
                    <a:pt x="221" y="179"/>
                  </a:lnTo>
                  <a:lnTo>
                    <a:pt x="217" y="179"/>
                  </a:lnTo>
                  <a:lnTo>
                    <a:pt x="214" y="182"/>
                  </a:lnTo>
                  <a:lnTo>
                    <a:pt x="214" y="188"/>
                  </a:lnTo>
                  <a:lnTo>
                    <a:pt x="212" y="193"/>
                  </a:lnTo>
                  <a:lnTo>
                    <a:pt x="206" y="197"/>
                  </a:lnTo>
                  <a:lnTo>
                    <a:pt x="199" y="197"/>
                  </a:lnTo>
                  <a:lnTo>
                    <a:pt x="185" y="206"/>
                  </a:lnTo>
                  <a:lnTo>
                    <a:pt x="183" y="206"/>
                  </a:lnTo>
                  <a:lnTo>
                    <a:pt x="179" y="199"/>
                  </a:lnTo>
                  <a:lnTo>
                    <a:pt x="177" y="199"/>
                  </a:lnTo>
                  <a:lnTo>
                    <a:pt x="176" y="197"/>
                  </a:lnTo>
                  <a:lnTo>
                    <a:pt x="167" y="199"/>
                  </a:lnTo>
                  <a:lnTo>
                    <a:pt x="154" y="191"/>
                  </a:lnTo>
                  <a:lnTo>
                    <a:pt x="154" y="191"/>
                  </a:lnTo>
                  <a:lnTo>
                    <a:pt x="152" y="191"/>
                  </a:lnTo>
                  <a:lnTo>
                    <a:pt x="147" y="193"/>
                  </a:lnTo>
                  <a:lnTo>
                    <a:pt x="145" y="193"/>
                  </a:lnTo>
                  <a:lnTo>
                    <a:pt x="145" y="191"/>
                  </a:lnTo>
                  <a:lnTo>
                    <a:pt x="143" y="179"/>
                  </a:lnTo>
                  <a:lnTo>
                    <a:pt x="143" y="177"/>
                  </a:lnTo>
                  <a:lnTo>
                    <a:pt x="138" y="173"/>
                  </a:lnTo>
                  <a:lnTo>
                    <a:pt x="134" y="166"/>
                  </a:lnTo>
                  <a:lnTo>
                    <a:pt x="134" y="164"/>
                  </a:lnTo>
                  <a:lnTo>
                    <a:pt x="134" y="162"/>
                  </a:lnTo>
                  <a:lnTo>
                    <a:pt x="132" y="161"/>
                  </a:lnTo>
                  <a:lnTo>
                    <a:pt x="125" y="152"/>
                  </a:lnTo>
                  <a:lnTo>
                    <a:pt x="121" y="144"/>
                  </a:lnTo>
                  <a:lnTo>
                    <a:pt x="107" y="117"/>
                  </a:lnTo>
                  <a:lnTo>
                    <a:pt x="107" y="115"/>
                  </a:lnTo>
                  <a:lnTo>
                    <a:pt x="91" y="112"/>
                  </a:lnTo>
                  <a:lnTo>
                    <a:pt x="80" y="121"/>
                  </a:lnTo>
                  <a:lnTo>
                    <a:pt x="78" y="121"/>
                  </a:lnTo>
                  <a:lnTo>
                    <a:pt x="78" y="123"/>
                  </a:lnTo>
                  <a:lnTo>
                    <a:pt x="76" y="128"/>
                  </a:lnTo>
                  <a:lnTo>
                    <a:pt x="82" y="141"/>
                  </a:lnTo>
                  <a:lnTo>
                    <a:pt x="80" y="148"/>
                  </a:lnTo>
                  <a:lnTo>
                    <a:pt x="78" y="148"/>
                  </a:lnTo>
                  <a:lnTo>
                    <a:pt x="76" y="148"/>
                  </a:lnTo>
                  <a:lnTo>
                    <a:pt x="62" y="139"/>
                  </a:lnTo>
                  <a:lnTo>
                    <a:pt x="60" y="141"/>
                  </a:lnTo>
                  <a:lnTo>
                    <a:pt x="56" y="148"/>
                  </a:lnTo>
                  <a:lnTo>
                    <a:pt x="58" y="152"/>
                  </a:lnTo>
                  <a:lnTo>
                    <a:pt x="64" y="152"/>
                  </a:lnTo>
                  <a:lnTo>
                    <a:pt x="67" y="155"/>
                  </a:lnTo>
                  <a:lnTo>
                    <a:pt x="71" y="157"/>
                  </a:lnTo>
                  <a:lnTo>
                    <a:pt x="71" y="159"/>
                  </a:lnTo>
                  <a:lnTo>
                    <a:pt x="71" y="161"/>
                  </a:lnTo>
                  <a:lnTo>
                    <a:pt x="71" y="162"/>
                  </a:lnTo>
                  <a:lnTo>
                    <a:pt x="69" y="164"/>
                  </a:lnTo>
                  <a:lnTo>
                    <a:pt x="69" y="166"/>
                  </a:lnTo>
                  <a:lnTo>
                    <a:pt x="69" y="168"/>
                  </a:lnTo>
                  <a:lnTo>
                    <a:pt x="78" y="171"/>
                  </a:lnTo>
                  <a:lnTo>
                    <a:pt x="82" y="175"/>
                  </a:lnTo>
                  <a:lnTo>
                    <a:pt x="85" y="179"/>
                  </a:lnTo>
                  <a:lnTo>
                    <a:pt x="89" y="184"/>
                  </a:lnTo>
                  <a:lnTo>
                    <a:pt x="89" y="186"/>
                  </a:lnTo>
                  <a:lnTo>
                    <a:pt x="89" y="186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88"/>
                  </a:lnTo>
                  <a:lnTo>
                    <a:pt x="94" y="188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6" y="191"/>
                  </a:lnTo>
                  <a:lnTo>
                    <a:pt x="96" y="195"/>
                  </a:lnTo>
                  <a:lnTo>
                    <a:pt x="98" y="197"/>
                  </a:lnTo>
                  <a:lnTo>
                    <a:pt x="100" y="199"/>
                  </a:lnTo>
                  <a:lnTo>
                    <a:pt x="103" y="200"/>
                  </a:lnTo>
                  <a:lnTo>
                    <a:pt x="107" y="204"/>
                  </a:lnTo>
                  <a:lnTo>
                    <a:pt x="111" y="206"/>
                  </a:lnTo>
                  <a:lnTo>
                    <a:pt x="111" y="211"/>
                  </a:lnTo>
                  <a:lnTo>
                    <a:pt x="120" y="213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5" y="218"/>
                  </a:lnTo>
                  <a:lnTo>
                    <a:pt x="125" y="220"/>
                  </a:lnTo>
                  <a:lnTo>
                    <a:pt x="125" y="222"/>
                  </a:lnTo>
                  <a:lnTo>
                    <a:pt x="125" y="222"/>
                  </a:lnTo>
                  <a:lnTo>
                    <a:pt x="127" y="222"/>
                  </a:lnTo>
                  <a:lnTo>
                    <a:pt x="127" y="222"/>
                  </a:lnTo>
                  <a:lnTo>
                    <a:pt x="127" y="224"/>
                  </a:lnTo>
                  <a:lnTo>
                    <a:pt x="127" y="224"/>
                  </a:lnTo>
                  <a:lnTo>
                    <a:pt x="129" y="226"/>
                  </a:lnTo>
                  <a:lnTo>
                    <a:pt x="140" y="226"/>
                  </a:lnTo>
                  <a:lnTo>
                    <a:pt x="143" y="227"/>
                  </a:lnTo>
                  <a:lnTo>
                    <a:pt x="143" y="227"/>
                  </a:lnTo>
                  <a:lnTo>
                    <a:pt x="143" y="229"/>
                  </a:lnTo>
                  <a:lnTo>
                    <a:pt x="143" y="229"/>
                  </a:lnTo>
                  <a:lnTo>
                    <a:pt x="147" y="229"/>
                  </a:lnTo>
                  <a:lnTo>
                    <a:pt x="150" y="231"/>
                  </a:lnTo>
                  <a:lnTo>
                    <a:pt x="152" y="231"/>
                  </a:lnTo>
                  <a:lnTo>
                    <a:pt x="156" y="233"/>
                  </a:lnTo>
                  <a:lnTo>
                    <a:pt x="156" y="233"/>
                  </a:lnTo>
                  <a:lnTo>
                    <a:pt x="158" y="233"/>
                  </a:lnTo>
                  <a:lnTo>
                    <a:pt x="158" y="233"/>
                  </a:lnTo>
                  <a:lnTo>
                    <a:pt x="159" y="235"/>
                  </a:lnTo>
                  <a:lnTo>
                    <a:pt x="161" y="237"/>
                  </a:lnTo>
                  <a:lnTo>
                    <a:pt x="161" y="238"/>
                  </a:lnTo>
                  <a:lnTo>
                    <a:pt x="165" y="237"/>
                  </a:lnTo>
                  <a:lnTo>
                    <a:pt x="167" y="238"/>
                  </a:lnTo>
                  <a:lnTo>
                    <a:pt x="168" y="244"/>
                  </a:lnTo>
                  <a:lnTo>
                    <a:pt x="170" y="246"/>
                  </a:lnTo>
                  <a:lnTo>
                    <a:pt x="177" y="251"/>
                  </a:lnTo>
                  <a:lnTo>
                    <a:pt x="177" y="251"/>
                  </a:lnTo>
                  <a:lnTo>
                    <a:pt x="177" y="253"/>
                  </a:lnTo>
                  <a:lnTo>
                    <a:pt x="179" y="253"/>
                  </a:lnTo>
                  <a:lnTo>
                    <a:pt x="179" y="255"/>
                  </a:lnTo>
                  <a:lnTo>
                    <a:pt x="179" y="256"/>
                  </a:lnTo>
                  <a:lnTo>
                    <a:pt x="181" y="258"/>
                  </a:lnTo>
                  <a:lnTo>
                    <a:pt x="183" y="262"/>
                  </a:lnTo>
                  <a:lnTo>
                    <a:pt x="183" y="264"/>
                  </a:lnTo>
                  <a:lnTo>
                    <a:pt x="183" y="265"/>
                  </a:lnTo>
                  <a:lnTo>
                    <a:pt x="183" y="265"/>
                  </a:lnTo>
                  <a:lnTo>
                    <a:pt x="183" y="269"/>
                  </a:lnTo>
                  <a:lnTo>
                    <a:pt x="183" y="271"/>
                  </a:lnTo>
                  <a:lnTo>
                    <a:pt x="183" y="271"/>
                  </a:lnTo>
                  <a:lnTo>
                    <a:pt x="183" y="273"/>
                  </a:lnTo>
                  <a:lnTo>
                    <a:pt x="183" y="273"/>
                  </a:lnTo>
                  <a:lnTo>
                    <a:pt x="183" y="273"/>
                  </a:lnTo>
                  <a:lnTo>
                    <a:pt x="183" y="274"/>
                  </a:lnTo>
                  <a:lnTo>
                    <a:pt x="185" y="274"/>
                  </a:lnTo>
                  <a:lnTo>
                    <a:pt x="188" y="271"/>
                  </a:lnTo>
                  <a:lnTo>
                    <a:pt x="190" y="271"/>
                  </a:lnTo>
                  <a:lnTo>
                    <a:pt x="190" y="271"/>
                  </a:lnTo>
                  <a:lnTo>
                    <a:pt x="192" y="273"/>
                  </a:lnTo>
                  <a:lnTo>
                    <a:pt x="194" y="282"/>
                  </a:lnTo>
                  <a:lnTo>
                    <a:pt x="194" y="282"/>
                  </a:lnTo>
                  <a:lnTo>
                    <a:pt x="194" y="283"/>
                  </a:lnTo>
                  <a:lnTo>
                    <a:pt x="197" y="287"/>
                  </a:lnTo>
                  <a:lnTo>
                    <a:pt x="199" y="289"/>
                  </a:lnTo>
                  <a:lnTo>
                    <a:pt x="203" y="294"/>
                  </a:lnTo>
                  <a:lnTo>
                    <a:pt x="206" y="294"/>
                  </a:lnTo>
                  <a:lnTo>
                    <a:pt x="208" y="296"/>
                  </a:lnTo>
                  <a:lnTo>
                    <a:pt x="208" y="300"/>
                  </a:lnTo>
                  <a:lnTo>
                    <a:pt x="206" y="302"/>
                  </a:lnTo>
                  <a:lnTo>
                    <a:pt x="205" y="303"/>
                  </a:lnTo>
                  <a:lnTo>
                    <a:pt x="201" y="305"/>
                  </a:lnTo>
                  <a:lnTo>
                    <a:pt x="199" y="305"/>
                  </a:lnTo>
                  <a:lnTo>
                    <a:pt x="199" y="309"/>
                  </a:lnTo>
                  <a:lnTo>
                    <a:pt x="199" y="311"/>
                  </a:lnTo>
                  <a:lnTo>
                    <a:pt x="199" y="314"/>
                  </a:lnTo>
                  <a:lnTo>
                    <a:pt x="199" y="318"/>
                  </a:lnTo>
                  <a:lnTo>
                    <a:pt x="199" y="325"/>
                  </a:lnTo>
                  <a:lnTo>
                    <a:pt x="199" y="327"/>
                  </a:lnTo>
                  <a:lnTo>
                    <a:pt x="199" y="329"/>
                  </a:lnTo>
                  <a:lnTo>
                    <a:pt x="201" y="334"/>
                  </a:lnTo>
                  <a:lnTo>
                    <a:pt x="201" y="336"/>
                  </a:lnTo>
                  <a:lnTo>
                    <a:pt x="201" y="339"/>
                  </a:lnTo>
                  <a:lnTo>
                    <a:pt x="203" y="341"/>
                  </a:lnTo>
                  <a:lnTo>
                    <a:pt x="203" y="345"/>
                  </a:lnTo>
                  <a:lnTo>
                    <a:pt x="201" y="347"/>
                  </a:lnTo>
                  <a:lnTo>
                    <a:pt x="199" y="347"/>
                  </a:lnTo>
                  <a:lnTo>
                    <a:pt x="199" y="348"/>
                  </a:lnTo>
                  <a:lnTo>
                    <a:pt x="199" y="350"/>
                  </a:lnTo>
                  <a:lnTo>
                    <a:pt x="197" y="354"/>
                  </a:lnTo>
                  <a:lnTo>
                    <a:pt x="197" y="356"/>
                  </a:lnTo>
                  <a:lnTo>
                    <a:pt x="196" y="358"/>
                  </a:lnTo>
                  <a:lnTo>
                    <a:pt x="197" y="361"/>
                  </a:lnTo>
                  <a:lnTo>
                    <a:pt x="199" y="363"/>
                  </a:lnTo>
                  <a:lnTo>
                    <a:pt x="201" y="363"/>
                  </a:lnTo>
                  <a:lnTo>
                    <a:pt x="203" y="363"/>
                  </a:lnTo>
                  <a:lnTo>
                    <a:pt x="205" y="363"/>
                  </a:lnTo>
                  <a:lnTo>
                    <a:pt x="208" y="365"/>
                  </a:lnTo>
                  <a:lnTo>
                    <a:pt x="212" y="365"/>
                  </a:lnTo>
                  <a:lnTo>
                    <a:pt x="212" y="367"/>
                  </a:lnTo>
                  <a:lnTo>
                    <a:pt x="214" y="367"/>
                  </a:lnTo>
                  <a:lnTo>
                    <a:pt x="214" y="370"/>
                  </a:lnTo>
                  <a:lnTo>
                    <a:pt x="212" y="374"/>
                  </a:lnTo>
                  <a:lnTo>
                    <a:pt x="212" y="376"/>
                  </a:lnTo>
                  <a:lnTo>
                    <a:pt x="214" y="377"/>
                  </a:lnTo>
                  <a:lnTo>
                    <a:pt x="214" y="381"/>
                  </a:lnTo>
                  <a:lnTo>
                    <a:pt x="212" y="383"/>
                  </a:lnTo>
                  <a:lnTo>
                    <a:pt x="206" y="386"/>
                  </a:lnTo>
                  <a:lnTo>
                    <a:pt x="205" y="388"/>
                  </a:lnTo>
                  <a:lnTo>
                    <a:pt x="205" y="390"/>
                  </a:lnTo>
                  <a:lnTo>
                    <a:pt x="205" y="392"/>
                  </a:lnTo>
                  <a:lnTo>
                    <a:pt x="205" y="394"/>
                  </a:lnTo>
                  <a:lnTo>
                    <a:pt x="205" y="394"/>
                  </a:lnTo>
                  <a:lnTo>
                    <a:pt x="205" y="395"/>
                  </a:lnTo>
                  <a:lnTo>
                    <a:pt x="205" y="397"/>
                  </a:lnTo>
                  <a:lnTo>
                    <a:pt x="205" y="397"/>
                  </a:lnTo>
                  <a:lnTo>
                    <a:pt x="203" y="399"/>
                  </a:lnTo>
                  <a:lnTo>
                    <a:pt x="205" y="401"/>
                  </a:lnTo>
                  <a:lnTo>
                    <a:pt x="205" y="403"/>
                  </a:lnTo>
                  <a:lnTo>
                    <a:pt x="206" y="404"/>
                  </a:lnTo>
                  <a:lnTo>
                    <a:pt x="206" y="406"/>
                  </a:lnTo>
                  <a:lnTo>
                    <a:pt x="208" y="408"/>
                  </a:lnTo>
                  <a:lnTo>
                    <a:pt x="208" y="408"/>
                  </a:lnTo>
                  <a:lnTo>
                    <a:pt x="208" y="410"/>
                  </a:lnTo>
                  <a:lnTo>
                    <a:pt x="208" y="412"/>
                  </a:lnTo>
                  <a:lnTo>
                    <a:pt x="208" y="412"/>
                  </a:lnTo>
                  <a:lnTo>
                    <a:pt x="208" y="414"/>
                  </a:lnTo>
                  <a:lnTo>
                    <a:pt x="208" y="415"/>
                  </a:lnTo>
                  <a:lnTo>
                    <a:pt x="210" y="419"/>
                  </a:lnTo>
                  <a:lnTo>
                    <a:pt x="212" y="421"/>
                  </a:lnTo>
                  <a:lnTo>
                    <a:pt x="214" y="423"/>
                  </a:lnTo>
                  <a:lnTo>
                    <a:pt x="214" y="423"/>
                  </a:lnTo>
                  <a:lnTo>
                    <a:pt x="215" y="424"/>
                  </a:lnTo>
                  <a:lnTo>
                    <a:pt x="219" y="430"/>
                  </a:lnTo>
                  <a:lnTo>
                    <a:pt x="221" y="433"/>
                  </a:lnTo>
                  <a:lnTo>
                    <a:pt x="221" y="435"/>
                  </a:lnTo>
                  <a:lnTo>
                    <a:pt x="223" y="439"/>
                  </a:lnTo>
                  <a:lnTo>
                    <a:pt x="224" y="444"/>
                  </a:lnTo>
                  <a:lnTo>
                    <a:pt x="224" y="446"/>
                  </a:lnTo>
                  <a:lnTo>
                    <a:pt x="224" y="446"/>
                  </a:lnTo>
                  <a:lnTo>
                    <a:pt x="224" y="448"/>
                  </a:lnTo>
                  <a:lnTo>
                    <a:pt x="223" y="448"/>
                  </a:lnTo>
                  <a:lnTo>
                    <a:pt x="221" y="448"/>
                  </a:lnTo>
                  <a:lnTo>
                    <a:pt x="221" y="450"/>
                  </a:lnTo>
                  <a:lnTo>
                    <a:pt x="219" y="453"/>
                  </a:lnTo>
                  <a:lnTo>
                    <a:pt x="219" y="453"/>
                  </a:lnTo>
                  <a:lnTo>
                    <a:pt x="219" y="459"/>
                  </a:lnTo>
                  <a:lnTo>
                    <a:pt x="219" y="460"/>
                  </a:lnTo>
                  <a:lnTo>
                    <a:pt x="219" y="464"/>
                  </a:lnTo>
                  <a:lnTo>
                    <a:pt x="219" y="466"/>
                  </a:lnTo>
                  <a:lnTo>
                    <a:pt x="219" y="468"/>
                  </a:lnTo>
                  <a:lnTo>
                    <a:pt x="219" y="470"/>
                  </a:lnTo>
                  <a:lnTo>
                    <a:pt x="219" y="471"/>
                  </a:lnTo>
                  <a:lnTo>
                    <a:pt x="219" y="475"/>
                  </a:lnTo>
                  <a:lnTo>
                    <a:pt x="219" y="477"/>
                  </a:lnTo>
                  <a:lnTo>
                    <a:pt x="217" y="477"/>
                  </a:lnTo>
                  <a:lnTo>
                    <a:pt x="215" y="479"/>
                  </a:lnTo>
                  <a:lnTo>
                    <a:pt x="215" y="480"/>
                  </a:lnTo>
                  <a:lnTo>
                    <a:pt x="214" y="482"/>
                  </a:lnTo>
                  <a:lnTo>
                    <a:pt x="212" y="482"/>
                  </a:lnTo>
                  <a:lnTo>
                    <a:pt x="212" y="484"/>
                  </a:lnTo>
                  <a:lnTo>
                    <a:pt x="212" y="486"/>
                  </a:lnTo>
                  <a:lnTo>
                    <a:pt x="210" y="486"/>
                  </a:lnTo>
                  <a:lnTo>
                    <a:pt x="208" y="488"/>
                  </a:lnTo>
                  <a:lnTo>
                    <a:pt x="208" y="489"/>
                  </a:lnTo>
                  <a:lnTo>
                    <a:pt x="206" y="493"/>
                  </a:lnTo>
                  <a:lnTo>
                    <a:pt x="206" y="493"/>
                  </a:lnTo>
                  <a:lnTo>
                    <a:pt x="208" y="497"/>
                  </a:lnTo>
                  <a:lnTo>
                    <a:pt x="208" y="497"/>
                  </a:lnTo>
                  <a:lnTo>
                    <a:pt x="208" y="498"/>
                  </a:lnTo>
                  <a:lnTo>
                    <a:pt x="208" y="502"/>
                  </a:lnTo>
                  <a:lnTo>
                    <a:pt x="208" y="504"/>
                  </a:lnTo>
                  <a:lnTo>
                    <a:pt x="208" y="504"/>
                  </a:lnTo>
                  <a:lnTo>
                    <a:pt x="208" y="506"/>
                  </a:lnTo>
                  <a:lnTo>
                    <a:pt x="208" y="507"/>
                  </a:lnTo>
                  <a:lnTo>
                    <a:pt x="208" y="509"/>
                  </a:lnTo>
                  <a:lnTo>
                    <a:pt x="208" y="511"/>
                  </a:lnTo>
                  <a:lnTo>
                    <a:pt x="210" y="515"/>
                  </a:lnTo>
                  <a:lnTo>
                    <a:pt x="210" y="520"/>
                  </a:lnTo>
                  <a:lnTo>
                    <a:pt x="212" y="524"/>
                  </a:lnTo>
                  <a:lnTo>
                    <a:pt x="214" y="524"/>
                  </a:lnTo>
                  <a:lnTo>
                    <a:pt x="219" y="527"/>
                  </a:lnTo>
                  <a:lnTo>
                    <a:pt x="221" y="527"/>
                  </a:lnTo>
                  <a:lnTo>
                    <a:pt x="223" y="536"/>
                  </a:lnTo>
                  <a:lnTo>
                    <a:pt x="223" y="538"/>
                  </a:lnTo>
                  <a:lnTo>
                    <a:pt x="224" y="538"/>
                  </a:lnTo>
                  <a:lnTo>
                    <a:pt x="224" y="540"/>
                  </a:lnTo>
                  <a:lnTo>
                    <a:pt x="226" y="540"/>
                  </a:lnTo>
                  <a:lnTo>
                    <a:pt x="226" y="542"/>
                  </a:lnTo>
                  <a:lnTo>
                    <a:pt x="228" y="549"/>
                  </a:lnTo>
                  <a:lnTo>
                    <a:pt x="228" y="551"/>
                  </a:lnTo>
                  <a:lnTo>
                    <a:pt x="228" y="553"/>
                  </a:lnTo>
                  <a:lnTo>
                    <a:pt x="228" y="554"/>
                  </a:lnTo>
                  <a:lnTo>
                    <a:pt x="230" y="558"/>
                  </a:lnTo>
                  <a:lnTo>
                    <a:pt x="232" y="562"/>
                  </a:lnTo>
                  <a:lnTo>
                    <a:pt x="233" y="565"/>
                  </a:lnTo>
                  <a:lnTo>
                    <a:pt x="233" y="569"/>
                  </a:lnTo>
                  <a:lnTo>
                    <a:pt x="233" y="569"/>
                  </a:lnTo>
                  <a:lnTo>
                    <a:pt x="233" y="571"/>
                  </a:lnTo>
                  <a:lnTo>
                    <a:pt x="233" y="572"/>
                  </a:lnTo>
                  <a:lnTo>
                    <a:pt x="235" y="574"/>
                  </a:lnTo>
                  <a:lnTo>
                    <a:pt x="235" y="574"/>
                  </a:lnTo>
                  <a:lnTo>
                    <a:pt x="237" y="572"/>
                  </a:lnTo>
                  <a:lnTo>
                    <a:pt x="237" y="572"/>
                  </a:lnTo>
                  <a:lnTo>
                    <a:pt x="237" y="571"/>
                  </a:lnTo>
                  <a:lnTo>
                    <a:pt x="237" y="569"/>
                  </a:lnTo>
                  <a:lnTo>
                    <a:pt x="239" y="569"/>
                  </a:lnTo>
                  <a:lnTo>
                    <a:pt x="241" y="571"/>
                  </a:lnTo>
                  <a:lnTo>
                    <a:pt x="241" y="571"/>
                  </a:lnTo>
                  <a:lnTo>
                    <a:pt x="242" y="574"/>
                  </a:lnTo>
                  <a:lnTo>
                    <a:pt x="244" y="574"/>
                  </a:lnTo>
                  <a:lnTo>
                    <a:pt x="246" y="574"/>
                  </a:lnTo>
                  <a:lnTo>
                    <a:pt x="246" y="574"/>
                  </a:lnTo>
                  <a:lnTo>
                    <a:pt x="246" y="572"/>
                  </a:lnTo>
                  <a:lnTo>
                    <a:pt x="246" y="572"/>
                  </a:lnTo>
                  <a:lnTo>
                    <a:pt x="246" y="572"/>
                  </a:lnTo>
                  <a:lnTo>
                    <a:pt x="248" y="571"/>
                  </a:lnTo>
                  <a:lnTo>
                    <a:pt x="248" y="571"/>
                  </a:lnTo>
                  <a:lnTo>
                    <a:pt x="250" y="571"/>
                  </a:lnTo>
                  <a:lnTo>
                    <a:pt x="252" y="571"/>
                  </a:lnTo>
                  <a:lnTo>
                    <a:pt x="252" y="571"/>
                  </a:lnTo>
                  <a:lnTo>
                    <a:pt x="253" y="563"/>
                  </a:lnTo>
                  <a:lnTo>
                    <a:pt x="255" y="563"/>
                  </a:lnTo>
                  <a:lnTo>
                    <a:pt x="255" y="563"/>
                  </a:lnTo>
                  <a:lnTo>
                    <a:pt x="255" y="562"/>
                  </a:lnTo>
                  <a:lnTo>
                    <a:pt x="255" y="562"/>
                  </a:lnTo>
                  <a:lnTo>
                    <a:pt x="255" y="560"/>
                  </a:lnTo>
                  <a:lnTo>
                    <a:pt x="255" y="560"/>
                  </a:lnTo>
                  <a:lnTo>
                    <a:pt x="257" y="560"/>
                  </a:lnTo>
                  <a:lnTo>
                    <a:pt x="257" y="560"/>
                  </a:lnTo>
                  <a:lnTo>
                    <a:pt x="259" y="558"/>
                  </a:lnTo>
                  <a:lnTo>
                    <a:pt x="261" y="558"/>
                  </a:lnTo>
                  <a:lnTo>
                    <a:pt x="261" y="558"/>
                  </a:lnTo>
                  <a:lnTo>
                    <a:pt x="259" y="560"/>
                  </a:lnTo>
                  <a:lnTo>
                    <a:pt x="259" y="560"/>
                  </a:lnTo>
                  <a:lnTo>
                    <a:pt x="257" y="560"/>
                  </a:lnTo>
                  <a:lnTo>
                    <a:pt x="257" y="562"/>
                  </a:lnTo>
                  <a:lnTo>
                    <a:pt x="257" y="563"/>
                  </a:lnTo>
                  <a:lnTo>
                    <a:pt x="253" y="571"/>
                  </a:lnTo>
                  <a:lnTo>
                    <a:pt x="253" y="572"/>
                  </a:lnTo>
                  <a:lnTo>
                    <a:pt x="252" y="576"/>
                  </a:lnTo>
                  <a:lnTo>
                    <a:pt x="253" y="578"/>
                  </a:lnTo>
                  <a:lnTo>
                    <a:pt x="253" y="580"/>
                  </a:lnTo>
                  <a:lnTo>
                    <a:pt x="253" y="582"/>
                  </a:lnTo>
                  <a:lnTo>
                    <a:pt x="255" y="582"/>
                  </a:lnTo>
                  <a:lnTo>
                    <a:pt x="257" y="583"/>
                  </a:lnTo>
                  <a:lnTo>
                    <a:pt x="259" y="583"/>
                  </a:lnTo>
                  <a:lnTo>
                    <a:pt x="259" y="585"/>
                  </a:lnTo>
                  <a:lnTo>
                    <a:pt x="259" y="591"/>
                  </a:lnTo>
                  <a:lnTo>
                    <a:pt x="259" y="591"/>
                  </a:lnTo>
                  <a:lnTo>
                    <a:pt x="259" y="591"/>
                  </a:lnTo>
                  <a:lnTo>
                    <a:pt x="261" y="591"/>
                  </a:lnTo>
                  <a:lnTo>
                    <a:pt x="261" y="591"/>
                  </a:lnTo>
                  <a:lnTo>
                    <a:pt x="262" y="589"/>
                  </a:lnTo>
                  <a:lnTo>
                    <a:pt x="264" y="589"/>
                  </a:lnTo>
                  <a:lnTo>
                    <a:pt x="266" y="587"/>
                  </a:lnTo>
                  <a:lnTo>
                    <a:pt x="268" y="589"/>
                  </a:lnTo>
                  <a:lnTo>
                    <a:pt x="270" y="589"/>
                  </a:lnTo>
                  <a:lnTo>
                    <a:pt x="270" y="589"/>
                  </a:lnTo>
                  <a:lnTo>
                    <a:pt x="271" y="592"/>
                  </a:lnTo>
                  <a:lnTo>
                    <a:pt x="271" y="592"/>
                  </a:lnTo>
                  <a:lnTo>
                    <a:pt x="273" y="592"/>
                  </a:lnTo>
                  <a:lnTo>
                    <a:pt x="275" y="592"/>
                  </a:lnTo>
                  <a:lnTo>
                    <a:pt x="275" y="592"/>
                  </a:lnTo>
                  <a:lnTo>
                    <a:pt x="277" y="594"/>
                  </a:lnTo>
                  <a:lnTo>
                    <a:pt x="279" y="592"/>
                  </a:lnTo>
                  <a:lnTo>
                    <a:pt x="279" y="594"/>
                  </a:lnTo>
                  <a:lnTo>
                    <a:pt x="279" y="594"/>
                  </a:lnTo>
                  <a:lnTo>
                    <a:pt x="279" y="596"/>
                  </a:lnTo>
                  <a:lnTo>
                    <a:pt x="279" y="596"/>
                  </a:lnTo>
                  <a:lnTo>
                    <a:pt x="280" y="598"/>
                  </a:lnTo>
                  <a:lnTo>
                    <a:pt x="280" y="598"/>
                  </a:lnTo>
                  <a:lnTo>
                    <a:pt x="280" y="600"/>
                  </a:lnTo>
                  <a:lnTo>
                    <a:pt x="282" y="600"/>
                  </a:lnTo>
                  <a:lnTo>
                    <a:pt x="284" y="600"/>
                  </a:lnTo>
                  <a:lnTo>
                    <a:pt x="284" y="600"/>
                  </a:lnTo>
                  <a:lnTo>
                    <a:pt x="286" y="600"/>
                  </a:lnTo>
                  <a:lnTo>
                    <a:pt x="289" y="605"/>
                  </a:lnTo>
                  <a:lnTo>
                    <a:pt x="291" y="607"/>
                  </a:lnTo>
                  <a:lnTo>
                    <a:pt x="293" y="609"/>
                  </a:lnTo>
                  <a:lnTo>
                    <a:pt x="293" y="612"/>
                  </a:lnTo>
                  <a:lnTo>
                    <a:pt x="291" y="616"/>
                  </a:lnTo>
                  <a:lnTo>
                    <a:pt x="293" y="618"/>
                  </a:lnTo>
                  <a:lnTo>
                    <a:pt x="291" y="619"/>
                  </a:lnTo>
                  <a:lnTo>
                    <a:pt x="291" y="621"/>
                  </a:lnTo>
                  <a:lnTo>
                    <a:pt x="291" y="621"/>
                  </a:lnTo>
                  <a:lnTo>
                    <a:pt x="289" y="621"/>
                  </a:lnTo>
                  <a:lnTo>
                    <a:pt x="289" y="621"/>
                  </a:lnTo>
                  <a:lnTo>
                    <a:pt x="288" y="621"/>
                  </a:lnTo>
                  <a:lnTo>
                    <a:pt x="291" y="627"/>
                  </a:lnTo>
                  <a:lnTo>
                    <a:pt x="291" y="627"/>
                  </a:lnTo>
                  <a:lnTo>
                    <a:pt x="291" y="627"/>
                  </a:lnTo>
                  <a:lnTo>
                    <a:pt x="289" y="628"/>
                  </a:lnTo>
                  <a:lnTo>
                    <a:pt x="289" y="628"/>
                  </a:lnTo>
                  <a:lnTo>
                    <a:pt x="291" y="628"/>
                  </a:lnTo>
                  <a:lnTo>
                    <a:pt x="291" y="628"/>
                  </a:lnTo>
                  <a:lnTo>
                    <a:pt x="289" y="630"/>
                  </a:lnTo>
                  <a:lnTo>
                    <a:pt x="289" y="634"/>
                  </a:lnTo>
                  <a:lnTo>
                    <a:pt x="289" y="636"/>
                  </a:lnTo>
                  <a:lnTo>
                    <a:pt x="289" y="636"/>
                  </a:lnTo>
                  <a:lnTo>
                    <a:pt x="289" y="636"/>
                  </a:lnTo>
                  <a:lnTo>
                    <a:pt x="291" y="638"/>
                  </a:lnTo>
                  <a:lnTo>
                    <a:pt x="289" y="638"/>
                  </a:lnTo>
                  <a:lnTo>
                    <a:pt x="289" y="639"/>
                  </a:lnTo>
                  <a:lnTo>
                    <a:pt x="289" y="639"/>
                  </a:lnTo>
                  <a:lnTo>
                    <a:pt x="291" y="639"/>
                  </a:lnTo>
                  <a:lnTo>
                    <a:pt x="291" y="639"/>
                  </a:lnTo>
                  <a:lnTo>
                    <a:pt x="291" y="641"/>
                  </a:lnTo>
                  <a:lnTo>
                    <a:pt x="289" y="641"/>
                  </a:lnTo>
                  <a:lnTo>
                    <a:pt x="289" y="641"/>
                  </a:lnTo>
                  <a:lnTo>
                    <a:pt x="289" y="641"/>
                  </a:lnTo>
                  <a:lnTo>
                    <a:pt x="289" y="643"/>
                  </a:lnTo>
                  <a:lnTo>
                    <a:pt x="289" y="645"/>
                  </a:lnTo>
                  <a:lnTo>
                    <a:pt x="288" y="645"/>
                  </a:lnTo>
                  <a:lnTo>
                    <a:pt x="288" y="647"/>
                  </a:lnTo>
                  <a:lnTo>
                    <a:pt x="286" y="648"/>
                  </a:lnTo>
                  <a:lnTo>
                    <a:pt x="286" y="650"/>
                  </a:lnTo>
                  <a:lnTo>
                    <a:pt x="286" y="652"/>
                  </a:lnTo>
                  <a:lnTo>
                    <a:pt x="291" y="654"/>
                  </a:lnTo>
                  <a:lnTo>
                    <a:pt x="293" y="656"/>
                  </a:lnTo>
                  <a:lnTo>
                    <a:pt x="293" y="656"/>
                  </a:lnTo>
                  <a:lnTo>
                    <a:pt x="293" y="657"/>
                  </a:lnTo>
                  <a:lnTo>
                    <a:pt x="293" y="657"/>
                  </a:lnTo>
                  <a:lnTo>
                    <a:pt x="293" y="659"/>
                  </a:lnTo>
                  <a:lnTo>
                    <a:pt x="293" y="661"/>
                  </a:lnTo>
                  <a:lnTo>
                    <a:pt x="295" y="661"/>
                  </a:lnTo>
                  <a:lnTo>
                    <a:pt x="295" y="663"/>
                  </a:lnTo>
                  <a:lnTo>
                    <a:pt x="295" y="663"/>
                  </a:lnTo>
                  <a:lnTo>
                    <a:pt x="295" y="665"/>
                  </a:lnTo>
                  <a:lnTo>
                    <a:pt x="295" y="665"/>
                  </a:lnTo>
                  <a:lnTo>
                    <a:pt x="297" y="665"/>
                  </a:lnTo>
                  <a:lnTo>
                    <a:pt x="295" y="666"/>
                  </a:lnTo>
                  <a:lnTo>
                    <a:pt x="297" y="668"/>
                  </a:lnTo>
                  <a:lnTo>
                    <a:pt x="297" y="670"/>
                  </a:lnTo>
                  <a:lnTo>
                    <a:pt x="297" y="672"/>
                  </a:lnTo>
                  <a:lnTo>
                    <a:pt x="297" y="672"/>
                  </a:lnTo>
                  <a:lnTo>
                    <a:pt x="297" y="674"/>
                  </a:lnTo>
                  <a:lnTo>
                    <a:pt x="295" y="672"/>
                  </a:lnTo>
                  <a:lnTo>
                    <a:pt x="293" y="672"/>
                  </a:lnTo>
                  <a:lnTo>
                    <a:pt x="291" y="670"/>
                  </a:lnTo>
                  <a:lnTo>
                    <a:pt x="291" y="668"/>
                  </a:lnTo>
                  <a:lnTo>
                    <a:pt x="286" y="668"/>
                  </a:lnTo>
                  <a:lnTo>
                    <a:pt x="286" y="668"/>
                  </a:lnTo>
                  <a:lnTo>
                    <a:pt x="286" y="670"/>
                  </a:lnTo>
                  <a:lnTo>
                    <a:pt x="286" y="670"/>
                  </a:lnTo>
                  <a:lnTo>
                    <a:pt x="284" y="670"/>
                  </a:lnTo>
                  <a:lnTo>
                    <a:pt x="284" y="672"/>
                  </a:lnTo>
                  <a:lnTo>
                    <a:pt x="286" y="674"/>
                  </a:lnTo>
                  <a:lnTo>
                    <a:pt x="288" y="675"/>
                  </a:lnTo>
                  <a:lnTo>
                    <a:pt x="289" y="675"/>
                  </a:lnTo>
                  <a:lnTo>
                    <a:pt x="289" y="677"/>
                  </a:lnTo>
                  <a:lnTo>
                    <a:pt x="291" y="679"/>
                  </a:lnTo>
                  <a:lnTo>
                    <a:pt x="291" y="677"/>
                  </a:lnTo>
                  <a:lnTo>
                    <a:pt x="291" y="677"/>
                  </a:lnTo>
                  <a:lnTo>
                    <a:pt x="293" y="677"/>
                  </a:lnTo>
                  <a:lnTo>
                    <a:pt x="293" y="679"/>
                  </a:lnTo>
                  <a:lnTo>
                    <a:pt x="293" y="679"/>
                  </a:lnTo>
                  <a:lnTo>
                    <a:pt x="293" y="683"/>
                  </a:lnTo>
                  <a:lnTo>
                    <a:pt x="293" y="684"/>
                  </a:lnTo>
                  <a:lnTo>
                    <a:pt x="293" y="686"/>
                  </a:lnTo>
                  <a:lnTo>
                    <a:pt x="293" y="686"/>
                  </a:lnTo>
                  <a:lnTo>
                    <a:pt x="288" y="688"/>
                  </a:lnTo>
                  <a:lnTo>
                    <a:pt x="286" y="688"/>
                  </a:lnTo>
                  <a:lnTo>
                    <a:pt x="288" y="688"/>
                  </a:lnTo>
                  <a:lnTo>
                    <a:pt x="288" y="686"/>
                  </a:lnTo>
                  <a:lnTo>
                    <a:pt x="288" y="686"/>
                  </a:lnTo>
                  <a:lnTo>
                    <a:pt x="288" y="686"/>
                  </a:lnTo>
                  <a:lnTo>
                    <a:pt x="286" y="686"/>
                  </a:lnTo>
                  <a:lnTo>
                    <a:pt x="286" y="686"/>
                  </a:lnTo>
                  <a:lnTo>
                    <a:pt x="284" y="684"/>
                  </a:lnTo>
                  <a:lnTo>
                    <a:pt x="284" y="683"/>
                  </a:lnTo>
                  <a:lnTo>
                    <a:pt x="284" y="683"/>
                  </a:lnTo>
                  <a:lnTo>
                    <a:pt x="284" y="681"/>
                  </a:lnTo>
                  <a:lnTo>
                    <a:pt x="284" y="681"/>
                  </a:lnTo>
                  <a:lnTo>
                    <a:pt x="282" y="681"/>
                  </a:lnTo>
                  <a:lnTo>
                    <a:pt x="282" y="681"/>
                  </a:lnTo>
                  <a:lnTo>
                    <a:pt x="282" y="681"/>
                  </a:lnTo>
                  <a:lnTo>
                    <a:pt x="282" y="681"/>
                  </a:lnTo>
                  <a:lnTo>
                    <a:pt x="280" y="679"/>
                  </a:lnTo>
                  <a:lnTo>
                    <a:pt x="280" y="679"/>
                  </a:lnTo>
                  <a:lnTo>
                    <a:pt x="280" y="677"/>
                  </a:lnTo>
                  <a:lnTo>
                    <a:pt x="279" y="677"/>
                  </a:lnTo>
                  <a:lnTo>
                    <a:pt x="279" y="677"/>
                  </a:lnTo>
                  <a:lnTo>
                    <a:pt x="270" y="683"/>
                  </a:lnTo>
                  <a:lnTo>
                    <a:pt x="264" y="683"/>
                  </a:lnTo>
                  <a:lnTo>
                    <a:pt x="262" y="684"/>
                  </a:lnTo>
                  <a:lnTo>
                    <a:pt x="261" y="686"/>
                  </a:lnTo>
                  <a:lnTo>
                    <a:pt x="259" y="686"/>
                  </a:lnTo>
                  <a:lnTo>
                    <a:pt x="259" y="686"/>
                  </a:lnTo>
                  <a:lnTo>
                    <a:pt x="259" y="690"/>
                  </a:lnTo>
                  <a:lnTo>
                    <a:pt x="259" y="690"/>
                  </a:lnTo>
                  <a:lnTo>
                    <a:pt x="259" y="690"/>
                  </a:lnTo>
                  <a:lnTo>
                    <a:pt x="259" y="692"/>
                  </a:lnTo>
                  <a:lnTo>
                    <a:pt x="259" y="692"/>
                  </a:lnTo>
                  <a:lnTo>
                    <a:pt x="257" y="692"/>
                  </a:lnTo>
                  <a:lnTo>
                    <a:pt x="253" y="690"/>
                  </a:lnTo>
                  <a:lnTo>
                    <a:pt x="253" y="690"/>
                  </a:lnTo>
                  <a:lnTo>
                    <a:pt x="252" y="690"/>
                  </a:lnTo>
                  <a:lnTo>
                    <a:pt x="252" y="692"/>
                  </a:lnTo>
                  <a:lnTo>
                    <a:pt x="253" y="694"/>
                  </a:lnTo>
                  <a:lnTo>
                    <a:pt x="253" y="694"/>
                  </a:lnTo>
                  <a:lnTo>
                    <a:pt x="252" y="695"/>
                  </a:lnTo>
                  <a:lnTo>
                    <a:pt x="252" y="695"/>
                  </a:lnTo>
                  <a:lnTo>
                    <a:pt x="252" y="697"/>
                  </a:lnTo>
                  <a:lnTo>
                    <a:pt x="252" y="697"/>
                  </a:lnTo>
                  <a:lnTo>
                    <a:pt x="252" y="699"/>
                  </a:lnTo>
                  <a:lnTo>
                    <a:pt x="252" y="701"/>
                  </a:lnTo>
                  <a:lnTo>
                    <a:pt x="250" y="701"/>
                  </a:lnTo>
                  <a:lnTo>
                    <a:pt x="248" y="703"/>
                  </a:lnTo>
                  <a:lnTo>
                    <a:pt x="246" y="704"/>
                  </a:lnTo>
                  <a:lnTo>
                    <a:pt x="246" y="704"/>
                  </a:lnTo>
                  <a:lnTo>
                    <a:pt x="246" y="704"/>
                  </a:lnTo>
                  <a:lnTo>
                    <a:pt x="246" y="706"/>
                  </a:lnTo>
                  <a:lnTo>
                    <a:pt x="246" y="708"/>
                  </a:lnTo>
                  <a:lnTo>
                    <a:pt x="244" y="708"/>
                  </a:lnTo>
                  <a:lnTo>
                    <a:pt x="244" y="710"/>
                  </a:lnTo>
                  <a:lnTo>
                    <a:pt x="244" y="712"/>
                  </a:lnTo>
                  <a:lnTo>
                    <a:pt x="242" y="715"/>
                  </a:lnTo>
                  <a:lnTo>
                    <a:pt x="242" y="715"/>
                  </a:lnTo>
                  <a:lnTo>
                    <a:pt x="244" y="715"/>
                  </a:lnTo>
                  <a:lnTo>
                    <a:pt x="242" y="717"/>
                  </a:lnTo>
                  <a:lnTo>
                    <a:pt x="242" y="717"/>
                  </a:lnTo>
                  <a:lnTo>
                    <a:pt x="242" y="719"/>
                  </a:lnTo>
                  <a:lnTo>
                    <a:pt x="242" y="719"/>
                  </a:lnTo>
                  <a:lnTo>
                    <a:pt x="242" y="721"/>
                  </a:lnTo>
                  <a:lnTo>
                    <a:pt x="242" y="722"/>
                  </a:lnTo>
                  <a:lnTo>
                    <a:pt x="241" y="722"/>
                  </a:lnTo>
                  <a:lnTo>
                    <a:pt x="241" y="722"/>
                  </a:lnTo>
                  <a:lnTo>
                    <a:pt x="239" y="724"/>
                  </a:lnTo>
                  <a:lnTo>
                    <a:pt x="239" y="724"/>
                  </a:lnTo>
                  <a:lnTo>
                    <a:pt x="239" y="726"/>
                  </a:lnTo>
                  <a:lnTo>
                    <a:pt x="239" y="726"/>
                  </a:lnTo>
                  <a:lnTo>
                    <a:pt x="237" y="728"/>
                  </a:lnTo>
                  <a:lnTo>
                    <a:pt x="235" y="726"/>
                  </a:lnTo>
                  <a:lnTo>
                    <a:pt x="235" y="728"/>
                  </a:lnTo>
                  <a:lnTo>
                    <a:pt x="235" y="728"/>
                  </a:lnTo>
                  <a:lnTo>
                    <a:pt x="235" y="730"/>
                  </a:lnTo>
                  <a:lnTo>
                    <a:pt x="235" y="731"/>
                  </a:lnTo>
                  <a:lnTo>
                    <a:pt x="235" y="731"/>
                  </a:lnTo>
                  <a:lnTo>
                    <a:pt x="233" y="731"/>
                  </a:lnTo>
                  <a:lnTo>
                    <a:pt x="232" y="733"/>
                  </a:lnTo>
                  <a:lnTo>
                    <a:pt x="232" y="731"/>
                  </a:lnTo>
                  <a:lnTo>
                    <a:pt x="230" y="733"/>
                  </a:lnTo>
                  <a:lnTo>
                    <a:pt x="230" y="733"/>
                  </a:lnTo>
                  <a:lnTo>
                    <a:pt x="230" y="733"/>
                  </a:lnTo>
                  <a:lnTo>
                    <a:pt x="228" y="733"/>
                  </a:lnTo>
                  <a:lnTo>
                    <a:pt x="228" y="735"/>
                  </a:lnTo>
                  <a:lnTo>
                    <a:pt x="228" y="737"/>
                  </a:lnTo>
                  <a:lnTo>
                    <a:pt x="226" y="737"/>
                  </a:lnTo>
                  <a:lnTo>
                    <a:pt x="224" y="739"/>
                  </a:lnTo>
                  <a:lnTo>
                    <a:pt x="224" y="739"/>
                  </a:lnTo>
                  <a:lnTo>
                    <a:pt x="224" y="742"/>
                  </a:lnTo>
                  <a:lnTo>
                    <a:pt x="223" y="744"/>
                  </a:lnTo>
                  <a:lnTo>
                    <a:pt x="221" y="748"/>
                  </a:lnTo>
                  <a:lnTo>
                    <a:pt x="221" y="749"/>
                  </a:lnTo>
                  <a:lnTo>
                    <a:pt x="221" y="751"/>
                  </a:lnTo>
                  <a:lnTo>
                    <a:pt x="221" y="751"/>
                  </a:lnTo>
                  <a:lnTo>
                    <a:pt x="221" y="753"/>
                  </a:lnTo>
                  <a:lnTo>
                    <a:pt x="223" y="755"/>
                  </a:lnTo>
                  <a:lnTo>
                    <a:pt x="221" y="753"/>
                  </a:lnTo>
                  <a:lnTo>
                    <a:pt x="219" y="753"/>
                  </a:lnTo>
                  <a:lnTo>
                    <a:pt x="217" y="753"/>
                  </a:lnTo>
                  <a:lnTo>
                    <a:pt x="217" y="757"/>
                  </a:lnTo>
                  <a:lnTo>
                    <a:pt x="217" y="757"/>
                  </a:lnTo>
                  <a:lnTo>
                    <a:pt x="215" y="759"/>
                  </a:lnTo>
                  <a:lnTo>
                    <a:pt x="214" y="759"/>
                  </a:lnTo>
                  <a:lnTo>
                    <a:pt x="212" y="759"/>
                  </a:lnTo>
                  <a:lnTo>
                    <a:pt x="212" y="759"/>
                  </a:lnTo>
                  <a:lnTo>
                    <a:pt x="210" y="759"/>
                  </a:lnTo>
                  <a:lnTo>
                    <a:pt x="210" y="760"/>
                  </a:lnTo>
                  <a:lnTo>
                    <a:pt x="210" y="762"/>
                  </a:lnTo>
                  <a:lnTo>
                    <a:pt x="210" y="762"/>
                  </a:lnTo>
                  <a:lnTo>
                    <a:pt x="210" y="764"/>
                  </a:lnTo>
                  <a:lnTo>
                    <a:pt x="210" y="764"/>
                  </a:lnTo>
                  <a:lnTo>
                    <a:pt x="208" y="766"/>
                  </a:lnTo>
                  <a:lnTo>
                    <a:pt x="208" y="768"/>
                  </a:lnTo>
                  <a:lnTo>
                    <a:pt x="208" y="768"/>
                  </a:lnTo>
                  <a:lnTo>
                    <a:pt x="206" y="769"/>
                  </a:lnTo>
                  <a:lnTo>
                    <a:pt x="206" y="771"/>
                  </a:lnTo>
                  <a:lnTo>
                    <a:pt x="205" y="771"/>
                  </a:lnTo>
                  <a:lnTo>
                    <a:pt x="205" y="771"/>
                  </a:lnTo>
                  <a:lnTo>
                    <a:pt x="203" y="771"/>
                  </a:lnTo>
                  <a:lnTo>
                    <a:pt x="203" y="773"/>
                  </a:lnTo>
                  <a:lnTo>
                    <a:pt x="205" y="773"/>
                  </a:lnTo>
                  <a:lnTo>
                    <a:pt x="205" y="777"/>
                  </a:lnTo>
                  <a:lnTo>
                    <a:pt x="206" y="778"/>
                  </a:lnTo>
                  <a:lnTo>
                    <a:pt x="205" y="780"/>
                  </a:lnTo>
                  <a:lnTo>
                    <a:pt x="201" y="780"/>
                  </a:lnTo>
                  <a:lnTo>
                    <a:pt x="199" y="778"/>
                  </a:lnTo>
                  <a:lnTo>
                    <a:pt x="199" y="778"/>
                  </a:lnTo>
                  <a:lnTo>
                    <a:pt x="199" y="778"/>
                  </a:lnTo>
                  <a:lnTo>
                    <a:pt x="199" y="778"/>
                  </a:lnTo>
                  <a:lnTo>
                    <a:pt x="197" y="778"/>
                  </a:lnTo>
                  <a:lnTo>
                    <a:pt x="197" y="778"/>
                  </a:lnTo>
                  <a:lnTo>
                    <a:pt x="197" y="778"/>
                  </a:lnTo>
                  <a:lnTo>
                    <a:pt x="196" y="777"/>
                  </a:lnTo>
                  <a:lnTo>
                    <a:pt x="194" y="777"/>
                  </a:lnTo>
                  <a:lnTo>
                    <a:pt x="194" y="778"/>
                  </a:lnTo>
                  <a:lnTo>
                    <a:pt x="194" y="782"/>
                  </a:lnTo>
                  <a:lnTo>
                    <a:pt x="194" y="784"/>
                  </a:lnTo>
                  <a:lnTo>
                    <a:pt x="194" y="784"/>
                  </a:lnTo>
                  <a:lnTo>
                    <a:pt x="194" y="786"/>
                  </a:lnTo>
                  <a:lnTo>
                    <a:pt x="194" y="787"/>
                  </a:lnTo>
                  <a:lnTo>
                    <a:pt x="194" y="787"/>
                  </a:lnTo>
                  <a:lnTo>
                    <a:pt x="194" y="789"/>
                  </a:lnTo>
                  <a:lnTo>
                    <a:pt x="194" y="791"/>
                  </a:lnTo>
                  <a:lnTo>
                    <a:pt x="196" y="791"/>
                  </a:lnTo>
                  <a:lnTo>
                    <a:pt x="194" y="793"/>
                  </a:lnTo>
                  <a:lnTo>
                    <a:pt x="194" y="795"/>
                  </a:lnTo>
                  <a:lnTo>
                    <a:pt x="192" y="795"/>
                  </a:lnTo>
                  <a:lnTo>
                    <a:pt x="190" y="793"/>
                  </a:lnTo>
                  <a:lnTo>
                    <a:pt x="190" y="795"/>
                  </a:lnTo>
                  <a:lnTo>
                    <a:pt x="188" y="796"/>
                  </a:lnTo>
                  <a:lnTo>
                    <a:pt x="185" y="796"/>
                  </a:lnTo>
                  <a:lnTo>
                    <a:pt x="183" y="796"/>
                  </a:lnTo>
                  <a:lnTo>
                    <a:pt x="183" y="796"/>
                  </a:lnTo>
                  <a:lnTo>
                    <a:pt x="181" y="796"/>
                  </a:lnTo>
                  <a:lnTo>
                    <a:pt x="181" y="798"/>
                  </a:lnTo>
                  <a:lnTo>
                    <a:pt x="183" y="798"/>
                  </a:lnTo>
                  <a:lnTo>
                    <a:pt x="183" y="798"/>
                  </a:lnTo>
                  <a:lnTo>
                    <a:pt x="181" y="800"/>
                  </a:lnTo>
                  <a:lnTo>
                    <a:pt x="181" y="800"/>
                  </a:lnTo>
                  <a:lnTo>
                    <a:pt x="181" y="800"/>
                  </a:lnTo>
                  <a:lnTo>
                    <a:pt x="177" y="800"/>
                  </a:lnTo>
                  <a:lnTo>
                    <a:pt x="177" y="800"/>
                  </a:lnTo>
                  <a:lnTo>
                    <a:pt x="177" y="802"/>
                  </a:lnTo>
                  <a:lnTo>
                    <a:pt x="174" y="804"/>
                  </a:lnTo>
                  <a:lnTo>
                    <a:pt x="174" y="805"/>
                  </a:lnTo>
                  <a:lnTo>
                    <a:pt x="174" y="805"/>
                  </a:lnTo>
                  <a:lnTo>
                    <a:pt x="174" y="807"/>
                  </a:lnTo>
                  <a:lnTo>
                    <a:pt x="174" y="807"/>
                  </a:lnTo>
                  <a:lnTo>
                    <a:pt x="174" y="809"/>
                  </a:lnTo>
                  <a:lnTo>
                    <a:pt x="174" y="811"/>
                  </a:lnTo>
                  <a:lnTo>
                    <a:pt x="174" y="811"/>
                  </a:lnTo>
                  <a:lnTo>
                    <a:pt x="174" y="809"/>
                  </a:lnTo>
                  <a:lnTo>
                    <a:pt x="172" y="807"/>
                  </a:lnTo>
                  <a:lnTo>
                    <a:pt x="172" y="805"/>
                  </a:lnTo>
                  <a:lnTo>
                    <a:pt x="170" y="805"/>
                  </a:lnTo>
                  <a:lnTo>
                    <a:pt x="170" y="807"/>
                  </a:lnTo>
                  <a:lnTo>
                    <a:pt x="170" y="807"/>
                  </a:lnTo>
                  <a:lnTo>
                    <a:pt x="170" y="809"/>
                  </a:lnTo>
                  <a:lnTo>
                    <a:pt x="170" y="809"/>
                  </a:lnTo>
                  <a:lnTo>
                    <a:pt x="170" y="809"/>
                  </a:lnTo>
                  <a:lnTo>
                    <a:pt x="170" y="811"/>
                  </a:lnTo>
                  <a:lnTo>
                    <a:pt x="170" y="811"/>
                  </a:lnTo>
                  <a:lnTo>
                    <a:pt x="170" y="813"/>
                  </a:lnTo>
                  <a:lnTo>
                    <a:pt x="170" y="813"/>
                  </a:lnTo>
                  <a:lnTo>
                    <a:pt x="170" y="813"/>
                  </a:lnTo>
                  <a:lnTo>
                    <a:pt x="168" y="813"/>
                  </a:lnTo>
                  <a:lnTo>
                    <a:pt x="168" y="813"/>
                  </a:lnTo>
                  <a:lnTo>
                    <a:pt x="170" y="815"/>
                  </a:lnTo>
                  <a:lnTo>
                    <a:pt x="167" y="815"/>
                  </a:lnTo>
                  <a:lnTo>
                    <a:pt x="168" y="816"/>
                  </a:lnTo>
                  <a:lnTo>
                    <a:pt x="170" y="816"/>
                  </a:lnTo>
                  <a:lnTo>
                    <a:pt x="168" y="818"/>
                  </a:lnTo>
                  <a:lnTo>
                    <a:pt x="167" y="818"/>
                  </a:lnTo>
                  <a:lnTo>
                    <a:pt x="167" y="820"/>
                  </a:lnTo>
                  <a:lnTo>
                    <a:pt x="167" y="820"/>
                  </a:lnTo>
                  <a:lnTo>
                    <a:pt x="167" y="822"/>
                  </a:lnTo>
                  <a:lnTo>
                    <a:pt x="167" y="822"/>
                  </a:lnTo>
                  <a:lnTo>
                    <a:pt x="167" y="822"/>
                  </a:lnTo>
                  <a:lnTo>
                    <a:pt x="167" y="824"/>
                  </a:lnTo>
                  <a:lnTo>
                    <a:pt x="165" y="824"/>
                  </a:lnTo>
                  <a:lnTo>
                    <a:pt x="165" y="824"/>
                  </a:lnTo>
                  <a:lnTo>
                    <a:pt x="165" y="824"/>
                  </a:lnTo>
                  <a:lnTo>
                    <a:pt x="165" y="825"/>
                  </a:lnTo>
                  <a:lnTo>
                    <a:pt x="163" y="825"/>
                  </a:lnTo>
                  <a:lnTo>
                    <a:pt x="163" y="825"/>
                  </a:lnTo>
                  <a:lnTo>
                    <a:pt x="161" y="825"/>
                  </a:lnTo>
                  <a:lnTo>
                    <a:pt x="161" y="825"/>
                  </a:lnTo>
                  <a:lnTo>
                    <a:pt x="159" y="824"/>
                  </a:lnTo>
                  <a:lnTo>
                    <a:pt x="159" y="822"/>
                  </a:lnTo>
                  <a:lnTo>
                    <a:pt x="159" y="820"/>
                  </a:lnTo>
                  <a:lnTo>
                    <a:pt x="159" y="820"/>
                  </a:lnTo>
                  <a:lnTo>
                    <a:pt x="159" y="818"/>
                  </a:lnTo>
                  <a:lnTo>
                    <a:pt x="158" y="816"/>
                  </a:lnTo>
                  <a:lnTo>
                    <a:pt x="158" y="816"/>
                  </a:lnTo>
                  <a:lnTo>
                    <a:pt x="158" y="816"/>
                  </a:lnTo>
                  <a:lnTo>
                    <a:pt x="158" y="818"/>
                  </a:lnTo>
                  <a:lnTo>
                    <a:pt x="156" y="818"/>
                  </a:lnTo>
                  <a:lnTo>
                    <a:pt x="156" y="820"/>
                  </a:lnTo>
                  <a:lnTo>
                    <a:pt x="156" y="818"/>
                  </a:lnTo>
                  <a:lnTo>
                    <a:pt x="156" y="818"/>
                  </a:lnTo>
                  <a:lnTo>
                    <a:pt x="154" y="816"/>
                  </a:lnTo>
                  <a:lnTo>
                    <a:pt x="154" y="816"/>
                  </a:lnTo>
                  <a:lnTo>
                    <a:pt x="154" y="818"/>
                  </a:lnTo>
                  <a:lnTo>
                    <a:pt x="154" y="820"/>
                  </a:lnTo>
                  <a:lnTo>
                    <a:pt x="154" y="822"/>
                  </a:lnTo>
                  <a:lnTo>
                    <a:pt x="152" y="822"/>
                  </a:lnTo>
                  <a:lnTo>
                    <a:pt x="150" y="822"/>
                  </a:lnTo>
                  <a:lnTo>
                    <a:pt x="150" y="822"/>
                  </a:lnTo>
                  <a:lnTo>
                    <a:pt x="150" y="824"/>
                  </a:lnTo>
                  <a:lnTo>
                    <a:pt x="150" y="824"/>
                  </a:lnTo>
                  <a:lnTo>
                    <a:pt x="150" y="824"/>
                  </a:lnTo>
                  <a:lnTo>
                    <a:pt x="150" y="824"/>
                  </a:lnTo>
                  <a:lnTo>
                    <a:pt x="149" y="825"/>
                  </a:lnTo>
                  <a:lnTo>
                    <a:pt x="152" y="829"/>
                  </a:lnTo>
                  <a:lnTo>
                    <a:pt x="152" y="831"/>
                  </a:lnTo>
                  <a:lnTo>
                    <a:pt x="150" y="831"/>
                  </a:lnTo>
                  <a:lnTo>
                    <a:pt x="149" y="831"/>
                  </a:lnTo>
                  <a:lnTo>
                    <a:pt x="149" y="831"/>
                  </a:lnTo>
                  <a:lnTo>
                    <a:pt x="149" y="833"/>
                  </a:lnTo>
                  <a:lnTo>
                    <a:pt x="149" y="833"/>
                  </a:lnTo>
                  <a:lnTo>
                    <a:pt x="149" y="834"/>
                  </a:lnTo>
                  <a:lnTo>
                    <a:pt x="147" y="838"/>
                  </a:lnTo>
                  <a:lnTo>
                    <a:pt x="147" y="838"/>
                  </a:lnTo>
                  <a:lnTo>
                    <a:pt x="147" y="840"/>
                  </a:lnTo>
                  <a:lnTo>
                    <a:pt x="147" y="840"/>
                  </a:lnTo>
                  <a:lnTo>
                    <a:pt x="147" y="842"/>
                  </a:lnTo>
                  <a:lnTo>
                    <a:pt x="147" y="842"/>
                  </a:lnTo>
                  <a:lnTo>
                    <a:pt x="147" y="843"/>
                  </a:lnTo>
                  <a:lnTo>
                    <a:pt x="145" y="843"/>
                  </a:lnTo>
                  <a:lnTo>
                    <a:pt x="145" y="845"/>
                  </a:lnTo>
                  <a:lnTo>
                    <a:pt x="145" y="845"/>
                  </a:lnTo>
                  <a:lnTo>
                    <a:pt x="145" y="842"/>
                  </a:lnTo>
                  <a:lnTo>
                    <a:pt x="143" y="842"/>
                  </a:lnTo>
                  <a:lnTo>
                    <a:pt x="143" y="842"/>
                  </a:lnTo>
                  <a:lnTo>
                    <a:pt x="141" y="840"/>
                  </a:lnTo>
                  <a:lnTo>
                    <a:pt x="141" y="840"/>
                  </a:lnTo>
                  <a:lnTo>
                    <a:pt x="141" y="838"/>
                  </a:lnTo>
                  <a:lnTo>
                    <a:pt x="141" y="836"/>
                  </a:lnTo>
                  <a:lnTo>
                    <a:pt x="141" y="836"/>
                  </a:lnTo>
                  <a:lnTo>
                    <a:pt x="140" y="836"/>
                  </a:lnTo>
                  <a:lnTo>
                    <a:pt x="138" y="836"/>
                  </a:lnTo>
                  <a:lnTo>
                    <a:pt x="138" y="838"/>
                  </a:lnTo>
                  <a:lnTo>
                    <a:pt x="138" y="842"/>
                  </a:lnTo>
                  <a:lnTo>
                    <a:pt x="141" y="843"/>
                  </a:lnTo>
                  <a:lnTo>
                    <a:pt x="145" y="849"/>
                  </a:lnTo>
                  <a:lnTo>
                    <a:pt x="143" y="847"/>
                  </a:lnTo>
                  <a:lnTo>
                    <a:pt x="141" y="847"/>
                  </a:lnTo>
                  <a:lnTo>
                    <a:pt x="140" y="847"/>
                  </a:lnTo>
                  <a:lnTo>
                    <a:pt x="138" y="845"/>
                  </a:lnTo>
                  <a:lnTo>
                    <a:pt x="138" y="843"/>
                  </a:lnTo>
                  <a:lnTo>
                    <a:pt x="136" y="843"/>
                  </a:lnTo>
                  <a:lnTo>
                    <a:pt x="134" y="845"/>
                  </a:lnTo>
                  <a:lnTo>
                    <a:pt x="134" y="847"/>
                  </a:lnTo>
                  <a:lnTo>
                    <a:pt x="134" y="849"/>
                  </a:lnTo>
                  <a:lnTo>
                    <a:pt x="136" y="849"/>
                  </a:lnTo>
                  <a:lnTo>
                    <a:pt x="136" y="849"/>
                  </a:lnTo>
                  <a:lnTo>
                    <a:pt x="138" y="849"/>
                  </a:lnTo>
                  <a:lnTo>
                    <a:pt x="138" y="851"/>
                  </a:lnTo>
                  <a:lnTo>
                    <a:pt x="140" y="854"/>
                  </a:lnTo>
                  <a:lnTo>
                    <a:pt x="141" y="856"/>
                  </a:lnTo>
                  <a:lnTo>
                    <a:pt x="141" y="856"/>
                  </a:lnTo>
                  <a:lnTo>
                    <a:pt x="143" y="858"/>
                  </a:lnTo>
                  <a:lnTo>
                    <a:pt x="143" y="860"/>
                  </a:lnTo>
                  <a:lnTo>
                    <a:pt x="143" y="860"/>
                  </a:lnTo>
                  <a:lnTo>
                    <a:pt x="141" y="861"/>
                  </a:lnTo>
                  <a:lnTo>
                    <a:pt x="141" y="863"/>
                  </a:lnTo>
                  <a:lnTo>
                    <a:pt x="140" y="865"/>
                  </a:lnTo>
                  <a:lnTo>
                    <a:pt x="140" y="861"/>
                  </a:lnTo>
                  <a:lnTo>
                    <a:pt x="138" y="861"/>
                  </a:lnTo>
                  <a:lnTo>
                    <a:pt x="138" y="863"/>
                  </a:lnTo>
                  <a:lnTo>
                    <a:pt x="136" y="865"/>
                  </a:lnTo>
                  <a:lnTo>
                    <a:pt x="134" y="869"/>
                  </a:lnTo>
                  <a:lnTo>
                    <a:pt x="134" y="869"/>
                  </a:lnTo>
                  <a:lnTo>
                    <a:pt x="134" y="869"/>
                  </a:lnTo>
                  <a:lnTo>
                    <a:pt x="134" y="869"/>
                  </a:lnTo>
                  <a:lnTo>
                    <a:pt x="134" y="869"/>
                  </a:lnTo>
                  <a:lnTo>
                    <a:pt x="134" y="869"/>
                  </a:lnTo>
                  <a:lnTo>
                    <a:pt x="134" y="869"/>
                  </a:lnTo>
                  <a:lnTo>
                    <a:pt x="134" y="869"/>
                  </a:lnTo>
                  <a:lnTo>
                    <a:pt x="134" y="869"/>
                  </a:lnTo>
                  <a:lnTo>
                    <a:pt x="132" y="871"/>
                  </a:lnTo>
                  <a:lnTo>
                    <a:pt x="132" y="869"/>
                  </a:lnTo>
                  <a:lnTo>
                    <a:pt x="131" y="869"/>
                  </a:lnTo>
                  <a:lnTo>
                    <a:pt x="131" y="869"/>
                  </a:lnTo>
                  <a:lnTo>
                    <a:pt x="129" y="871"/>
                  </a:lnTo>
                  <a:lnTo>
                    <a:pt x="129" y="871"/>
                  </a:lnTo>
                  <a:lnTo>
                    <a:pt x="127" y="869"/>
                  </a:lnTo>
                  <a:lnTo>
                    <a:pt x="127" y="869"/>
                  </a:lnTo>
                  <a:lnTo>
                    <a:pt x="127" y="869"/>
                  </a:lnTo>
                  <a:lnTo>
                    <a:pt x="125" y="869"/>
                  </a:lnTo>
                  <a:lnTo>
                    <a:pt x="125" y="869"/>
                  </a:lnTo>
                  <a:lnTo>
                    <a:pt x="125" y="871"/>
                  </a:lnTo>
                  <a:lnTo>
                    <a:pt x="125" y="871"/>
                  </a:lnTo>
                  <a:lnTo>
                    <a:pt x="125" y="872"/>
                  </a:lnTo>
                  <a:lnTo>
                    <a:pt x="125" y="874"/>
                  </a:lnTo>
                  <a:lnTo>
                    <a:pt x="123" y="874"/>
                  </a:lnTo>
                  <a:lnTo>
                    <a:pt x="121" y="874"/>
                  </a:lnTo>
                  <a:lnTo>
                    <a:pt x="123" y="878"/>
                  </a:lnTo>
                  <a:lnTo>
                    <a:pt x="123" y="880"/>
                  </a:lnTo>
                  <a:lnTo>
                    <a:pt x="120" y="876"/>
                  </a:lnTo>
                  <a:lnTo>
                    <a:pt x="118" y="876"/>
                  </a:lnTo>
                  <a:lnTo>
                    <a:pt x="120" y="874"/>
                  </a:lnTo>
                  <a:lnTo>
                    <a:pt x="120" y="874"/>
                  </a:lnTo>
                  <a:lnTo>
                    <a:pt x="118" y="869"/>
                  </a:lnTo>
                  <a:lnTo>
                    <a:pt x="118" y="869"/>
                  </a:lnTo>
                  <a:lnTo>
                    <a:pt x="120" y="867"/>
                  </a:lnTo>
                  <a:lnTo>
                    <a:pt x="118" y="867"/>
                  </a:lnTo>
                  <a:lnTo>
                    <a:pt x="116" y="869"/>
                  </a:lnTo>
                  <a:lnTo>
                    <a:pt x="114" y="869"/>
                  </a:lnTo>
                  <a:lnTo>
                    <a:pt x="112" y="869"/>
                  </a:lnTo>
                  <a:lnTo>
                    <a:pt x="112" y="869"/>
                  </a:lnTo>
                  <a:lnTo>
                    <a:pt x="109" y="871"/>
                  </a:lnTo>
                  <a:lnTo>
                    <a:pt x="109" y="871"/>
                  </a:lnTo>
                  <a:lnTo>
                    <a:pt x="111" y="872"/>
                  </a:lnTo>
                  <a:lnTo>
                    <a:pt x="112" y="872"/>
                  </a:lnTo>
                  <a:lnTo>
                    <a:pt x="112" y="872"/>
                  </a:lnTo>
                  <a:lnTo>
                    <a:pt x="112" y="872"/>
                  </a:lnTo>
                  <a:lnTo>
                    <a:pt x="111" y="872"/>
                  </a:lnTo>
                  <a:lnTo>
                    <a:pt x="109" y="872"/>
                  </a:lnTo>
                  <a:lnTo>
                    <a:pt x="107" y="871"/>
                  </a:lnTo>
                  <a:lnTo>
                    <a:pt x="107" y="874"/>
                  </a:lnTo>
                  <a:lnTo>
                    <a:pt x="105" y="872"/>
                  </a:lnTo>
                  <a:lnTo>
                    <a:pt x="102" y="869"/>
                  </a:lnTo>
                  <a:lnTo>
                    <a:pt x="102" y="871"/>
                  </a:lnTo>
                  <a:lnTo>
                    <a:pt x="100" y="871"/>
                  </a:lnTo>
                  <a:lnTo>
                    <a:pt x="100" y="871"/>
                  </a:lnTo>
                  <a:lnTo>
                    <a:pt x="100" y="872"/>
                  </a:lnTo>
                  <a:lnTo>
                    <a:pt x="100" y="874"/>
                  </a:lnTo>
                  <a:lnTo>
                    <a:pt x="100" y="874"/>
                  </a:lnTo>
                  <a:lnTo>
                    <a:pt x="102" y="876"/>
                  </a:lnTo>
                  <a:lnTo>
                    <a:pt x="102" y="876"/>
                  </a:lnTo>
                  <a:lnTo>
                    <a:pt x="100" y="876"/>
                  </a:lnTo>
                  <a:lnTo>
                    <a:pt x="100" y="87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0" y="880"/>
                  </a:lnTo>
                  <a:lnTo>
                    <a:pt x="100" y="880"/>
                  </a:lnTo>
                  <a:lnTo>
                    <a:pt x="100" y="881"/>
                  </a:lnTo>
                  <a:lnTo>
                    <a:pt x="102" y="881"/>
                  </a:lnTo>
                  <a:lnTo>
                    <a:pt x="102" y="881"/>
                  </a:lnTo>
                  <a:lnTo>
                    <a:pt x="103" y="881"/>
                  </a:lnTo>
                  <a:lnTo>
                    <a:pt x="103" y="881"/>
                  </a:lnTo>
                  <a:lnTo>
                    <a:pt x="102" y="883"/>
                  </a:lnTo>
                  <a:lnTo>
                    <a:pt x="102" y="885"/>
                  </a:lnTo>
                  <a:lnTo>
                    <a:pt x="103" y="887"/>
                  </a:lnTo>
                  <a:lnTo>
                    <a:pt x="107" y="889"/>
                  </a:lnTo>
                  <a:lnTo>
                    <a:pt x="109" y="892"/>
                  </a:lnTo>
                  <a:lnTo>
                    <a:pt x="107" y="894"/>
                  </a:lnTo>
                  <a:lnTo>
                    <a:pt x="105" y="892"/>
                  </a:lnTo>
                  <a:lnTo>
                    <a:pt x="103" y="892"/>
                  </a:lnTo>
                  <a:lnTo>
                    <a:pt x="103" y="890"/>
                  </a:lnTo>
                  <a:lnTo>
                    <a:pt x="100" y="889"/>
                  </a:lnTo>
                  <a:lnTo>
                    <a:pt x="100" y="887"/>
                  </a:lnTo>
                  <a:lnTo>
                    <a:pt x="98" y="889"/>
                  </a:lnTo>
                  <a:lnTo>
                    <a:pt x="98" y="890"/>
                  </a:lnTo>
                  <a:lnTo>
                    <a:pt x="98" y="890"/>
                  </a:lnTo>
                  <a:lnTo>
                    <a:pt x="98" y="890"/>
                  </a:lnTo>
                  <a:lnTo>
                    <a:pt x="98" y="890"/>
                  </a:lnTo>
                  <a:lnTo>
                    <a:pt x="96" y="890"/>
                  </a:lnTo>
                  <a:lnTo>
                    <a:pt x="96" y="890"/>
                  </a:lnTo>
                  <a:lnTo>
                    <a:pt x="96" y="892"/>
                  </a:lnTo>
                  <a:lnTo>
                    <a:pt x="96" y="892"/>
                  </a:lnTo>
                  <a:lnTo>
                    <a:pt x="96" y="894"/>
                  </a:lnTo>
                  <a:lnTo>
                    <a:pt x="96" y="896"/>
                  </a:lnTo>
                  <a:lnTo>
                    <a:pt x="98" y="901"/>
                  </a:lnTo>
                  <a:lnTo>
                    <a:pt x="96" y="901"/>
                  </a:lnTo>
                  <a:lnTo>
                    <a:pt x="96" y="901"/>
                  </a:lnTo>
                  <a:lnTo>
                    <a:pt x="96" y="903"/>
                  </a:lnTo>
                  <a:lnTo>
                    <a:pt x="94" y="905"/>
                  </a:lnTo>
                  <a:lnTo>
                    <a:pt x="94" y="907"/>
                  </a:lnTo>
                  <a:lnTo>
                    <a:pt x="94" y="908"/>
                  </a:lnTo>
                  <a:lnTo>
                    <a:pt x="94" y="908"/>
                  </a:lnTo>
                  <a:lnTo>
                    <a:pt x="94" y="908"/>
                  </a:lnTo>
                  <a:lnTo>
                    <a:pt x="93" y="910"/>
                  </a:lnTo>
                  <a:lnTo>
                    <a:pt x="93" y="910"/>
                  </a:lnTo>
                  <a:lnTo>
                    <a:pt x="91" y="910"/>
                  </a:lnTo>
                  <a:lnTo>
                    <a:pt x="87" y="910"/>
                  </a:lnTo>
                  <a:lnTo>
                    <a:pt x="87" y="910"/>
                  </a:lnTo>
                  <a:lnTo>
                    <a:pt x="85" y="910"/>
                  </a:lnTo>
                  <a:lnTo>
                    <a:pt x="85" y="912"/>
                  </a:lnTo>
                  <a:lnTo>
                    <a:pt x="85" y="914"/>
                  </a:lnTo>
                  <a:lnTo>
                    <a:pt x="85" y="916"/>
                  </a:lnTo>
                  <a:lnTo>
                    <a:pt x="85" y="916"/>
                  </a:lnTo>
                  <a:lnTo>
                    <a:pt x="84" y="917"/>
                  </a:lnTo>
                  <a:lnTo>
                    <a:pt x="84" y="917"/>
                  </a:lnTo>
                  <a:lnTo>
                    <a:pt x="84" y="919"/>
                  </a:lnTo>
                  <a:lnTo>
                    <a:pt x="84" y="919"/>
                  </a:lnTo>
                  <a:lnTo>
                    <a:pt x="82" y="917"/>
                  </a:lnTo>
                  <a:lnTo>
                    <a:pt x="82" y="917"/>
                  </a:lnTo>
                  <a:lnTo>
                    <a:pt x="80" y="919"/>
                  </a:lnTo>
                  <a:lnTo>
                    <a:pt x="80" y="921"/>
                  </a:lnTo>
                  <a:lnTo>
                    <a:pt x="80" y="923"/>
                  </a:lnTo>
                  <a:lnTo>
                    <a:pt x="80" y="923"/>
                  </a:lnTo>
                  <a:lnTo>
                    <a:pt x="82" y="925"/>
                  </a:lnTo>
                  <a:lnTo>
                    <a:pt x="82" y="925"/>
                  </a:lnTo>
                  <a:lnTo>
                    <a:pt x="82" y="925"/>
                  </a:lnTo>
                  <a:lnTo>
                    <a:pt x="82" y="925"/>
                  </a:lnTo>
                  <a:lnTo>
                    <a:pt x="82" y="927"/>
                  </a:lnTo>
                  <a:lnTo>
                    <a:pt x="82" y="928"/>
                  </a:lnTo>
                  <a:lnTo>
                    <a:pt x="80" y="928"/>
                  </a:lnTo>
                  <a:lnTo>
                    <a:pt x="80" y="930"/>
                  </a:lnTo>
                  <a:lnTo>
                    <a:pt x="78" y="930"/>
                  </a:lnTo>
                  <a:lnTo>
                    <a:pt x="78" y="932"/>
                  </a:lnTo>
                  <a:lnTo>
                    <a:pt x="78" y="937"/>
                  </a:lnTo>
                  <a:lnTo>
                    <a:pt x="78" y="939"/>
                  </a:lnTo>
                  <a:lnTo>
                    <a:pt x="78" y="937"/>
                  </a:lnTo>
                  <a:lnTo>
                    <a:pt x="80" y="937"/>
                  </a:lnTo>
                  <a:lnTo>
                    <a:pt x="80" y="937"/>
                  </a:lnTo>
                  <a:lnTo>
                    <a:pt x="80" y="937"/>
                  </a:lnTo>
                  <a:lnTo>
                    <a:pt x="84" y="939"/>
                  </a:lnTo>
                  <a:lnTo>
                    <a:pt x="85" y="941"/>
                  </a:lnTo>
                  <a:lnTo>
                    <a:pt x="84" y="941"/>
                  </a:lnTo>
                  <a:lnTo>
                    <a:pt x="84" y="941"/>
                  </a:lnTo>
                  <a:lnTo>
                    <a:pt x="82" y="943"/>
                  </a:lnTo>
                  <a:lnTo>
                    <a:pt x="80" y="945"/>
                  </a:lnTo>
                  <a:lnTo>
                    <a:pt x="82" y="946"/>
                  </a:lnTo>
                  <a:lnTo>
                    <a:pt x="82" y="946"/>
                  </a:lnTo>
                  <a:lnTo>
                    <a:pt x="82" y="948"/>
                  </a:lnTo>
                  <a:lnTo>
                    <a:pt x="80" y="948"/>
                  </a:lnTo>
                  <a:lnTo>
                    <a:pt x="80" y="950"/>
                  </a:lnTo>
                  <a:lnTo>
                    <a:pt x="80" y="952"/>
                  </a:lnTo>
                  <a:lnTo>
                    <a:pt x="80" y="954"/>
                  </a:lnTo>
                  <a:lnTo>
                    <a:pt x="80" y="955"/>
                  </a:lnTo>
                  <a:lnTo>
                    <a:pt x="82" y="954"/>
                  </a:lnTo>
                  <a:lnTo>
                    <a:pt x="82" y="954"/>
                  </a:lnTo>
                  <a:lnTo>
                    <a:pt x="82" y="955"/>
                  </a:lnTo>
                  <a:lnTo>
                    <a:pt x="82" y="959"/>
                  </a:lnTo>
                  <a:lnTo>
                    <a:pt x="82" y="961"/>
                  </a:lnTo>
                  <a:lnTo>
                    <a:pt x="82" y="959"/>
                  </a:lnTo>
                  <a:lnTo>
                    <a:pt x="84" y="959"/>
                  </a:lnTo>
                  <a:lnTo>
                    <a:pt x="84" y="957"/>
                  </a:lnTo>
                  <a:lnTo>
                    <a:pt x="85" y="959"/>
                  </a:lnTo>
                  <a:lnTo>
                    <a:pt x="84" y="959"/>
                  </a:lnTo>
                  <a:lnTo>
                    <a:pt x="84" y="959"/>
                  </a:lnTo>
                  <a:lnTo>
                    <a:pt x="84" y="961"/>
                  </a:lnTo>
                  <a:lnTo>
                    <a:pt x="84" y="961"/>
                  </a:lnTo>
                  <a:lnTo>
                    <a:pt x="84" y="961"/>
                  </a:lnTo>
                  <a:lnTo>
                    <a:pt x="85" y="961"/>
                  </a:lnTo>
                  <a:lnTo>
                    <a:pt x="84" y="964"/>
                  </a:lnTo>
                  <a:lnTo>
                    <a:pt x="84" y="966"/>
                  </a:lnTo>
                  <a:lnTo>
                    <a:pt x="84" y="968"/>
                  </a:lnTo>
                  <a:lnTo>
                    <a:pt x="85" y="968"/>
                  </a:lnTo>
                  <a:lnTo>
                    <a:pt x="85" y="966"/>
                  </a:lnTo>
                  <a:lnTo>
                    <a:pt x="85" y="964"/>
                  </a:lnTo>
                  <a:lnTo>
                    <a:pt x="87" y="959"/>
                  </a:lnTo>
                  <a:lnTo>
                    <a:pt x="89" y="961"/>
                  </a:lnTo>
                  <a:lnTo>
                    <a:pt x="87" y="963"/>
                  </a:lnTo>
                  <a:lnTo>
                    <a:pt x="87" y="964"/>
                  </a:lnTo>
                  <a:lnTo>
                    <a:pt x="87" y="964"/>
                  </a:lnTo>
                  <a:lnTo>
                    <a:pt x="87" y="966"/>
                  </a:lnTo>
                  <a:lnTo>
                    <a:pt x="89" y="966"/>
                  </a:lnTo>
                  <a:lnTo>
                    <a:pt x="91" y="966"/>
                  </a:lnTo>
                  <a:lnTo>
                    <a:pt x="91" y="966"/>
                  </a:lnTo>
                  <a:lnTo>
                    <a:pt x="91" y="972"/>
                  </a:lnTo>
                  <a:lnTo>
                    <a:pt x="91" y="973"/>
                  </a:lnTo>
                  <a:lnTo>
                    <a:pt x="91" y="977"/>
                  </a:lnTo>
                  <a:lnTo>
                    <a:pt x="91" y="979"/>
                  </a:lnTo>
                  <a:lnTo>
                    <a:pt x="91" y="977"/>
                  </a:lnTo>
                  <a:lnTo>
                    <a:pt x="91" y="977"/>
                  </a:lnTo>
                  <a:lnTo>
                    <a:pt x="93" y="975"/>
                  </a:lnTo>
                  <a:lnTo>
                    <a:pt x="93" y="975"/>
                  </a:lnTo>
                  <a:lnTo>
                    <a:pt x="93" y="979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3"/>
                  </a:lnTo>
                  <a:lnTo>
                    <a:pt x="93" y="984"/>
                  </a:lnTo>
                  <a:lnTo>
                    <a:pt x="91" y="984"/>
                  </a:lnTo>
                  <a:lnTo>
                    <a:pt x="91" y="986"/>
                  </a:lnTo>
                  <a:lnTo>
                    <a:pt x="91" y="988"/>
                  </a:lnTo>
                  <a:lnTo>
                    <a:pt x="91" y="988"/>
                  </a:lnTo>
                  <a:lnTo>
                    <a:pt x="91" y="992"/>
                  </a:lnTo>
                  <a:lnTo>
                    <a:pt x="89" y="990"/>
                  </a:lnTo>
                  <a:lnTo>
                    <a:pt x="89" y="990"/>
                  </a:lnTo>
                  <a:lnTo>
                    <a:pt x="89" y="995"/>
                  </a:lnTo>
                  <a:lnTo>
                    <a:pt x="89" y="999"/>
                  </a:lnTo>
                  <a:lnTo>
                    <a:pt x="87" y="1006"/>
                  </a:lnTo>
                  <a:lnTo>
                    <a:pt x="89" y="1006"/>
                  </a:lnTo>
                  <a:lnTo>
                    <a:pt x="89" y="1006"/>
                  </a:lnTo>
                  <a:lnTo>
                    <a:pt x="89" y="1008"/>
                  </a:lnTo>
                  <a:lnTo>
                    <a:pt x="89" y="1010"/>
                  </a:lnTo>
                  <a:lnTo>
                    <a:pt x="91" y="1010"/>
                  </a:lnTo>
                  <a:lnTo>
                    <a:pt x="91" y="1010"/>
                  </a:lnTo>
                  <a:lnTo>
                    <a:pt x="91" y="1010"/>
                  </a:lnTo>
                  <a:lnTo>
                    <a:pt x="93" y="1010"/>
                  </a:lnTo>
                  <a:lnTo>
                    <a:pt x="94" y="1010"/>
                  </a:lnTo>
                  <a:lnTo>
                    <a:pt x="94" y="1011"/>
                  </a:lnTo>
                  <a:lnTo>
                    <a:pt x="94" y="1011"/>
                  </a:lnTo>
                  <a:lnTo>
                    <a:pt x="94" y="1013"/>
                  </a:lnTo>
                  <a:lnTo>
                    <a:pt x="94" y="1013"/>
                  </a:lnTo>
                  <a:lnTo>
                    <a:pt x="94" y="1015"/>
                  </a:lnTo>
                  <a:lnTo>
                    <a:pt x="94" y="1015"/>
                  </a:lnTo>
                  <a:lnTo>
                    <a:pt x="94" y="1015"/>
                  </a:lnTo>
                  <a:lnTo>
                    <a:pt x="94" y="1017"/>
                  </a:lnTo>
                  <a:lnTo>
                    <a:pt x="96" y="1019"/>
                  </a:lnTo>
                  <a:lnTo>
                    <a:pt x="96" y="1020"/>
                  </a:lnTo>
                  <a:lnTo>
                    <a:pt x="96" y="1022"/>
                  </a:lnTo>
                  <a:lnTo>
                    <a:pt x="98" y="1022"/>
                  </a:lnTo>
                  <a:lnTo>
                    <a:pt x="98" y="1022"/>
                  </a:lnTo>
                  <a:lnTo>
                    <a:pt x="98" y="1024"/>
                  </a:lnTo>
                  <a:lnTo>
                    <a:pt x="100" y="1024"/>
                  </a:lnTo>
                  <a:lnTo>
                    <a:pt x="98" y="1026"/>
                  </a:lnTo>
                  <a:lnTo>
                    <a:pt x="98" y="1028"/>
                  </a:lnTo>
                  <a:lnTo>
                    <a:pt x="98" y="1029"/>
                  </a:lnTo>
                  <a:lnTo>
                    <a:pt x="100" y="1031"/>
                  </a:lnTo>
                  <a:lnTo>
                    <a:pt x="102" y="1033"/>
                  </a:lnTo>
                  <a:lnTo>
                    <a:pt x="103" y="1035"/>
                  </a:lnTo>
                  <a:lnTo>
                    <a:pt x="103" y="1037"/>
                  </a:lnTo>
                  <a:lnTo>
                    <a:pt x="102" y="1035"/>
                  </a:lnTo>
                  <a:lnTo>
                    <a:pt x="100" y="1035"/>
                  </a:lnTo>
                  <a:lnTo>
                    <a:pt x="100" y="1035"/>
                  </a:lnTo>
                  <a:lnTo>
                    <a:pt x="102" y="1037"/>
                  </a:lnTo>
                  <a:lnTo>
                    <a:pt x="102" y="1039"/>
                  </a:lnTo>
                  <a:lnTo>
                    <a:pt x="102" y="1040"/>
                  </a:lnTo>
                  <a:lnTo>
                    <a:pt x="102" y="1040"/>
                  </a:lnTo>
                  <a:lnTo>
                    <a:pt x="102" y="1042"/>
                  </a:lnTo>
                  <a:lnTo>
                    <a:pt x="103" y="1042"/>
                  </a:lnTo>
                  <a:lnTo>
                    <a:pt x="103" y="1042"/>
                  </a:lnTo>
                  <a:lnTo>
                    <a:pt x="105" y="1048"/>
                  </a:lnTo>
                  <a:lnTo>
                    <a:pt x="107" y="1049"/>
                  </a:lnTo>
                  <a:lnTo>
                    <a:pt x="111" y="1053"/>
                  </a:lnTo>
                  <a:lnTo>
                    <a:pt x="111" y="1055"/>
                  </a:lnTo>
                  <a:lnTo>
                    <a:pt x="109" y="1053"/>
                  </a:lnTo>
                  <a:lnTo>
                    <a:pt x="105" y="1051"/>
                  </a:lnTo>
                  <a:lnTo>
                    <a:pt x="100" y="1049"/>
                  </a:lnTo>
                  <a:lnTo>
                    <a:pt x="98" y="1049"/>
                  </a:lnTo>
                  <a:lnTo>
                    <a:pt x="98" y="1049"/>
                  </a:lnTo>
                  <a:lnTo>
                    <a:pt x="98" y="1049"/>
                  </a:lnTo>
                  <a:lnTo>
                    <a:pt x="98" y="1051"/>
                  </a:lnTo>
                  <a:lnTo>
                    <a:pt x="98" y="1051"/>
                  </a:lnTo>
                  <a:lnTo>
                    <a:pt x="100" y="1055"/>
                  </a:lnTo>
                  <a:lnTo>
                    <a:pt x="102" y="1055"/>
                  </a:lnTo>
                  <a:lnTo>
                    <a:pt x="102" y="1055"/>
                  </a:lnTo>
                  <a:lnTo>
                    <a:pt x="103" y="1055"/>
                  </a:lnTo>
                  <a:lnTo>
                    <a:pt x="103" y="1055"/>
                  </a:lnTo>
                  <a:lnTo>
                    <a:pt x="103" y="1058"/>
                  </a:lnTo>
                  <a:lnTo>
                    <a:pt x="102" y="1058"/>
                  </a:lnTo>
                  <a:lnTo>
                    <a:pt x="96" y="1058"/>
                  </a:lnTo>
                  <a:lnTo>
                    <a:pt x="96" y="1058"/>
                  </a:lnTo>
                  <a:lnTo>
                    <a:pt x="100" y="1060"/>
                  </a:lnTo>
                  <a:lnTo>
                    <a:pt x="102" y="1062"/>
                  </a:lnTo>
                  <a:lnTo>
                    <a:pt x="102" y="1064"/>
                  </a:lnTo>
                  <a:lnTo>
                    <a:pt x="103" y="1066"/>
                  </a:lnTo>
                  <a:lnTo>
                    <a:pt x="102" y="1066"/>
                  </a:lnTo>
                  <a:lnTo>
                    <a:pt x="98" y="1066"/>
                  </a:lnTo>
                  <a:lnTo>
                    <a:pt x="96" y="1067"/>
                  </a:lnTo>
                  <a:lnTo>
                    <a:pt x="98" y="1067"/>
                  </a:lnTo>
                  <a:lnTo>
                    <a:pt x="100" y="1067"/>
                  </a:lnTo>
                  <a:lnTo>
                    <a:pt x="100" y="1067"/>
                  </a:lnTo>
                  <a:lnTo>
                    <a:pt x="100" y="1069"/>
                  </a:lnTo>
                  <a:lnTo>
                    <a:pt x="102" y="1069"/>
                  </a:lnTo>
                  <a:lnTo>
                    <a:pt x="102" y="1071"/>
                  </a:lnTo>
                  <a:lnTo>
                    <a:pt x="102" y="1073"/>
                  </a:lnTo>
                  <a:lnTo>
                    <a:pt x="102" y="1073"/>
                  </a:lnTo>
                  <a:lnTo>
                    <a:pt x="102" y="1073"/>
                  </a:lnTo>
                  <a:lnTo>
                    <a:pt x="102" y="1075"/>
                  </a:lnTo>
                  <a:lnTo>
                    <a:pt x="102" y="1075"/>
                  </a:lnTo>
                  <a:lnTo>
                    <a:pt x="102" y="1075"/>
                  </a:lnTo>
                  <a:lnTo>
                    <a:pt x="102" y="1076"/>
                  </a:lnTo>
                  <a:lnTo>
                    <a:pt x="102" y="1078"/>
                  </a:lnTo>
                  <a:lnTo>
                    <a:pt x="102" y="1078"/>
                  </a:lnTo>
                  <a:lnTo>
                    <a:pt x="102" y="1080"/>
                  </a:lnTo>
                  <a:lnTo>
                    <a:pt x="100" y="1080"/>
                  </a:lnTo>
                  <a:lnTo>
                    <a:pt x="100" y="1080"/>
                  </a:lnTo>
                  <a:lnTo>
                    <a:pt x="100" y="1082"/>
                  </a:lnTo>
                  <a:lnTo>
                    <a:pt x="98" y="1082"/>
                  </a:lnTo>
                  <a:lnTo>
                    <a:pt x="98" y="1084"/>
                  </a:lnTo>
                  <a:lnTo>
                    <a:pt x="102" y="1084"/>
                  </a:lnTo>
                  <a:lnTo>
                    <a:pt x="102" y="1085"/>
                  </a:lnTo>
                  <a:lnTo>
                    <a:pt x="102" y="1087"/>
                  </a:lnTo>
                  <a:lnTo>
                    <a:pt x="102" y="1087"/>
                  </a:lnTo>
                  <a:lnTo>
                    <a:pt x="100" y="1089"/>
                  </a:lnTo>
                  <a:lnTo>
                    <a:pt x="100" y="1089"/>
                  </a:lnTo>
                  <a:lnTo>
                    <a:pt x="100" y="1089"/>
                  </a:lnTo>
                  <a:lnTo>
                    <a:pt x="98" y="1089"/>
                  </a:lnTo>
                  <a:lnTo>
                    <a:pt x="98" y="1091"/>
                  </a:lnTo>
                  <a:lnTo>
                    <a:pt x="96" y="1091"/>
                  </a:lnTo>
                  <a:lnTo>
                    <a:pt x="98" y="1091"/>
                  </a:lnTo>
                  <a:lnTo>
                    <a:pt x="96" y="1093"/>
                  </a:lnTo>
                  <a:lnTo>
                    <a:pt x="96" y="1093"/>
                  </a:lnTo>
                  <a:lnTo>
                    <a:pt x="98" y="1093"/>
                  </a:lnTo>
                  <a:lnTo>
                    <a:pt x="98" y="1093"/>
                  </a:lnTo>
                  <a:lnTo>
                    <a:pt x="98" y="1093"/>
                  </a:lnTo>
                  <a:lnTo>
                    <a:pt x="96" y="1093"/>
                  </a:lnTo>
                  <a:lnTo>
                    <a:pt x="96" y="1093"/>
                  </a:lnTo>
                  <a:lnTo>
                    <a:pt x="96" y="1095"/>
                  </a:lnTo>
                  <a:lnTo>
                    <a:pt x="98" y="1095"/>
                  </a:lnTo>
                  <a:lnTo>
                    <a:pt x="98" y="1098"/>
                  </a:lnTo>
                  <a:lnTo>
                    <a:pt x="96" y="1098"/>
                  </a:lnTo>
                  <a:lnTo>
                    <a:pt x="98" y="1100"/>
                  </a:lnTo>
                  <a:lnTo>
                    <a:pt x="98" y="1102"/>
                  </a:lnTo>
                  <a:lnTo>
                    <a:pt x="98" y="1102"/>
                  </a:lnTo>
                  <a:lnTo>
                    <a:pt x="98" y="1104"/>
                  </a:lnTo>
                  <a:lnTo>
                    <a:pt x="94" y="1102"/>
                  </a:lnTo>
                  <a:lnTo>
                    <a:pt x="93" y="1102"/>
                  </a:lnTo>
                  <a:lnTo>
                    <a:pt x="94" y="1102"/>
                  </a:lnTo>
                  <a:lnTo>
                    <a:pt x="94" y="1104"/>
                  </a:lnTo>
                  <a:lnTo>
                    <a:pt x="94" y="1104"/>
                  </a:lnTo>
                  <a:lnTo>
                    <a:pt x="94" y="1104"/>
                  </a:lnTo>
                  <a:lnTo>
                    <a:pt x="94" y="1104"/>
                  </a:lnTo>
                  <a:lnTo>
                    <a:pt x="93" y="1104"/>
                  </a:lnTo>
                  <a:lnTo>
                    <a:pt x="91" y="1102"/>
                  </a:lnTo>
                  <a:lnTo>
                    <a:pt x="89" y="1102"/>
                  </a:lnTo>
                  <a:lnTo>
                    <a:pt x="89" y="1104"/>
                  </a:lnTo>
                  <a:lnTo>
                    <a:pt x="91" y="1105"/>
                  </a:lnTo>
                  <a:lnTo>
                    <a:pt x="91" y="1105"/>
                  </a:lnTo>
                  <a:lnTo>
                    <a:pt x="91" y="1105"/>
                  </a:lnTo>
                  <a:lnTo>
                    <a:pt x="91" y="1107"/>
                  </a:lnTo>
                  <a:lnTo>
                    <a:pt x="91" y="1107"/>
                  </a:lnTo>
                  <a:lnTo>
                    <a:pt x="94" y="1113"/>
                  </a:lnTo>
                  <a:lnTo>
                    <a:pt x="94" y="1113"/>
                  </a:lnTo>
                  <a:lnTo>
                    <a:pt x="94" y="1114"/>
                  </a:lnTo>
                  <a:lnTo>
                    <a:pt x="94" y="1114"/>
                  </a:lnTo>
                  <a:lnTo>
                    <a:pt x="94" y="1114"/>
                  </a:lnTo>
                  <a:lnTo>
                    <a:pt x="94" y="1114"/>
                  </a:lnTo>
                  <a:lnTo>
                    <a:pt x="96" y="1116"/>
                  </a:lnTo>
                  <a:lnTo>
                    <a:pt x="96" y="1118"/>
                  </a:lnTo>
                  <a:lnTo>
                    <a:pt x="96" y="1118"/>
                  </a:lnTo>
                  <a:lnTo>
                    <a:pt x="96" y="1118"/>
                  </a:lnTo>
                  <a:lnTo>
                    <a:pt x="94" y="1118"/>
                  </a:lnTo>
                  <a:lnTo>
                    <a:pt x="94" y="1118"/>
                  </a:lnTo>
                  <a:lnTo>
                    <a:pt x="94" y="1116"/>
                  </a:lnTo>
                  <a:lnTo>
                    <a:pt x="94" y="1118"/>
                  </a:lnTo>
                  <a:lnTo>
                    <a:pt x="93" y="1118"/>
                  </a:lnTo>
                  <a:lnTo>
                    <a:pt x="93" y="1118"/>
                  </a:lnTo>
                  <a:lnTo>
                    <a:pt x="93" y="1120"/>
                  </a:lnTo>
                  <a:lnTo>
                    <a:pt x="94" y="1120"/>
                  </a:lnTo>
                  <a:lnTo>
                    <a:pt x="94" y="1120"/>
                  </a:lnTo>
                  <a:lnTo>
                    <a:pt x="96" y="1120"/>
                  </a:lnTo>
                  <a:lnTo>
                    <a:pt x="96" y="1122"/>
                  </a:lnTo>
                  <a:lnTo>
                    <a:pt x="94" y="1122"/>
                  </a:lnTo>
                  <a:lnTo>
                    <a:pt x="94" y="1122"/>
                  </a:lnTo>
                  <a:lnTo>
                    <a:pt x="91" y="1122"/>
                  </a:lnTo>
                  <a:lnTo>
                    <a:pt x="91" y="1122"/>
                  </a:lnTo>
                  <a:lnTo>
                    <a:pt x="91" y="1123"/>
                  </a:lnTo>
                  <a:lnTo>
                    <a:pt x="91" y="1125"/>
                  </a:lnTo>
                  <a:lnTo>
                    <a:pt x="91" y="1125"/>
                  </a:lnTo>
                  <a:lnTo>
                    <a:pt x="91" y="1127"/>
                  </a:lnTo>
                  <a:lnTo>
                    <a:pt x="91" y="1127"/>
                  </a:lnTo>
                  <a:lnTo>
                    <a:pt x="93" y="1127"/>
                  </a:lnTo>
                  <a:lnTo>
                    <a:pt x="93" y="1127"/>
                  </a:lnTo>
                  <a:lnTo>
                    <a:pt x="93" y="1129"/>
                  </a:lnTo>
                  <a:lnTo>
                    <a:pt x="94" y="1129"/>
                  </a:lnTo>
                  <a:lnTo>
                    <a:pt x="93" y="1131"/>
                  </a:lnTo>
                  <a:lnTo>
                    <a:pt x="94" y="1131"/>
                  </a:lnTo>
                  <a:lnTo>
                    <a:pt x="94" y="1131"/>
                  </a:lnTo>
                  <a:lnTo>
                    <a:pt x="96" y="1132"/>
                  </a:lnTo>
                  <a:lnTo>
                    <a:pt x="94" y="1132"/>
                  </a:lnTo>
                  <a:lnTo>
                    <a:pt x="94" y="1132"/>
                  </a:lnTo>
                  <a:lnTo>
                    <a:pt x="94" y="1134"/>
                  </a:lnTo>
                  <a:lnTo>
                    <a:pt x="94" y="1134"/>
                  </a:lnTo>
                  <a:lnTo>
                    <a:pt x="96" y="1136"/>
                  </a:lnTo>
                  <a:lnTo>
                    <a:pt x="96" y="1136"/>
                  </a:lnTo>
                  <a:lnTo>
                    <a:pt x="98" y="1136"/>
                  </a:lnTo>
                  <a:lnTo>
                    <a:pt x="98" y="1136"/>
                  </a:lnTo>
                  <a:lnTo>
                    <a:pt x="96" y="1136"/>
                  </a:lnTo>
                  <a:lnTo>
                    <a:pt x="96" y="1138"/>
                  </a:lnTo>
                  <a:lnTo>
                    <a:pt x="96" y="1140"/>
                  </a:lnTo>
                  <a:lnTo>
                    <a:pt x="96" y="1140"/>
                  </a:lnTo>
                  <a:lnTo>
                    <a:pt x="96" y="1141"/>
                  </a:lnTo>
                  <a:lnTo>
                    <a:pt x="96" y="1141"/>
                  </a:lnTo>
                  <a:lnTo>
                    <a:pt x="93" y="1140"/>
                  </a:lnTo>
                  <a:lnTo>
                    <a:pt x="93" y="1141"/>
                  </a:lnTo>
                  <a:lnTo>
                    <a:pt x="93" y="1141"/>
                  </a:lnTo>
                  <a:lnTo>
                    <a:pt x="93" y="1141"/>
                  </a:lnTo>
                  <a:lnTo>
                    <a:pt x="93" y="1141"/>
                  </a:lnTo>
                  <a:lnTo>
                    <a:pt x="93" y="1143"/>
                  </a:lnTo>
                  <a:lnTo>
                    <a:pt x="94" y="1145"/>
                  </a:lnTo>
                  <a:lnTo>
                    <a:pt x="94" y="1145"/>
                  </a:lnTo>
                  <a:lnTo>
                    <a:pt x="96" y="1147"/>
                  </a:lnTo>
                  <a:lnTo>
                    <a:pt x="98" y="1149"/>
                  </a:lnTo>
                  <a:lnTo>
                    <a:pt x="98" y="1149"/>
                  </a:lnTo>
                  <a:lnTo>
                    <a:pt x="96" y="1149"/>
                  </a:lnTo>
                  <a:lnTo>
                    <a:pt x="94" y="1149"/>
                  </a:lnTo>
                  <a:lnTo>
                    <a:pt x="96" y="1150"/>
                  </a:lnTo>
                  <a:lnTo>
                    <a:pt x="96" y="1150"/>
                  </a:lnTo>
                  <a:lnTo>
                    <a:pt x="94" y="1150"/>
                  </a:lnTo>
                  <a:lnTo>
                    <a:pt x="94" y="1150"/>
                  </a:lnTo>
                  <a:lnTo>
                    <a:pt x="94" y="1150"/>
                  </a:lnTo>
                  <a:lnTo>
                    <a:pt x="96" y="1152"/>
                  </a:lnTo>
                  <a:lnTo>
                    <a:pt x="96" y="1152"/>
                  </a:lnTo>
                  <a:lnTo>
                    <a:pt x="96" y="1152"/>
                  </a:lnTo>
                  <a:lnTo>
                    <a:pt x="98" y="1152"/>
                  </a:lnTo>
                  <a:lnTo>
                    <a:pt x="98" y="1152"/>
                  </a:lnTo>
                  <a:lnTo>
                    <a:pt x="102" y="1152"/>
                  </a:lnTo>
                  <a:lnTo>
                    <a:pt x="103" y="1152"/>
                  </a:lnTo>
                  <a:lnTo>
                    <a:pt x="103" y="1154"/>
                  </a:lnTo>
                  <a:lnTo>
                    <a:pt x="102" y="1152"/>
                  </a:lnTo>
                  <a:lnTo>
                    <a:pt x="100" y="1152"/>
                  </a:lnTo>
                  <a:lnTo>
                    <a:pt x="103" y="1156"/>
                  </a:lnTo>
                  <a:lnTo>
                    <a:pt x="103" y="1160"/>
                  </a:lnTo>
                  <a:lnTo>
                    <a:pt x="102" y="1160"/>
                  </a:lnTo>
                  <a:lnTo>
                    <a:pt x="103" y="1161"/>
                  </a:lnTo>
                  <a:lnTo>
                    <a:pt x="105" y="1161"/>
                  </a:lnTo>
                  <a:lnTo>
                    <a:pt x="107" y="1160"/>
                  </a:lnTo>
                  <a:lnTo>
                    <a:pt x="107" y="1158"/>
                  </a:lnTo>
                  <a:lnTo>
                    <a:pt x="107" y="1158"/>
                  </a:lnTo>
                  <a:lnTo>
                    <a:pt x="107" y="1158"/>
                  </a:lnTo>
                  <a:lnTo>
                    <a:pt x="107" y="1156"/>
                  </a:lnTo>
                  <a:lnTo>
                    <a:pt x="107" y="1156"/>
                  </a:lnTo>
                  <a:lnTo>
                    <a:pt x="109" y="1154"/>
                  </a:lnTo>
                  <a:lnTo>
                    <a:pt x="107" y="1154"/>
                  </a:lnTo>
                  <a:lnTo>
                    <a:pt x="107" y="1152"/>
                  </a:lnTo>
                  <a:lnTo>
                    <a:pt x="109" y="1152"/>
                  </a:lnTo>
                  <a:lnTo>
                    <a:pt x="111" y="1150"/>
                  </a:lnTo>
                  <a:lnTo>
                    <a:pt x="112" y="1150"/>
                  </a:lnTo>
                  <a:lnTo>
                    <a:pt x="112" y="1149"/>
                  </a:lnTo>
                  <a:lnTo>
                    <a:pt x="116" y="1147"/>
                  </a:lnTo>
                  <a:lnTo>
                    <a:pt x="116" y="1147"/>
                  </a:lnTo>
                  <a:lnTo>
                    <a:pt x="116" y="1149"/>
                  </a:lnTo>
                  <a:lnTo>
                    <a:pt x="116" y="1150"/>
                  </a:lnTo>
                  <a:lnTo>
                    <a:pt x="116" y="1150"/>
                  </a:lnTo>
                  <a:lnTo>
                    <a:pt x="116" y="1150"/>
                  </a:lnTo>
                  <a:lnTo>
                    <a:pt x="114" y="1152"/>
                  </a:lnTo>
                  <a:lnTo>
                    <a:pt x="114" y="1152"/>
                  </a:lnTo>
                  <a:lnTo>
                    <a:pt x="114" y="1154"/>
                  </a:lnTo>
                  <a:lnTo>
                    <a:pt x="114" y="1158"/>
                  </a:lnTo>
                  <a:lnTo>
                    <a:pt x="114" y="1160"/>
                  </a:lnTo>
                  <a:lnTo>
                    <a:pt x="114" y="1161"/>
                  </a:lnTo>
                  <a:lnTo>
                    <a:pt x="114" y="1161"/>
                  </a:lnTo>
                  <a:lnTo>
                    <a:pt x="116" y="1161"/>
                  </a:lnTo>
                  <a:lnTo>
                    <a:pt x="118" y="1161"/>
                  </a:lnTo>
                  <a:lnTo>
                    <a:pt x="116" y="1160"/>
                  </a:lnTo>
                  <a:lnTo>
                    <a:pt x="116" y="1158"/>
                  </a:lnTo>
                  <a:lnTo>
                    <a:pt x="118" y="1158"/>
                  </a:lnTo>
                  <a:lnTo>
                    <a:pt x="118" y="1156"/>
                  </a:lnTo>
                  <a:lnTo>
                    <a:pt x="120" y="1156"/>
                  </a:lnTo>
                  <a:lnTo>
                    <a:pt x="121" y="1158"/>
                  </a:lnTo>
                  <a:lnTo>
                    <a:pt x="121" y="1158"/>
                  </a:lnTo>
                  <a:lnTo>
                    <a:pt x="121" y="1158"/>
                  </a:lnTo>
                  <a:lnTo>
                    <a:pt x="121" y="1160"/>
                  </a:lnTo>
                  <a:lnTo>
                    <a:pt x="121" y="1160"/>
                  </a:lnTo>
                  <a:lnTo>
                    <a:pt x="123" y="1160"/>
                  </a:lnTo>
                  <a:lnTo>
                    <a:pt x="123" y="1161"/>
                  </a:lnTo>
                  <a:lnTo>
                    <a:pt x="123" y="1161"/>
                  </a:lnTo>
                  <a:lnTo>
                    <a:pt x="123" y="1161"/>
                  </a:lnTo>
                  <a:lnTo>
                    <a:pt x="125" y="1163"/>
                  </a:lnTo>
                  <a:lnTo>
                    <a:pt x="125" y="1163"/>
                  </a:lnTo>
                  <a:lnTo>
                    <a:pt x="125" y="1163"/>
                  </a:lnTo>
                  <a:lnTo>
                    <a:pt x="125" y="1163"/>
                  </a:lnTo>
                  <a:lnTo>
                    <a:pt x="125" y="1163"/>
                  </a:lnTo>
                  <a:lnTo>
                    <a:pt x="125" y="1163"/>
                  </a:lnTo>
                  <a:lnTo>
                    <a:pt x="125" y="1163"/>
                  </a:lnTo>
                  <a:lnTo>
                    <a:pt x="127" y="1165"/>
                  </a:lnTo>
                  <a:lnTo>
                    <a:pt x="127" y="1167"/>
                  </a:lnTo>
                  <a:lnTo>
                    <a:pt x="129" y="1165"/>
                  </a:lnTo>
                  <a:lnTo>
                    <a:pt x="131" y="1163"/>
                  </a:lnTo>
                  <a:lnTo>
                    <a:pt x="131" y="1163"/>
                  </a:lnTo>
                  <a:lnTo>
                    <a:pt x="131" y="1165"/>
                  </a:lnTo>
                  <a:lnTo>
                    <a:pt x="131" y="1167"/>
                  </a:lnTo>
                  <a:lnTo>
                    <a:pt x="132" y="1167"/>
                  </a:lnTo>
                  <a:lnTo>
                    <a:pt x="134" y="1167"/>
                  </a:lnTo>
                  <a:lnTo>
                    <a:pt x="138" y="1169"/>
                  </a:lnTo>
                  <a:lnTo>
                    <a:pt x="138" y="1170"/>
                  </a:lnTo>
                  <a:lnTo>
                    <a:pt x="140" y="1172"/>
                  </a:lnTo>
                  <a:lnTo>
                    <a:pt x="141" y="1172"/>
                  </a:lnTo>
                  <a:lnTo>
                    <a:pt x="149" y="1169"/>
                  </a:lnTo>
                  <a:lnTo>
                    <a:pt x="149" y="1172"/>
                  </a:lnTo>
                  <a:lnTo>
                    <a:pt x="152" y="1172"/>
                  </a:lnTo>
                  <a:lnTo>
                    <a:pt x="154" y="1172"/>
                  </a:lnTo>
                  <a:lnTo>
                    <a:pt x="156" y="1170"/>
                  </a:lnTo>
                  <a:lnTo>
                    <a:pt x="156" y="1170"/>
                  </a:lnTo>
                  <a:lnTo>
                    <a:pt x="156" y="1172"/>
                  </a:lnTo>
                  <a:lnTo>
                    <a:pt x="154" y="1174"/>
                  </a:lnTo>
                  <a:lnTo>
                    <a:pt x="152" y="1176"/>
                  </a:lnTo>
                  <a:lnTo>
                    <a:pt x="152" y="1178"/>
                  </a:lnTo>
                  <a:lnTo>
                    <a:pt x="150" y="1179"/>
                  </a:lnTo>
                  <a:lnTo>
                    <a:pt x="149" y="1181"/>
                  </a:lnTo>
                  <a:lnTo>
                    <a:pt x="149" y="1181"/>
                  </a:lnTo>
                  <a:lnTo>
                    <a:pt x="149" y="1183"/>
                  </a:lnTo>
                  <a:lnTo>
                    <a:pt x="147" y="1183"/>
                  </a:lnTo>
                  <a:lnTo>
                    <a:pt x="147" y="1183"/>
                  </a:lnTo>
                  <a:lnTo>
                    <a:pt x="147" y="1185"/>
                  </a:lnTo>
                  <a:lnTo>
                    <a:pt x="147" y="1185"/>
                  </a:lnTo>
                  <a:lnTo>
                    <a:pt x="150" y="1185"/>
                  </a:lnTo>
                  <a:lnTo>
                    <a:pt x="150" y="1185"/>
                  </a:lnTo>
                  <a:lnTo>
                    <a:pt x="154" y="1183"/>
                  </a:lnTo>
                  <a:lnTo>
                    <a:pt x="154" y="1183"/>
                  </a:lnTo>
                  <a:lnTo>
                    <a:pt x="158" y="1181"/>
                  </a:lnTo>
                  <a:lnTo>
                    <a:pt x="154" y="1183"/>
                  </a:lnTo>
                  <a:lnTo>
                    <a:pt x="154" y="1183"/>
                  </a:lnTo>
                  <a:lnTo>
                    <a:pt x="154" y="1185"/>
                  </a:lnTo>
                  <a:lnTo>
                    <a:pt x="154" y="1187"/>
                  </a:lnTo>
                  <a:lnTo>
                    <a:pt x="154" y="1187"/>
                  </a:lnTo>
                  <a:lnTo>
                    <a:pt x="152" y="1188"/>
                  </a:lnTo>
                  <a:lnTo>
                    <a:pt x="150" y="1190"/>
                  </a:lnTo>
                  <a:lnTo>
                    <a:pt x="152" y="1188"/>
                  </a:lnTo>
                  <a:lnTo>
                    <a:pt x="156" y="1188"/>
                  </a:lnTo>
                  <a:lnTo>
                    <a:pt x="161" y="1187"/>
                  </a:lnTo>
                  <a:lnTo>
                    <a:pt x="168" y="1179"/>
                  </a:lnTo>
                  <a:lnTo>
                    <a:pt x="172" y="1178"/>
                  </a:lnTo>
                  <a:lnTo>
                    <a:pt x="174" y="1179"/>
                  </a:lnTo>
                  <a:lnTo>
                    <a:pt x="176" y="1178"/>
                  </a:lnTo>
                  <a:lnTo>
                    <a:pt x="176" y="1176"/>
                  </a:lnTo>
                  <a:lnTo>
                    <a:pt x="177" y="1174"/>
                  </a:lnTo>
                  <a:lnTo>
                    <a:pt x="179" y="1174"/>
                  </a:lnTo>
                  <a:lnTo>
                    <a:pt x="179" y="1176"/>
                  </a:lnTo>
                  <a:lnTo>
                    <a:pt x="177" y="1176"/>
                  </a:lnTo>
                  <a:lnTo>
                    <a:pt x="177" y="1178"/>
                  </a:lnTo>
                  <a:lnTo>
                    <a:pt x="176" y="1178"/>
                  </a:lnTo>
                  <a:lnTo>
                    <a:pt x="176" y="1179"/>
                  </a:lnTo>
                  <a:lnTo>
                    <a:pt x="176" y="1181"/>
                  </a:lnTo>
                  <a:lnTo>
                    <a:pt x="176" y="1181"/>
                  </a:lnTo>
                  <a:lnTo>
                    <a:pt x="172" y="1185"/>
                  </a:lnTo>
                  <a:lnTo>
                    <a:pt x="170" y="1187"/>
                  </a:lnTo>
                  <a:lnTo>
                    <a:pt x="168" y="1192"/>
                  </a:lnTo>
                  <a:lnTo>
                    <a:pt x="168" y="1192"/>
                  </a:lnTo>
                  <a:lnTo>
                    <a:pt x="168" y="1192"/>
                  </a:lnTo>
                  <a:lnTo>
                    <a:pt x="168" y="1194"/>
                  </a:lnTo>
                  <a:lnTo>
                    <a:pt x="168" y="1196"/>
                  </a:lnTo>
                  <a:lnTo>
                    <a:pt x="168" y="1196"/>
                  </a:lnTo>
                  <a:lnTo>
                    <a:pt x="170" y="1197"/>
                  </a:lnTo>
                  <a:lnTo>
                    <a:pt x="172" y="1197"/>
                  </a:lnTo>
                  <a:lnTo>
                    <a:pt x="172" y="1197"/>
                  </a:lnTo>
                  <a:lnTo>
                    <a:pt x="174" y="1199"/>
                  </a:lnTo>
                  <a:lnTo>
                    <a:pt x="174" y="1201"/>
                  </a:lnTo>
                  <a:lnTo>
                    <a:pt x="174" y="1199"/>
                  </a:lnTo>
                  <a:lnTo>
                    <a:pt x="174" y="1199"/>
                  </a:lnTo>
                  <a:lnTo>
                    <a:pt x="176" y="1199"/>
                  </a:lnTo>
                  <a:lnTo>
                    <a:pt x="176" y="1199"/>
                  </a:lnTo>
                  <a:lnTo>
                    <a:pt x="176" y="1197"/>
                  </a:lnTo>
                  <a:lnTo>
                    <a:pt x="176" y="1196"/>
                  </a:lnTo>
                  <a:lnTo>
                    <a:pt x="177" y="1197"/>
                  </a:lnTo>
                  <a:lnTo>
                    <a:pt x="176" y="1199"/>
                  </a:lnTo>
                  <a:lnTo>
                    <a:pt x="174" y="1201"/>
                  </a:lnTo>
                  <a:lnTo>
                    <a:pt x="174" y="1203"/>
                  </a:lnTo>
                  <a:lnTo>
                    <a:pt x="174" y="1203"/>
                  </a:lnTo>
                  <a:lnTo>
                    <a:pt x="176" y="1205"/>
                  </a:lnTo>
                  <a:lnTo>
                    <a:pt x="176" y="1205"/>
                  </a:lnTo>
                  <a:lnTo>
                    <a:pt x="177" y="1206"/>
                  </a:lnTo>
                  <a:lnTo>
                    <a:pt x="179" y="1206"/>
                  </a:lnTo>
                  <a:lnTo>
                    <a:pt x="185" y="1205"/>
                  </a:lnTo>
                  <a:lnTo>
                    <a:pt x="188" y="1206"/>
                  </a:lnTo>
                  <a:lnTo>
                    <a:pt x="186" y="1206"/>
                  </a:lnTo>
                  <a:lnTo>
                    <a:pt x="185" y="1208"/>
                  </a:lnTo>
                  <a:lnTo>
                    <a:pt x="185" y="1210"/>
                  </a:lnTo>
                  <a:lnTo>
                    <a:pt x="181" y="1212"/>
                  </a:lnTo>
                  <a:lnTo>
                    <a:pt x="181" y="1212"/>
                  </a:lnTo>
                  <a:lnTo>
                    <a:pt x="179" y="1212"/>
                  </a:lnTo>
                  <a:lnTo>
                    <a:pt x="179" y="1216"/>
                  </a:lnTo>
                  <a:lnTo>
                    <a:pt x="179" y="1217"/>
                  </a:lnTo>
                  <a:lnTo>
                    <a:pt x="179" y="1217"/>
                  </a:lnTo>
                  <a:lnTo>
                    <a:pt x="181" y="1217"/>
                  </a:lnTo>
                  <a:lnTo>
                    <a:pt x="181" y="1217"/>
                  </a:lnTo>
                  <a:lnTo>
                    <a:pt x="181" y="1216"/>
                  </a:lnTo>
                  <a:lnTo>
                    <a:pt x="183" y="1216"/>
                  </a:lnTo>
                  <a:lnTo>
                    <a:pt x="183" y="1216"/>
                  </a:lnTo>
                  <a:lnTo>
                    <a:pt x="183" y="1216"/>
                  </a:lnTo>
                  <a:lnTo>
                    <a:pt x="185" y="1216"/>
                  </a:lnTo>
                  <a:lnTo>
                    <a:pt x="185" y="1216"/>
                  </a:lnTo>
                  <a:lnTo>
                    <a:pt x="185" y="1216"/>
                  </a:lnTo>
                  <a:lnTo>
                    <a:pt x="185" y="1216"/>
                  </a:lnTo>
                  <a:lnTo>
                    <a:pt x="185" y="1217"/>
                  </a:lnTo>
                  <a:lnTo>
                    <a:pt x="185" y="1217"/>
                  </a:lnTo>
                  <a:lnTo>
                    <a:pt x="186" y="1217"/>
                  </a:lnTo>
                  <a:lnTo>
                    <a:pt x="186" y="1216"/>
                  </a:lnTo>
                  <a:lnTo>
                    <a:pt x="190" y="1208"/>
                  </a:lnTo>
                  <a:lnTo>
                    <a:pt x="192" y="1206"/>
                  </a:lnTo>
                  <a:lnTo>
                    <a:pt x="190" y="1208"/>
                  </a:lnTo>
                  <a:lnTo>
                    <a:pt x="190" y="1212"/>
                  </a:lnTo>
                  <a:lnTo>
                    <a:pt x="190" y="1214"/>
                  </a:lnTo>
                  <a:lnTo>
                    <a:pt x="188" y="1216"/>
                  </a:lnTo>
                  <a:lnTo>
                    <a:pt x="186" y="1217"/>
                  </a:lnTo>
                  <a:lnTo>
                    <a:pt x="186" y="1217"/>
                  </a:lnTo>
                  <a:lnTo>
                    <a:pt x="185" y="1219"/>
                  </a:lnTo>
                  <a:lnTo>
                    <a:pt x="183" y="1217"/>
                  </a:lnTo>
                  <a:lnTo>
                    <a:pt x="183" y="1217"/>
                  </a:lnTo>
                  <a:lnTo>
                    <a:pt x="183" y="1219"/>
                  </a:lnTo>
                  <a:lnTo>
                    <a:pt x="183" y="1221"/>
                  </a:lnTo>
                  <a:lnTo>
                    <a:pt x="181" y="1221"/>
                  </a:lnTo>
                  <a:lnTo>
                    <a:pt x="174" y="1225"/>
                  </a:lnTo>
                  <a:lnTo>
                    <a:pt x="172" y="1225"/>
                  </a:lnTo>
                  <a:lnTo>
                    <a:pt x="172" y="1226"/>
                  </a:lnTo>
                  <a:lnTo>
                    <a:pt x="170" y="1228"/>
                  </a:lnTo>
                  <a:lnTo>
                    <a:pt x="168" y="1228"/>
                  </a:lnTo>
                  <a:lnTo>
                    <a:pt x="170" y="1228"/>
                  </a:lnTo>
                  <a:lnTo>
                    <a:pt x="172" y="1228"/>
                  </a:lnTo>
                  <a:lnTo>
                    <a:pt x="174" y="1228"/>
                  </a:lnTo>
                  <a:lnTo>
                    <a:pt x="176" y="1226"/>
                  </a:lnTo>
                  <a:lnTo>
                    <a:pt x="177" y="1228"/>
                  </a:lnTo>
                  <a:lnTo>
                    <a:pt x="179" y="1226"/>
                  </a:lnTo>
                  <a:lnTo>
                    <a:pt x="186" y="1226"/>
                  </a:lnTo>
                  <a:lnTo>
                    <a:pt x="186" y="1225"/>
                  </a:lnTo>
                  <a:lnTo>
                    <a:pt x="186" y="1225"/>
                  </a:lnTo>
                  <a:lnTo>
                    <a:pt x="186" y="1223"/>
                  </a:lnTo>
                  <a:lnTo>
                    <a:pt x="186" y="1221"/>
                  </a:lnTo>
                  <a:lnTo>
                    <a:pt x="186" y="1219"/>
                  </a:lnTo>
                  <a:lnTo>
                    <a:pt x="190" y="1217"/>
                  </a:lnTo>
                  <a:lnTo>
                    <a:pt x="194" y="1216"/>
                  </a:lnTo>
                  <a:lnTo>
                    <a:pt x="194" y="1212"/>
                  </a:lnTo>
                  <a:lnTo>
                    <a:pt x="196" y="1212"/>
                  </a:lnTo>
                  <a:lnTo>
                    <a:pt x="196" y="1210"/>
                  </a:lnTo>
                  <a:lnTo>
                    <a:pt x="197" y="1210"/>
                  </a:lnTo>
                  <a:lnTo>
                    <a:pt x="197" y="1210"/>
                  </a:lnTo>
                  <a:lnTo>
                    <a:pt x="197" y="1208"/>
                  </a:lnTo>
                  <a:lnTo>
                    <a:pt x="197" y="1206"/>
                  </a:lnTo>
                  <a:lnTo>
                    <a:pt x="197" y="1206"/>
                  </a:lnTo>
                  <a:lnTo>
                    <a:pt x="199" y="1206"/>
                  </a:lnTo>
                  <a:lnTo>
                    <a:pt x="199" y="1205"/>
                  </a:lnTo>
                  <a:lnTo>
                    <a:pt x="199" y="1205"/>
                  </a:lnTo>
                  <a:lnTo>
                    <a:pt x="199" y="1203"/>
                  </a:lnTo>
                  <a:lnTo>
                    <a:pt x="201" y="1203"/>
                  </a:lnTo>
                  <a:lnTo>
                    <a:pt x="203" y="1203"/>
                  </a:lnTo>
                  <a:lnTo>
                    <a:pt x="201" y="1203"/>
                  </a:lnTo>
                  <a:lnTo>
                    <a:pt x="201" y="1205"/>
                  </a:lnTo>
                  <a:lnTo>
                    <a:pt x="201" y="1205"/>
                  </a:lnTo>
                  <a:lnTo>
                    <a:pt x="201" y="1206"/>
                  </a:lnTo>
                  <a:lnTo>
                    <a:pt x="201" y="1206"/>
                  </a:lnTo>
                  <a:lnTo>
                    <a:pt x="201" y="1208"/>
                  </a:lnTo>
                  <a:lnTo>
                    <a:pt x="199" y="1208"/>
                  </a:lnTo>
                  <a:lnTo>
                    <a:pt x="199" y="1208"/>
                  </a:lnTo>
                  <a:lnTo>
                    <a:pt x="197" y="1212"/>
                  </a:lnTo>
                  <a:lnTo>
                    <a:pt x="196" y="1214"/>
                  </a:lnTo>
                  <a:lnTo>
                    <a:pt x="197" y="1214"/>
                  </a:lnTo>
                  <a:lnTo>
                    <a:pt x="199" y="1214"/>
                  </a:lnTo>
                  <a:lnTo>
                    <a:pt x="203" y="1212"/>
                  </a:lnTo>
                  <a:lnTo>
                    <a:pt x="203" y="1212"/>
                  </a:lnTo>
                  <a:lnTo>
                    <a:pt x="205" y="1212"/>
                  </a:lnTo>
                  <a:lnTo>
                    <a:pt x="205" y="1214"/>
                  </a:lnTo>
                  <a:lnTo>
                    <a:pt x="205" y="1214"/>
                  </a:lnTo>
                  <a:lnTo>
                    <a:pt x="214" y="1214"/>
                  </a:lnTo>
                  <a:lnTo>
                    <a:pt x="215" y="1214"/>
                  </a:lnTo>
                  <a:lnTo>
                    <a:pt x="219" y="1210"/>
                  </a:lnTo>
                  <a:lnTo>
                    <a:pt x="221" y="1210"/>
                  </a:lnTo>
                  <a:lnTo>
                    <a:pt x="223" y="1210"/>
                  </a:lnTo>
                  <a:lnTo>
                    <a:pt x="223" y="1208"/>
                  </a:lnTo>
                  <a:lnTo>
                    <a:pt x="224" y="1208"/>
                  </a:lnTo>
                  <a:lnTo>
                    <a:pt x="224" y="1206"/>
                  </a:lnTo>
                  <a:lnTo>
                    <a:pt x="224" y="1206"/>
                  </a:lnTo>
                  <a:lnTo>
                    <a:pt x="226" y="1206"/>
                  </a:lnTo>
                  <a:lnTo>
                    <a:pt x="226" y="1206"/>
                  </a:lnTo>
                  <a:lnTo>
                    <a:pt x="224" y="1208"/>
                  </a:lnTo>
                  <a:lnTo>
                    <a:pt x="224" y="1208"/>
                  </a:lnTo>
                  <a:lnTo>
                    <a:pt x="226" y="1208"/>
                  </a:lnTo>
                  <a:lnTo>
                    <a:pt x="226" y="1206"/>
                  </a:lnTo>
                  <a:lnTo>
                    <a:pt x="228" y="1208"/>
                  </a:lnTo>
                  <a:lnTo>
                    <a:pt x="228" y="1208"/>
                  </a:lnTo>
                  <a:lnTo>
                    <a:pt x="230" y="1206"/>
                  </a:lnTo>
                  <a:lnTo>
                    <a:pt x="230" y="1206"/>
                  </a:lnTo>
                  <a:lnTo>
                    <a:pt x="232" y="1206"/>
                  </a:lnTo>
                  <a:lnTo>
                    <a:pt x="232" y="1208"/>
                  </a:lnTo>
                  <a:lnTo>
                    <a:pt x="233" y="1208"/>
                  </a:lnTo>
                  <a:lnTo>
                    <a:pt x="233" y="1206"/>
                  </a:lnTo>
                  <a:lnTo>
                    <a:pt x="233" y="1206"/>
                  </a:lnTo>
                  <a:lnTo>
                    <a:pt x="233" y="1205"/>
                  </a:lnTo>
                  <a:lnTo>
                    <a:pt x="233" y="1205"/>
                  </a:lnTo>
                  <a:lnTo>
                    <a:pt x="235" y="1205"/>
                  </a:lnTo>
                  <a:lnTo>
                    <a:pt x="237" y="1206"/>
                  </a:lnTo>
                  <a:lnTo>
                    <a:pt x="237" y="1206"/>
                  </a:lnTo>
                  <a:lnTo>
                    <a:pt x="237" y="1206"/>
                  </a:lnTo>
                  <a:lnTo>
                    <a:pt x="239" y="1205"/>
                  </a:lnTo>
                  <a:lnTo>
                    <a:pt x="239" y="1205"/>
                  </a:lnTo>
                  <a:lnTo>
                    <a:pt x="239" y="1203"/>
                  </a:lnTo>
                  <a:lnTo>
                    <a:pt x="241" y="1203"/>
                  </a:lnTo>
                  <a:lnTo>
                    <a:pt x="242" y="1203"/>
                  </a:lnTo>
                  <a:lnTo>
                    <a:pt x="242" y="1203"/>
                  </a:lnTo>
                  <a:lnTo>
                    <a:pt x="242" y="1205"/>
                  </a:lnTo>
                  <a:lnTo>
                    <a:pt x="242" y="1205"/>
                  </a:lnTo>
                  <a:lnTo>
                    <a:pt x="242" y="1206"/>
                  </a:lnTo>
                  <a:lnTo>
                    <a:pt x="242" y="1206"/>
                  </a:lnTo>
                  <a:lnTo>
                    <a:pt x="241" y="1208"/>
                  </a:lnTo>
                  <a:lnTo>
                    <a:pt x="241" y="1208"/>
                  </a:lnTo>
                  <a:lnTo>
                    <a:pt x="241" y="1210"/>
                  </a:lnTo>
                  <a:lnTo>
                    <a:pt x="241" y="1210"/>
                  </a:lnTo>
                  <a:lnTo>
                    <a:pt x="242" y="1208"/>
                  </a:lnTo>
                  <a:lnTo>
                    <a:pt x="242" y="1208"/>
                  </a:lnTo>
                  <a:lnTo>
                    <a:pt x="244" y="1210"/>
                  </a:lnTo>
                  <a:lnTo>
                    <a:pt x="246" y="1206"/>
                  </a:lnTo>
                  <a:lnTo>
                    <a:pt x="248" y="1205"/>
                  </a:lnTo>
                  <a:lnTo>
                    <a:pt x="248" y="1205"/>
                  </a:lnTo>
                  <a:lnTo>
                    <a:pt x="248" y="1206"/>
                  </a:lnTo>
                  <a:lnTo>
                    <a:pt x="246" y="1210"/>
                  </a:lnTo>
                  <a:lnTo>
                    <a:pt x="246" y="1210"/>
                  </a:lnTo>
                  <a:lnTo>
                    <a:pt x="246" y="1210"/>
                  </a:lnTo>
                  <a:lnTo>
                    <a:pt x="248" y="1210"/>
                  </a:lnTo>
                  <a:lnTo>
                    <a:pt x="250" y="1210"/>
                  </a:lnTo>
                  <a:lnTo>
                    <a:pt x="252" y="1206"/>
                  </a:lnTo>
                  <a:lnTo>
                    <a:pt x="255" y="1205"/>
                  </a:lnTo>
                  <a:lnTo>
                    <a:pt x="255" y="1203"/>
                  </a:lnTo>
                  <a:lnTo>
                    <a:pt x="253" y="1203"/>
                  </a:lnTo>
                  <a:lnTo>
                    <a:pt x="255" y="1201"/>
                  </a:lnTo>
                  <a:lnTo>
                    <a:pt x="255" y="1201"/>
                  </a:lnTo>
                  <a:lnTo>
                    <a:pt x="255" y="1199"/>
                  </a:lnTo>
                  <a:lnTo>
                    <a:pt x="252" y="1201"/>
                  </a:lnTo>
                  <a:lnTo>
                    <a:pt x="252" y="1199"/>
                  </a:lnTo>
                  <a:lnTo>
                    <a:pt x="253" y="1199"/>
                  </a:lnTo>
                  <a:lnTo>
                    <a:pt x="253" y="1199"/>
                  </a:lnTo>
                  <a:lnTo>
                    <a:pt x="253" y="1197"/>
                  </a:lnTo>
                  <a:lnTo>
                    <a:pt x="255" y="1197"/>
                  </a:lnTo>
                  <a:lnTo>
                    <a:pt x="255" y="1197"/>
                  </a:lnTo>
                  <a:lnTo>
                    <a:pt x="253" y="1196"/>
                  </a:lnTo>
                  <a:lnTo>
                    <a:pt x="253" y="1196"/>
                  </a:lnTo>
                  <a:lnTo>
                    <a:pt x="252" y="1194"/>
                  </a:lnTo>
                  <a:lnTo>
                    <a:pt x="252" y="1194"/>
                  </a:lnTo>
                  <a:lnTo>
                    <a:pt x="253" y="1194"/>
                  </a:lnTo>
                  <a:lnTo>
                    <a:pt x="257" y="1196"/>
                  </a:lnTo>
                  <a:lnTo>
                    <a:pt x="257" y="1197"/>
                  </a:lnTo>
                  <a:lnTo>
                    <a:pt x="257" y="1197"/>
                  </a:lnTo>
                  <a:lnTo>
                    <a:pt x="257" y="1199"/>
                  </a:lnTo>
                  <a:lnTo>
                    <a:pt x="257" y="1199"/>
                  </a:lnTo>
                  <a:lnTo>
                    <a:pt x="259" y="1199"/>
                  </a:lnTo>
                  <a:lnTo>
                    <a:pt x="259" y="1199"/>
                  </a:lnTo>
                  <a:lnTo>
                    <a:pt x="259" y="1197"/>
                  </a:lnTo>
                  <a:lnTo>
                    <a:pt x="259" y="1197"/>
                  </a:lnTo>
                  <a:lnTo>
                    <a:pt x="259" y="1197"/>
                  </a:lnTo>
                  <a:lnTo>
                    <a:pt x="259" y="1197"/>
                  </a:lnTo>
                  <a:lnTo>
                    <a:pt x="261" y="1196"/>
                  </a:lnTo>
                  <a:lnTo>
                    <a:pt x="264" y="1196"/>
                  </a:lnTo>
                  <a:lnTo>
                    <a:pt x="264" y="1196"/>
                  </a:lnTo>
                  <a:lnTo>
                    <a:pt x="266" y="1194"/>
                  </a:lnTo>
                  <a:lnTo>
                    <a:pt x="266" y="1194"/>
                  </a:lnTo>
                  <a:lnTo>
                    <a:pt x="264" y="1190"/>
                  </a:lnTo>
                  <a:lnTo>
                    <a:pt x="266" y="1190"/>
                  </a:lnTo>
                  <a:lnTo>
                    <a:pt x="268" y="1192"/>
                  </a:lnTo>
                  <a:lnTo>
                    <a:pt x="268" y="1194"/>
                  </a:lnTo>
                  <a:lnTo>
                    <a:pt x="266" y="1194"/>
                  </a:lnTo>
                  <a:lnTo>
                    <a:pt x="268" y="1196"/>
                  </a:lnTo>
                  <a:lnTo>
                    <a:pt x="268" y="1196"/>
                  </a:lnTo>
                  <a:lnTo>
                    <a:pt x="271" y="1196"/>
                  </a:lnTo>
                  <a:lnTo>
                    <a:pt x="273" y="1194"/>
                  </a:lnTo>
                  <a:lnTo>
                    <a:pt x="273" y="1190"/>
                  </a:lnTo>
                  <a:lnTo>
                    <a:pt x="275" y="1188"/>
                  </a:lnTo>
                  <a:lnTo>
                    <a:pt x="275" y="1188"/>
                  </a:lnTo>
                  <a:lnTo>
                    <a:pt x="277" y="1190"/>
                  </a:lnTo>
                  <a:lnTo>
                    <a:pt x="275" y="1192"/>
                  </a:lnTo>
                  <a:lnTo>
                    <a:pt x="275" y="1192"/>
                  </a:lnTo>
                  <a:lnTo>
                    <a:pt x="275" y="1194"/>
                  </a:lnTo>
                  <a:lnTo>
                    <a:pt x="275" y="1194"/>
                  </a:lnTo>
                  <a:lnTo>
                    <a:pt x="277" y="1196"/>
                  </a:lnTo>
                  <a:lnTo>
                    <a:pt x="277" y="1194"/>
                  </a:lnTo>
                  <a:lnTo>
                    <a:pt x="279" y="1194"/>
                  </a:lnTo>
                  <a:lnTo>
                    <a:pt x="279" y="1194"/>
                  </a:lnTo>
                  <a:lnTo>
                    <a:pt x="277" y="1192"/>
                  </a:lnTo>
                  <a:lnTo>
                    <a:pt x="277" y="1192"/>
                  </a:lnTo>
                  <a:lnTo>
                    <a:pt x="280" y="1190"/>
                  </a:lnTo>
                  <a:lnTo>
                    <a:pt x="280" y="1190"/>
                  </a:lnTo>
                  <a:lnTo>
                    <a:pt x="280" y="1192"/>
                  </a:lnTo>
                  <a:lnTo>
                    <a:pt x="279" y="1192"/>
                  </a:lnTo>
                  <a:lnTo>
                    <a:pt x="280" y="1192"/>
                  </a:lnTo>
                  <a:lnTo>
                    <a:pt x="284" y="1192"/>
                  </a:lnTo>
                  <a:lnTo>
                    <a:pt x="284" y="1190"/>
                  </a:lnTo>
                  <a:lnTo>
                    <a:pt x="284" y="1190"/>
                  </a:lnTo>
                  <a:lnTo>
                    <a:pt x="284" y="1190"/>
                  </a:lnTo>
                  <a:lnTo>
                    <a:pt x="286" y="1190"/>
                  </a:lnTo>
                  <a:lnTo>
                    <a:pt x="284" y="1188"/>
                  </a:lnTo>
                  <a:lnTo>
                    <a:pt x="282" y="1187"/>
                  </a:lnTo>
                  <a:lnTo>
                    <a:pt x="282" y="1187"/>
                  </a:lnTo>
                  <a:lnTo>
                    <a:pt x="284" y="1187"/>
                  </a:lnTo>
                  <a:lnTo>
                    <a:pt x="284" y="1187"/>
                  </a:lnTo>
                  <a:lnTo>
                    <a:pt x="284" y="1187"/>
                  </a:lnTo>
                  <a:lnTo>
                    <a:pt x="284" y="1187"/>
                  </a:lnTo>
                  <a:lnTo>
                    <a:pt x="284" y="1187"/>
                  </a:lnTo>
                  <a:lnTo>
                    <a:pt x="284" y="1185"/>
                  </a:lnTo>
                  <a:lnTo>
                    <a:pt x="284" y="1185"/>
                  </a:lnTo>
                  <a:lnTo>
                    <a:pt x="289" y="1185"/>
                  </a:lnTo>
                  <a:lnTo>
                    <a:pt x="291" y="1185"/>
                  </a:lnTo>
                  <a:lnTo>
                    <a:pt x="291" y="1185"/>
                  </a:lnTo>
                  <a:lnTo>
                    <a:pt x="291" y="1183"/>
                  </a:lnTo>
                  <a:lnTo>
                    <a:pt x="291" y="1183"/>
                  </a:lnTo>
                  <a:lnTo>
                    <a:pt x="293" y="1183"/>
                  </a:lnTo>
                  <a:lnTo>
                    <a:pt x="293" y="1183"/>
                  </a:lnTo>
                  <a:lnTo>
                    <a:pt x="293" y="1185"/>
                  </a:lnTo>
                  <a:lnTo>
                    <a:pt x="300" y="1185"/>
                  </a:lnTo>
                  <a:lnTo>
                    <a:pt x="300" y="1185"/>
                  </a:lnTo>
                  <a:lnTo>
                    <a:pt x="300" y="1185"/>
                  </a:lnTo>
                  <a:lnTo>
                    <a:pt x="300" y="1183"/>
                  </a:lnTo>
                  <a:lnTo>
                    <a:pt x="302" y="1183"/>
                  </a:lnTo>
                  <a:lnTo>
                    <a:pt x="302" y="1183"/>
                  </a:lnTo>
                  <a:lnTo>
                    <a:pt x="302" y="1181"/>
                  </a:lnTo>
                  <a:lnTo>
                    <a:pt x="302" y="1181"/>
                  </a:lnTo>
                  <a:lnTo>
                    <a:pt x="302" y="1179"/>
                  </a:lnTo>
                  <a:lnTo>
                    <a:pt x="302" y="1178"/>
                  </a:lnTo>
                  <a:lnTo>
                    <a:pt x="300" y="1178"/>
                  </a:lnTo>
                  <a:lnTo>
                    <a:pt x="300" y="1178"/>
                  </a:lnTo>
                  <a:lnTo>
                    <a:pt x="306" y="1176"/>
                  </a:lnTo>
                  <a:lnTo>
                    <a:pt x="306" y="1176"/>
                  </a:lnTo>
                  <a:lnTo>
                    <a:pt x="307" y="1174"/>
                  </a:lnTo>
                  <a:lnTo>
                    <a:pt x="307" y="1174"/>
                  </a:lnTo>
                  <a:lnTo>
                    <a:pt x="309" y="1174"/>
                  </a:lnTo>
                  <a:lnTo>
                    <a:pt x="309" y="1176"/>
                  </a:lnTo>
                  <a:lnTo>
                    <a:pt x="307" y="1176"/>
                  </a:lnTo>
                  <a:lnTo>
                    <a:pt x="307" y="1176"/>
                  </a:lnTo>
                  <a:lnTo>
                    <a:pt x="307" y="1178"/>
                  </a:lnTo>
                  <a:lnTo>
                    <a:pt x="307" y="1178"/>
                  </a:lnTo>
                  <a:lnTo>
                    <a:pt x="307" y="1178"/>
                  </a:lnTo>
                  <a:lnTo>
                    <a:pt x="307" y="1179"/>
                  </a:lnTo>
                  <a:lnTo>
                    <a:pt x="307" y="1181"/>
                  </a:lnTo>
                  <a:lnTo>
                    <a:pt x="311" y="1185"/>
                  </a:lnTo>
                  <a:lnTo>
                    <a:pt x="313" y="1185"/>
                  </a:lnTo>
                  <a:lnTo>
                    <a:pt x="313" y="1185"/>
                  </a:lnTo>
                  <a:lnTo>
                    <a:pt x="313" y="1185"/>
                  </a:lnTo>
                  <a:lnTo>
                    <a:pt x="317" y="1183"/>
                  </a:lnTo>
                  <a:lnTo>
                    <a:pt x="315" y="1181"/>
                  </a:lnTo>
                  <a:lnTo>
                    <a:pt x="313" y="1179"/>
                  </a:lnTo>
                  <a:lnTo>
                    <a:pt x="311" y="1178"/>
                  </a:lnTo>
                  <a:lnTo>
                    <a:pt x="313" y="1178"/>
                  </a:lnTo>
                  <a:lnTo>
                    <a:pt x="313" y="1178"/>
                  </a:lnTo>
                  <a:lnTo>
                    <a:pt x="315" y="1181"/>
                  </a:lnTo>
                  <a:lnTo>
                    <a:pt x="317" y="1181"/>
                  </a:lnTo>
                  <a:lnTo>
                    <a:pt x="317" y="1181"/>
                  </a:lnTo>
                  <a:lnTo>
                    <a:pt x="318" y="1181"/>
                  </a:lnTo>
                  <a:lnTo>
                    <a:pt x="318" y="1183"/>
                  </a:lnTo>
                  <a:lnTo>
                    <a:pt x="318" y="1183"/>
                  </a:lnTo>
                  <a:lnTo>
                    <a:pt x="318" y="1185"/>
                  </a:lnTo>
                  <a:lnTo>
                    <a:pt x="320" y="1185"/>
                  </a:lnTo>
                  <a:lnTo>
                    <a:pt x="320" y="1185"/>
                  </a:lnTo>
                  <a:lnTo>
                    <a:pt x="322" y="1185"/>
                  </a:lnTo>
                  <a:lnTo>
                    <a:pt x="320" y="1183"/>
                  </a:lnTo>
                  <a:lnTo>
                    <a:pt x="320" y="1181"/>
                  </a:lnTo>
                  <a:lnTo>
                    <a:pt x="318" y="1179"/>
                  </a:lnTo>
                  <a:lnTo>
                    <a:pt x="318" y="1178"/>
                  </a:lnTo>
                  <a:lnTo>
                    <a:pt x="320" y="1176"/>
                  </a:lnTo>
                  <a:lnTo>
                    <a:pt x="320" y="1174"/>
                  </a:lnTo>
                  <a:lnTo>
                    <a:pt x="320" y="1172"/>
                  </a:lnTo>
                  <a:lnTo>
                    <a:pt x="318" y="1172"/>
                  </a:lnTo>
                  <a:lnTo>
                    <a:pt x="317" y="1169"/>
                  </a:lnTo>
                  <a:lnTo>
                    <a:pt x="318" y="1170"/>
                  </a:lnTo>
                  <a:lnTo>
                    <a:pt x="318" y="1170"/>
                  </a:lnTo>
                  <a:lnTo>
                    <a:pt x="322" y="1174"/>
                  </a:lnTo>
                  <a:lnTo>
                    <a:pt x="322" y="1174"/>
                  </a:lnTo>
                  <a:lnTo>
                    <a:pt x="324" y="1174"/>
                  </a:lnTo>
                  <a:lnTo>
                    <a:pt x="324" y="1174"/>
                  </a:lnTo>
                  <a:lnTo>
                    <a:pt x="324" y="1174"/>
                  </a:lnTo>
                  <a:lnTo>
                    <a:pt x="324" y="1172"/>
                  </a:lnTo>
                  <a:lnTo>
                    <a:pt x="326" y="1172"/>
                  </a:lnTo>
                  <a:lnTo>
                    <a:pt x="324" y="1174"/>
                  </a:lnTo>
                  <a:lnTo>
                    <a:pt x="327" y="1178"/>
                  </a:lnTo>
                  <a:lnTo>
                    <a:pt x="327" y="1179"/>
                  </a:lnTo>
                  <a:lnTo>
                    <a:pt x="329" y="1179"/>
                  </a:lnTo>
                  <a:lnTo>
                    <a:pt x="329" y="1178"/>
                  </a:lnTo>
                  <a:lnTo>
                    <a:pt x="331" y="1178"/>
                  </a:lnTo>
                  <a:lnTo>
                    <a:pt x="331" y="1176"/>
                  </a:lnTo>
                  <a:lnTo>
                    <a:pt x="329" y="1176"/>
                  </a:lnTo>
                  <a:lnTo>
                    <a:pt x="329" y="1176"/>
                  </a:lnTo>
                  <a:lnTo>
                    <a:pt x="329" y="1174"/>
                  </a:lnTo>
                  <a:lnTo>
                    <a:pt x="327" y="1172"/>
                  </a:lnTo>
                  <a:lnTo>
                    <a:pt x="326" y="1172"/>
                  </a:lnTo>
                  <a:lnTo>
                    <a:pt x="326" y="1170"/>
                  </a:lnTo>
                  <a:lnTo>
                    <a:pt x="326" y="1170"/>
                  </a:lnTo>
                  <a:lnTo>
                    <a:pt x="326" y="1169"/>
                  </a:lnTo>
                  <a:lnTo>
                    <a:pt x="326" y="1170"/>
                  </a:lnTo>
                  <a:lnTo>
                    <a:pt x="327" y="1169"/>
                  </a:lnTo>
                  <a:lnTo>
                    <a:pt x="327" y="1169"/>
                  </a:lnTo>
                  <a:lnTo>
                    <a:pt x="327" y="1167"/>
                  </a:lnTo>
                  <a:lnTo>
                    <a:pt x="326" y="1167"/>
                  </a:lnTo>
                  <a:lnTo>
                    <a:pt x="326" y="1165"/>
                  </a:lnTo>
                  <a:lnTo>
                    <a:pt x="324" y="1163"/>
                  </a:lnTo>
                  <a:lnTo>
                    <a:pt x="324" y="1163"/>
                  </a:lnTo>
                  <a:lnTo>
                    <a:pt x="320" y="1161"/>
                  </a:lnTo>
                  <a:lnTo>
                    <a:pt x="320" y="1161"/>
                  </a:lnTo>
                  <a:lnTo>
                    <a:pt x="322" y="1161"/>
                  </a:lnTo>
                  <a:lnTo>
                    <a:pt x="324" y="1161"/>
                  </a:lnTo>
                  <a:lnTo>
                    <a:pt x="326" y="1163"/>
                  </a:lnTo>
                  <a:lnTo>
                    <a:pt x="327" y="1165"/>
                  </a:lnTo>
                  <a:lnTo>
                    <a:pt x="327" y="1167"/>
                  </a:lnTo>
                  <a:lnTo>
                    <a:pt x="329" y="1167"/>
                  </a:lnTo>
                  <a:lnTo>
                    <a:pt x="331" y="1169"/>
                  </a:lnTo>
                  <a:lnTo>
                    <a:pt x="333" y="1170"/>
                  </a:lnTo>
                  <a:lnTo>
                    <a:pt x="333" y="1170"/>
                  </a:lnTo>
                  <a:lnTo>
                    <a:pt x="333" y="1169"/>
                  </a:lnTo>
                  <a:lnTo>
                    <a:pt x="335" y="1169"/>
                  </a:lnTo>
                  <a:lnTo>
                    <a:pt x="338" y="1169"/>
                  </a:lnTo>
                  <a:lnTo>
                    <a:pt x="336" y="1167"/>
                  </a:lnTo>
                  <a:lnTo>
                    <a:pt x="336" y="1165"/>
                  </a:lnTo>
                  <a:lnTo>
                    <a:pt x="336" y="1165"/>
                  </a:lnTo>
                  <a:lnTo>
                    <a:pt x="336" y="1165"/>
                  </a:lnTo>
                  <a:lnTo>
                    <a:pt x="338" y="1165"/>
                  </a:lnTo>
                  <a:lnTo>
                    <a:pt x="338" y="1167"/>
                  </a:lnTo>
                  <a:lnTo>
                    <a:pt x="340" y="1167"/>
                  </a:lnTo>
                  <a:lnTo>
                    <a:pt x="340" y="1169"/>
                  </a:lnTo>
                  <a:lnTo>
                    <a:pt x="340" y="1170"/>
                  </a:lnTo>
                  <a:lnTo>
                    <a:pt x="342" y="1172"/>
                  </a:lnTo>
                  <a:lnTo>
                    <a:pt x="342" y="1172"/>
                  </a:lnTo>
                  <a:lnTo>
                    <a:pt x="342" y="1172"/>
                  </a:lnTo>
                  <a:lnTo>
                    <a:pt x="342" y="1170"/>
                  </a:lnTo>
                  <a:lnTo>
                    <a:pt x="342" y="1170"/>
                  </a:lnTo>
                  <a:lnTo>
                    <a:pt x="344" y="1170"/>
                  </a:lnTo>
                  <a:lnTo>
                    <a:pt x="344" y="1170"/>
                  </a:lnTo>
                  <a:lnTo>
                    <a:pt x="344" y="1170"/>
                  </a:lnTo>
                  <a:lnTo>
                    <a:pt x="344" y="1169"/>
                  </a:lnTo>
                  <a:lnTo>
                    <a:pt x="344" y="1169"/>
                  </a:lnTo>
                  <a:lnTo>
                    <a:pt x="345" y="1169"/>
                  </a:lnTo>
                  <a:lnTo>
                    <a:pt x="345" y="1170"/>
                  </a:lnTo>
                  <a:lnTo>
                    <a:pt x="345" y="1170"/>
                  </a:lnTo>
                  <a:lnTo>
                    <a:pt x="345" y="1169"/>
                  </a:lnTo>
                  <a:lnTo>
                    <a:pt x="345" y="1169"/>
                  </a:lnTo>
                  <a:lnTo>
                    <a:pt x="347" y="1169"/>
                  </a:lnTo>
                  <a:lnTo>
                    <a:pt x="347" y="1167"/>
                  </a:lnTo>
                  <a:lnTo>
                    <a:pt x="349" y="1167"/>
                  </a:lnTo>
                  <a:lnTo>
                    <a:pt x="349" y="1165"/>
                  </a:lnTo>
                  <a:lnTo>
                    <a:pt x="347" y="1161"/>
                  </a:lnTo>
                  <a:lnTo>
                    <a:pt x="347" y="1160"/>
                  </a:lnTo>
                  <a:lnTo>
                    <a:pt x="353" y="1150"/>
                  </a:lnTo>
                  <a:lnTo>
                    <a:pt x="354" y="1147"/>
                  </a:lnTo>
                  <a:lnTo>
                    <a:pt x="356" y="1145"/>
                  </a:lnTo>
                  <a:lnTo>
                    <a:pt x="358" y="1143"/>
                  </a:lnTo>
                  <a:lnTo>
                    <a:pt x="360" y="1145"/>
                  </a:lnTo>
                  <a:lnTo>
                    <a:pt x="362" y="1149"/>
                  </a:lnTo>
                  <a:lnTo>
                    <a:pt x="362" y="1152"/>
                  </a:lnTo>
                  <a:lnTo>
                    <a:pt x="358" y="1149"/>
                  </a:lnTo>
                  <a:lnTo>
                    <a:pt x="356" y="1149"/>
                  </a:lnTo>
                  <a:lnTo>
                    <a:pt x="354" y="1150"/>
                  </a:lnTo>
                  <a:lnTo>
                    <a:pt x="353" y="1150"/>
                  </a:lnTo>
                  <a:lnTo>
                    <a:pt x="353" y="1152"/>
                  </a:lnTo>
                  <a:lnTo>
                    <a:pt x="353" y="1154"/>
                  </a:lnTo>
                  <a:lnTo>
                    <a:pt x="353" y="1156"/>
                  </a:lnTo>
                  <a:lnTo>
                    <a:pt x="351" y="1158"/>
                  </a:lnTo>
                  <a:lnTo>
                    <a:pt x="351" y="1160"/>
                  </a:lnTo>
                  <a:lnTo>
                    <a:pt x="349" y="1160"/>
                  </a:lnTo>
                  <a:lnTo>
                    <a:pt x="349" y="1161"/>
                  </a:lnTo>
                  <a:lnTo>
                    <a:pt x="349" y="1163"/>
                  </a:lnTo>
                  <a:lnTo>
                    <a:pt x="349" y="1165"/>
                  </a:lnTo>
                  <a:lnTo>
                    <a:pt x="351" y="1165"/>
                  </a:lnTo>
                  <a:lnTo>
                    <a:pt x="353" y="1167"/>
                  </a:lnTo>
                  <a:lnTo>
                    <a:pt x="353" y="1167"/>
                  </a:lnTo>
                  <a:lnTo>
                    <a:pt x="354" y="1165"/>
                  </a:lnTo>
                  <a:lnTo>
                    <a:pt x="354" y="1165"/>
                  </a:lnTo>
                  <a:lnTo>
                    <a:pt x="356" y="1165"/>
                  </a:lnTo>
                  <a:lnTo>
                    <a:pt x="356" y="1165"/>
                  </a:lnTo>
                  <a:lnTo>
                    <a:pt x="358" y="1165"/>
                  </a:lnTo>
                  <a:lnTo>
                    <a:pt x="358" y="1167"/>
                  </a:lnTo>
                  <a:lnTo>
                    <a:pt x="360" y="1169"/>
                  </a:lnTo>
                  <a:lnTo>
                    <a:pt x="360" y="1167"/>
                  </a:lnTo>
                  <a:lnTo>
                    <a:pt x="360" y="1167"/>
                  </a:lnTo>
                  <a:lnTo>
                    <a:pt x="362" y="1167"/>
                  </a:lnTo>
                  <a:lnTo>
                    <a:pt x="362" y="1167"/>
                  </a:lnTo>
                  <a:lnTo>
                    <a:pt x="362" y="1165"/>
                  </a:lnTo>
                  <a:lnTo>
                    <a:pt x="362" y="1163"/>
                  </a:lnTo>
                  <a:lnTo>
                    <a:pt x="362" y="1163"/>
                  </a:lnTo>
                  <a:lnTo>
                    <a:pt x="363" y="1161"/>
                  </a:lnTo>
                  <a:lnTo>
                    <a:pt x="363" y="1161"/>
                  </a:lnTo>
                  <a:lnTo>
                    <a:pt x="365" y="1161"/>
                  </a:lnTo>
                  <a:lnTo>
                    <a:pt x="365" y="1161"/>
                  </a:lnTo>
                  <a:lnTo>
                    <a:pt x="365" y="1163"/>
                  </a:lnTo>
                  <a:lnTo>
                    <a:pt x="365" y="1163"/>
                  </a:lnTo>
                  <a:lnTo>
                    <a:pt x="365" y="1163"/>
                  </a:lnTo>
                  <a:lnTo>
                    <a:pt x="365" y="1163"/>
                  </a:lnTo>
                  <a:lnTo>
                    <a:pt x="371" y="1161"/>
                  </a:lnTo>
                  <a:lnTo>
                    <a:pt x="371" y="1163"/>
                  </a:lnTo>
                  <a:lnTo>
                    <a:pt x="373" y="1165"/>
                  </a:lnTo>
                  <a:lnTo>
                    <a:pt x="373" y="1165"/>
                  </a:lnTo>
                  <a:lnTo>
                    <a:pt x="373" y="1163"/>
                  </a:lnTo>
                  <a:lnTo>
                    <a:pt x="373" y="1163"/>
                  </a:lnTo>
                  <a:lnTo>
                    <a:pt x="371" y="1161"/>
                  </a:lnTo>
                  <a:lnTo>
                    <a:pt x="374" y="1161"/>
                  </a:lnTo>
                  <a:lnTo>
                    <a:pt x="374" y="1161"/>
                  </a:lnTo>
                  <a:lnTo>
                    <a:pt x="376" y="1158"/>
                  </a:lnTo>
                  <a:lnTo>
                    <a:pt x="376" y="1158"/>
                  </a:lnTo>
                  <a:lnTo>
                    <a:pt x="376" y="1158"/>
                  </a:lnTo>
                  <a:lnTo>
                    <a:pt x="376" y="1156"/>
                  </a:lnTo>
                  <a:lnTo>
                    <a:pt x="376" y="1156"/>
                  </a:lnTo>
                  <a:lnTo>
                    <a:pt x="376" y="1156"/>
                  </a:lnTo>
                  <a:lnTo>
                    <a:pt x="378" y="1154"/>
                  </a:lnTo>
                  <a:lnTo>
                    <a:pt x="378" y="1154"/>
                  </a:lnTo>
                  <a:lnTo>
                    <a:pt x="378" y="1156"/>
                  </a:lnTo>
                  <a:lnTo>
                    <a:pt x="378" y="1156"/>
                  </a:lnTo>
                  <a:lnTo>
                    <a:pt x="380" y="1158"/>
                  </a:lnTo>
                  <a:lnTo>
                    <a:pt x="380" y="1156"/>
                  </a:lnTo>
                  <a:lnTo>
                    <a:pt x="380" y="1156"/>
                  </a:lnTo>
                  <a:lnTo>
                    <a:pt x="380" y="1154"/>
                  </a:lnTo>
                  <a:lnTo>
                    <a:pt x="382" y="1156"/>
                  </a:lnTo>
                  <a:lnTo>
                    <a:pt x="382" y="1156"/>
                  </a:lnTo>
                  <a:lnTo>
                    <a:pt x="382" y="1158"/>
                  </a:lnTo>
                  <a:lnTo>
                    <a:pt x="383" y="1156"/>
                  </a:lnTo>
                  <a:lnTo>
                    <a:pt x="383" y="1158"/>
                  </a:lnTo>
                  <a:lnTo>
                    <a:pt x="383" y="1158"/>
                  </a:lnTo>
                  <a:lnTo>
                    <a:pt x="385" y="1158"/>
                  </a:lnTo>
                  <a:lnTo>
                    <a:pt x="385" y="1156"/>
                  </a:lnTo>
                  <a:lnTo>
                    <a:pt x="383" y="1154"/>
                  </a:lnTo>
                  <a:lnTo>
                    <a:pt x="383" y="1152"/>
                  </a:lnTo>
                  <a:lnTo>
                    <a:pt x="385" y="1150"/>
                  </a:lnTo>
                  <a:lnTo>
                    <a:pt x="385" y="1150"/>
                  </a:lnTo>
                  <a:lnTo>
                    <a:pt x="387" y="1150"/>
                  </a:lnTo>
                  <a:lnTo>
                    <a:pt x="385" y="1154"/>
                  </a:lnTo>
                  <a:lnTo>
                    <a:pt x="389" y="1156"/>
                  </a:lnTo>
                  <a:lnTo>
                    <a:pt x="391" y="1158"/>
                  </a:lnTo>
                  <a:lnTo>
                    <a:pt x="387" y="1156"/>
                  </a:lnTo>
                  <a:lnTo>
                    <a:pt x="387" y="1156"/>
                  </a:lnTo>
                  <a:lnTo>
                    <a:pt x="387" y="1158"/>
                  </a:lnTo>
                  <a:lnTo>
                    <a:pt x="387" y="1160"/>
                  </a:lnTo>
                  <a:lnTo>
                    <a:pt x="391" y="1160"/>
                  </a:lnTo>
                  <a:lnTo>
                    <a:pt x="394" y="1160"/>
                  </a:lnTo>
                  <a:lnTo>
                    <a:pt x="398" y="1163"/>
                  </a:lnTo>
                  <a:lnTo>
                    <a:pt x="400" y="1163"/>
                  </a:lnTo>
                  <a:lnTo>
                    <a:pt x="400" y="1163"/>
                  </a:lnTo>
                  <a:lnTo>
                    <a:pt x="400" y="1163"/>
                  </a:lnTo>
                  <a:lnTo>
                    <a:pt x="400" y="1161"/>
                  </a:lnTo>
                  <a:lnTo>
                    <a:pt x="398" y="1161"/>
                  </a:lnTo>
                  <a:lnTo>
                    <a:pt x="400" y="1161"/>
                  </a:lnTo>
                  <a:lnTo>
                    <a:pt x="400" y="1161"/>
                  </a:lnTo>
                  <a:lnTo>
                    <a:pt x="400" y="1160"/>
                  </a:lnTo>
                  <a:lnTo>
                    <a:pt x="400" y="1160"/>
                  </a:lnTo>
                  <a:lnTo>
                    <a:pt x="400" y="1160"/>
                  </a:lnTo>
                  <a:lnTo>
                    <a:pt x="398" y="1160"/>
                  </a:lnTo>
                  <a:lnTo>
                    <a:pt x="400" y="1158"/>
                  </a:lnTo>
                  <a:lnTo>
                    <a:pt x="405" y="1161"/>
                  </a:lnTo>
                  <a:lnTo>
                    <a:pt x="407" y="1163"/>
                  </a:lnTo>
                  <a:lnTo>
                    <a:pt x="405" y="1161"/>
                  </a:lnTo>
                  <a:lnTo>
                    <a:pt x="405" y="1160"/>
                  </a:lnTo>
                  <a:lnTo>
                    <a:pt x="405" y="1160"/>
                  </a:lnTo>
                  <a:lnTo>
                    <a:pt x="405" y="1158"/>
                  </a:lnTo>
                  <a:lnTo>
                    <a:pt x="407" y="1158"/>
                  </a:lnTo>
                  <a:lnTo>
                    <a:pt x="407" y="1158"/>
                  </a:lnTo>
                  <a:lnTo>
                    <a:pt x="409" y="1158"/>
                  </a:lnTo>
                  <a:lnTo>
                    <a:pt x="409" y="1158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10" y="1161"/>
                  </a:lnTo>
                  <a:lnTo>
                    <a:pt x="410" y="1161"/>
                  </a:lnTo>
                  <a:lnTo>
                    <a:pt x="412" y="1160"/>
                  </a:lnTo>
                  <a:lnTo>
                    <a:pt x="412" y="1160"/>
                  </a:lnTo>
                  <a:lnTo>
                    <a:pt x="412" y="1158"/>
                  </a:lnTo>
                  <a:lnTo>
                    <a:pt x="412" y="1158"/>
                  </a:lnTo>
                  <a:lnTo>
                    <a:pt x="412" y="1158"/>
                  </a:lnTo>
                  <a:lnTo>
                    <a:pt x="412" y="1156"/>
                  </a:lnTo>
                  <a:lnTo>
                    <a:pt x="412" y="1154"/>
                  </a:lnTo>
                  <a:lnTo>
                    <a:pt x="412" y="1154"/>
                  </a:lnTo>
                  <a:lnTo>
                    <a:pt x="412" y="1154"/>
                  </a:lnTo>
                  <a:lnTo>
                    <a:pt x="412" y="1152"/>
                  </a:lnTo>
                  <a:lnTo>
                    <a:pt x="412" y="1152"/>
                  </a:lnTo>
                  <a:lnTo>
                    <a:pt x="412" y="1152"/>
                  </a:lnTo>
                  <a:lnTo>
                    <a:pt x="412" y="1150"/>
                  </a:lnTo>
                  <a:lnTo>
                    <a:pt x="414" y="1152"/>
                  </a:lnTo>
                  <a:lnTo>
                    <a:pt x="414" y="1152"/>
                  </a:lnTo>
                  <a:lnTo>
                    <a:pt x="416" y="1154"/>
                  </a:lnTo>
                  <a:lnTo>
                    <a:pt x="419" y="1149"/>
                  </a:lnTo>
                  <a:lnTo>
                    <a:pt x="423" y="1145"/>
                  </a:lnTo>
                  <a:lnTo>
                    <a:pt x="425" y="1143"/>
                  </a:lnTo>
                  <a:lnTo>
                    <a:pt x="432" y="1132"/>
                  </a:lnTo>
                  <a:lnTo>
                    <a:pt x="438" y="1131"/>
                  </a:lnTo>
                  <a:lnTo>
                    <a:pt x="441" y="1123"/>
                  </a:lnTo>
                  <a:lnTo>
                    <a:pt x="448" y="1114"/>
                  </a:lnTo>
                  <a:lnTo>
                    <a:pt x="452" y="1113"/>
                  </a:lnTo>
                  <a:lnTo>
                    <a:pt x="456" y="1113"/>
                  </a:lnTo>
                  <a:lnTo>
                    <a:pt x="457" y="1109"/>
                  </a:lnTo>
                  <a:lnTo>
                    <a:pt x="457" y="1109"/>
                  </a:lnTo>
                  <a:lnTo>
                    <a:pt x="457" y="1109"/>
                  </a:lnTo>
                  <a:lnTo>
                    <a:pt x="457" y="1109"/>
                  </a:lnTo>
                  <a:lnTo>
                    <a:pt x="459" y="1107"/>
                  </a:lnTo>
                  <a:lnTo>
                    <a:pt x="459" y="1105"/>
                  </a:lnTo>
                  <a:lnTo>
                    <a:pt x="463" y="1102"/>
                  </a:lnTo>
                  <a:lnTo>
                    <a:pt x="465" y="1100"/>
                  </a:lnTo>
                  <a:lnTo>
                    <a:pt x="465" y="1098"/>
                  </a:lnTo>
                  <a:lnTo>
                    <a:pt x="468" y="1096"/>
                  </a:lnTo>
                  <a:lnTo>
                    <a:pt x="472" y="1093"/>
                  </a:lnTo>
                  <a:lnTo>
                    <a:pt x="474" y="1091"/>
                  </a:lnTo>
                  <a:lnTo>
                    <a:pt x="481" y="1085"/>
                  </a:lnTo>
                  <a:lnTo>
                    <a:pt x="484" y="1084"/>
                  </a:lnTo>
                  <a:lnTo>
                    <a:pt x="488" y="1078"/>
                  </a:lnTo>
                  <a:lnTo>
                    <a:pt x="488" y="1076"/>
                  </a:lnTo>
                  <a:lnTo>
                    <a:pt x="490" y="1076"/>
                  </a:lnTo>
                  <a:lnTo>
                    <a:pt x="492" y="1073"/>
                  </a:lnTo>
                  <a:lnTo>
                    <a:pt x="499" y="1066"/>
                  </a:lnTo>
                  <a:lnTo>
                    <a:pt x="499" y="1064"/>
                  </a:lnTo>
                  <a:lnTo>
                    <a:pt x="501" y="1060"/>
                  </a:lnTo>
                  <a:lnTo>
                    <a:pt x="501" y="1058"/>
                  </a:lnTo>
                  <a:lnTo>
                    <a:pt x="503" y="1058"/>
                  </a:lnTo>
                  <a:lnTo>
                    <a:pt x="504" y="1057"/>
                  </a:lnTo>
                  <a:lnTo>
                    <a:pt x="506" y="1055"/>
                  </a:lnTo>
                  <a:lnTo>
                    <a:pt x="513" y="1046"/>
                  </a:lnTo>
                  <a:lnTo>
                    <a:pt x="515" y="1046"/>
                  </a:lnTo>
                  <a:lnTo>
                    <a:pt x="517" y="1040"/>
                  </a:lnTo>
                  <a:lnTo>
                    <a:pt x="517" y="1040"/>
                  </a:lnTo>
                  <a:lnTo>
                    <a:pt x="524" y="1033"/>
                  </a:lnTo>
                  <a:lnTo>
                    <a:pt x="531" y="1019"/>
                  </a:lnTo>
                  <a:lnTo>
                    <a:pt x="542" y="1004"/>
                  </a:lnTo>
                  <a:lnTo>
                    <a:pt x="542" y="1004"/>
                  </a:lnTo>
                  <a:lnTo>
                    <a:pt x="542" y="1004"/>
                  </a:lnTo>
                  <a:lnTo>
                    <a:pt x="549" y="997"/>
                  </a:lnTo>
                  <a:lnTo>
                    <a:pt x="555" y="988"/>
                  </a:lnTo>
                  <a:lnTo>
                    <a:pt x="557" y="984"/>
                  </a:lnTo>
                  <a:lnTo>
                    <a:pt x="557" y="983"/>
                  </a:lnTo>
                  <a:lnTo>
                    <a:pt x="559" y="983"/>
                  </a:lnTo>
                  <a:lnTo>
                    <a:pt x="560" y="981"/>
                  </a:lnTo>
                  <a:lnTo>
                    <a:pt x="564" y="977"/>
                  </a:lnTo>
                  <a:lnTo>
                    <a:pt x="571" y="972"/>
                  </a:lnTo>
                  <a:lnTo>
                    <a:pt x="571" y="972"/>
                  </a:lnTo>
                  <a:lnTo>
                    <a:pt x="573" y="970"/>
                  </a:lnTo>
                  <a:lnTo>
                    <a:pt x="573" y="966"/>
                  </a:lnTo>
                  <a:lnTo>
                    <a:pt x="575" y="964"/>
                  </a:lnTo>
                  <a:lnTo>
                    <a:pt x="582" y="957"/>
                  </a:lnTo>
                  <a:lnTo>
                    <a:pt x="582" y="955"/>
                  </a:lnTo>
                  <a:lnTo>
                    <a:pt x="582" y="954"/>
                  </a:lnTo>
                  <a:lnTo>
                    <a:pt x="584" y="952"/>
                  </a:lnTo>
                  <a:lnTo>
                    <a:pt x="586" y="950"/>
                  </a:lnTo>
                  <a:lnTo>
                    <a:pt x="586" y="950"/>
                  </a:lnTo>
                  <a:lnTo>
                    <a:pt x="586" y="950"/>
                  </a:lnTo>
                  <a:lnTo>
                    <a:pt x="587" y="950"/>
                  </a:lnTo>
                  <a:lnTo>
                    <a:pt x="587" y="946"/>
                  </a:lnTo>
                  <a:lnTo>
                    <a:pt x="589" y="943"/>
                  </a:lnTo>
                  <a:lnTo>
                    <a:pt x="591" y="939"/>
                  </a:lnTo>
                  <a:lnTo>
                    <a:pt x="593" y="936"/>
                  </a:lnTo>
                  <a:lnTo>
                    <a:pt x="593" y="934"/>
                  </a:lnTo>
                  <a:lnTo>
                    <a:pt x="596" y="923"/>
                  </a:lnTo>
                  <a:lnTo>
                    <a:pt x="596" y="919"/>
                  </a:lnTo>
                  <a:lnTo>
                    <a:pt x="598" y="914"/>
                  </a:lnTo>
                  <a:lnTo>
                    <a:pt x="604" y="905"/>
                  </a:lnTo>
                  <a:lnTo>
                    <a:pt x="602" y="905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5C774B1C-7551-4898-CA64-4981024167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2688" y="2219326"/>
              <a:ext cx="107950" cy="168275"/>
            </a:xfrm>
            <a:custGeom>
              <a:avLst/>
              <a:gdLst>
                <a:gd name="T0" fmla="*/ 45 w 68"/>
                <a:gd name="T1" fmla="*/ 101 h 106"/>
                <a:gd name="T2" fmla="*/ 47 w 68"/>
                <a:gd name="T3" fmla="*/ 97 h 106"/>
                <a:gd name="T4" fmla="*/ 47 w 68"/>
                <a:gd name="T5" fmla="*/ 94 h 106"/>
                <a:gd name="T6" fmla="*/ 41 w 68"/>
                <a:gd name="T7" fmla="*/ 90 h 106"/>
                <a:gd name="T8" fmla="*/ 47 w 68"/>
                <a:gd name="T9" fmla="*/ 88 h 106"/>
                <a:gd name="T10" fmla="*/ 38 w 68"/>
                <a:gd name="T11" fmla="*/ 83 h 106"/>
                <a:gd name="T12" fmla="*/ 34 w 68"/>
                <a:gd name="T13" fmla="*/ 81 h 106"/>
                <a:gd name="T14" fmla="*/ 38 w 68"/>
                <a:gd name="T15" fmla="*/ 90 h 106"/>
                <a:gd name="T16" fmla="*/ 50 w 68"/>
                <a:gd name="T17" fmla="*/ 105 h 106"/>
                <a:gd name="T18" fmla="*/ 43 w 68"/>
                <a:gd name="T19" fmla="*/ 54 h 106"/>
                <a:gd name="T20" fmla="*/ 38 w 68"/>
                <a:gd name="T21" fmla="*/ 56 h 106"/>
                <a:gd name="T22" fmla="*/ 48 w 68"/>
                <a:gd name="T23" fmla="*/ 70 h 106"/>
                <a:gd name="T24" fmla="*/ 50 w 68"/>
                <a:gd name="T25" fmla="*/ 63 h 106"/>
                <a:gd name="T26" fmla="*/ 0 w 68"/>
                <a:gd name="T27" fmla="*/ 32 h 106"/>
                <a:gd name="T28" fmla="*/ 25 w 68"/>
                <a:gd name="T29" fmla="*/ 31 h 106"/>
                <a:gd name="T30" fmla="*/ 21 w 68"/>
                <a:gd name="T31" fmla="*/ 25 h 106"/>
                <a:gd name="T32" fmla="*/ 14 w 68"/>
                <a:gd name="T33" fmla="*/ 29 h 106"/>
                <a:gd name="T34" fmla="*/ 16 w 68"/>
                <a:gd name="T35" fmla="*/ 32 h 106"/>
                <a:gd name="T36" fmla="*/ 21 w 68"/>
                <a:gd name="T37" fmla="*/ 40 h 106"/>
                <a:gd name="T38" fmla="*/ 21 w 68"/>
                <a:gd name="T39" fmla="*/ 38 h 106"/>
                <a:gd name="T40" fmla="*/ 25 w 68"/>
                <a:gd name="T41" fmla="*/ 38 h 106"/>
                <a:gd name="T42" fmla="*/ 29 w 68"/>
                <a:gd name="T43" fmla="*/ 34 h 106"/>
                <a:gd name="T44" fmla="*/ 63 w 68"/>
                <a:gd name="T45" fmla="*/ 12 h 106"/>
                <a:gd name="T46" fmla="*/ 67 w 68"/>
                <a:gd name="T47" fmla="*/ 14 h 106"/>
                <a:gd name="T48" fmla="*/ 39 w 68"/>
                <a:gd name="T49" fmla="*/ 43 h 106"/>
                <a:gd name="T50" fmla="*/ 45 w 68"/>
                <a:gd name="T51" fmla="*/ 43 h 106"/>
                <a:gd name="T52" fmla="*/ 43 w 68"/>
                <a:gd name="T53" fmla="*/ 36 h 106"/>
                <a:gd name="T54" fmla="*/ 39 w 68"/>
                <a:gd name="T55" fmla="*/ 31 h 106"/>
                <a:gd name="T56" fmla="*/ 32 w 68"/>
                <a:gd name="T57" fmla="*/ 20 h 106"/>
                <a:gd name="T58" fmla="*/ 23 w 68"/>
                <a:gd name="T59" fmla="*/ 9 h 106"/>
                <a:gd name="T60" fmla="*/ 21 w 68"/>
                <a:gd name="T61" fmla="*/ 22 h 106"/>
                <a:gd name="T62" fmla="*/ 21 w 68"/>
                <a:gd name="T63" fmla="*/ 25 h 106"/>
                <a:gd name="T64" fmla="*/ 25 w 68"/>
                <a:gd name="T65" fmla="*/ 29 h 106"/>
                <a:gd name="T66" fmla="*/ 34 w 68"/>
                <a:gd name="T67" fmla="*/ 36 h 106"/>
                <a:gd name="T68" fmla="*/ 47 w 68"/>
                <a:gd name="T69" fmla="*/ 22 h 106"/>
                <a:gd name="T70" fmla="*/ 47 w 68"/>
                <a:gd name="T71" fmla="*/ 18 h 106"/>
                <a:gd name="T72" fmla="*/ 45 w 68"/>
                <a:gd name="T73" fmla="*/ 16 h 106"/>
                <a:gd name="T74" fmla="*/ 36 w 68"/>
                <a:gd name="T75" fmla="*/ 12 h 106"/>
                <a:gd name="T76" fmla="*/ 38 w 68"/>
                <a:gd name="T77" fmla="*/ 11 h 106"/>
                <a:gd name="T78" fmla="*/ 32 w 68"/>
                <a:gd name="T79" fmla="*/ 7 h 106"/>
                <a:gd name="T80" fmla="*/ 29 w 68"/>
                <a:gd name="T81" fmla="*/ 11 h 106"/>
                <a:gd name="T82" fmla="*/ 36 w 68"/>
                <a:gd name="T83" fmla="*/ 25 h 106"/>
                <a:gd name="T84" fmla="*/ 43 w 68"/>
                <a:gd name="T85" fmla="*/ 23 h 106"/>
                <a:gd name="T86" fmla="*/ 47 w 68"/>
                <a:gd name="T87" fmla="*/ 34 h 106"/>
                <a:gd name="T88" fmla="*/ 48 w 68"/>
                <a:gd name="T89" fmla="*/ 32 h 106"/>
                <a:gd name="T90" fmla="*/ 50 w 68"/>
                <a:gd name="T91" fmla="*/ 27 h 106"/>
                <a:gd name="T92" fmla="*/ 54 w 68"/>
                <a:gd name="T93" fmla="*/ 3 h 106"/>
                <a:gd name="T94" fmla="*/ 54 w 68"/>
                <a:gd name="T95" fmla="*/ 16 h 106"/>
                <a:gd name="T96" fmla="*/ 54 w 68"/>
                <a:gd name="T97" fmla="*/ 20 h 106"/>
                <a:gd name="T98" fmla="*/ 57 w 68"/>
                <a:gd name="T99" fmla="*/ 23 h 106"/>
                <a:gd name="T100" fmla="*/ 61 w 68"/>
                <a:gd name="T101" fmla="*/ 23 h 106"/>
                <a:gd name="T102" fmla="*/ 57 w 68"/>
                <a:gd name="T103" fmla="*/ 16 h 106"/>
                <a:gd name="T104" fmla="*/ 50 w 68"/>
                <a:gd name="T105" fmla="*/ 11 h 106"/>
                <a:gd name="T106" fmla="*/ 50 w 68"/>
                <a:gd name="T107" fmla="*/ 5 h 106"/>
                <a:gd name="T108" fmla="*/ 43 w 68"/>
                <a:gd name="T109" fmla="*/ 7 h 106"/>
                <a:gd name="T110" fmla="*/ 50 w 68"/>
                <a:gd name="T111" fmla="*/ 18 h 106"/>
                <a:gd name="T112" fmla="*/ 43 w 68"/>
                <a:gd name="T113" fmla="*/ 2 h 106"/>
                <a:gd name="T114" fmla="*/ 61 w 68"/>
                <a:gd name="T115" fmla="*/ 11 h 106"/>
                <a:gd name="T116" fmla="*/ 59 w 68"/>
                <a:gd name="T117" fmla="*/ 9 h 106"/>
                <a:gd name="T118" fmla="*/ 57 w 68"/>
                <a:gd name="T119" fmla="*/ 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" h="106">
                  <a:moveTo>
                    <a:pt x="48" y="101"/>
                  </a:moveTo>
                  <a:lnTo>
                    <a:pt x="47" y="101"/>
                  </a:lnTo>
                  <a:lnTo>
                    <a:pt x="48" y="101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5" y="99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7"/>
                  </a:lnTo>
                  <a:lnTo>
                    <a:pt x="43" y="99"/>
                  </a:lnTo>
                  <a:lnTo>
                    <a:pt x="45" y="99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8" y="97"/>
                  </a:lnTo>
                  <a:lnTo>
                    <a:pt x="48" y="97"/>
                  </a:lnTo>
                  <a:lnTo>
                    <a:pt x="48" y="97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3" y="92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1" y="90"/>
                  </a:lnTo>
                  <a:lnTo>
                    <a:pt x="41" y="88"/>
                  </a:lnTo>
                  <a:lnTo>
                    <a:pt x="43" y="88"/>
                  </a:lnTo>
                  <a:lnTo>
                    <a:pt x="43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7" y="90"/>
                  </a:lnTo>
                  <a:lnTo>
                    <a:pt x="47" y="88"/>
                  </a:lnTo>
                  <a:lnTo>
                    <a:pt x="45" y="87"/>
                  </a:lnTo>
                  <a:lnTo>
                    <a:pt x="41" y="87"/>
                  </a:lnTo>
                  <a:lnTo>
                    <a:pt x="41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9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6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3"/>
                  </a:lnTo>
                  <a:lnTo>
                    <a:pt x="34" y="85"/>
                  </a:lnTo>
                  <a:lnTo>
                    <a:pt x="34" y="87"/>
                  </a:lnTo>
                  <a:lnTo>
                    <a:pt x="36" y="88"/>
                  </a:lnTo>
                  <a:lnTo>
                    <a:pt x="38" y="90"/>
                  </a:lnTo>
                  <a:lnTo>
                    <a:pt x="39" y="92"/>
                  </a:lnTo>
                  <a:lnTo>
                    <a:pt x="38" y="96"/>
                  </a:lnTo>
                  <a:lnTo>
                    <a:pt x="41" y="99"/>
                  </a:lnTo>
                  <a:lnTo>
                    <a:pt x="45" y="103"/>
                  </a:lnTo>
                  <a:lnTo>
                    <a:pt x="47" y="105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50" y="105"/>
                  </a:lnTo>
                  <a:lnTo>
                    <a:pt x="50" y="103"/>
                  </a:lnTo>
                  <a:lnTo>
                    <a:pt x="48" y="101"/>
                  </a:lnTo>
                  <a:close/>
                  <a:moveTo>
                    <a:pt x="50" y="59"/>
                  </a:moveTo>
                  <a:lnTo>
                    <a:pt x="48" y="58"/>
                  </a:lnTo>
                  <a:lnTo>
                    <a:pt x="48" y="58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1" y="54"/>
                  </a:lnTo>
                  <a:lnTo>
                    <a:pt x="39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8" y="54"/>
                  </a:lnTo>
                  <a:lnTo>
                    <a:pt x="38" y="56"/>
                  </a:lnTo>
                  <a:lnTo>
                    <a:pt x="38" y="58"/>
                  </a:lnTo>
                  <a:lnTo>
                    <a:pt x="39" y="59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45" y="61"/>
                  </a:lnTo>
                  <a:lnTo>
                    <a:pt x="45" y="63"/>
                  </a:lnTo>
                  <a:lnTo>
                    <a:pt x="48" y="68"/>
                  </a:lnTo>
                  <a:lnTo>
                    <a:pt x="48" y="70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7"/>
                  </a:lnTo>
                  <a:lnTo>
                    <a:pt x="50" y="65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2" y="61"/>
                  </a:lnTo>
                  <a:lnTo>
                    <a:pt x="50" y="61"/>
                  </a:lnTo>
                  <a:lnTo>
                    <a:pt x="50" y="59"/>
                  </a:lnTo>
                  <a:close/>
                  <a:moveTo>
                    <a:pt x="3" y="31"/>
                  </a:moveTo>
                  <a:lnTo>
                    <a:pt x="3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3" y="31"/>
                  </a:lnTo>
                  <a:close/>
                  <a:moveTo>
                    <a:pt x="29" y="31"/>
                  </a:moveTo>
                  <a:lnTo>
                    <a:pt x="27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18" y="25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8" y="34"/>
                  </a:lnTo>
                  <a:lnTo>
                    <a:pt x="12" y="34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20" y="38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8"/>
                  </a:lnTo>
                  <a:lnTo>
                    <a:pt x="23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3" y="40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3" y="38"/>
                  </a:lnTo>
                  <a:lnTo>
                    <a:pt x="25" y="36"/>
                  </a:lnTo>
                  <a:lnTo>
                    <a:pt x="25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9" y="38"/>
                  </a:lnTo>
                  <a:lnTo>
                    <a:pt x="29" y="36"/>
                  </a:lnTo>
                  <a:lnTo>
                    <a:pt x="29" y="34"/>
                  </a:lnTo>
                  <a:lnTo>
                    <a:pt x="30" y="32"/>
                  </a:lnTo>
                  <a:lnTo>
                    <a:pt x="29" y="32"/>
                  </a:lnTo>
                  <a:lnTo>
                    <a:pt x="29" y="31"/>
                  </a:lnTo>
                  <a:close/>
                  <a:moveTo>
                    <a:pt x="68" y="11"/>
                  </a:moveTo>
                  <a:lnTo>
                    <a:pt x="68" y="9"/>
                  </a:lnTo>
                  <a:lnTo>
                    <a:pt x="67" y="9"/>
                  </a:lnTo>
                  <a:lnTo>
                    <a:pt x="65" y="11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2"/>
                  </a:lnTo>
                  <a:lnTo>
                    <a:pt x="68" y="11"/>
                  </a:lnTo>
                  <a:lnTo>
                    <a:pt x="68" y="11"/>
                  </a:lnTo>
                  <a:close/>
                  <a:moveTo>
                    <a:pt x="34" y="38"/>
                  </a:moveTo>
                  <a:lnTo>
                    <a:pt x="36" y="38"/>
                  </a:lnTo>
                  <a:lnTo>
                    <a:pt x="39" y="43"/>
                  </a:lnTo>
                  <a:lnTo>
                    <a:pt x="43" y="45"/>
                  </a:lnTo>
                  <a:lnTo>
                    <a:pt x="43" y="47"/>
                  </a:lnTo>
                  <a:lnTo>
                    <a:pt x="45" y="49"/>
                  </a:lnTo>
                  <a:lnTo>
                    <a:pt x="47" y="49"/>
                  </a:lnTo>
                  <a:lnTo>
                    <a:pt x="47" y="47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5" y="43"/>
                  </a:lnTo>
                  <a:lnTo>
                    <a:pt x="45" y="41"/>
                  </a:lnTo>
                  <a:lnTo>
                    <a:pt x="45" y="40"/>
                  </a:lnTo>
                  <a:lnTo>
                    <a:pt x="47" y="40"/>
                  </a:lnTo>
                  <a:lnTo>
                    <a:pt x="45" y="38"/>
                  </a:lnTo>
                  <a:lnTo>
                    <a:pt x="41" y="38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4"/>
                  </a:lnTo>
                  <a:lnTo>
                    <a:pt x="41" y="32"/>
                  </a:lnTo>
                  <a:lnTo>
                    <a:pt x="41" y="31"/>
                  </a:lnTo>
                  <a:lnTo>
                    <a:pt x="38" y="32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9" y="31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6" y="25"/>
                  </a:lnTo>
                  <a:lnTo>
                    <a:pt x="34" y="23"/>
                  </a:lnTo>
                  <a:lnTo>
                    <a:pt x="32" y="23"/>
                  </a:lnTo>
                  <a:lnTo>
                    <a:pt x="32" y="20"/>
                  </a:lnTo>
                  <a:lnTo>
                    <a:pt x="30" y="16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7" y="11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1" y="16"/>
                  </a:lnTo>
                  <a:lnTo>
                    <a:pt x="23" y="16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20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4" y="34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8"/>
                  </a:lnTo>
                  <a:lnTo>
                    <a:pt x="34" y="38"/>
                  </a:lnTo>
                  <a:close/>
                  <a:moveTo>
                    <a:pt x="50" y="27"/>
                  </a:moveTo>
                  <a:lnTo>
                    <a:pt x="54" y="29"/>
                  </a:lnTo>
                  <a:lnTo>
                    <a:pt x="52" y="27"/>
                  </a:lnTo>
                  <a:lnTo>
                    <a:pt x="47" y="23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0" y="20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5" y="16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1"/>
                  </a:lnTo>
                  <a:lnTo>
                    <a:pt x="39" y="11"/>
                  </a:lnTo>
                  <a:lnTo>
                    <a:pt x="36" y="12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2" y="7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7" y="9"/>
                  </a:lnTo>
                  <a:lnTo>
                    <a:pt x="29" y="9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6"/>
                  </a:lnTo>
                  <a:lnTo>
                    <a:pt x="34" y="22"/>
                  </a:lnTo>
                  <a:lnTo>
                    <a:pt x="34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5"/>
                  </a:lnTo>
                  <a:lnTo>
                    <a:pt x="38" y="25"/>
                  </a:lnTo>
                  <a:lnTo>
                    <a:pt x="39" y="25"/>
                  </a:lnTo>
                  <a:lnTo>
                    <a:pt x="43" y="31"/>
                  </a:lnTo>
                  <a:lnTo>
                    <a:pt x="45" y="32"/>
                  </a:lnTo>
                  <a:lnTo>
                    <a:pt x="47" y="29"/>
                  </a:lnTo>
                  <a:lnTo>
                    <a:pt x="45" y="27"/>
                  </a:lnTo>
                  <a:lnTo>
                    <a:pt x="45" y="25"/>
                  </a:lnTo>
                  <a:lnTo>
                    <a:pt x="43" y="23"/>
                  </a:lnTo>
                  <a:lnTo>
                    <a:pt x="41" y="22"/>
                  </a:lnTo>
                  <a:lnTo>
                    <a:pt x="43" y="22"/>
                  </a:lnTo>
                  <a:lnTo>
                    <a:pt x="45" y="23"/>
                  </a:lnTo>
                  <a:lnTo>
                    <a:pt x="45" y="25"/>
                  </a:lnTo>
                  <a:lnTo>
                    <a:pt x="47" y="27"/>
                  </a:lnTo>
                  <a:lnTo>
                    <a:pt x="47" y="31"/>
                  </a:lnTo>
                  <a:lnTo>
                    <a:pt x="47" y="32"/>
                  </a:lnTo>
                  <a:lnTo>
                    <a:pt x="47" y="34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close/>
                  <a:moveTo>
                    <a:pt x="57" y="11"/>
                  </a:moveTo>
                  <a:lnTo>
                    <a:pt x="56" y="7"/>
                  </a:lnTo>
                  <a:lnTo>
                    <a:pt x="54" y="3"/>
                  </a:lnTo>
                  <a:lnTo>
                    <a:pt x="56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2" y="18"/>
                  </a:lnTo>
                  <a:lnTo>
                    <a:pt x="54" y="20"/>
                  </a:lnTo>
                  <a:lnTo>
                    <a:pt x="56" y="22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6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7" y="20"/>
                  </a:lnTo>
                  <a:lnTo>
                    <a:pt x="57" y="22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0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9" y="18"/>
                  </a:lnTo>
                  <a:lnTo>
                    <a:pt x="57" y="16"/>
                  </a:lnTo>
                  <a:lnTo>
                    <a:pt x="57" y="14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63" y="14"/>
                  </a:lnTo>
                  <a:lnTo>
                    <a:pt x="59" y="12"/>
                  </a:lnTo>
                  <a:lnTo>
                    <a:pt x="57" y="11"/>
                  </a:lnTo>
                  <a:close/>
                  <a:moveTo>
                    <a:pt x="50" y="11"/>
                  </a:moveTo>
                  <a:lnTo>
                    <a:pt x="50" y="12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4" y="14"/>
                  </a:lnTo>
                  <a:lnTo>
                    <a:pt x="52" y="12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8" y="5"/>
                  </a:lnTo>
                  <a:lnTo>
                    <a:pt x="48" y="9"/>
                  </a:lnTo>
                  <a:lnTo>
                    <a:pt x="50" y="11"/>
                  </a:lnTo>
                  <a:close/>
                  <a:moveTo>
                    <a:pt x="43" y="7"/>
                  </a:moveTo>
                  <a:lnTo>
                    <a:pt x="43" y="7"/>
                  </a:lnTo>
                  <a:lnTo>
                    <a:pt x="45" y="11"/>
                  </a:lnTo>
                  <a:lnTo>
                    <a:pt x="47" y="11"/>
                  </a:lnTo>
                  <a:lnTo>
                    <a:pt x="47" y="12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5" y="7"/>
                  </a:lnTo>
                  <a:lnTo>
                    <a:pt x="45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3"/>
                  </a:lnTo>
                  <a:lnTo>
                    <a:pt x="43" y="7"/>
                  </a:lnTo>
                  <a:close/>
                  <a:moveTo>
                    <a:pt x="56" y="3"/>
                  </a:moveTo>
                  <a:lnTo>
                    <a:pt x="56" y="5"/>
                  </a:lnTo>
                  <a:lnTo>
                    <a:pt x="56" y="7"/>
                  </a:lnTo>
                  <a:lnTo>
                    <a:pt x="57" y="9"/>
                  </a:lnTo>
                  <a:lnTo>
                    <a:pt x="59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1" y="9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7" y="3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4" y="2"/>
                  </a:lnTo>
                  <a:lnTo>
                    <a:pt x="56" y="3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43ACC05A-1266-5C7B-1520-1E8AA83EE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250" y="2667001"/>
              <a:ext cx="508000" cy="328613"/>
            </a:xfrm>
            <a:custGeom>
              <a:avLst/>
              <a:gdLst>
                <a:gd name="T0" fmla="*/ 107 w 320"/>
                <a:gd name="T1" fmla="*/ 151 h 207"/>
                <a:gd name="T2" fmla="*/ 54 w 320"/>
                <a:gd name="T3" fmla="*/ 103 h 207"/>
                <a:gd name="T4" fmla="*/ 38 w 320"/>
                <a:gd name="T5" fmla="*/ 101 h 207"/>
                <a:gd name="T6" fmla="*/ 18 w 320"/>
                <a:gd name="T7" fmla="*/ 110 h 207"/>
                <a:gd name="T8" fmla="*/ 13 w 320"/>
                <a:gd name="T9" fmla="*/ 119 h 207"/>
                <a:gd name="T10" fmla="*/ 7 w 320"/>
                <a:gd name="T11" fmla="*/ 124 h 207"/>
                <a:gd name="T12" fmla="*/ 0 w 320"/>
                <a:gd name="T13" fmla="*/ 133 h 207"/>
                <a:gd name="T14" fmla="*/ 15 w 320"/>
                <a:gd name="T15" fmla="*/ 153 h 207"/>
                <a:gd name="T16" fmla="*/ 7 w 320"/>
                <a:gd name="T17" fmla="*/ 166 h 207"/>
                <a:gd name="T18" fmla="*/ 24 w 320"/>
                <a:gd name="T19" fmla="*/ 144 h 207"/>
                <a:gd name="T20" fmla="*/ 33 w 320"/>
                <a:gd name="T21" fmla="*/ 141 h 207"/>
                <a:gd name="T22" fmla="*/ 45 w 320"/>
                <a:gd name="T23" fmla="*/ 141 h 207"/>
                <a:gd name="T24" fmla="*/ 61 w 320"/>
                <a:gd name="T25" fmla="*/ 126 h 207"/>
                <a:gd name="T26" fmla="*/ 67 w 320"/>
                <a:gd name="T27" fmla="*/ 115 h 207"/>
                <a:gd name="T28" fmla="*/ 74 w 320"/>
                <a:gd name="T29" fmla="*/ 115 h 207"/>
                <a:gd name="T30" fmla="*/ 65 w 320"/>
                <a:gd name="T31" fmla="*/ 101 h 207"/>
                <a:gd name="T32" fmla="*/ 78 w 320"/>
                <a:gd name="T33" fmla="*/ 110 h 207"/>
                <a:gd name="T34" fmla="*/ 76 w 320"/>
                <a:gd name="T35" fmla="*/ 68 h 207"/>
                <a:gd name="T36" fmla="*/ 18 w 320"/>
                <a:gd name="T37" fmla="*/ 75 h 207"/>
                <a:gd name="T38" fmla="*/ 34 w 320"/>
                <a:gd name="T39" fmla="*/ 95 h 207"/>
                <a:gd name="T40" fmla="*/ 51 w 320"/>
                <a:gd name="T41" fmla="*/ 86 h 207"/>
                <a:gd name="T42" fmla="*/ 56 w 320"/>
                <a:gd name="T43" fmla="*/ 81 h 207"/>
                <a:gd name="T44" fmla="*/ 58 w 320"/>
                <a:gd name="T45" fmla="*/ 74 h 207"/>
                <a:gd name="T46" fmla="*/ 38 w 320"/>
                <a:gd name="T47" fmla="*/ 57 h 207"/>
                <a:gd name="T48" fmla="*/ 16 w 320"/>
                <a:gd name="T49" fmla="*/ 70 h 207"/>
                <a:gd name="T50" fmla="*/ 318 w 320"/>
                <a:gd name="T51" fmla="*/ 29 h 207"/>
                <a:gd name="T52" fmla="*/ 255 w 320"/>
                <a:gd name="T53" fmla="*/ 21 h 207"/>
                <a:gd name="T54" fmla="*/ 215 w 320"/>
                <a:gd name="T55" fmla="*/ 9 h 207"/>
                <a:gd name="T56" fmla="*/ 204 w 320"/>
                <a:gd name="T57" fmla="*/ 5 h 207"/>
                <a:gd name="T58" fmla="*/ 195 w 320"/>
                <a:gd name="T59" fmla="*/ 3 h 207"/>
                <a:gd name="T60" fmla="*/ 186 w 320"/>
                <a:gd name="T61" fmla="*/ 10 h 207"/>
                <a:gd name="T62" fmla="*/ 163 w 320"/>
                <a:gd name="T63" fmla="*/ 14 h 207"/>
                <a:gd name="T64" fmla="*/ 150 w 320"/>
                <a:gd name="T65" fmla="*/ 19 h 207"/>
                <a:gd name="T66" fmla="*/ 143 w 320"/>
                <a:gd name="T67" fmla="*/ 21 h 207"/>
                <a:gd name="T68" fmla="*/ 119 w 320"/>
                <a:gd name="T69" fmla="*/ 23 h 207"/>
                <a:gd name="T70" fmla="*/ 114 w 320"/>
                <a:gd name="T71" fmla="*/ 38 h 207"/>
                <a:gd name="T72" fmla="*/ 90 w 320"/>
                <a:gd name="T73" fmla="*/ 39 h 207"/>
                <a:gd name="T74" fmla="*/ 81 w 320"/>
                <a:gd name="T75" fmla="*/ 61 h 207"/>
                <a:gd name="T76" fmla="*/ 90 w 320"/>
                <a:gd name="T77" fmla="*/ 63 h 207"/>
                <a:gd name="T78" fmla="*/ 80 w 320"/>
                <a:gd name="T79" fmla="*/ 70 h 207"/>
                <a:gd name="T80" fmla="*/ 92 w 320"/>
                <a:gd name="T81" fmla="*/ 83 h 207"/>
                <a:gd name="T82" fmla="*/ 99 w 320"/>
                <a:gd name="T83" fmla="*/ 90 h 207"/>
                <a:gd name="T84" fmla="*/ 85 w 320"/>
                <a:gd name="T85" fmla="*/ 92 h 207"/>
                <a:gd name="T86" fmla="*/ 87 w 320"/>
                <a:gd name="T87" fmla="*/ 104 h 207"/>
                <a:gd name="T88" fmla="*/ 94 w 320"/>
                <a:gd name="T89" fmla="*/ 124 h 207"/>
                <a:gd name="T90" fmla="*/ 101 w 320"/>
                <a:gd name="T91" fmla="*/ 126 h 207"/>
                <a:gd name="T92" fmla="*/ 121 w 320"/>
                <a:gd name="T93" fmla="*/ 131 h 207"/>
                <a:gd name="T94" fmla="*/ 132 w 320"/>
                <a:gd name="T95" fmla="*/ 135 h 207"/>
                <a:gd name="T96" fmla="*/ 125 w 320"/>
                <a:gd name="T97" fmla="*/ 169 h 207"/>
                <a:gd name="T98" fmla="*/ 143 w 320"/>
                <a:gd name="T99" fmla="*/ 162 h 207"/>
                <a:gd name="T100" fmla="*/ 168 w 320"/>
                <a:gd name="T101" fmla="*/ 159 h 207"/>
                <a:gd name="T102" fmla="*/ 175 w 320"/>
                <a:gd name="T103" fmla="*/ 157 h 207"/>
                <a:gd name="T104" fmla="*/ 193 w 320"/>
                <a:gd name="T105" fmla="*/ 168 h 207"/>
                <a:gd name="T106" fmla="*/ 220 w 320"/>
                <a:gd name="T107" fmla="*/ 197 h 207"/>
                <a:gd name="T108" fmla="*/ 237 w 320"/>
                <a:gd name="T109" fmla="*/ 206 h 207"/>
                <a:gd name="T110" fmla="*/ 257 w 320"/>
                <a:gd name="T111" fmla="*/ 198 h 207"/>
                <a:gd name="T112" fmla="*/ 276 w 320"/>
                <a:gd name="T113" fmla="*/ 200 h 207"/>
                <a:gd name="T114" fmla="*/ 284 w 320"/>
                <a:gd name="T115" fmla="*/ 182 h 207"/>
                <a:gd name="T116" fmla="*/ 291 w 320"/>
                <a:gd name="T117" fmla="*/ 166 h 207"/>
                <a:gd name="T118" fmla="*/ 280 w 320"/>
                <a:gd name="T119" fmla="*/ 90 h 207"/>
                <a:gd name="T120" fmla="*/ 314 w 320"/>
                <a:gd name="T121" fmla="*/ 3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0" h="207">
                  <a:moveTo>
                    <a:pt x="72" y="178"/>
                  </a:move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69" y="178"/>
                  </a:lnTo>
                  <a:lnTo>
                    <a:pt x="69" y="180"/>
                  </a:lnTo>
                  <a:lnTo>
                    <a:pt x="70" y="180"/>
                  </a:lnTo>
                  <a:lnTo>
                    <a:pt x="70" y="182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78"/>
                  </a:lnTo>
                  <a:lnTo>
                    <a:pt x="72" y="178"/>
                  </a:lnTo>
                  <a:close/>
                  <a:moveTo>
                    <a:pt x="108" y="146"/>
                  </a:moveTo>
                  <a:lnTo>
                    <a:pt x="107" y="146"/>
                  </a:lnTo>
                  <a:lnTo>
                    <a:pt x="105" y="148"/>
                  </a:lnTo>
                  <a:lnTo>
                    <a:pt x="107" y="150"/>
                  </a:lnTo>
                  <a:lnTo>
                    <a:pt x="107" y="151"/>
                  </a:lnTo>
                  <a:lnTo>
                    <a:pt x="108" y="151"/>
                  </a:lnTo>
                  <a:lnTo>
                    <a:pt x="110" y="150"/>
                  </a:lnTo>
                  <a:lnTo>
                    <a:pt x="110" y="146"/>
                  </a:lnTo>
                  <a:lnTo>
                    <a:pt x="108" y="146"/>
                  </a:lnTo>
                  <a:close/>
                  <a:moveTo>
                    <a:pt x="72" y="115"/>
                  </a:moveTo>
                  <a:lnTo>
                    <a:pt x="70" y="113"/>
                  </a:lnTo>
                  <a:lnTo>
                    <a:pt x="70" y="113"/>
                  </a:lnTo>
                  <a:lnTo>
                    <a:pt x="69" y="112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0"/>
                  </a:lnTo>
                  <a:lnTo>
                    <a:pt x="65" y="108"/>
                  </a:lnTo>
                  <a:lnTo>
                    <a:pt x="63" y="106"/>
                  </a:lnTo>
                  <a:lnTo>
                    <a:pt x="60" y="106"/>
                  </a:lnTo>
                  <a:lnTo>
                    <a:pt x="58" y="104"/>
                  </a:lnTo>
                  <a:lnTo>
                    <a:pt x="56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1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7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3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6" y="101"/>
                  </a:lnTo>
                  <a:lnTo>
                    <a:pt x="33" y="104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22" y="113"/>
                  </a:lnTo>
                  <a:lnTo>
                    <a:pt x="20" y="113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5"/>
                  </a:lnTo>
                  <a:lnTo>
                    <a:pt x="13" y="115"/>
                  </a:lnTo>
                  <a:lnTo>
                    <a:pt x="13" y="119"/>
                  </a:lnTo>
                  <a:lnTo>
                    <a:pt x="13" y="119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19"/>
                  </a:lnTo>
                  <a:lnTo>
                    <a:pt x="11" y="117"/>
                  </a:lnTo>
                  <a:lnTo>
                    <a:pt x="9" y="113"/>
                  </a:lnTo>
                  <a:lnTo>
                    <a:pt x="9" y="112"/>
                  </a:lnTo>
                  <a:lnTo>
                    <a:pt x="7" y="112"/>
                  </a:lnTo>
                  <a:lnTo>
                    <a:pt x="5" y="112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0" y="112"/>
                  </a:lnTo>
                  <a:lnTo>
                    <a:pt x="2" y="113"/>
                  </a:lnTo>
                  <a:lnTo>
                    <a:pt x="4" y="115"/>
                  </a:lnTo>
                  <a:lnTo>
                    <a:pt x="4" y="117"/>
                  </a:lnTo>
                  <a:lnTo>
                    <a:pt x="5" y="119"/>
                  </a:lnTo>
                  <a:lnTo>
                    <a:pt x="5" y="121"/>
                  </a:lnTo>
                  <a:lnTo>
                    <a:pt x="7" y="124"/>
                  </a:lnTo>
                  <a:lnTo>
                    <a:pt x="9" y="126"/>
                  </a:lnTo>
                  <a:lnTo>
                    <a:pt x="9" y="128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5" y="128"/>
                  </a:lnTo>
                  <a:lnTo>
                    <a:pt x="7" y="130"/>
                  </a:lnTo>
                  <a:lnTo>
                    <a:pt x="5" y="131"/>
                  </a:lnTo>
                  <a:lnTo>
                    <a:pt x="5" y="130"/>
                  </a:lnTo>
                  <a:lnTo>
                    <a:pt x="4" y="130"/>
                  </a:lnTo>
                  <a:lnTo>
                    <a:pt x="4" y="128"/>
                  </a:lnTo>
                  <a:lnTo>
                    <a:pt x="2" y="128"/>
                  </a:lnTo>
                  <a:lnTo>
                    <a:pt x="2" y="130"/>
                  </a:lnTo>
                  <a:lnTo>
                    <a:pt x="4" y="131"/>
                  </a:lnTo>
                  <a:lnTo>
                    <a:pt x="4" y="133"/>
                  </a:lnTo>
                  <a:lnTo>
                    <a:pt x="2" y="131"/>
                  </a:lnTo>
                  <a:lnTo>
                    <a:pt x="0" y="131"/>
                  </a:lnTo>
                  <a:lnTo>
                    <a:pt x="0" y="133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11" y="144"/>
                  </a:lnTo>
                  <a:lnTo>
                    <a:pt x="13" y="144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16" y="150"/>
                  </a:lnTo>
                  <a:lnTo>
                    <a:pt x="16" y="151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5" y="153"/>
                  </a:lnTo>
                  <a:lnTo>
                    <a:pt x="15" y="153"/>
                  </a:lnTo>
                  <a:lnTo>
                    <a:pt x="15" y="153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1" y="157"/>
                  </a:lnTo>
                  <a:lnTo>
                    <a:pt x="9" y="159"/>
                  </a:lnTo>
                  <a:lnTo>
                    <a:pt x="9" y="160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6"/>
                  </a:lnTo>
                  <a:lnTo>
                    <a:pt x="9" y="166"/>
                  </a:lnTo>
                  <a:lnTo>
                    <a:pt x="7" y="168"/>
                  </a:lnTo>
                  <a:lnTo>
                    <a:pt x="9" y="169"/>
                  </a:lnTo>
                  <a:lnTo>
                    <a:pt x="11" y="169"/>
                  </a:lnTo>
                  <a:lnTo>
                    <a:pt x="18" y="162"/>
                  </a:lnTo>
                  <a:lnTo>
                    <a:pt x="18" y="162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20" y="159"/>
                  </a:lnTo>
                  <a:lnTo>
                    <a:pt x="20" y="157"/>
                  </a:lnTo>
                  <a:lnTo>
                    <a:pt x="20" y="157"/>
                  </a:lnTo>
                  <a:lnTo>
                    <a:pt x="22" y="151"/>
                  </a:lnTo>
                  <a:lnTo>
                    <a:pt x="22" y="150"/>
                  </a:lnTo>
                  <a:lnTo>
                    <a:pt x="22" y="148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4" y="144"/>
                  </a:lnTo>
                  <a:lnTo>
                    <a:pt x="24" y="142"/>
                  </a:lnTo>
                  <a:lnTo>
                    <a:pt x="25" y="142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27" y="139"/>
                  </a:lnTo>
                  <a:lnTo>
                    <a:pt x="29" y="139"/>
                  </a:lnTo>
                  <a:lnTo>
                    <a:pt x="29" y="141"/>
                  </a:lnTo>
                  <a:lnTo>
                    <a:pt x="29" y="141"/>
                  </a:lnTo>
                  <a:lnTo>
                    <a:pt x="31" y="139"/>
                  </a:lnTo>
                  <a:lnTo>
                    <a:pt x="31" y="139"/>
                  </a:lnTo>
                  <a:lnTo>
                    <a:pt x="31" y="139"/>
                  </a:lnTo>
                  <a:lnTo>
                    <a:pt x="33" y="137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3" y="141"/>
                  </a:lnTo>
                  <a:lnTo>
                    <a:pt x="34" y="141"/>
                  </a:lnTo>
                  <a:lnTo>
                    <a:pt x="34" y="141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2" y="139"/>
                  </a:lnTo>
                  <a:lnTo>
                    <a:pt x="42" y="141"/>
                  </a:lnTo>
                  <a:lnTo>
                    <a:pt x="45" y="141"/>
                  </a:lnTo>
                  <a:lnTo>
                    <a:pt x="47" y="139"/>
                  </a:lnTo>
                  <a:lnTo>
                    <a:pt x="43" y="137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9" y="135"/>
                  </a:lnTo>
                  <a:lnTo>
                    <a:pt x="49" y="135"/>
                  </a:lnTo>
                  <a:lnTo>
                    <a:pt x="51" y="135"/>
                  </a:lnTo>
                  <a:lnTo>
                    <a:pt x="51" y="133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4" y="131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6" y="124"/>
                  </a:lnTo>
                  <a:lnTo>
                    <a:pt x="58" y="124"/>
                  </a:lnTo>
                  <a:lnTo>
                    <a:pt x="60" y="126"/>
                  </a:lnTo>
                  <a:lnTo>
                    <a:pt x="61" y="126"/>
                  </a:lnTo>
                  <a:lnTo>
                    <a:pt x="61" y="124"/>
                  </a:lnTo>
                  <a:lnTo>
                    <a:pt x="63" y="124"/>
                  </a:lnTo>
                  <a:lnTo>
                    <a:pt x="63" y="122"/>
                  </a:lnTo>
                  <a:lnTo>
                    <a:pt x="63" y="122"/>
                  </a:lnTo>
                  <a:lnTo>
                    <a:pt x="63" y="122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5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9"/>
                  </a:lnTo>
                  <a:lnTo>
                    <a:pt x="70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74" y="119"/>
                  </a:lnTo>
                  <a:lnTo>
                    <a:pt x="76" y="117"/>
                  </a:lnTo>
                  <a:lnTo>
                    <a:pt x="74" y="115"/>
                  </a:lnTo>
                  <a:lnTo>
                    <a:pt x="72" y="115"/>
                  </a:lnTo>
                  <a:close/>
                  <a:moveTo>
                    <a:pt x="78" y="106"/>
                  </a:moveTo>
                  <a:lnTo>
                    <a:pt x="78" y="104"/>
                  </a:lnTo>
                  <a:lnTo>
                    <a:pt x="76" y="104"/>
                  </a:lnTo>
                  <a:lnTo>
                    <a:pt x="76" y="103"/>
                  </a:lnTo>
                  <a:lnTo>
                    <a:pt x="76" y="103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2" y="97"/>
                  </a:lnTo>
                  <a:lnTo>
                    <a:pt x="69" y="95"/>
                  </a:lnTo>
                  <a:lnTo>
                    <a:pt x="67" y="95"/>
                  </a:lnTo>
                  <a:lnTo>
                    <a:pt x="67" y="97"/>
                  </a:lnTo>
                  <a:lnTo>
                    <a:pt x="65" y="97"/>
                  </a:lnTo>
                  <a:lnTo>
                    <a:pt x="65" y="99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3" y="101"/>
                  </a:lnTo>
                  <a:lnTo>
                    <a:pt x="63" y="101"/>
                  </a:lnTo>
                  <a:lnTo>
                    <a:pt x="61" y="101"/>
                  </a:lnTo>
                  <a:lnTo>
                    <a:pt x="61" y="104"/>
                  </a:lnTo>
                  <a:lnTo>
                    <a:pt x="63" y="104"/>
                  </a:lnTo>
                  <a:lnTo>
                    <a:pt x="65" y="106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2" y="110"/>
                  </a:lnTo>
                  <a:lnTo>
                    <a:pt x="72" y="110"/>
                  </a:lnTo>
                  <a:lnTo>
                    <a:pt x="74" y="110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08"/>
                  </a:lnTo>
                  <a:lnTo>
                    <a:pt x="78" y="108"/>
                  </a:lnTo>
                  <a:lnTo>
                    <a:pt x="78" y="106"/>
                  </a:lnTo>
                  <a:close/>
                  <a:moveTo>
                    <a:pt x="67" y="68"/>
                  </a:moveTo>
                  <a:lnTo>
                    <a:pt x="67" y="68"/>
                  </a:lnTo>
                  <a:lnTo>
                    <a:pt x="67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6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2" y="68"/>
                  </a:lnTo>
                  <a:lnTo>
                    <a:pt x="74" y="68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8"/>
                  </a:lnTo>
                  <a:lnTo>
                    <a:pt x="78" y="68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5"/>
                  </a:lnTo>
                  <a:lnTo>
                    <a:pt x="78" y="63"/>
                  </a:lnTo>
                  <a:lnTo>
                    <a:pt x="76" y="61"/>
                  </a:lnTo>
                  <a:lnTo>
                    <a:pt x="74" y="61"/>
                  </a:lnTo>
                  <a:lnTo>
                    <a:pt x="72" y="63"/>
                  </a:lnTo>
                  <a:lnTo>
                    <a:pt x="69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5" y="61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7" y="68"/>
                  </a:lnTo>
                  <a:close/>
                  <a:moveTo>
                    <a:pt x="18" y="75"/>
                  </a:moveTo>
                  <a:lnTo>
                    <a:pt x="20" y="75"/>
                  </a:lnTo>
                  <a:lnTo>
                    <a:pt x="24" y="75"/>
                  </a:lnTo>
                  <a:lnTo>
                    <a:pt x="25" y="75"/>
                  </a:lnTo>
                  <a:lnTo>
                    <a:pt x="27" y="75"/>
                  </a:lnTo>
                  <a:lnTo>
                    <a:pt x="27" y="77"/>
                  </a:lnTo>
                  <a:lnTo>
                    <a:pt x="31" y="79"/>
                  </a:lnTo>
                  <a:lnTo>
                    <a:pt x="31" y="81"/>
                  </a:lnTo>
                  <a:lnTo>
                    <a:pt x="31" y="83"/>
                  </a:lnTo>
                  <a:lnTo>
                    <a:pt x="31" y="85"/>
                  </a:lnTo>
                  <a:lnTo>
                    <a:pt x="31" y="86"/>
                  </a:lnTo>
                  <a:lnTo>
                    <a:pt x="33" y="88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4"/>
                  </a:lnTo>
                  <a:lnTo>
                    <a:pt x="34" y="95"/>
                  </a:lnTo>
                  <a:lnTo>
                    <a:pt x="36" y="95"/>
                  </a:lnTo>
                  <a:lnTo>
                    <a:pt x="40" y="95"/>
                  </a:lnTo>
                  <a:lnTo>
                    <a:pt x="42" y="94"/>
                  </a:lnTo>
                  <a:lnTo>
                    <a:pt x="43" y="92"/>
                  </a:lnTo>
                  <a:lnTo>
                    <a:pt x="45" y="86"/>
                  </a:lnTo>
                  <a:lnTo>
                    <a:pt x="45" y="85"/>
                  </a:lnTo>
                  <a:lnTo>
                    <a:pt x="47" y="83"/>
                  </a:lnTo>
                  <a:lnTo>
                    <a:pt x="47" y="83"/>
                  </a:lnTo>
                  <a:lnTo>
                    <a:pt x="49" y="81"/>
                  </a:lnTo>
                  <a:lnTo>
                    <a:pt x="49" y="83"/>
                  </a:lnTo>
                  <a:lnTo>
                    <a:pt x="51" y="83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47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51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5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0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6"/>
                  </a:lnTo>
                  <a:lnTo>
                    <a:pt x="51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3" y="63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43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36" y="61"/>
                  </a:lnTo>
                  <a:lnTo>
                    <a:pt x="36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3" y="63"/>
                  </a:lnTo>
                  <a:lnTo>
                    <a:pt x="33" y="66"/>
                  </a:lnTo>
                  <a:lnTo>
                    <a:pt x="33" y="66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1" y="68"/>
                  </a:lnTo>
                  <a:lnTo>
                    <a:pt x="33" y="68"/>
                  </a:lnTo>
                  <a:lnTo>
                    <a:pt x="16" y="70"/>
                  </a:lnTo>
                  <a:lnTo>
                    <a:pt x="13" y="70"/>
                  </a:lnTo>
                  <a:lnTo>
                    <a:pt x="11" y="70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8" y="75"/>
                  </a:lnTo>
                  <a:close/>
                  <a:moveTo>
                    <a:pt x="134" y="12"/>
                  </a:moveTo>
                  <a:lnTo>
                    <a:pt x="136" y="12"/>
                  </a:lnTo>
                  <a:lnTo>
                    <a:pt x="136" y="10"/>
                  </a:lnTo>
                  <a:lnTo>
                    <a:pt x="136" y="9"/>
                  </a:lnTo>
                  <a:lnTo>
                    <a:pt x="134" y="7"/>
                  </a:lnTo>
                  <a:lnTo>
                    <a:pt x="134" y="7"/>
                  </a:lnTo>
                  <a:lnTo>
                    <a:pt x="134" y="9"/>
                  </a:lnTo>
                  <a:lnTo>
                    <a:pt x="134" y="10"/>
                  </a:lnTo>
                  <a:lnTo>
                    <a:pt x="134" y="12"/>
                  </a:lnTo>
                  <a:close/>
                  <a:moveTo>
                    <a:pt x="320" y="30"/>
                  </a:moveTo>
                  <a:lnTo>
                    <a:pt x="318" y="29"/>
                  </a:lnTo>
                  <a:lnTo>
                    <a:pt x="318" y="29"/>
                  </a:lnTo>
                  <a:lnTo>
                    <a:pt x="316" y="27"/>
                  </a:lnTo>
                  <a:lnTo>
                    <a:pt x="316" y="25"/>
                  </a:lnTo>
                  <a:lnTo>
                    <a:pt x="314" y="23"/>
                  </a:lnTo>
                  <a:lnTo>
                    <a:pt x="312" y="23"/>
                  </a:lnTo>
                  <a:lnTo>
                    <a:pt x="311" y="19"/>
                  </a:lnTo>
                  <a:lnTo>
                    <a:pt x="309" y="23"/>
                  </a:lnTo>
                  <a:lnTo>
                    <a:pt x="309" y="25"/>
                  </a:lnTo>
                  <a:lnTo>
                    <a:pt x="305" y="27"/>
                  </a:lnTo>
                  <a:lnTo>
                    <a:pt x="303" y="27"/>
                  </a:lnTo>
                  <a:lnTo>
                    <a:pt x="296" y="25"/>
                  </a:lnTo>
                  <a:lnTo>
                    <a:pt x="289" y="25"/>
                  </a:lnTo>
                  <a:lnTo>
                    <a:pt x="280" y="23"/>
                  </a:lnTo>
                  <a:lnTo>
                    <a:pt x="275" y="23"/>
                  </a:lnTo>
                  <a:lnTo>
                    <a:pt x="266" y="23"/>
                  </a:lnTo>
                  <a:lnTo>
                    <a:pt x="257" y="23"/>
                  </a:lnTo>
                  <a:lnTo>
                    <a:pt x="257" y="21"/>
                  </a:lnTo>
                  <a:lnTo>
                    <a:pt x="255" y="21"/>
                  </a:lnTo>
                  <a:lnTo>
                    <a:pt x="251" y="19"/>
                  </a:lnTo>
                  <a:lnTo>
                    <a:pt x="249" y="18"/>
                  </a:lnTo>
                  <a:lnTo>
                    <a:pt x="247" y="14"/>
                  </a:lnTo>
                  <a:lnTo>
                    <a:pt x="246" y="14"/>
                  </a:lnTo>
                  <a:lnTo>
                    <a:pt x="244" y="12"/>
                  </a:lnTo>
                  <a:lnTo>
                    <a:pt x="242" y="12"/>
                  </a:lnTo>
                  <a:lnTo>
                    <a:pt x="240" y="10"/>
                  </a:lnTo>
                  <a:lnTo>
                    <a:pt x="238" y="12"/>
                  </a:lnTo>
                  <a:lnTo>
                    <a:pt x="237" y="12"/>
                  </a:lnTo>
                  <a:lnTo>
                    <a:pt x="237" y="14"/>
                  </a:lnTo>
                  <a:lnTo>
                    <a:pt x="235" y="14"/>
                  </a:lnTo>
                  <a:lnTo>
                    <a:pt x="233" y="12"/>
                  </a:lnTo>
                  <a:lnTo>
                    <a:pt x="231" y="10"/>
                  </a:lnTo>
                  <a:lnTo>
                    <a:pt x="228" y="10"/>
                  </a:lnTo>
                  <a:lnTo>
                    <a:pt x="226" y="9"/>
                  </a:lnTo>
                  <a:lnTo>
                    <a:pt x="224" y="9"/>
                  </a:lnTo>
                  <a:lnTo>
                    <a:pt x="215" y="9"/>
                  </a:lnTo>
                  <a:lnTo>
                    <a:pt x="215" y="9"/>
                  </a:lnTo>
                  <a:lnTo>
                    <a:pt x="215" y="7"/>
                  </a:lnTo>
                  <a:lnTo>
                    <a:pt x="215" y="7"/>
                  </a:lnTo>
                  <a:lnTo>
                    <a:pt x="215" y="7"/>
                  </a:lnTo>
                  <a:lnTo>
                    <a:pt x="213" y="5"/>
                  </a:lnTo>
                  <a:lnTo>
                    <a:pt x="211" y="3"/>
                  </a:lnTo>
                  <a:lnTo>
                    <a:pt x="210" y="3"/>
                  </a:lnTo>
                  <a:lnTo>
                    <a:pt x="210" y="3"/>
                  </a:lnTo>
                  <a:lnTo>
                    <a:pt x="210" y="5"/>
                  </a:lnTo>
                  <a:lnTo>
                    <a:pt x="210" y="5"/>
                  </a:lnTo>
                  <a:lnTo>
                    <a:pt x="210" y="7"/>
                  </a:lnTo>
                  <a:lnTo>
                    <a:pt x="210" y="7"/>
                  </a:lnTo>
                  <a:lnTo>
                    <a:pt x="208" y="7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4" y="3"/>
                  </a:lnTo>
                  <a:lnTo>
                    <a:pt x="204" y="5"/>
                  </a:lnTo>
                  <a:lnTo>
                    <a:pt x="204" y="7"/>
                  </a:lnTo>
                  <a:lnTo>
                    <a:pt x="204" y="9"/>
                  </a:lnTo>
                  <a:lnTo>
                    <a:pt x="202" y="9"/>
                  </a:lnTo>
                  <a:lnTo>
                    <a:pt x="202" y="9"/>
                  </a:lnTo>
                  <a:lnTo>
                    <a:pt x="202" y="9"/>
                  </a:lnTo>
                  <a:lnTo>
                    <a:pt x="201" y="9"/>
                  </a:lnTo>
                  <a:lnTo>
                    <a:pt x="201" y="7"/>
                  </a:lnTo>
                  <a:lnTo>
                    <a:pt x="201" y="5"/>
                  </a:lnTo>
                  <a:lnTo>
                    <a:pt x="199" y="3"/>
                  </a:lnTo>
                  <a:lnTo>
                    <a:pt x="201" y="3"/>
                  </a:lnTo>
                  <a:lnTo>
                    <a:pt x="197" y="0"/>
                  </a:lnTo>
                  <a:lnTo>
                    <a:pt x="195" y="0"/>
                  </a:lnTo>
                  <a:lnTo>
                    <a:pt x="195" y="1"/>
                  </a:lnTo>
                  <a:lnTo>
                    <a:pt x="195" y="1"/>
                  </a:lnTo>
                  <a:lnTo>
                    <a:pt x="195" y="1"/>
                  </a:lnTo>
                  <a:lnTo>
                    <a:pt x="195" y="1"/>
                  </a:lnTo>
                  <a:lnTo>
                    <a:pt x="195" y="3"/>
                  </a:lnTo>
                  <a:lnTo>
                    <a:pt x="195" y="5"/>
                  </a:lnTo>
                  <a:lnTo>
                    <a:pt x="197" y="7"/>
                  </a:lnTo>
                  <a:lnTo>
                    <a:pt x="197" y="9"/>
                  </a:lnTo>
                  <a:lnTo>
                    <a:pt x="195" y="9"/>
                  </a:lnTo>
                  <a:lnTo>
                    <a:pt x="195" y="10"/>
                  </a:lnTo>
                  <a:lnTo>
                    <a:pt x="193" y="9"/>
                  </a:lnTo>
                  <a:lnTo>
                    <a:pt x="191" y="9"/>
                  </a:lnTo>
                  <a:lnTo>
                    <a:pt x="190" y="5"/>
                  </a:lnTo>
                  <a:lnTo>
                    <a:pt x="190" y="5"/>
                  </a:lnTo>
                  <a:lnTo>
                    <a:pt x="188" y="5"/>
                  </a:lnTo>
                  <a:lnTo>
                    <a:pt x="188" y="3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4" y="1"/>
                  </a:lnTo>
                  <a:lnTo>
                    <a:pt x="184" y="5"/>
                  </a:lnTo>
                  <a:lnTo>
                    <a:pt x="186" y="9"/>
                  </a:lnTo>
                  <a:lnTo>
                    <a:pt x="186" y="10"/>
                  </a:lnTo>
                  <a:lnTo>
                    <a:pt x="188" y="10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2" y="12"/>
                  </a:lnTo>
                  <a:lnTo>
                    <a:pt x="181" y="14"/>
                  </a:lnTo>
                  <a:lnTo>
                    <a:pt x="181" y="14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0" y="14"/>
                  </a:lnTo>
                  <a:lnTo>
                    <a:pt x="168" y="12"/>
                  </a:lnTo>
                  <a:lnTo>
                    <a:pt x="166" y="12"/>
                  </a:lnTo>
                  <a:lnTo>
                    <a:pt x="166" y="12"/>
                  </a:lnTo>
                  <a:lnTo>
                    <a:pt x="166" y="16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3" y="14"/>
                  </a:lnTo>
                  <a:lnTo>
                    <a:pt x="161" y="14"/>
                  </a:lnTo>
                  <a:lnTo>
                    <a:pt x="157" y="14"/>
                  </a:lnTo>
                  <a:lnTo>
                    <a:pt x="155" y="14"/>
                  </a:lnTo>
                  <a:lnTo>
                    <a:pt x="152" y="10"/>
                  </a:lnTo>
                  <a:lnTo>
                    <a:pt x="150" y="9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12"/>
                  </a:lnTo>
                  <a:lnTo>
                    <a:pt x="150" y="12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50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0" y="19"/>
                  </a:lnTo>
                  <a:lnTo>
                    <a:pt x="150" y="19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6" y="19"/>
                  </a:lnTo>
                  <a:lnTo>
                    <a:pt x="146" y="18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3" y="18"/>
                  </a:lnTo>
                  <a:lnTo>
                    <a:pt x="143" y="18"/>
                  </a:lnTo>
                  <a:lnTo>
                    <a:pt x="143" y="18"/>
                  </a:lnTo>
                  <a:lnTo>
                    <a:pt x="141" y="18"/>
                  </a:lnTo>
                  <a:lnTo>
                    <a:pt x="141" y="19"/>
                  </a:lnTo>
                  <a:lnTo>
                    <a:pt x="143" y="19"/>
                  </a:lnTo>
                  <a:lnTo>
                    <a:pt x="143" y="19"/>
                  </a:lnTo>
                  <a:lnTo>
                    <a:pt x="143" y="21"/>
                  </a:lnTo>
                  <a:lnTo>
                    <a:pt x="143" y="21"/>
                  </a:lnTo>
                  <a:lnTo>
                    <a:pt x="141" y="21"/>
                  </a:lnTo>
                  <a:lnTo>
                    <a:pt x="139" y="19"/>
                  </a:lnTo>
                  <a:lnTo>
                    <a:pt x="137" y="19"/>
                  </a:lnTo>
                  <a:lnTo>
                    <a:pt x="137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4" y="19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6" y="18"/>
                  </a:lnTo>
                  <a:lnTo>
                    <a:pt x="126" y="19"/>
                  </a:lnTo>
                  <a:lnTo>
                    <a:pt x="126" y="21"/>
                  </a:lnTo>
                  <a:lnTo>
                    <a:pt x="125" y="23"/>
                  </a:lnTo>
                  <a:lnTo>
                    <a:pt x="123" y="23"/>
                  </a:lnTo>
                  <a:lnTo>
                    <a:pt x="119" y="23"/>
                  </a:lnTo>
                  <a:lnTo>
                    <a:pt x="117" y="25"/>
                  </a:lnTo>
                  <a:lnTo>
                    <a:pt x="119" y="25"/>
                  </a:lnTo>
                  <a:lnTo>
                    <a:pt x="121" y="27"/>
                  </a:lnTo>
                  <a:lnTo>
                    <a:pt x="121" y="29"/>
                  </a:lnTo>
                  <a:lnTo>
                    <a:pt x="119" y="30"/>
                  </a:lnTo>
                  <a:lnTo>
                    <a:pt x="117" y="29"/>
                  </a:lnTo>
                  <a:lnTo>
                    <a:pt x="116" y="27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7"/>
                  </a:lnTo>
                  <a:lnTo>
                    <a:pt x="110" y="29"/>
                  </a:lnTo>
                  <a:lnTo>
                    <a:pt x="112" y="29"/>
                  </a:lnTo>
                  <a:lnTo>
                    <a:pt x="114" y="34"/>
                  </a:lnTo>
                  <a:lnTo>
                    <a:pt x="116" y="36"/>
                  </a:lnTo>
                  <a:lnTo>
                    <a:pt x="114" y="38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07" y="36"/>
                  </a:lnTo>
                  <a:lnTo>
                    <a:pt x="105" y="36"/>
                  </a:lnTo>
                  <a:lnTo>
                    <a:pt x="103" y="36"/>
                  </a:lnTo>
                  <a:lnTo>
                    <a:pt x="98" y="36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8" y="39"/>
                  </a:lnTo>
                  <a:lnTo>
                    <a:pt x="98" y="39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96" y="41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0" y="39"/>
                  </a:lnTo>
                  <a:lnTo>
                    <a:pt x="90" y="39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3" y="43"/>
                  </a:lnTo>
                  <a:lnTo>
                    <a:pt x="83" y="47"/>
                  </a:lnTo>
                  <a:lnTo>
                    <a:pt x="85" y="50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4"/>
                  </a:lnTo>
                  <a:lnTo>
                    <a:pt x="83" y="56"/>
                  </a:lnTo>
                  <a:lnTo>
                    <a:pt x="81" y="57"/>
                  </a:lnTo>
                  <a:lnTo>
                    <a:pt x="81" y="59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1" y="63"/>
                  </a:lnTo>
                  <a:lnTo>
                    <a:pt x="83" y="65"/>
                  </a:lnTo>
                  <a:lnTo>
                    <a:pt x="85" y="65"/>
                  </a:lnTo>
                  <a:lnTo>
                    <a:pt x="87" y="65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9" y="63"/>
                  </a:lnTo>
                  <a:lnTo>
                    <a:pt x="89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1"/>
                  </a:lnTo>
                  <a:lnTo>
                    <a:pt x="89" y="59"/>
                  </a:lnTo>
                  <a:lnTo>
                    <a:pt x="87" y="57"/>
                  </a:lnTo>
                  <a:lnTo>
                    <a:pt x="89" y="59"/>
                  </a:lnTo>
                  <a:lnTo>
                    <a:pt x="90" y="59"/>
                  </a:lnTo>
                  <a:lnTo>
                    <a:pt x="90" y="61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89" y="68"/>
                  </a:lnTo>
                  <a:lnTo>
                    <a:pt x="87" y="68"/>
                  </a:lnTo>
                  <a:lnTo>
                    <a:pt x="87" y="68"/>
                  </a:lnTo>
                  <a:lnTo>
                    <a:pt x="87" y="68"/>
                  </a:lnTo>
                  <a:lnTo>
                    <a:pt x="85" y="68"/>
                  </a:lnTo>
                  <a:lnTo>
                    <a:pt x="81" y="68"/>
                  </a:lnTo>
                  <a:lnTo>
                    <a:pt x="80" y="70"/>
                  </a:lnTo>
                  <a:lnTo>
                    <a:pt x="80" y="72"/>
                  </a:lnTo>
                  <a:lnTo>
                    <a:pt x="81" y="74"/>
                  </a:lnTo>
                  <a:lnTo>
                    <a:pt x="83" y="75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3" y="81"/>
                  </a:lnTo>
                  <a:lnTo>
                    <a:pt x="83" y="83"/>
                  </a:lnTo>
                  <a:lnTo>
                    <a:pt x="80" y="86"/>
                  </a:lnTo>
                  <a:lnTo>
                    <a:pt x="83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92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8" y="85"/>
                  </a:lnTo>
                  <a:lnTo>
                    <a:pt x="98" y="83"/>
                  </a:lnTo>
                  <a:lnTo>
                    <a:pt x="99" y="83"/>
                  </a:lnTo>
                  <a:lnTo>
                    <a:pt x="101" y="85"/>
                  </a:lnTo>
                  <a:lnTo>
                    <a:pt x="103" y="86"/>
                  </a:lnTo>
                  <a:lnTo>
                    <a:pt x="101" y="85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8" y="85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8" y="90"/>
                  </a:lnTo>
                  <a:lnTo>
                    <a:pt x="96" y="90"/>
                  </a:lnTo>
                  <a:lnTo>
                    <a:pt x="94" y="88"/>
                  </a:lnTo>
                  <a:lnTo>
                    <a:pt x="94" y="88"/>
                  </a:lnTo>
                  <a:lnTo>
                    <a:pt x="92" y="88"/>
                  </a:lnTo>
                  <a:lnTo>
                    <a:pt x="90" y="88"/>
                  </a:lnTo>
                  <a:lnTo>
                    <a:pt x="89" y="88"/>
                  </a:lnTo>
                  <a:lnTo>
                    <a:pt x="87" y="88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5" y="90"/>
                  </a:lnTo>
                  <a:lnTo>
                    <a:pt x="87" y="90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3" y="92"/>
                  </a:lnTo>
                  <a:lnTo>
                    <a:pt x="83" y="95"/>
                  </a:lnTo>
                  <a:lnTo>
                    <a:pt x="83" y="97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5" y="103"/>
                  </a:lnTo>
                  <a:lnTo>
                    <a:pt x="83" y="103"/>
                  </a:lnTo>
                  <a:lnTo>
                    <a:pt x="83" y="104"/>
                  </a:lnTo>
                  <a:lnTo>
                    <a:pt x="83" y="106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85" y="104"/>
                  </a:lnTo>
                  <a:lnTo>
                    <a:pt x="87" y="104"/>
                  </a:lnTo>
                  <a:lnTo>
                    <a:pt x="87" y="103"/>
                  </a:lnTo>
                  <a:lnTo>
                    <a:pt x="87" y="104"/>
                  </a:lnTo>
                  <a:lnTo>
                    <a:pt x="87" y="104"/>
                  </a:lnTo>
                  <a:lnTo>
                    <a:pt x="87" y="106"/>
                  </a:lnTo>
                  <a:lnTo>
                    <a:pt x="89" y="108"/>
                  </a:lnTo>
                  <a:lnTo>
                    <a:pt x="89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2" y="108"/>
                  </a:lnTo>
                  <a:lnTo>
                    <a:pt x="92" y="110"/>
                  </a:lnTo>
                  <a:lnTo>
                    <a:pt x="92" y="112"/>
                  </a:lnTo>
                  <a:lnTo>
                    <a:pt x="92" y="115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2" y="119"/>
                  </a:lnTo>
                  <a:lnTo>
                    <a:pt x="92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2"/>
                  </a:lnTo>
                  <a:lnTo>
                    <a:pt x="94" y="124"/>
                  </a:lnTo>
                  <a:lnTo>
                    <a:pt x="94" y="124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8" y="126"/>
                  </a:lnTo>
                  <a:lnTo>
                    <a:pt x="98" y="126"/>
                  </a:lnTo>
                  <a:lnTo>
                    <a:pt x="98" y="126"/>
                  </a:lnTo>
                  <a:lnTo>
                    <a:pt x="98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8"/>
                  </a:lnTo>
                  <a:lnTo>
                    <a:pt x="103" y="128"/>
                  </a:lnTo>
                  <a:lnTo>
                    <a:pt x="107" y="130"/>
                  </a:lnTo>
                  <a:lnTo>
                    <a:pt x="108" y="131"/>
                  </a:lnTo>
                  <a:lnTo>
                    <a:pt x="110" y="133"/>
                  </a:lnTo>
                  <a:lnTo>
                    <a:pt x="112" y="135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16" y="133"/>
                  </a:lnTo>
                  <a:lnTo>
                    <a:pt x="116" y="133"/>
                  </a:lnTo>
                  <a:lnTo>
                    <a:pt x="117" y="133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3" y="130"/>
                  </a:lnTo>
                  <a:lnTo>
                    <a:pt x="123" y="128"/>
                  </a:lnTo>
                  <a:lnTo>
                    <a:pt x="123" y="128"/>
                  </a:lnTo>
                  <a:lnTo>
                    <a:pt x="123" y="126"/>
                  </a:lnTo>
                  <a:lnTo>
                    <a:pt x="123" y="124"/>
                  </a:lnTo>
                  <a:lnTo>
                    <a:pt x="125" y="124"/>
                  </a:lnTo>
                  <a:lnTo>
                    <a:pt x="125" y="122"/>
                  </a:lnTo>
                  <a:lnTo>
                    <a:pt x="126" y="122"/>
                  </a:lnTo>
                  <a:lnTo>
                    <a:pt x="128" y="122"/>
                  </a:lnTo>
                  <a:lnTo>
                    <a:pt x="130" y="122"/>
                  </a:lnTo>
                  <a:lnTo>
                    <a:pt x="136" y="126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6" y="133"/>
                  </a:lnTo>
                  <a:lnTo>
                    <a:pt x="134" y="133"/>
                  </a:lnTo>
                  <a:lnTo>
                    <a:pt x="132" y="135"/>
                  </a:lnTo>
                  <a:lnTo>
                    <a:pt x="132" y="135"/>
                  </a:lnTo>
                  <a:lnTo>
                    <a:pt x="132" y="137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0" y="141"/>
                  </a:lnTo>
                  <a:lnTo>
                    <a:pt x="130" y="142"/>
                  </a:lnTo>
                  <a:lnTo>
                    <a:pt x="130" y="142"/>
                  </a:lnTo>
                  <a:lnTo>
                    <a:pt x="132" y="144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0" y="153"/>
                  </a:lnTo>
                  <a:lnTo>
                    <a:pt x="130" y="155"/>
                  </a:lnTo>
                  <a:lnTo>
                    <a:pt x="128" y="157"/>
                  </a:lnTo>
                  <a:lnTo>
                    <a:pt x="126" y="160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9"/>
                  </a:lnTo>
                  <a:lnTo>
                    <a:pt x="123" y="169"/>
                  </a:lnTo>
                  <a:lnTo>
                    <a:pt x="123" y="171"/>
                  </a:lnTo>
                  <a:lnTo>
                    <a:pt x="123" y="171"/>
                  </a:lnTo>
                  <a:lnTo>
                    <a:pt x="123" y="171"/>
                  </a:lnTo>
                  <a:lnTo>
                    <a:pt x="125" y="173"/>
                  </a:lnTo>
                  <a:lnTo>
                    <a:pt x="126" y="173"/>
                  </a:lnTo>
                  <a:lnTo>
                    <a:pt x="128" y="173"/>
                  </a:lnTo>
                  <a:lnTo>
                    <a:pt x="128" y="171"/>
                  </a:lnTo>
                  <a:lnTo>
                    <a:pt x="128" y="169"/>
                  </a:lnTo>
                  <a:lnTo>
                    <a:pt x="130" y="168"/>
                  </a:lnTo>
                  <a:lnTo>
                    <a:pt x="132" y="168"/>
                  </a:lnTo>
                  <a:lnTo>
                    <a:pt x="134" y="166"/>
                  </a:lnTo>
                  <a:lnTo>
                    <a:pt x="136" y="164"/>
                  </a:lnTo>
                  <a:lnTo>
                    <a:pt x="139" y="166"/>
                  </a:lnTo>
                  <a:lnTo>
                    <a:pt x="141" y="164"/>
                  </a:lnTo>
                  <a:lnTo>
                    <a:pt x="143" y="164"/>
                  </a:lnTo>
                  <a:lnTo>
                    <a:pt x="143" y="162"/>
                  </a:lnTo>
                  <a:lnTo>
                    <a:pt x="145" y="160"/>
                  </a:lnTo>
                  <a:lnTo>
                    <a:pt x="146" y="160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50" y="160"/>
                  </a:lnTo>
                  <a:lnTo>
                    <a:pt x="152" y="160"/>
                  </a:lnTo>
                  <a:lnTo>
                    <a:pt x="155" y="160"/>
                  </a:lnTo>
                  <a:lnTo>
                    <a:pt x="157" y="159"/>
                  </a:lnTo>
                  <a:lnTo>
                    <a:pt x="159" y="155"/>
                  </a:lnTo>
                  <a:lnTo>
                    <a:pt x="161" y="155"/>
                  </a:lnTo>
                  <a:lnTo>
                    <a:pt x="161" y="155"/>
                  </a:lnTo>
                  <a:lnTo>
                    <a:pt x="163" y="153"/>
                  </a:lnTo>
                  <a:lnTo>
                    <a:pt x="164" y="153"/>
                  </a:lnTo>
                  <a:lnTo>
                    <a:pt x="166" y="155"/>
                  </a:lnTo>
                  <a:lnTo>
                    <a:pt x="166" y="157"/>
                  </a:lnTo>
                  <a:lnTo>
                    <a:pt x="168" y="159"/>
                  </a:lnTo>
                  <a:lnTo>
                    <a:pt x="168" y="160"/>
                  </a:lnTo>
                  <a:lnTo>
                    <a:pt x="168" y="162"/>
                  </a:lnTo>
                  <a:lnTo>
                    <a:pt x="170" y="162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2" y="159"/>
                  </a:lnTo>
                  <a:lnTo>
                    <a:pt x="170" y="155"/>
                  </a:lnTo>
                  <a:lnTo>
                    <a:pt x="170" y="153"/>
                  </a:lnTo>
                  <a:lnTo>
                    <a:pt x="172" y="153"/>
                  </a:lnTo>
                  <a:lnTo>
                    <a:pt x="172" y="153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5" y="157"/>
                  </a:lnTo>
                  <a:lnTo>
                    <a:pt x="175" y="157"/>
                  </a:lnTo>
                  <a:lnTo>
                    <a:pt x="175" y="157"/>
                  </a:lnTo>
                  <a:lnTo>
                    <a:pt x="175" y="157"/>
                  </a:lnTo>
                  <a:lnTo>
                    <a:pt x="177" y="159"/>
                  </a:lnTo>
                  <a:lnTo>
                    <a:pt x="181" y="162"/>
                  </a:lnTo>
                  <a:lnTo>
                    <a:pt x="182" y="164"/>
                  </a:lnTo>
                  <a:lnTo>
                    <a:pt x="184" y="164"/>
                  </a:lnTo>
                  <a:lnTo>
                    <a:pt x="184" y="164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6" y="166"/>
                  </a:lnTo>
                  <a:lnTo>
                    <a:pt x="186" y="166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8" y="169"/>
                  </a:lnTo>
                  <a:lnTo>
                    <a:pt x="188" y="169"/>
                  </a:lnTo>
                  <a:lnTo>
                    <a:pt x="190" y="169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5" y="169"/>
                  </a:lnTo>
                  <a:lnTo>
                    <a:pt x="195" y="171"/>
                  </a:lnTo>
                  <a:lnTo>
                    <a:pt x="195" y="173"/>
                  </a:lnTo>
                  <a:lnTo>
                    <a:pt x="197" y="175"/>
                  </a:lnTo>
                  <a:lnTo>
                    <a:pt x="208" y="175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8" y="182"/>
                  </a:lnTo>
                  <a:lnTo>
                    <a:pt x="208" y="182"/>
                  </a:lnTo>
                  <a:lnTo>
                    <a:pt x="213" y="187"/>
                  </a:lnTo>
                  <a:lnTo>
                    <a:pt x="215" y="189"/>
                  </a:lnTo>
                  <a:lnTo>
                    <a:pt x="220" y="197"/>
                  </a:lnTo>
                  <a:lnTo>
                    <a:pt x="222" y="198"/>
                  </a:lnTo>
                  <a:lnTo>
                    <a:pt x="224" y="200"/>
                  </a:lnTo>
                  <a:lnTo>
                    <a:pt x="224" y="200"/>
                  </a:lnTo>
                  <a:lnTo>
                    <a:pt x="228" y="202"/>
                  </a:lnTo>
                  <a:lnTo>
                    <a:pt x="228" y="202"/>
                  </a:lnTo>
                  <a:lnTo>
                    <a:pt x="229" y="204"/>
                  </a:lnTo>
                  <a:lnTo>
                    <a:pt x="231" y="206"/>
                  </a:lnTo>
                  <a:lnTo>
                    <a:pt x="231" y="207"/>
                  </a:lnTo>
                  <a:lnTo>
                    <a:pt x="233" y="207"/>
                  </a:lnTo>
                  <a:lnTo>
                    <a:pt x="233" y="206"/>
                  </a:lnTo>
                  <a:lnTo>
                    <a:pt x="235" y="206"/>
                  </a:lnTo>
                  <a:lnTo>
                    <a:pt x="235" y="206"/>
                  </a:lnTo>
                  <a:lnTo>
                    <a:pt x="235" y="207"/>
                  </a:lnTo>
                  <a:lnTo>
                    <a:pt x="237" y="207"/>
                  </a:lnTo>
                  <a:lnTo>
                    <a:pt x="237" y="207"/>
                  </a:lnTo>
                  <a:lnTo>
                    <a:pt x="237" y="206"/>
                  </a:lnTo>
                  <a:lnTo>
                    <a:pt x="237" y="206"/>
                  </a:lnTo>
                  <a:lnTo>
                    <a:pt x="237" y="206"/>
                  </a:lnTo>
                  <a:lnTo>
                    <a:pt x="238" y="204"/>
                  </a:lnTo>
                  <a:lnTo>
                    <a:pt x="240" y="202"/>
                  </a:lnTo>
                  <a:lnTo>
                    <a:pt x="242" y="202"/>
                  </a:lnTo>
                  <a:lnTo>
                    <a:pt x="246" y="202"/>
                  </a:lnTo>
                  <a:lnTo>
                    <a:pt x="247" y="202"/>
                  </a:lnTo>
                  <a:lnTo>
                    <a:pt x="247" y="202"/>
                  </a:lnTo>
                  <a:lnTo>
                    <a:pt x="249" y="200"/>
                  </a:lnTo>
                  <a:lnTo>
                    <a:pt x="249" y="198"/>
                  </a:lnTo>
                  <a:lnTo>
                    <a:pt x="249" y="197"/>
                  </a:lnTo>
                  <a:lnTo>
                    <a:pt x="251" y="197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53" y="198"/>
                  </a:lnTo>
                  <a:lnTo>
                    <a:pt x="253" y="198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7" y="200"/>
                  </a:lnTo>
                  <a:lnTo>
                    <a:pt x="258" y="202"/>
                  </a:lnTo>
                  <a:lnTo>
                    <a:pt x="260" y="204"/>
                  </a:lnTo>
                  <a:lnTo>
                    <a:pt x="262" y="204"/>
                  </a:lnTo>
                  <a:lnTo>
                    <a:pt x="266" y="206"/>
                  </a:lnTo>
                  <a:lnTo>
                    <a:pt x="273" y="207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4"/>
                  </a:lnTo>
                  <a:lnTo>
                    <a:pt x="273" y="202"/>
                  </a:lnTo>
                  <a:lnTo>
                    <a:pt x="273" y="202"/>
                  </a:lnTo>
                  <a:lnTo>
                    <a:pt x="275" y="200"/>
                  </a:lnTo>
                  <a:lnTo>
                    <a:pt x="275" y="200"/>
                  </a:lnTo>
                  <a:lnTo>
                    <a:pt x="275" y="200"/>
                  </a:lnTo>
                  <a:lnTo>
                    <a:pt x="276" y="200"/>
                  </a:lnTo>
                  <a:lnTo>
                    <a:pt x="276" y="200"/>
                  </a:lnTo>
                  <a:lnTo>
                    <a:pt x="276" y="200"/>
                  </a:lnTo>
                  <a:lnTo>
                    <a:pt x="276" y="197"/>
                  </a:lnTo>
                  <a:lnTo>
                    <a:pt x="276" y="197"/>
                  </a:lnTo>
                  <a:lnTo>
                    <a:pt x="276" y="197"/>
                  </a:lnTo>
                  <a:lnTo>
                    <a:pt x="276" y="195"/>
                  </a:lnTo>
                  <a:lnTo>
                    <a:pt x="276" y="195"/>
                  </a:lnTo>
                  <a:lnTo>
                    <a:pt x="276" y="195"/>
                  </a:lnTo>
                  <a:lnTo>
                    <a:pt x="276" y="193"/>
                  </a:lnTo>
                  <a:lnTo>
                    <a:pt x="276" y="193"/>
                  </a:lnTo>
                  <a:lnTo>
                    <a:pt x="276" y="193"/>
                  </a:lnTo>
                  <a:lnTo>
                    <a:pt x="278" y="191"/>
                  </a:lnTo>
                  <a:lnTo>
                    <a:pt x="282" y="191"/>
                  </a:lnTo>
                  <a:lnTo>
                    <a:pt x="282" y="189"/>
                  </a:lnTo>
                  <a:lnTo>
                    <a:pt x="284" y="187"/>
                  </a:lnTo>
                  <a:lnTo>
                    <a:pt x="282" y="186"/>
                  </a:lnTo>
                  <a:lnTo>
                    <a:pt x="282" y="184"/>
                  </a:lnTo>
                  <a:lnTo>
                    <a:pt x="284" y="184"/>
                  </a:lnTo>
                  <a:lnTo>
                    <a:pt x="284" y="182"/>
                  </a:lnTo>
                  <a:lnTo>
                    <a:pt x="285" y="182"/>
                  </a:lnTo>
                  <a:lnTo>
                    <a:pt x="284" y="180"/>
                  </a:lnTo>
                  <a:lnTo>
                    <a:pt x="284" y="180"/>
                  </a:lnTo>
                  <a:lnTo>
                    <a:pt x="284" y="180"/>
                  </a:lnTo>
                  <a:lnTo>
                    <a:pt x="285" y="180"/>
                  </a:lnTo>
                  <a:lnTo>
                    <a:pt x="293" y="178"/>
                  </a:lnTo>
                  <a:lnTo>
                    <a:pt x="296" y="178"/>
                  </a:lnTo>
                  <a:lnTo>
                    <a:pt x="296" y="177"/>
                  </a:lnTo>
                  <a:lnTo>
                    <a:pt x="298" y="177"/>
                  </a:lnTo>
                  <a:lnTo>
                    <a:pt x="296" y="175"/>
                  </a:lnTo>
                  <a:lnTo>
                    <a:pt x="296" y="173"/>
                  </a:lnTo>
                  <a:lnTo>
                    <a:pt x="291" y="171"/>
                  </a:lnTo>
                  <a:lnTo>
                    <a:pt x="291" y="171"/>
                  </a:lnTo>
                  <a:lnTo>
                    <a:pt x="291" y="169"/>
                  </a:lnTo>
                  <a:lnTo>
                    <a:pt x="291" y="168"/>
                  </a:lnTo>
                  <a:lnTo>
                    <a:pt x="291" y="168"/>
                  </a:lnTo>
                  <a:lnTo>
                    <a:pt x="291" y="166"/>
                  </a:lnTo>
                  <a:lnTo>
                    <a:pt x="291" y="164"/>
                  </a:lnTo>
                  <a:lnTo>
                    <a:pt x="291" y="162"/>
                  </a:lnTo>
                  <a:lnTo>
                    <a:pt x="289" y="162"/>
                  </a:lnTo>
                  <a:lnTo>
                    <a:pt x="289" y="160"/>
                  </a:lnTo>
                  <a:lnTo>
                    <a:pt x="289" y="157"/>
                  </a:lnTo>
                  <a:lnTo>
                    <a:pt x="289" y="155"/>
                  </a:lnTo>
                  <a:lnTo>
                    <a:pt x="287" y="151"/>
                  </a:lnTo>
                  <a:lnTo>
                    <a:pt x="285" y="146"/>
                  </a:lnTo>
                  <a:lnTo>
                    <a:pt x="284" y="144"/>
                  </a:lnTo>
                  <a:lnTo>
                    <a:pt x="284" y="142"/>
                  </a:lnTo>
                  <a:lnTo>
                    <a:pt x="282" y="137"/>
                  </a:lnTo>
                  <a:lnTo>
                    <a:pt x="284" y="131"/>
                  </a:lnTo>
                  <a:lnTo>
                    <a:pt x="285" y="124"/>
                  </a:lnTo>
                  <a:lnTo>
                    <a:pt x="284" y="112"/>
                  </a:lnTo>
                  <a:lnTo>
                    <a:pt x="282" y="99"/>
                  </a:lnTo>
                  <a:lnTo>
                    <a:pt x="280" y="95"/>
                  </a:lnTo>
                  <a:lnTo>
                    <a:pt x="280" y="90"/>
                  </a:lnTo>
                  <a:lnTo>
                    <a:pt x="282" y="85"/>
                  </a:lnTo>
                  <a:lnTo>
                    <a:pt x="284" y="79"/>
                  </a:lnTo>
                  <a:lnTo>
                    <a:pt x="289" y="74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68"/>
                  </a:lnTo>
                  <a:lnTo>
                    <a:pt x="296" y="66"/>
                  </a:lnTo>
                  <a:lnTo>
                    <a:pt x="298" y="61"/>
                  </a:lnTo>
                  <a:lnTo>
                    <a:pt x="298" y="59"/>
                  </a:lnTo>
                  <a:lnTo>
                    <a:pt x="302" y="52"/>
                  </a:lnTo>
                  <a:lnTo>
                    <a:pt x="303" y="45"/>
                  </a:lnTo>
                  <a:lnTo>
                    <a:pt x="305" y="43"/>
                  </a:lnTo>
                  <a:lnTo>
                    <a:pt x="303" y="41"/>
                  </a:lnTo>
                  <a:lnTo>
                    <a:pt x="305" y="39"/>
                  </a:lnTo>
                  <a:lnTo>
                    <a:pt x="309" y="38"/>
                  </a:lnTo>
                  <a:lnTo>
                    <a:pt x="314" y="38"/>
                  </a:lnTo>
                  <a:lnTo>
                    <a:pt x="314" y="36"/>
                  </a:lnTo>
                  <a:lnTo>
                    <a:pt x="314" y="36"/>
                  </a:lnTo>
                  <a:lnTo>
                    <a:pt x="311" y="36"/>
                  </a:lnTo>
                  <a:lnTo>
                    <a:pt x="312" y="34"/>
                  </a:lnTo>
                  <a:lnTo>
                    <a:pt x="316" y="34"/>
                  </a:lnTo>
                  <a:lnTo>
                    <a:pt x="318" y="32"/>
                  </a:lnTo>
                  <a:lnTo>
                    <a:pt x="320" y="32"/>
                  </a:lnTo>
                  <a:lnTo>
                    <a:pt x="320" y="30"/>
                  </a:lnTo>
                  <a:lnTo>
                    <a:pt x="320" y="30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116841B7-895C-A0FD-82E0-A98612AC1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12050" y="2959101"/>
              <a:ext cx="561975" cy="452438"/>
            </a:xfrm>
            <a:custGeom>
              <a:avLst/>
              <a:gdLst>
                <a:gd name="T0" fmla="*/ 146 w 354"/>
                <a:gd name="T1" fmla="*/ 258 h 285"/>
                <a:gd name="T2" fmla="*/ 121 w 354"/>
                <a:gd name="T3" fmla="*/ 262 h 285"/>
                <a:gd name="T4" fmla="*/ 210 w 354"/>
                <a:gd name="T5" fmla="*/ 244 h 285"/>
                <a:gd name="T6" fmla="*/ 210 w 354"/>
                <a:gd name="T7" fmla="*/ 255 h 285"/>
                <a:gd name="T8" fmla="*/ 87 w 354"/>
                <a:gd name="T9" fmla="*/ 247 h 285"/>
                <a:gd name="T10" fmla="*/ 94 w 354"/>
                <a:gd name="T11" fmla="*/ 262 h 285"/>
                <a:gd name="T12" fmla="*/ 130 w 354"/>
                <a:gd name="T13" fmla="*/ 271 h 285"/>
                <a:gd name="T14" fmla="*/ 332 w 354"/>
                <a:gd name="T15" fmla="*/ 229 h 285"/>
                <a:gd name="T16" fmla="*/ 14 w 354"/>
                <a:gd name="T17" fmla="*/ 211 h 285"/>
                <a:gd name="T18" fmla="*/ 126 w 354"/>
                <a:gd name="T19" fmla="*/ 209 h 285"/>
                <a:gd name="T20" fmla="*/ 126 w 354"/>
                <a:gd name="T21" fmla="*/ 202 h 285"/>
                <a:gd name="T22" fmla="*/ 117 w 354"/>
                <a:gd name="T23" fmla="*/ 199 h 285"/>
                <a:gd name="T24" fmla="*/ 81 w 354"/>
                <a:gd name="T25" fmla="*/ 208 h 285"/>
                <a:gd name="T26" fmla="*/ 94 w 354"/>
                <a:gd name="T27" fmla="*/ 231 h 285"/>
                <a:gd name="T28" fmla="*/ 107 w 354"/>
                <a:gd name="T29" fmla="*/ 240 h 285"/>
                <a:gd name="T30" fmla="*/ 228 w 354"/>
                <a:gd name="T31" fmla="*/ 199 h 285"/>
                <a:gd name="T32" fmla="*/ 121 w 354"/>
                <a:gd name="T33" fmla="*/ 179 h 285"/>
                <a:gd name="T34" fmla="*/ 191 w 354"/>
                <a:gd name="T35" fmla="*/ 249 h 285"/>
                <a:gd name="T36" fmla="*/ 200 w 354"/>
                <a:gd name="T37" fmla="*/ 236 h 285"/>
                <a:gd name="T38" fmla="*/ 220 w 354"/>
                <a:gd name="T39" fmla="*/ 193 h 285"/>
                <a:gd name="T40" fmla="*/ 190 w 354"/>
                <a:gd name="T41" fmla="*/ 162 h 285"/>
                <a:gd name="T42" fmla="*/ 199 w 354"/>
                <a:gd name="T43" fmla="*/ 180 h 285"/>
                <a:gd name="T44" fmla="*/ 186 w 354"/>
                <a:gd name="T45" fmla="*/ 188 h 285"/>
                <a:gd name="T46" fmla="*/ 182 w 354"/>
                <a:gd name="T47" fmla="*/ 170 h 285"/>
                <a:gd name="T48" fmla="*/ 164 w 354"/>
                <a:gd name="T49" fmla="*/ 180 h 285"/>
                <a:gd name="T50" fmla="*/ 143 w 354"/>
                <a:gd name="T51" fmla="*/ 190 h 285"/>
                <a:gd name="T52" fmla="*/ 152 w 354"/>
                <a:gd name="T53" fmla="*/ 218 h 285"/>
                <a:gd name="T54" fmla="*/ 166 w 354"/>
                <a:gd name="T55" fmla="*/ 229 h 285"/>
                <a:gd name="T56" fmla="*/ 184 w 354"/>
                <a:gd name="T57" fmla="*/ 244 h 285"/>
                <a:gd name="T58" fmla="*/ 190 w 354"/>
                <a:gd name="T59" fmla="*/ 269 h 285"/>
                <a:gd name="T60" fmla="*/ 177 w 354"/>
                <a:gd name="T61" fmla="*/ 96 h 285"/>
                <a:gd name="T62" fmla="*/ 40 w 354"/>
                <a:gd name="T63" fmla="*/ 88 h 285"/>
                <a:gd name="T64" fmla="*/ 29 w 354"/>
                <a:gd name="T65" fmla="*/ 79 h 285"/>
                <a:gd name="T66" fmla="*/ 150 w 354"/>
                <a:gd name="T67" fmla="*/ 43 h 285"/>
                <a:gd name="T68" fmla="*/ 69 w 354"/>
                <a:gd name="T69" fmla="*/ 247 h 285"/>
                <a:gd name="T70" fmla="*/ 81 w 354"/>
                <a:gd name="T71" fmla="*/ 227 h 285"/>
                <a:gd name="T72" fmla="*/ 74 w 354"/>
                <a:gd name="T73" fmla="*/ 202 h 285"/>
                <a:gd name="T74" fmla="*/ 90 w 354"/>
                <a:gd name="T75" fmla="*/ 188 h 285"/>
                <a:gd name="T76" fmla="*/ 105 w 354"/>
                <a:gd name="T77" fmla="*/ 175 h 285"/>
                <a:gd name="T78" fmla="*/ 116 w 354"/>
                <a:gd name="T79" fmla="*/ 135 h 285"/>
                <a:gd name="T80" fmla="*/ 123 w 354"/>
                <a:gd name="T81" fmla="*/ 152 h 285"/>
                <a:gd name="T82" fmla="*/ 139 w 354"/>
                <a:gd name="T83" fmla="*/ 114 h 285"/>
                <a:gd name="T84" fmla="*/ 105 w 354"/>
                <a:gd name="T85" fmla="*/ 97 h 285"/>
                <a:gd name="T86" fmla="*/ 107 w 354"/>
                <a:gd name="T87" fmla="*/ 96 h 285"/>
                <a:gd name="T88" fmla="*/ 99 w 354"/>
                <a:gd name="T89" fmla="*/ 63 h 285"/>
                <a:gd name="T90" fmla="*/ 107 w 354"/>
                <a:gd name="T91" fmla="*/ 14 h 285"/>
                <a:gd name="T92" fmla="*/ 11 w 354"/>
                <a:gd name="T93" fmla="*/ 92 h 285"/>
                <a:gd name="T94" fmla="*/ 16 w 354"/>
                <a:gd name="T95" fmla="*/ 97 h 285"/>
                <a:gd name="T96" fmla="*/ 33 w 354"/>
                <a:gd name="T97" fmla="*/ 74 h 285"/>
                <a:gd name="T98" fmla="*/ 83 w 354"/>
                <a:gd name="T99" fmla="*/ 63 h 285"/>
                <a:gd name="T100" fmla="*/ 56 w 354"/>
                <a:gd name="T101" fmla="*/ 81 h 285"/>
                <a:gd name="T102" fmla="*/ 61 w 354"/>
                <a:gd name="T103" fmla="*/ 108 h 285"/>
                <a:gd name="T104" fmla="*/ 52 w 354"/>
                <a:gd name="T105" fmla="*/ 101 h 285"/>
                <a:gd name="T106" fmla="*/ 47 w 354"/>
                <a:gd name="T107" fmla="*/ 88 h 285"/>
                <a:gd name="T108" fmla="*/ 33 w 354"/>
                <a:gd name="T109" fmla="*/ 112 h 285"/>
                <a:gd name="T110" fmla="*/ 11 w 354"/>
                <a:gd name="T111" fmla="*/ 106 h 285"/>
                <a:gd name="T112" fmla="*/ 4 w 354"/>
                <a:gd name="T113" fmla="*/ 155 h 285"/>
                <a:gd name="T114" fmla="*/ 2 w 354"/>
                <a:gd name="T115" fmla="*/ 162 h 285"/>
                <a:gd name="T116" fmla="*/ 27 w 354"/>
                <a:gd name="T117" fmla="*/ 211 h 285"/>
                <a:gd name="T118" fmla="*/ 24 w 354"/>
                <a:gd name="T119" fmla="*/ 236 h 285"/>
                <a:gd name="T120" fmla="*/ 67 w 354"/>
                <a:gd name="T121" fmla="*/ 265 h 285"/>
                <a:gd name="T122" fmla="*/ 83 w 354"/>
                <a:gd name="T123" fmla="*/ 26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4" h="285">
                  <a:moveTo>
                    <a:pt x="188" y="269"/>
                  </a:moveTo>
                  <a:lnTo>
                    <a:pt x="188" y="267"/>
                  </a:lnTo>
                  <a:lnTo>
                    <a:pt x="186" y="265"/>
                  </a:lnTo>
                  <a:lnTo>
                    <a:pt x="184" y="264"/>
                  </a:lnTo>
                  <a:lnTo>
                    <a:pt x="184" y="264"/>
                  </a:lnTo>
                  <a:lnTo>
                    <a:pt x="186" y="264"/>
                  </a:lnTo>
                  <a:lnTo>
                    <a:pt x="184" y="264"/>
                  </a:lnTo>
                  <a:lnTo>
                    <a:pt x="184" y="262"/>
                  </a:lnTo>
                  <a:lnTo>
                    <a:pt x="182" y="262"/>
                  </a:lnTo>
                  <a:lnTo>
                    <a:pt x="182" y="260"/>
                  </a:lnTo>
                  <a:lnTo>
                    <a:pt x="179" y="256"/>
                  </a:lnTo>
                  <a:lnTo>
                    <a:pt x="179" y="256"/>
                  </a:lnTo>
                  <a:lnTo>
                    <a:pt x="179" y="258"/>
                  </a:lnTo>
                  <a:lnTo>
                    <a:pt x="179" y="260"/>
                  </a:lnTo>
                  <a:lnTo>
                    <a:pt x="179" y="260"/>
                  </a:lnTo>
                  <a:lnTo>
                    <a:pt x="179" y="260"/>
                  </a:lnTo>
                  <a:lnTo>
                    <a:pt x="177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4"/>
                  </a:lnTo>
                  <a:lnTo>
                    <a:pt x="175" y="264"/>
                  </a:lnTo>
                  <a:lnTo>
                    <a:pt x="175" y="265"/>
                  </a:lnTo>
                  <a:lnTo>
                    <a:pt x="166" y="260"/>
                  </a:lnTo>
                  <a:lnTo>
                    <a:pt x="166" y="260"/>
                  </a:lnTo>
                  <a:lnTo>
                    <a:pt x="164" y="260"/>
                  </a:lnTo>
                  <a:lnTo>
                    <a:pt x="163" y="256"/>
                  </a:lnTo>
                  <a:lnTo>
                    <a:pt x="163" y="255"/>
                  </a:lnTo>
                  <a:lnTo>
                    <a:pt x="161" y="255"/>
                  </a:lnTo>
                  <a:lnTo>
                    <a:pt x="159" y="253"/>
                  </a:lnTo>
                  <a:lnTo>
                    <a:pt x="157" y="253"/>
                  </a:lnTo>
                  <a:lnTo>
                    <a:pt x="150" y="253"/>
                  </a:lnTo>
                  <a:lnTo>
                    <a:pt x="150" y="253"/>
                  </a:lnTo>
                  <a:lnTo>
                    <a:pt x="148" y="256"/>
                  </a:lnTo>
                  <a:lnTo>
                    <a:pt x="146" y="256"/>
                  </a:lnTo>
                  <a:lnTo>
                    <a:pt x="146" y="258"/>
                  </a:lnTo>
                  <a:lnTo>
                    <a:pt x="146" y="260"/>
                  </a:lnTo>
                  <a:lnTo>
                    <a:pt x="150" y="262"/>
                  </a:lnTo>
                  <a:lnTo>
                    <a:pt x="150" y="264"/>
                  </a:lnTo>
                  <a:lnTo>
                    <a:pt x="152" y="264"/>
                  </a:lnTo>
                  <a:lnTo>
                    <a:pt x="150" y="265"/>
                  </a:lnTo>
                  <a:lnTo>
                    <a:pt x="148" y="265"/>
                  </a:lnTo>
                  <a:lnTo>
                    <a:pt x="148" y="265"/>
                  </a:lnTo>
                  <a:lnTo>
                    <a:pt x="146" y="265"/>
                  </a:lnTo>
                  <a:lnTo>
                    <a:pt x="146" y="267"/>
                  </a:lnTo>
                  <a:lnTo>
                    <a:pt x="146" y="269"/>
                  </a:lnTo>
                  <a:lnTo>
                    <a:pt x="148" y="269"/>
                  </a:lnTo>
                  <a:lnTo>
                    <a:pt x="150" y="271"/>
                  </a:lnTo>
                  <a:lnTo>
                    <a:pt x="154" y="271"/>
                  </a:lnTo>
                  <a:lnTo>
                    <a:pt x="155" y="273"/>
                  </a:lnTo>
                  <a:lnTo>
                    <a:pt x="161" y="276"/>
                  </a:lnTo>
                  <a:lnTo>
                    <a:pt x="164" y="278"/>
                  </a:lnTo>
                  <a:lnTo>
                    <a:pt x="168" y="282"/>
                  </a:lnTo>
                  <a:lnTo>
                    <a:pt x="170" y="282"/>
                  </a:lnTo>
                  <a:lnTo>
                    <a:pt x="172" y="280"/>
                  </a:lnTo>
                  <a:lnTo>
                    <a:pt x="173" y="278"/>
                  </a:lnTo>
                  <a:lnTo>
                    <a:pt x="177" y="278"/>
                  </a:lnTo>
                  <a:lnTo>
                    <a:pt x="184" y="280"/>
                  </a:lnTo>
                  <a:lnTo>
                    <a:pt x="186" y="278"/>
                  </a:lnTo>
                  <a:lnTo>
                    <a:pt x="188" y="276"/>
                  </a:lnTo>
                  <a:lnTo>
                    <a:pt x="188" y="274"/>
                  </a:lnTo>
                  <a:lnTo>
                    <a:pt x="186" y="274"/>
                  </a:lnTo>
                  <a:lnTo>
                    <a:pt x="186" y="273"/>
                  </a:lnTo>
                  <a:lnTo>
                    <a:pt x="188" y="273"/>
                  </a:lnTo>
                  <a:lnTo>
                    <a:pt x="188" y="273"/>
                  </a:lnTo>
                  <a:lnTo>
                    <a:pt x="188" y="273"/>
                  </a:lnTo>
                  <a:lnTo>
                    <a:pt x="190" y="271"/>
                  </a:lnTo>
                  <a:lnTo>
                    <a:pt x="190" y="271"/>
                  </a:lnTo>
                  <a:lnTo>
                    <a:pt x="188" y="269"/>
                  </a:lnTo>
                  <a:lnTo>
                    <a:pt x="188" y="269"/>
                  </a:lnTo>
                  <a:close/>
                  <a:moveTo>
                    <a:pt x="121" y="262"/>
                  </a:moveTo>
                  <a:lnTo>
                    <a:pt x="121" y="260"/>
                  </a:lnTo>
                  <a:lnTo>
                    <a:pt x="121" y="258"/>
                  </a:lnTo>
                  <a:lnTo>
                    <a:pt x="119" y="258"/>
                  </a:lnTo>
                  <a:lnTo>
                    <a:pt x="119" y="258"/>
                  </a:lnTo>
                  <a:lnTo>
                    <a:pt x="119" y="258"/>
                  </a:lnTo>
                  <a:lnTo>
                    <a:pt x="119" y="260"/>
                  </a:lnTo>
                  <a:lnTo>
                    <a:pt x="117" y="260"/>
                  </a:lnTo>
                  <a:lnTo>
                    <a:pt x="117" y="260"/>
                  </a:lnTo>
                  <a:lnTo>
                    <a:pt x="117" y="260"/>
                  </a:lnTo>
                  <a:lnTo>
                    <a:pt x="116" y="256"/>
                  </a:lnTo>
                  <a:lnTo>
                    <a:pt x="116" y="256"/>
                  </a:lnTo>
                  <a:lnTo>
                    <a:pt x="116" y="256"/>
                  </a:lnTo>
                  <a:lnTo>
                    <a:pt x="116" y="258"/>
                  </a:lnTo>
                  <a:lnTo>
                    <a:pt x="116" y="258"/>
                  </a:lnTo>
                  <a:lnTo>
                    <a:pt x="114" y="258"/>
                  </a:lnTo>
                  <a:lnTo>
                    <a:pt x="114" y="258"/>
                  </a:lnTo>
                  <a:lnTo>
                    <a:pt x="112" y="256"/>
                  </a:lnTo>
                  <a:lnTo>
                    <a:pt x="112" y="255"/>
                  </a:lnTo>
                  <a:lnTo>
                    <a:pt x="110" y="255"/>
                  </a:lnTo>
                  <a:lnTo>
                    <a:pt x="107" y="251"/>
                  </a:lnTo>
                  <a:lnTo>
                    <a:pt x="105" y="251"/>
                  </a:lnTo>
                  <a:lnTo>
                    <a:pt x="105" y="253"/>
                  </a:lnTo>
                  <a:lnTo>
                    <a:pt x="107" y="255"/>
                  </a:lnTo>
                  <a:lnTo>
                    <a:pt x="116" y="264"/>
                  </a:lnTo>
                  <a:lnTo>
                    <a:pt x="116" y="264"/>
                  </a:lnTo>
                  <a:lnTo>
                    <a:pt x="117" y="264"/>
                  </a:lnTo>
                  <a:lnTo>
                    <a:pt x="117" y="262"/>
                  </a:lnTo>
                  <a:lnTo>
                    <a:pt x="121" y="262"/>
                  </a:lnTo>
                  <a:lnTo>
                    <a:pt x="121" y="262"/>
                  </a:lnTo>
                  <a:lnTo>
                    <a:pt x="121" y="262"/>
                  </a:lnTo>
                  <a:close/>
                  <a:moveTo>
                    <a:pt x="222" y="247"/>
                  </a:moveTo>
                  <a:lnTo>
                    <a:pt x="217" y="246"/>
                  </a:lnTo>
                  <a:lnTo>
                    <a:pt x="213" y="246"/>
                  </a:lnTo>
                  <a:lnTo>
                    <a:pt x="211" y="246"/>
                  </a:lnTo>
                  <a:lnTo>
                    <a:pt x="210" y="244"/>
                  </a:lnTo>
                  <a:lnTo>
                    <a:pt x="210" y="244"/>
                  </a:lnTo>
                  <a:lnTo>
                    <a:pt x="208" y="244"/>
                  </a:lnTo>
                  <a:lnTo>
                    <a:pt x="208" y="244"/>
                  </a:lnTo>
                  <a:lnTo>
                    <a:pt x="210" y="246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1" y="247"/>
                  </a:lnTo>
                  <a:lnTo>
                    <a:pt x="210" y="247"/>
                  </a:lnTo>
                  <a:lnTo>
                    <a:pt x="210" y="247"/>
                  </a:lnTo>
                  <a:lnTo>
                    <a:pt x="210" y="249"/>
                  </a:lnTo>
                  <a:lnTo>
                    <a:pt x="210" y="249"/>
                  </a:lnTo>
                  <a:lnTo>
                    <a:pt x="210" y="251"/>
                  </a:lnTo>
                  <a:lnTo>
                    <a:pt x="208" y="251"/>
                  </a:lnTo>
                  <a:lnTo>
                    <a:pt x="208" y="251"/>
                  </a:lnTo>
                  <a:lnTo>
                    <a:pt x="208" y="251"/>
                  </a:lnTo>
                  <a:lnTo>
                    <a:pt x="206" y="249"/>
                  </a:lnTo>
                  <a:lnTo>
                    <a:pt x="204" y="249"/>
                  </a:lnTo>
                  <a:lnTo>
                    <a:pt x="206" y="251"/>
                  </a:lnTo>
                  <a:lnTo>
                    <a:pt x="204" y="251"/>
                  </a:lnTo>
                  <a:lnTo>
                    <a:pt x="204" y="251"/>
                  </a:lnTo>
                  <a:lnTo>
                    <a:pt x="204" y="251"/>
                  </a:lnTo>
                  <a:lnTo>
                    <a:pt x="202" y="253"/>
                  </a:lnTo>
                  <a:lnTo>
                    <a:pt x="202" y="253"/>
                  </a:lnTo>
                  <a:lnTo>
                    <a:pt x="204" y="253"/>
                  </a:lnTo>
                  <a:lnTo>
                    <a:pt x="204" y="255"/>
                  </a:lnTo>
                  <a:lnTo>
                    <a:pt x="202" y="255"/>
                  </a:lnTo>
                  <a:lnTo>
                    <a:pt x="202" y="255"/>
                  </a:lnTo>
                  <a:lnTo>
                    <a:pt x="202" y="255"/>
                  </a:lnTo>
                  <a:lnTo>
                    <a:pt x="202" y="256"/>
                  </a:lnTo>
                  <a:lnTo>
                    <a:pt x="202" y="256"/>
                  </a:lnTo>
                  <a:lnTo>
                    <a:pt x="202" y="256"/>
                  </a:lnTo>
                  <a:lnTo>
                    <a:pt x="204" y="258"/>
                  </a:lnTo>
                  <a:lnTo>
                    <a:pt x="206" y="258"/>
                  </a:lnTo>
                  <a:lnTo>
                    <a:pt x="208" y="258"/>
                  </a:lnTo>
                  <a:lnTo>
                    <a:pt x="210" y="255"/>
                  </a:lnTo>
                  <a:lnTo>
                    <a:pt x="211" y="253"/>
                  </a:lnTo>
                  <a:lnTo>
                    <a:pt x="213" y="253"/>
                  </a:lnTo>
                  <a:lnTo>
                    <a:pt x="215" y="253"/>
                  </a:lnTo>
                  <a:lnTo>
                    <a:pt x="220" y="253"/>
                  </a:lnTo>
                  <a:lnTo>
                    <a:pt x="222" y="253"/>
                  </a:lnTo>
                  <a:lnTo>
                    <a:pt x="224" y="253"/>
                  </a:lnTo>
                  <a:lnTo>
                    <a:pt x="224" y="253"/>
                  </a:lnTo>
                  <a:lnTo>
                    <a:pt x="224" y="251"/>
                  </a:lnTo>
                  <a:lnTo>
                    <a:pt x="222" y="249"/>
                  </a:lnTo>
                  <a:lnTo>
                    <a:pt x="222" y="247"/>
                  </a:lnTo>
                  <a:close/>
                  <a:moveTo>
                    <a:pt x="96" y="251"/>
                  </a:moveTo>
                  <a:lnTo>
                    <a:pt x="96" y="249"/>
                  </a:lnTo>
                  <a:lnTo>
                    <a:pt x="94" y="247"/>
                  </a:lnTo>
                  <a:lnTo>
                    <a:pt x="92" y="247"/>
                  </a:lnTo>
                  <a:lnTo>
                    <a:pt x="90" y="246"/>
                  </a:lnTo>
                  <a:lnTo>
                    <a:pt x="89" y="246"/>
                  </a:lnTo>
                  <a:lnTo>
                    <a:pt x="85" y="242"/>
                  </a:lnTo>
                  <a:lnTo>
                    <a:pt x="83" y="242"/>
                  </a:lnTo>
                  <a:lnTo>
                    <a:pt x="81" y="242"/>
                  </a:lnTo>
                  <a:lnTo>
                    <a:pt x="78" y="244"/>
                  </a:lnTo>
                  <a:lnTo>
                    <a:pt x="78" y="244"/>
                  </a:lnTo>
                  <a:lnTo>
                    <a:pt x="78" y="246"/>
                  </a:lnTo>
                  <a:lnTo>
                    <a:pt x="80" y="246"/>
                  </a:lnTo>
                  <a:lnTo>
                    <a:pt x="80" y="244"/>
                  </a:lnTo>
                  <a:lnTo>
                    <a:pt x="81" y="244"/>
                  </a:lnTo>
                  <a:lnTo>
                    <a:pt x="81" y="246"/>
                  </a:lnTo>
                  <a:lnTo>
                    <a:pt x="80" y="246"/>
                  </a:lnTo>
                  <a:lnTo>
                    <a:pt x="80" y="246"/>
                  </a:lnTo>
                  <a:lnTo>
                    <a:pt x="80" y="247"/>
                  </a:lnTo>
                  <a:lnTo>
                    <a:pt x="80" y="247"/>
                  </a:lnTo>
                  <a:lnTo>
                    <a:pt x="81" y="247"/>
                  </a:lnTo>
                  <a:lnTo>
                    <a:pt x="81" y="247"/>
                  </a:lnTo>
                  <a:lnTo>
                    <a:pt x="81" y="247"/>
                  </a:lnTo>
                  <a:lnTo>
                    <a:pt x="87" y="247"/>
                  </a:lnTo>
                  <a:lnTo>
                    <a:pt x="87" y="247"/>
                  </a:lnTo>
                  <a:lnTo>
                    <a:pt x="85" y="249"/>
                  </a:lnTo>
                  <a:lnTo>
                    <a:pt x="85" y="249"/>
                  </a:lnTo>
                  <a:lnTo>
                    <a:pt x="89" y="251"/>
                  </a:lnTo>
                  <a:lnTo>
                    <a:pt x="89" y="251"/>
                  </a:lnTo>
                  <a:lnTo>
                    <a:pt x="89" y="251"/>
                  </a:lnTo>
                  <a:lnTo>
                    <a:pt x="87" y="251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7" y="253"/>
                  </a:lnTo>
                  <a:lnTo>
                    <a:pt x="87" y="253"/>
                  </a:lnTo>
                  <a:lnTo>
                    <a:pt x="85" y="251"/>
                  </a:lnTo>
                  <a:lnTo>
                    <a:pt x="83" y="251"/>
                  </a:lnTo>
                  <a:lnTo>
                    <a:pt x="83" y="251"/>
                  </a:lnTo>
                  <a:lnTo>
                    <a:pt x="85" y="251"/>
                  </a:lnTo>
                  <a:lnTo>
                    <a:pt x="83" y="255"/>
                  </a:lnTo>
                  <a:lnTo>
                    <a:pt x="85" y="256"/>
                  </a:lnTo>
                  <a:lnTo>
                    <a:pt x="87" y="258"/>
                  </a:lnTo>
                  <a:lnTo>
                    <a:pt x="89" y="258"/>
                  </a:lnTo>
                  <a:lnTo>
                    <a:pt x="89" y="256"/>
                  </a:lnTo>
                  <a:lnTo>
                    <a:pt x="90" y="256"/>
                  </a:lnTo>
                  <a:lnTo>
                    <a:pt x="90" y="256"/>
                  </a:lnTo>
                  <a:lnTo>
                    <a:pt x="90" y="256"/>
                  </a:lnTo>
                  <a:lnTo>
                    <a:pt x="94" y="256"/>
                  </a:lnTo>
                  <a:lnTo>
                    <a:pt x="96" y="260"/>
                  </a:lnTo>
                  <a:lnTo>
                    <a:pt x="96" y="260"/>
                  </a:lnTo>
                  <a:lnTo>
                    <a:pt x="94" y="260"/>
                  </a:lnTo>
                  <a:lnTo>
                    <a:pt x="92" y="258"/>
                  </a:lnTo>
                  <a:lnTo>
                    <a:pt x="90" y="258"/>
                  </a:lnTo>
                  <a:lnTo>
                    <a:pt x="90" y="258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92" y="260"/>
                  </a:lnTo>
                  <a:lnTo>
                    <a:pt x="94" y="260"/>
                  </a:lnTo>
                  <a:lnTo>
                    <a:pt x="94" y="262"/>
                  </a:lnTo>
                  <a:lnTo>
                    <a:pt x="96" y="260"/>
                  </a:lnTo>
                  <a:lnTo>
                    <a:pt x="96" y="260"/>
                  </a:lnTo>
                  <a:lnTo>
                    <a:pt x="98" y="260"/>
                  </a:lnTo>
                  <a:lnTo>
                    <a:pt x="98" y="260"/>
                  </a:lnTo>
                  <a:lnTo>
                    <a:pt x="99" y="260"/>
                  </a:lnTo>
                  <a:lnTo>
                    <a:pt x="99" y="258"/>
                  </a:lnTo>
                  <a:lnTo>
                    <a:pt x="98" y="253"/>
                  </a:lnTo>
                  <a:lnTo>
                    <a:pt x="96" y="251"/>
                  </a:lnTo>
                  <a:close/>
                  <a:moveTo>
                    <a:pt x="141" y="238"/>
                  </a:moveTo>
                  <a:lnTo>
                    <a:pt x="139" y="242"/>
                  </a:lnTo>
                  <a:lnTo>
                    <a:pt x="139" y="246"/>
                  </a:lnTo>
                  <a:lnTo>
                    <a:pt x="135" y="249"/>
                  </a:lnTo>
                  <a:lnTo>
                    <a:pt x="135" y="249"/>
                  </a:lnTo>
                  <a:lnTo>
                    <a:pt x="132" y="253"/>
                  </a:lnTo>
                  <a:lnTo>
                    <a:pt x="130" y="255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8"/>
                  </a:lnTo>
                  <a:lnTo>
                    <a:pt x="132" y="256"/>
                  </a:lnTo>
                  <a:lnTo>
                    <a:pt x="132" y="256"/>
                  </a:lnTo>
                  <a:lnTo>
                    <a:pt x="132" y="258"/>
                  </a:lnTo>
                  <a:lnTo>
                    <a:pt x="132" y="258"/>
                  </a:lnTo>
                  <a:lnTo>
                    <a:pt x="130" y="260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60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26" y="264"/>
                  </a:lnTo>
                  <a:lnTo>
                    <a:pt x="126" y="264"/>
                  </a:lnTo>
                  <a:lnTo>
                    <a:pt x="128" y="264"/>
                  </a:lnTo>
                  <a:lnTo>
                    <a:pt x="128" y="265"/>
                  </a:lnTo>
                  <a:lnTo>
                    <a:pt x="128" y="265"/>
                  </a:lnTo>
                  <a:lnTo>
                    <a:pt x="130" y="271"/>
                  </a:lnTo>
                  <a:lnTo>
                    <a:pt x="130" y="273"/>
                  </a:lnTo>
                  <a:lnTo>
                    <a:pt x="132" y="271"/>
                  </a:lnTo>
                  <a:lnTo>
                    <a:pt x="132" y="271"/>
                  </a:lnTo>
                  <a:lnTo>
                    <a:pt x="134" y="271"/>
                  </a:lnTo>
                  <a:lnTo>
                    <a:pt x="137" y="255"/>
                  </a:lnTo>
                  <a:lnTo>
                    <a:pt x="141" y="249"/>
                  </a:lnTo>
                  <a:lnTo>
                    <a:pt x="141" y="246"/>
                  </a:lnTo>
                  <a:lnTo>
                    <a:pt x="145" y="235"/>
                  </a:lnTo>
                  <a:lnTo>
                    <a:pt x="143" y="235"/>
                  </a:lnTo>
                  <a:lnTo>
                    <a:pt x="141" y="238"/>
                  </a:lnTo>
                  <a:close/>
                  <a:moveTo>
                    <a:pt x="352" y="238"/>
                  </a:moveTo>
                  <a:lnTo>
                    <a:pt x="354" y="238"/>
                  </a:lnTo>
                  <a:lnTo>
                    <a:pt x="354" y="238"/>
                  </a:lnTo>
                  <a:lnTo>
                    <a:pt x="354" y="238"/>
                  </a:lnTo>
                  <a:lnTo>
                    <a:pt x="354" y="236"/>
                  </a:lnTo>
                  <a:lnTo>
                    <a:pt x="352" y="236"/>
                  </a:lnTo>
                  <a:lnTo>
                    <a:pt x="350" y="235"/>
                  </a:lnTo>
                  <a:lnTo>
                    <a:pt x="347" y="233"/>
                  </a:lnTo>
                  <a:lnTo>
                    <a:pt x="347" y="233"/>
                  </a:lnTo>
                  <a:lnTo>
                    <a:pt x="345" y="231"/>
                  </a:lnTo>
                  <a:lnTo>
                    <a:pt x="345" y="229"/>
                  </a:lnTo>
                  <a:lnTo>
                    <a:pt x="343" y="229"/>
                  </a:lnTo>
                  <a:lnTo>
                    <a:pt x="343" y="229"/>
                  </a:lnTo>
                  <a:lnTo>
                    <a:pt x="341" y="229"/>
                  </a:lnTo>
                  <a:lnTo>
                    <a:pt x="340" y="227"/>
                  </a:lnTo>
                  <a:lnTo>
                    <a:pt x="338" y="226"/>
                  </a:lnTo>
                  <a:lnTo>
                    <a:pt x="338" y="226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4"/>
                  </a:lnTo>
                  <a:lnTo>
                    <a:pt x="332" y="226"/>
                  </a:lnTo>
                  <a:lnTo>
                    <a:pt x="332" y="227"/>
                  </a:lnTo>
                  <a:lnTo>
                    <a:pt x="332" y="227"/>
                  </a:lnTo>
                  <a:lnTo>
                    <a:pt x="332" y="229"/>
                  </a:lnTo>
                  <a:lnTo>
                    <a:pt x="331" y="235"/>
                  </a:lnTo>
                  <a:lnTo>
                    <a:pt x="331" y="238"/>
                  </a:lnTo>
                  <a:lnTo>
                    <a:pt x="331" y="240"/>
                  </a:lnTo>
                  <a:lnTo>
                    <a:pt x="331" y="240"/>
                  </a:lnTo>
                  <a:lnTo>
                    <a:pt x="336" y="244"/>
                  </a:lnTo>
                  <a:lnTo>
                    <a:pt x="340" y="246"/>
                  </a:lnTo>
                  <a:lnTo>
                    <a:pt x="343" y="247"/>
                  </a:lnTo>
                  <a:lnTo>
                    <a:pt x="345" y="249"/>
                  </a:lnTo>
                  <a:lnTo>
                    <a:pt x="347" y="249"/>
                  </a:lnTo>
                  <a:lnTo>
                    <a:pt x="350" y="249"/>
                  </a:lnTo>
                  <a:lnTo>
                    <a:pt x="350" y="249"/>
                  </a:lnTo>
                  <a:lnTo>
                    <a:pt x="350" y="247"/>
                  </a:lnTo>
                  <a:lnTo>
                    <a:pt x="352" y="247"/>
                  </a:lnTo>
                  <a:lnTo>
                    <a:pt x="352" y="246"/>
                  </a:lnTo>
                  <a:lnTo>
                    <a:pt x="352" y="246"/>
                  </a:lnTo>
                  <a:lnTo>
                    <a:pt x="352" y="246"/>
                  </a:lnTo>
                  <a:lnTo>
                    <a:pt x="352" y="244"/>
                  </a:lnTo>
                  <a:lnTo>
                    <a:pt x="352" y="242"/>
                  </a:lnTo>
                  <a:lnTo>
                    <a:pt x="354" y="242"/>
                  </a:lnTo>
                  <a:lnTo>
                    <a:pt x="354" y="240"/>
                  </a:lnTo>
                  <a:lnTo>
                    <a:pt x="354" y="240"/>
                  </a:lnTo>
                  <a:lnTo>
                    <a:pt x="352" y="238"/>
                  </a:lnTo>
                  <a:close/>
                  <a:moveTo>
                    <a:pt x="20" y="218"/>
                  </a:moveTo>
                  <a:lnTo>
                    <a:pt x="18" y="217"/>
                  </a:lnTo>
                  <a:lnTo>
                    <a:pt x="18" y="215"/>
                  </a:lnTo>
                  <a:lnTo>
                    <a:pt x="18" y="215"/>
                  </a:lnTo>
                  <a:lnTo>
                    <a:pt x="18" y="213"/>
                  </a:lnTo>
                  <a:lnTo>
                    <a:pt x="18" y="211"/>
                  </a:lnTo>
                  <a:lnTo>
                    <a:pt x="18" y="211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08"/>
                  </a:lnTo>
                  <a:lnTo>
                    <a:pt x="14" y="208"/>
                  </a:lnTo>
                  <a:lnTo>
                    <a:pt x="14" y="209"/>
                  </a:lnTo>
                  <a:lnTo>
                    <a:pt x="14" y="211"/>
                  </a:lnTo>
                  <a:lnTo>
                    <a:pt x="16" y="215"/>
                  </a:lnTo>
                  <a:lnTo>
                    <a:pt x="16" y="218"/>
                  </a:lnTo>
                  <a:lnTo>
                    <a:pt x="18" y="218"/>
                  </a:lnTo>
                  <a:lnTo>
                    <a:pt x="20" y="218"/>
                  </a:lnTo>
                  <a:lnTo>
                    <a:pt x="20" y="218"/>
                  </a:lnTo>
                  <a:close/>
                  <a:moveTo>
                    <a:pt x="126" y="244"/>
                  </a:moveTo>
                  <a:lnTo>
                    <a:pt x="130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2"/>
                  </a:lnTo>
                  <a:lnTo>
                    <a:pt x="134" y="242"/>
                  </a:lnTo>
                  <a:lnTo>
                    <a:pt x="134" y="240"/>
                  </a:lnTo>
                  <a:lnTo>
                    <a:pt x="134" y="240"/>
                  </a:lnTo>
                  <a:lnTo>
                    <a:pt x="135" y="238"/>
                  </a:lnTo>
                  <a:lnTo>
                    <a:pt x="135" y="238"/>
                  </a:lnTo>
                  <a:lnTo>
                    <a:pt x="135" y="236"/>
                  </a:lnTo>
                  <a:lnTo>
                    <a:pt x="135" y="235"/>
                  </a:lnTo>
                  <a:lnTo>
                    <a:pt x="135" y="233"/>
                  </a:lnTo>
                  <a:lnTo>
                    <a:pt x="137" y="231"/>
                  </a:lnTo>
                  <a:lnTo>
                    <a:pt x="137" y="229"/>
                  </a:lnTo>
                  <a:lnTo>
                    <a:pt x="137" y="227"/>
                  </a:lnTo>
                  <a:lnTo>
                    <a:pt x="135" y="227"/>
                  </a:lnTo>
                  <a:lnTo>
                    <a:pt x="135" y="224"/>
                  </a:lnTo>
                  <a:lnTo>
                    <a:pt x="134" y="224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7" y="222"/>
                  </a:lnTo>
                  <a:lnTo>
                    <a:pt x="137" y="224"/>
                  </a:lnTo>
                  <a:lnTo>
                    <a:pt x="137" y="224"/>
                  </a:lnTo>
                  <a:lnTo>
                    <a:pt x="137" y="222"/>
                  </a:lnTo>
                  <a:lnTo>
                    <a:pt x="135" y="218"/>
                  </a:lnTo>
                  <a:lnTo>
                    <a:pt x="135" y="217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26" y="209"/>
                  </a:lnTo>
                  <a:lnTo>
                    <a:pt x="126" y="208"/>
                  </a:lnTo>
                  <a:lnTo>
                    <a:pt x="125" y="209"/>
                  </a:lnTo>
                  <a:lnTo>
                    <a:pt x="125" y="209"/>
                  </a:lnTo>
                  <a:lnTo>
                    <a:pt x="126" y="209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3" y="209"/>
                  </a:lnTo>
                  <a:lnTo>
                    <a:pt x="125" y="209"/>
                  </a:lnTo>
                  <a:lnTo>
                    <a:pt x="125" y="208"/>
                  </a:lnTo>
                  <a:lnTo>
                    <a:pt x="125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06"/>
                  </a:lnTo>
                  <a:lnTo>
                    <a:pt x="134" y="206"/>
                  </a:lnTo>
                  <a:lnTo>
                    <a:pt x="134" y="206"/>
                  </a:lnTo>
                  <a:lnTo>
                    <a:pt x="134" y="204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28" y="197"/>
                  </a:lnTo>
                  <a:lnTo>
                    <a:pt x="126" y="195"/>
                  </a:lnTo>
                  <a:lnTo>
                    <a:pt x="126" y="195"/>
                  </a:lnTo>
                  <a:lnTo>
                    <a:pt x="126" y="195"/>
                  </a:lnTo>
                  <a:lnTo>
                    <a:pt x="126" y="199"/>
                  </a:lnTo>
                  <a:lnTo>
                    <a:pt x="126" y="199"/>
                  </a:lnTo>
                  <a:lnTo>
                    <a:pt x="126" y="199"/>
                  </a:lnTo>
                  <a:lnTo>
                    <a:pt x="126" y="199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2"/>
                  </a:lnTo>
                  <a:lnTo>
                    <a:pt x="126" y="204"/>
                  </a:lnTo>
                  <a:lnTo>
                    <a:pt x="126" y="202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25" y="204"/>
                  </a:lnTo>
                  <a:lnTo>
                    <a:pt x="125" y="204"/>
                  </a:lnTo>
                  <a:lnTo>
                    <a:pt x="125" y="204"/>
                  </a:lnTo>
                  <a:lnTo>
                    <a:pt x="126" y="204"/>
                  </a:lnTo>
                  <a:lnTo>
                    <a:pt x="126" y="204"/>
                  </a:lnTo>
                  <a:lnTo>
                    <a:pt x="126" y="206"/>
                  </a:lnTo>
                  <a:lnTo>
                    <a:pt x="126" y="206"/>
                  </a:lnTo>
                  <a:lnTo>
                    <a:pt x="126" y="206"/>
                  </a:lnTo>
                  <a:lnTo>
                    <a:pt x="125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19" y="209"/>
                  </a:lnTo>
                  <a:lnTo>
                    <a:pt x="117" y="209"/>
                  </a:lnTo>
                  <a:lnTo>
                    <a:pt x="117" y="209"/>
                  </a:lnTo>
                  <a:lnTo>
                    <a:pt x="119" y="206"/>
                  </a:lnTo>
                  <a:lnTo>
                    <a:pt x="119" y="206"/>
                  </a:lnTo>
                  <a:lnTo>
                    <a:pt x="119" y="206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7" y="200"/>
                  </a:lnTo>
                  <a:lnTo>
                    <a:pt x="117" y="199"/>
                  </a:lnTo>
                  <a:lnTo>
                    <a:pt x="116" y="197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0" y="195"/>
                  </a:lnTo>
                  <a:lnTo>
                    <a:pt x="110" y="197"/>
                  </a:lnTo>
                  <a:lnTo>
                    <a:pt x="110" y="197"/>
                  </a:lnTo>
                  <a:lnTo>
                    <a:pt x="110" y="197"/>
                  </a:lnTo>
                  <a:lnTo>
                    <a:pt x="110" y="197"/>
                  </a:lnTo>
                  <a:lnTo>
                    <a:pt x="110" y="197"/>
                  </a:lnTo>
                  <a:lnTo>
                    <a:pt x="110" y="195"/>
                  </a:lnTo>
                  <a:lnTo>
                    <a:pt x="108" y="195"/>
                  </a:lnTo>
                  <a:lnTo>
                    <a:pt x="108" y="195"/>
                  </a:lnTo>
                  <a:lnTo>
                    <a:pt x="107" y="197"/>
                  </a:lnTo>
                  <a:lnTo>
                    <a:pt x="105" y="197"/>
                  </a:lnTo>
                  <a:lnTo>
                    <a:pt x="98" y="200"/>
                  </a:lnTo>
                  <a:lnTo>
                    <a:pt x="92" y="204"/>
                  </a:lnTo>
                  <a:lnTo>
                    <a:pt x="90" y="204"/>
                  </a:lnTo>
                  <a:lnTo>
                    <a:pt x="89" y="202"/>
                  </a:lnTo>
                  <a:lnTo>
                    <a:pt x="87" y="202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81" y="204"/>
                  </a:lnTo>
                  <a:lnTo>
                    <a:pt x="81" y="204"/>
                  </a:lnTo>
                  <a:lnTo>
                    <a:pt x="81" y="204"/>
                  </a:lnTo>
                  <a:lnTo>
                    <a:pt x="80" y="204"/>
                  </a:lnTo>
                  <a:lnTo>
                    <a:pt x="80" y="206"/>
                  </a:lnTo>
                  <a:lnTo>
                    <a:pt x="81" y="206"/>
                  </a:lnTo>
                  <a:lnTo>
                    <a:pt x="87" y="209"/>
                  </a:lnTo>
                  <a:lnTo>
                    <a:pt x="85" y="211"/>
                  </a:lnTo>
                  <a:lnTo>
                    <a:pt x="83" y="209"/>
                  </a:lnTo>
                  <a:lnTo>
                    <a:pt x="83" y="208"/>
                  </a:lnTo>
                  <a:lnTo>
                    <a:pt x="81" y="208"/>
                  </a:lnTo>
                  <a:lnTo>
                    <a:pt x="81" y="208"/>
                  </a:lnTo>
                  <a:lnTo>
                    <a:pt x="83" y="211"/>
                  </a:lnTo>
                  <a:lnTo>
                    <a:pt x="83" y="211"/>
                  </a:lnTo>
                  <a:lnTo>
                    <a:pt x="85" y="211"/>
                  </a:lnTo>
                  <a:lnTo>
                    <a:pt x="87" y="211"/>
                  </a:lnTo>
                  <a:lnTo>
                    <a:pt x="87" y="213"/>
                  </a:lnTo>
                  <a:lnTo>
                    <a:pt x="85" y="213"/>
                  </a:lnTo>
                  <a:lnTo>
                    <a:pt x="85" y="213"/>
                  </a:lnTo>
                  <a:lnTo>
                    <a:pt x="89" y="213"/>
                  </a:lnTo>
                  <a:lnTo>
                    <a:pt x="87" y="215"/>
                  </a:lnTo>
                  <a:lnTo>
                    <a:pt x="87" y="215"/>
                  </a:lnTo>
                  <a:lnTo>
                    <a:pt x="85" y="215"/>
                  </a:lnTo>
                  <a:lnTo>
                    <a:pt x="85" y="215"/>
                  </a:lnTo>
                  <a:lnTo>
                    <a:pt x="87" y="217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9" y="218"/>
                  </a:lnTo>
                  <a:lnTo>
                    <a:pt x="90" y="218"/>
                  </a:lnTo>
                  <a:lnTo>
                    <a:pt x="90" y="218"/>
                  </a:lnTo>
                  <a:lnTo>
                    <a:pt x="90" y="222"/>
                  </a:lnTo>
                  <a:lnTo>
                    <a:pt x="90" y="222"/>
                  </a:lnTo>
                  <a:lnTo>
                    <a:pt x="90" y="224"/>
                  </a:lnTo>
                  <a:lnTo>
                    <a:pt x="90" y="224"/>
                  </a:lnTo>
                  <a:lnTo>
                    <a:pt x="90" y="224"/>
                  </a:lnTo>
                  <a:lnTo>
                    <a:pt x="90" y="226"/>
                  </a:lnTo>
                  <a:lnTo>
                    <a:pt x="90" y="226"/>
                  </a:lnTo>
                  <a:lnTo>
                    <a:pt x="90" y="227"/>
                  </a:lnTo>
                  <a:lnTo>
                    <a:pt x="90" y="227"/>
                  </a:lnTo>
                  <a:lnTo>
                    <a:pt x="90" y="227"/>
                  </a:lnTo>
                  <a:lnTo>
                    <a:pt x="90" y="227"/>
                  </a:lnTo>
                  <a:lnTo>
                    <a:pt x="92" y="229"/>
                  </a:lnTo>
                  <a:lnTo>
                    <a:pt x="92" y="229"/>
                  </a:lnTo>
                  <a:lnTo>
                    <a:pt x="94" y="229"/>
                  </a:lnTo>
                  <a:lnTo>
                    <a:pt x="96" y="229"/>
                  </a:lnTo>
                  <a:lnTo>
                    <a:pt x="96" y="231"/>
                  </a:lnTo>
                  <a:lnTo>
                    <a:pt x="94" y="231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6" y="235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98" y="238"/>
                  </a:lnTo>
                  <a:lnTo>
                    <a:pt x="98" y="236"/>
                  </a:lnTo>
                  <a:lnTo>
                    <a:pt x="96" y="233"/>
                  </a:lnTo>
                  <a:lnTo>
                    <a:pt x="96" y="233"/>
                  </a:lnTo>
                  <a:lnTo>
                    <a:pt x="96" y="231"/>
                  </a:lnTo>
                  <a:lnTo>
                    <a:pt x="98" y="231"/>
                  </a:lnTo>
                  <a:lnTo>
                    <a:pt x="98" y="233"/>
                  </a:lnTo>
                  <a:lnTo>
                    <a:pt x="99" y="233"/>
                  </a:lnTo>
                  <a:lnTo>
                    <a:pt x="99" y="233"/>
                  </a:lnTo>
                  <a:lnTo>
                    <a:pt x="99" y="233"/>
                  </a:lnTo>
                  <a:lnTo>
                    <a:pt x="101" y="233"/>
                  </a:lnTo>
                  <a:lnTo>
                    <a:pt x="101" y="233"/>
                  </a:lnTo>
                  <a:lnTo>
                    <a:pt x="103" y="235"/>
                  </a:lnTo>
                  <a:lnTo>
                    <a:pt x="103" y="235"/>
                  </a:lnTo>
                  <a:lnTo>
                    <a:pt x="103" y="236"/>
                  </a:lnTo>
                  <a:lnTo>
                    <a:pt x="103" y="238"/>
                  </a:lnTo>
                  <a:lnTo>
                    <a:pt x="99" y="240"/>
                  </a:lnTo>
                  <a:lnTo>
                    <a:pt x="99" y="242"/>
                  </a:lnTo>
                  <a:lnTo>
                    <a:pt x="101" y="240"/>
                  </a:lnTo>
                  <a:lnTo>
                    <a:pt x="103" y="240"/>
                  </a:lnTo>
                  <a:lnTo>
                    <a:pt x="103" y="242"/>
                  </a:lnTo>
                  <a:lnTo>
                    <a:pt x="105" y="242"/>
                  </a:lnTo>
                  <a:lnTo>
                    <a:pt x="107" y="244"/>
                  </a:lnTo>
                  <a:lnTo>
                    <a:pt x="107" y="242"/>
                  </a:lnTo>
                  <a:lnTo>
                    <a:pt x="107" y="240"/>
                  </a:lnTo>
                  <a:lnTo>
                    <a:pt x="108" y="240"/>
                  </a:lnTo>
                  <a:lnTo>
                    <a:pt x="112" y="244"/>
                  </a:lnTo>
                  <a:lnTo>
                    <a:pt x="112" y="244"/>
                  </a:lnTo>
                  <a:lnTo>
                    <a:pt x="114" y="244"/>
                  </a:lnTo>
                  <a:lnTo>
                    <a:pt x="114" y="244"/>
                  </a:lnTo>
                  <a:lnTo>
                    <a:pt x="114" y="244"/>
                  </a:lnTo>
                  <a:lnTo>
                    <a:pt x="116" y="244"/>
                  </a:lnTo>
                  <a:lnTo>
                    <a:pt x="116" y="244"/>
                  </a:lnTo>
                  <a:lnTo>
                    <a:pt x="116" y="246"/>
                  </a:lnTo>
                  <a:lnTo>
                    <a:pt x="119" y="246"/>
                  </a:lnTo>
                  <a:lnTo>
                    <a:pt x="121" y="246"/>
                  </a:lnTo>
                  <a:lnTo>
                    <a:pt x="123" y="246"/>
                  </a:lnTo>
                  <a:lnTo>
                    <a:pt x="123" y="246"/>
                  </a:lnTo>
                  <a:lnTo>
                    <a:pt x="125" y="244"/>
                  </a:lnTo>
                  <a:lnTo>
                    <a:pt x="125" y="244"/>
                  </a:lnTo>
                  <a:lnTo>
                    <a:pt x="126" y="244"/>
                  </a:lnTo>
                  <a:lnTo>
                    <a:pt x="126" y="244"/>
                  </a:lnTo>
                  <a:close/>
                  <a:moveTo>
                    <a:pt x="228" y="188"/>
                  </a:moveTo>
                  <a:lnTo>
                    <a:pt x="228" y="188"/>
                  </a:lnTo>
                  <a:lnTo>
                    <a:pt x="226" y="188"/>
                  </a:lnTo>
                  <a:lnTo>
                    <a:pt x="226" y="188"/>
                  </a:lnTo>
                  <a:lnTo>
                    <a:pt x="226" y="188"/>
                  </a:lnTo>
                  <a:lnTo>
                    <a:pt x="226" y="190"/>
                  </a:lnTo>
                  <a:lnTo>
                    <a:pt x="224" y="191"/>
                  </a:lnTo>
                  <a:lnTo>
                    <a:pt x="224" y="191"/>
                  </a:lnTo>
                  <a:lnTo>
                    <a:pt x="224" y="193"/>
                  </a:lnTo>
                  <a:lnTo>
                    <a:pt x="222" y="193"/>
                  </a:lnTo>
                  <a:lnTo>
                    <a:pt x="222" y="195"/>
                  </a:lnTo>
                  <a:lnTo>
                    <a:pt x="222" y="197"/>
                  </a:lnTo>
                  <a:lnTo>
                    <a:pt x="222" y="199"/>
                  </a:lnTo>
                  <a:lnTo>
                    <a:pt x="224" y="200"/>
                  </a:lnTo>
                  <a:lnTo>
                    <a:pt x="226" y="200"/>
                  </a:lnTo>
                  <a:lnTo>
                    <a:pt x="226" y="200"/>
                  </a:lnTo>
                  <a:lnTo>
                    <a:pt x="226" y="199"/>
                  </a:lnTo>
                  <a:lnTo>
                    <a:pt x="228" y="199"/>
                  </a:lnTo>
                  <a:lnTo>
                    <a:pt x="228" y="199"/>
                  </a:lnTo>
                  <a:lnTo>
                    <a:pt x="229" y="197"/>
                  </a:lnTo>
                  <a:lnTo>
                    <a:pt x="229" y="195"/>
                  </a:lnTo>
                  <a:lnTo>
                    <a:pt x="228" y="188"/>
                  </a:lnTo>
                  <a:close/>
                  <a:moveTo>
                    <a:pt x="128" y="173"/>
                  </a:moveTo>
                  <a:lnTo>
                    <a:pt x="130" y="171"/>
                  </a:lnTo>
                  <a:lnTo>
                    <a:pt x="130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8" y="173"/>
                  </a:lnTo>
                  <a:lnTo>
                    <a:pt x="126" y="171"/>
                  </a:lnTo>
                  <a:lnTo>
                    <a:pt x="126" y="170"/>
                  </a:lnTo>
                  <a:lnTo>
                    <a:pt x="126" y="170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5" y="166"/>
                  </a:lnTo>
                  <a:lnTo>
                    <a:pt x="125" y="164"/>
                  </a:lnTo>
                  <a:lnTo>
                    <a:pt x="125" y="16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1" y="162"/>
                  </a:lnTo>
                  <a:lnTo>
                    <a:pt x="121" y="164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5" y="166"/>
                  </a:lnTo>
                  <a:lnTo>
                    <a:pt x="125" y="168"/>
                  </a:lnTo>
                  <a:lnTo>
                    <a:pt x="125" y="170"/>
                  </a:lnTo>
                  <a:lnTo>
                    <a:pt x="125" y="171"/>
                  </a:lnTo>
                  <a:lnTo>
                    <a:pt x="125" y="173"/>
                  </a:lnTo>
                  <a:lnTo>
                    <a:pt x="123" y="173"/>
                  </a:lnTo>
                  <a:lnTo>
                    <a:pt x="123" y="173"/>
                  </a:lnTo>
                  <a:lnTo>
                    <a:pt x="121" y="175"/>
                  </a:lnTo>
                  <a:lnTo>
                    <a:pt x="121" y="177"/>
                  </a:lnTo>
                  <a:lnTo>
                    <a:pt x="121" y="179"/>
                  </a:lnTo>
                  <a:lnTo>
                    <a:pt x="123" y="182"/>
                  </a:lnTo>
                  <a:lnTo>
                    <a:pt x="125" y="182"/>
                  </a:lnTo>
                  <a:lnTo>
                    <a:pt x="126" y="180"/>
                  </a:lnTo>
                  <a:lnTo>
                    <a:pt x="126" y="179"/>
                  </a:lnTo>
                  <a:lnTo>
                    <a:pt x="126" y="175"/>
                  </a:lnTo>
                  <a:lnTo>
                    <a:pt x="126" y="175"/>
                  </a:lnTo>
                  <a:lnTo>
                    <a:pt x="128" y="173"/>
                  </a:lnTo>
                  <a:close/>
                  <a:moveTo>
                    <a:pt x="202" y="258"/>
                  </a:moveTo>
                  <a:lnTo>
                    <a:pt x="200" y="258"/>
                  </a:lnTo>
                  <a:lnTo>
                    <a:pt x="200" y="258"/>
                  </a:lnTo>
                  <a:lnTo>
                    <a:pt x="199" y="258"/>
                  </a:lnTo>
                  <a:lnTo>
                    <a:pt x="199" y="258"/>
                  </a:lnTo>
                  <a:lnTo>
                    <a:pt x="197" y="258"/>
                  </a:lnTo>
                  <a:lnTo>
                    <a:pt x="195" y="256"/>
                  </a:lnTo>
                  <a:lnTo>
                    <a:pt x="195" y="256"/>
                  </a:lnTo>
                  <a:lnTo>
                    <a:pt x="195" y="255"/>
                  </a:lnTo>
                  <a:lnTo>
                    <a:pt x="195" y="255"/>
                  </a:lnTo>
                  <a:lnTo>
                    <a:pt x="193" y="253"/>
                  </a:lnTo>
                  <a:lnTo>
                    <a:pt x="193" y="255"/>
                  </a:lnTo>
                  <a:lnTo>
                    <a:pt x="191" y="255"/>
                  </a:lnTo>
                  <a:lnTo>
                    <a:pt x="193" y="255"/>
                  </a:lnTo>
                  <a:lnTo>
                    <a:pt x="193" y="255"/>
                  </a:lnTo>
                  <a:lnTo>
                    <a:pt x="191" y="256"/>
                  </a:lnTo>
                  <a:lnTo>
                    <a:pt x="191" y="255"/>
                  </a:lnTo>
                  <a:lnTo>
                    <a:pt x="190" y="255"/>
                  </a:lnTo>
                  <a:lnTo>
                    <a:pt x="190" y="255"/>
                  </a:lnTo>
                  <a:lnTo>
                    <a:pt x="190" y="253"/>
                  </a:lnTo>
                  <a:lnTo>
                    <a:pt x="191" y="251"/>
                  </a:lnTo>
                  <a:lnTo>
                    <a:pt x="191" y="251"/>
                  </a:lnTo>
                  <a:lnTo>
                    <a:pt x="191" y="249"/>
                  </a:lnTo>
                  <a:lnTo>
                    <a:pt x="191" y="249"/>
                  </a:lnTo>
                  <a:lnTo>
                    <a:pt x="191" y="249"/>
                  </a:lnTo>
                  <a:lnTo>
                    <a:pt x="191" y="249"/>
                  </a:lnTo>
                  <a:lnTo>
                    <a:pt x="191" y="249"/>
                  </a:lnTo>
                  <a:lnTo>
                    <a:pt x="191" y="249"/>
                  </a:lnTo>
                  <a:lnTo>
                    <a:pt x="191" y="249"/>
                  </a:lnTo>
                  <a:lnTo>
                    <a:pt x="191" y="249"/>
                  </a:lnTo>
                  <a:lnTo>
                    <a:pt x="191" y="247"/>
                  </a:lnTo>
                  <a:lnTo>
                    <a:pt x="193" y="247"/>
                  </a:lnTo>
                  <a:lnTo>
                    <a:pt x="195" y="251"/>
                  </a:lnTo>
                  <a:lnTo>
                    <a:pt x="197" y="251"/>
                  </a:lnTo>
                  <a:lnTo>
                    <a:pt x="199" y="251"/>
                  </a:lnTo>
                  <a:lnTo>
                    <a:pt x="200" y="249"/>
                  </a:lnTo>
                  <a:lnTo>
                    <a:pt x="200" y="249"/>
                  </a:lnTo>
                  <a:lnTo>
                    <a:pt x="202" y="249"/>
                  </a:lnTo>
                  <a:lnTo>
                    <a:pt x="204" y="249"/>
                  </a:lnTo>
                  <a:lnTo>
                    <a:pt x="204" y="249"/>
                  </a:lnTo>
                  <a:lnTo>
                    <a:pt x="204" y="247"/>
                  </a:lnTo>
                  <a:lnTo>
                    <a:pt x="202" y="242"/>
                  </a:lnTo>
                  <a:lnTo>
                    <a:pt x="202" y="242"/>
                  </a:lnTo>
                  <a:lnTo>
                    <a:pt x="202" y="242"/>
                  </a:lnTo>
                  <a:lnTo>
                    <a:pt x="204" y="242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204" y="238"/>
                  </a:lnTo>
                  <a:lnTo>
                    <a:pt x="202" y="236"/>
                  </a:lnTo>
                  <a:lnTo>
                    <a:pt x="199" y="236"/>
                  </a:lnTo>
                  <a:lnTo>
                    <a:pt x="197" y="235"/>
                  </a:lnTo>
                  <a:lnTo>
                    <a:pt x="197" y="235"/>
                  </a:lnTo>
                  <a:lnTo>
                    <a:pt x="197" y="235"/>
                  </a:lnTo>
                  <a:lnTo>
                    <a:pt x="197" y="235"/>
                  </a:lnTo>
                  <a:lnTo>
                    <a:pt x="197" y="233"/>
                  </a:lnTo>
                  <a:lnTo>
                    <a:pt x="199" y="233"/>
                  </a:lnTo>
                  <a:lnTo>
                    <a:pt x="199" y="233"/>
                  </a:lnTo>
                  <a:lnTo>
                    <a:pt x="200" y="233"/>
                  </a:lnTo>
                  <a:lnTo>
                    <a:pt x="200" y="235"/>
                  </a:lnTo>
                  <a:lnTo>
                    <a:pt x="200" y="236"/>
                  </a:lnTo>
                  <a:lnTo>
                    <a:pt x="200" y="236"/>
                  </a:lnTo>
                  <a:lnTo>
                    <a:pt x="200" y="236"/>
                  </a:lnTo>
                  <a:lnTo>
                    <a:pt x="200" y="236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3"/>
                  </a:lnTo>
                  <a:lnTo>
                    <a:pt x="202" y="231"/>
                  </a:lnTo>
                  <a:lnTo>
                    <a:pt x="204" y="229"/>
                  </a:lnTo>
                  <a:lnTo>
                    <a:pt x="206" y="229"/>
                  </a:lnTo>
                  <a:lnTo>
                    <a:pt x="215" y="226"/>
                  </a:lnTo>
                  <a:lnTo>
                    <a:pt x="219" y="224"/>
                  </a:lnTo>
                  <a:lnTo>
                    <a:pt x="219" y="224"/>
                  </a:lnTo>
                  <a:lnTo>
                    <a:pt x="219" y="224"/>
                  </a:lnTo>
                  <a:lnTo>
                    <a:pt x="219" y="220"/>
                  </a:lnTo>
                  <a:lnTo>
                    <a:pt x="219" y="220"/>
                  </a:lnTo>
                  <a:lnTo>
                    <a:pt x="219" y="218"/>
                  </a:lnTo>
                  <a:lnTo>
                    <a:pt x="219" y="217"/>
                  </a:lnTo>
                  <a:lnTo>
                    <a:pt x="217" y="215"/>
                  </a:lnTo>
                  <a:lnTo>
                    <a:pt x="215" y="213"/>
                  </a:lnTo>
                  <a:lnTo>
                    <a:pt x="213" y="213"/>
                  </a:lnTo>
                  <a:lnTo>
                    <a:pt x="211" y="213"/>
                  </a:lnTo>
                  <a:lnTo>
                    <a:pt x="210" y="213"/>
                  </a:lnTo>
                  <a:lnTo>
                    <a:pt x="208" y="211"/>
                  </a:lnTo>
                  <a:lnTo>
                    <a:pt x="206" y="206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11" y="197"/>
                  </a:lnTo>
                  <a:lnTo>
                    <a:pt x="213" y="197"/>
                  </a:lnTo>
                  <a:lnTo>
                    <a:pt x="217" y="195"/>
                  </a:lnTo>
                  <a:lnTo>
                    <a:pt x="217" y="195"/>
                  </a:lnTo>
                  <a:lnTo>
                    <a:pt x="219" y="195"/>
                  </a:lnTo>
                  <a:lnTo>
                    <a:pt x="219" y="195"/>
                  </a:lnTo>
                  <a:lnTo>
                    <a:pt x="219" y="195"/>
                  </a:lnTo>
                  <a:lnTo>
                    <a:pt x="220" y="195"/>
                  </a:lnTo>
                  <a:lnTo>
                    <a:pt x="220" y="195"/>
                  </a:lnTo>
                  <a:lnTo>
                    <a:pt x="220" y="193"/>
                  </a:lnTo>
                  <a:lnTo>
                    <a:pt x="224" y="191"/>
                  </a:lnTo>
                  <a:lnTo>
                    <a:pt x="226" y="188"/>
                  </a:lnTo>
                  <a:lnTo>
                    <a:pt x="226" y="186"/>
                  </a:lnTo>
                  <a:lnTo>
                    <a:pt x="226" y="186"/>
                  </a:lnTo>
                  <a:lnTo>
                    <a:pt x="226" y="186"/>
                  </a:lnTo>
                  <a:lnTo>
                    <a:pt x="226" y="184"/>
                  </a:lnTo>
                  <a:lnTo>
                    <a:pt x="226" y="184"/>
                  </a:lnTo>
                  <a:lnTo>
                    <a:pt x="226" y="182"/>
                  </a:lnTo>
                  <a:lnTo>
                    <a:pt x="226" y="180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6" y="177"/>
                  </a:lnTo>
                  <a:lnTo>
                    <a:pt x="224" y="175"/>
                  </a:lnTo>
                  <a:lnTo>
                    <a:pt x="224" y="173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2" y="170"/>
                  </a:lnTo>
                  <a:lnTo>
                    <a:pt x="222" y="168"/>
                  </a:lnTo>
                  <a:lnTo>
                    <a:pt x="222" y="166"/>
                  </a:lnTo>
                  <a:lnTo>
                    <a:pt x="222" y="166"/>
                  </a:lnTo>
                  <a:lnTo>
                    <a:pt x="224" y="162"/>
                  </a:lnTo>
                  <a:lnTo>
                    <a:pt x="224" y="161"/>
                  </a:lnTo>
                  <a:lnTo>
                    <a:pt x="226" y="159"/>
                  </a:lnTo>
                  <a:lnTo>
                    <a:pt x="228" y="157"/>
                  </a:lnTo>
                  <a:lnTo>
                    <a:pt x="224" y="155"/>
                  </a:lnTo>
                  <a:lnTo>
                    <a:pt x="222" y="153"/>
                  </a:lnTo>
                  <a:lnTo>
                    <a:pt x="222" y="152"/>
                  </a:lnTo>
                  <a:lnTo>
                    <a:pt x="220" y="152"/>
                  </a:lnTo>
                  <a:lnTo>
                    <a:pt x="217" y="152"/>
                  </a:lnTo>
                  <a:lnTo>
                    <a:pt x="213" y="150"/>
                  </a:lnTo>
                  <a:lnTo>
                    <a:pt x="208" y="150"/>
                  </a:lnTo>
                  <a:lnTo>
                    <a:pt x="204" y="152"/>
                  </a:lnTo>
                  <a:lnTo>
                    <a:pt x="197" y="157"/>
                  </a:lnTo>
                  <a:lnTo>
                    <a:pt x="191" y="161"/>
                  </a:lnTo>
                  <a:lnTo>
                    <a:pt x="190" y="162"/>
                  </a:lnTo>
                  <a:lnTo>
                    <a:pt x="188" y="166"/>
                  </a:lnTo>
                  <a:lnTo>
                    <a:pt x="190" y="166"/>
                  </a:lnTo>
                  <a:lnTo>
                    <a:pt x="191" y="166"/>
                  </a:lnTo>
                  <a:lnTo>
                    <a:pt x="195" y="164"/>
                  </a:lnTo>
                  <a:lnTo>
                    <a:pt x="195" y="164"/>
                  </a:lnTo>
                  <a:lnTo>
                    <a:pt x="197" y="164"/>
                  </a:lnTo>
                  <a:lnTo>
                    <a:pt x="197" y="166"/>
                  </a:lnTo>
                  <a:lnTo>
                    <a:pt x="199" y="170"/>
                  </a:lnTo>
                  <a:lnTo>
                    <a:pt x="199" y="171"/>
                  </a:lnTo>
                  <a:lnTo>
                    <a:pt x="199" y="175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199" y="190"/>
                  </a:lnTo>
                  <a:lnTo>
                    <a:pt x="199" y="191"/>
                  </a:lnTo>
                  <a:lnTo>
                    <a:pt x="197" y="191"/>
                  </a:lnTo>
                  <a:lnTo>
                    <a:pt x="197" y="190"/>
                  </a:lnTo>
                  <a:lnTo>
                    <a:pt x="197" y="190"/>
                  </a:lnTo>
                  <a:lnTo>
                    <a:pt x="197" y="190"/>
                  </a:lnTo>
                  <a:lnTo>
                    <a:pt x="199" y="190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5" y="188"/>
                  </a:lnTo>
                  <a:lnTo>
                    <a:pt x="195" y="190"/>
                  </a:lnTo>
                  <a:lnTo>
                    <a:pt x="193" y="190"/>
                  </a:lnTo>
                  <a:lnTo>
                    <a:pt x="193" y="191"/>
                  </a:lnTo>
                  <a:lnTo>
                    <a:pt x="191" y="191"/>
                  </a:lnTo>
                  <a:lnTo>
                    <a:pt x="191" y="190"/>
                  </a:lnTo>
                  <a:lnTo>
                    <a:pt x="193" y="188"/>
                  </a:lnTo>
                  <a:lnTo>
                    <a:pt x="195" y="186"/>
                  </a:lnTo>
                  <a:lnTo>
                    <a:pt x="195" y="186"/>
                  </a:lnTo>
                  <a:lnTo>
                    <a:pt x="195" y="186"/>
                  </a:lnTo>
                  <a:lnTo>
                    <a:pt x="197" y="186"/>
                  </a:lnTo>
                  <a:lnTo>
                    <a:pt x="199" y="184"/>
                  </a:lnTo>
                  <a:lnTo>
                    <a:pt x="199" y="180"/>
                  </a:lnTo>
                  <a:lnTo>
                    <a:pt x="197" y="177"/>
                  </a:lnTo>
                  <a:lnTo>
                    <a:pt x="197" y="175"/>
                  </a:lnTo>
                  <a:lnTo>
                    <a:pt x="197" y="173"/>
                  </a:lnTo>
                  <a:lnTo>
                    <a:pt x="197" y="173"/>
                  </a:lnTo>
                  <a:lnTo>
                    <a:pt x="195" y="173"/>
                  </a:lnTo>
                  <a:lnTo>
                    <a:pt x="195" y="171"/>
                  </a:lnTo>
                  <a:lnTo>
                    <a:pt x="195" y="171"/>
                  </a:lnTo>
                  <a:lnTo>
                    <a:pt x="195" y="170"/>
                  </a:lnTo>
                  <a:lnTo>
                    <a:pt x="195" y="170"/>
                  </a:lnTo>
                  <a:lnTo>
                    <a:pt x="195" y="170"/>
                  </a:lnTo>
                  <a:lnTo>
                    <a:pt x="195" y="168"/>
                  </a:lnTo>
                  <a:lnTo>
                    <a:pt x="193" y="166"/>
                  </a:lnTo>
                  <a:lnTo>
                    <a:pt x="191" y="166"/>
                  </a:lnTo>
                  <a:lnTo>
                    <a:pt x="191" y="168"/>
                  </a:lnTo>
                  <a:lnTo>
                    <a:pt x="193" y="171"/>
                  </a:lnTo>
                  <a:lnTo>
                    <a:pt x="193" y="173"/>
                  </a:lnTo>
                  <a:lnTo>
                    <a:pt x="193" y="177"/>
                  </a:lnTo>
                  <a:lnTo>
                    <a:pt x="191" y="177"/>
                  </a:lnTo>
                  <a:lnTo>
                    <a:pt x="190" y="177"/>
                  </a:lnTo>
                  <a:lnTo>
                    <a:pt x="190" y="179"/>
                  </a:lnTo>
                  <a:lnTo>
                    <a:pt x="188" y="180"/>
                  </a:lnTo>
                  <a:lnTo>
                    <a:pt x="188" y="180"/>
                  </a:lnTo>
                  <a:lnTo>
                    <a:pt x="188" y="182"/>
                  </a:lnTo>
                  <a:lnTo>
                    <a:pt x="188" y="182"/>
                  </a:lnTo>
                  <a:lnTo>
                    <a:pt x="188" y="184"/>
                  </a:lnTo>
                  <a:lnTo>
                    <a:pt x="190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6" y="190"/>
                  </a:lnTo>
                  <a:lnTo>
                    <a:pt x="186" y="190"/>
                  </a:lnTo>
                  <a:lnTo>
                    <a:pt x="184" y="191"/>
                  </a:lnTo>
                  <a:lnTo>
                    <a:pt x="186" y="190"/>
                  </a:lnTo>
                  <a:lnTo>
                    <a:pt x="186" y="190"/>
                  </a:lnTo>
                  <a:lnTo>
                    <a:pt x="186" y="188"/>
                  </a:lnTo>
                  <a:lnTo>
                    <a:pt x="186" y="188"/>
                  </a:lnTo>
                  <a:lnTo>
                    <a:pt x="184" y="186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2" y="186"/>
                  </a:lnTo>
                  <a:lnTo>
                    <a:pt x="181" y="186"/>
                  </a:lnTo>
                  <a:lnTo>
                    <a:pt x="179" y="186"/>
                  </a:lnTo>
                  <a:lnTo>
                    <a:pt x="179" y="184"/>
                  </a:lnTo>
                  <a:lnTo>
                    <a:pt x="179" y="184"/>
                  </a:lnTo>
                  <a:lnTo>
                    <a:pt x="181" y="184"/>
                  </a:lnTo>
                  <a:lnTo>
                    <a:pt x="184" y="182"/>
                  </a:lnTo>
                  <a:lnTo>
                    <a:pt x="184" y="182"/>
                  </a:lnTo>
                  <a:lnTo>
                    <a:pt x="184" y="180"/>
                  </a:lnTo>
                  <a:lnTo>
                    <a:pt x="182" y="179"/>
                  </a:lnTo>
                  <a:lnTo>
                    <a:pt x="182" y="179"/>
                  </a:lnTo>
                  <a:lnTo>
                    <a:pt x="182" y="179"/>
                  </a:lnTo>
                  <a:lnTo>
                    <a:pt x="181" y="179"/>
                  </a:lnTo>
                  <a:lnTo>
                    <a:pt x="181" y="179"/>
                  </a:lnTo>
                  <a:lnTo>
                    <a:pt x="179" y="180"/>
                  </a:lnTo>
                  <a:lnTo>
                    <a:pt x="177" y="180"/>
                  </a:lnTo>
                  <a:lnTo>
                    <a:pt x="177" y="180"/>
                  </a:lnTo>
                  <a:lnTo>
                    <a:pt x="177" y="179"/>
                  </a:lnTo>
                  <a:lnTo>
                    <a:pt x="177" y="179"/>
                  </a:lnTo>
                  <a:lnTo>
                    <a:pt x="177" y="179"/>
                  </a:lnTo>
                  <a:lnTo>
                    <a:pt x="179" y="177"/>
                  </a:lnTo>
                  <a:lnTo>
                    <a:pt x="179" y="177"/>
                  </a:lnTo>
                  <a:lnTo>
                    <a:pt x="181" y="177"/>
                  </a:lnTo>
                  <a:lnTo>
                    <a:pt x="182" y="177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79" y="170"/>
                  </a:lnTo>
                  <a:lnTo>
                    <a:pt x="179" y="168"/>
                  </a:lnTo>
                  <a:lnTo>
                    <a:pt x="181" y="168"/>
                  </a:lnTo>
                  <a:lnTo>
                    <a:pt x="182" y="168"/>
                  </a:lnTo>
                  <a:lnTo>
                    <a:pt x="182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4" y="168"/>
                  </a:lnTo>
                  <a:lnTo>
                    <a:pt x="182" y="168"/>
                  </a:lnTo>
                  <a:lnTo>
                    <a:pt x="184" y="166"/>
                  </a:lnTo>
                  <a:lnTo>
                    <a:pt x="184" y="164"/>
                  </a:lnTo>
                  <a:lnTo>
                    <a:pt x="184" y="164"/>
                  </a:lnTo>
                  <a:lnTo>
                    <a:pt x="184" y="162"/>
                  </a:lnTo>
                  <a:lnTo>
                    <a:pt x="184" y="164"/>
                  </a:lnTo>
                  <a:lnTo>
                    <a:pt x="182" y="164"/>
                  </a:lnTo>
                  <a:lnTo>
                    <a:pt x="179" y="166"/>
                  </a:lnTo>
                  <a:lnTo>
                    <a:pt x="175" y="166"/>
                  </a:lnTo>
                  <a:lnTo>
                    <a:pt x="175" y="164"/>
                  </a:lnTo>
                  <a:lnTo>
                    <a:pt x="168" y="164"/>
                  </a:lnTo>
                  <a:lnTo>
                    <a:pt x="166" y="164"/>
                  </a:lnTo>
                  <a:lnTo>
                    <a:pt x="159" y="161"/>
                  </a:lnTo>
                  <a:lnTo>
                    <a:pt x="161" y="162"/>
                  </a:lnTo>
                  <a:lnTo>
                    <a:pt x="161" y="164"/>
                  </a:lnTo>
                  <a:lnTo>
                    <a:pt x="164" y="164"/>
                  </a:lnTo>
                  <a:lnTo>
                    <a:pt x="168" y="166"/>
                  </a:lnTo>
                  <a:lnTo>
                    <a:pt x="170" y="166"/>
                  </a:lnTo>
                  <a:lnTo>
                    <a:pt x="172" y="168"/>
                  </a:lnTo>
                  <a:lnTo>
                    <a:pt x="172" y="171"/>
                  </a:lnTo>
                  <a:lnTo>
                    <a:pt x="170" y="175"/>
                  </a:lnTo>
                  <a:lnTo>
                    <a:pt x="168" y="175"/>
                  </a:lnTo>
                  <a:lnTo>
                    <a:pt x="166" y="175"/>
                  </a:lnTo>
                  <a:lnTo>
                    <a:pt x="166" y="177"/>
                  </a:lnTo>
                  <a:lnTo>
                    <a:pt x="164" y="175"/>
                  </a:lnTo>
                  <a:lnTo>
                    <a:pt x="163" y="175"/>
                  </a:lnTo>
                  <a:lnTo>
                    <a:pt x="164" y="175"/>
                  </a:lnTo>
                  <a:lnTo>
                    <a:pt x="164" y="177"/>
                  </a:lnTo>
                  <a:lnTo>
                    <a:pt x="164" y="177"/>
                  </a:lnTo>
                  <a:lnTo>
                    <a:pt x="164" y="179"/>
                  </a:lnTo>
                  <a:lnTo>
                    <a:pt x="164" y="179"/>
                  </a:lnTo>
                  <a:lnTo>
                    <a:pt x="164" y="180"/>
                  </a:lnTo>
                  <a:lnTo>
                    <a:pt x="164" y="182"/>
                  </a:lnTo>
                  <a:lnTo>
                    <a:pt x="164" y="182"/>
                  </a:lnTo>
                  <a:lnTo>
                    <a:pt x="163" y="182"/>
                  </a:lnTo>
                  <a:lnTo>
                    <a:pt x="161" y="182"/>
                  </a:lnTo>
                  <a:lnTo>
                    <a:pt x="159" y="184"/>
                  </a:lnTo>
                  <a:lnTo>
                    <a:pt x="159" y="184"/>
                  </a:lnTo>
                  <a:lnTo>
                    <a:pt x="157" y="184"/>
                  </a:lnTo>
                  <a:lnTo>
                    <a:pt x="155" y="184"/>
                  </a:lnTo>
                  <a:lnTo>
                    <a:pt x="155" y="184"/>
                  </a:lnTo>
                  <a:lnTo>
                    <a:pt x="155" y="184"/>
                  </a:lnTo>
                  <a:lnTo>
                    <a:pt x="157" y="186"/>
                  </a:lnTo>
                  <a:lnTo>
                    <a:pt x="155" y="188"/>
                  </a:lnTo>
                  <a:lnTo>
                    <a:pt x="154" y="186"/>
                  </a:lnTo>
                  <a:lnTo>
                    <a:pt x="154" y="186"/>
                  </a:lnTo>
                  <a:lnTo>
                    <a:pt x="152" y="184"/>
                  </a:lnTo>
                  <a:lnTo>
                    <a:pt x="152" y="184"/>
                  </a:lnTo>
                  <a:lnTo>
                    <a:pt x="154" y="184"/>
                  </a:lnTo>
                  <a:lnTo>
                    <a:pt x="154" y="184"/>
                  </a:lnTo>
                  <a:lnTo>
                    <a:pt x="154" y="184"/>
                  </a:lnTo>
                  <a:lnTo>
                    <a:pt x="154" y="182"/>
                  </a:lnTo>
                  <a:lnTo>
                    <a:pt x="152" y="182"/>
                  </a:lnTo>
                  <a:lnTo>
                    <a:pt x="150" y="184"/>
                  </a:lnTo>
                  <a:lnTo>
                    <a:pt x="148" y="184"/>
                  </a:lnTo>
                  <a:lnTo>
                    <a:pt x="139" y="184"/>
                  </a:lnTo>
                  <a:lnTo>
                    <a:pt x="139" y="184"/>
                  </a:lnTo>
                  <a:lnTo>
                    <a:pt x="141" y="184"/>
                  </a:lnTo>
                  <a:lnTo>
                    <a:pt x="143" y="184"/>
                  </a:lnTo>
                  <a:lnTo>
                    <a:pt x="145" y="186"/>
                  </a:lnTo>
                  <a:lnTo>
                    <a:pt x="145" y="186"/>
                  </a:lnTo>
                  <a:lnTo>
                    <a:pt x="145" y="186"/>
                  </a:lnTo>
                  <a:lnTo>
                    <a:pt x="145" y="188"/>
                  </a:lnTo>
                  <a:lnTo>
                    <a:pt x="146" y="188"/>
                  </a:lnTo>
                  <a:lnTo>
                    <a:pt x="150" y="190"/>
                  </a:lnTo>
                  <a:lnTo>
                    <a:pt x="150" y="191"/>
                  </a:lnTo>
                  <a:lnTo>
                    <a:pt x="143" y="190"/>
                  </a:lnTo>
                  <a:lnTo>
                    <a:pt x="143" y="191"/>
                  </a:lnTo>
                  <a:lnTo>
                    <a:pt x="148" y="193"/>
                  </a:lnTo>
                  <a:lnTo>
                    <a:pt x="150" y="193"/>
                  </a:lnTo>
                  <a:lnTo>
                    <a:pt x="152" y="197"/>
                  </a:lnTo>
                  <a:lnTo>
                    <a:pt x="154" y="199"/>
                  </a:lnTo>
                  <a:lnTo>
                    <a:pt x="154" y="200"/>
                  </a:lnTo>
                  <a:lnTo>
                    <a:pt x="154" y="200"/>
                  </a:lnTo>
                  <a:lnTo>
                    <a:pt x="152" y="202"/>
                  </a:lnTo>
                  <a:lnTo>
                    <a:pt x="152" y="202"/>
                  </a:lnTo>
                  <a:lnTo>
                    <a:pt x="150" y="202"/>
                  </a:lnTo>
                  <a:lnTo>
                    <a:pt x="150" y="202"/>
                  </a:lnTo>
                  <a:lnTo>
                    <a:pt x="150" y="204"/>
                  </a:lnTo>
                  <a:lnTo>
                    <a:pt x="150" y="204"/>
                  </a:lnTo>
                  <a:lnTo>
                    <a:pt x="150" y="204"/>
                  </a:lnTo>
                  <a:lnTo>
                    <a:pt x="152" y="204"/>
                  </a:lnTo>
                  <a:lnTo>
                    <a:pt x="154" y="204"/>
                  </a:lnTo>
                  <a:lnTo>
                    <a:pt x="154" y="204"/>
                  </a:lnTo>
                  <a:lnTo>
                    <a:pt x="154" y="204"/>
                  </a:lnTo>
                  <a:lnTo>
                    <a:pt x="155" y="206"/>
                  </a:lnTo>
                  <a:lnTo>
                    <a:pt x="155" y="209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7" y="213"/>
                  </a:lnTo>
                  <a:lnTo>
                    <a:pt x="157" y="213"/>
                  </a:lnTo>
                  <a:lnTo>
                    <a:pt x="155" y="215"/>
                  </a:lnTo>
                  <a:lnTo>
                    <a:pt x="155" y="215"/>
                  </a:lnTo>
                  <a:lnTo>
                    <a:pt x="155" y="215"/>
                  </a:lnTo>
                  <a:lnTo>
                    <a:pt x="154" y="215"/>
                  </a:lnTo>
                  <a:lnTo>
                    <a:pt x="154" y="217"/>
                  </a:lnTo>
                  <a:lnTo>
                    <a:pt x="154" y="217"/>
                  </a:lnTo>
                  <a:lnTo>
                    <a:pt x="152" y="217"/>
                  </a:lnTo>
                  <a:lnTo>
                    <a:pt x="152" y="217"/>
                  </a:lnTo>
                  <a:lnTo>
                    <a:pt x="150" y="217"/>
                  </a:lnTo>
                  <a:lnTo>
                    <a:pt x="150" y="217"/>
                  </a:lnTo>
                  <a:lnTo>
                    <a:pt x="152" y="218"/>
                  </a:lnTo>
                  <a:lnTo>
                    <a:pt x="152" y="220"/>
                  </a:lnTo>
                  <a:lnTo>
                    <a:pt x="152" y="220"/>
                  </a:lnTo>
                  <a:lnTo>
                    <a:pt x="152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5" y="218"/>
                  </a:lnTo>
                  <a:lnTo>
                    <a:pt x="155" y="218"/>
                  </a:lnTo>
                  <a:lnTo>
                    <a:pt x="155" y="220"/>
                  </a:lnTo>
                  <a:lnTo>
                    <a:pt x="155" y="220"/>
                  </a:lnTo>
                  <a:lnTo>
                    <a:pt x="154" y="220"/>
                  </a:lnTo>
                  <a:lnTo>
                    <a:pt x="154" y="220"/>
                  </a:lnTo>
                  <a:lnTo>
                    <a:pt x="154" y="220"/>
                  </a:lnTo>
                  <a:lnTo>
                    <a:pt x="157" y="224"/>
                  </a:lnTo>
                  <a:lnTo>
                    <a:pt x="157" y="224"/>
                  </a:lnTo>
                  <a:lnTo>
                    <a:pt x="157" y="224"/>
                  </a:lnTo>
                  <a:lnTo>
                    <a:pt x="157" y="226"/>
                  </a:lnTo>
                  <a:lnTo>
                    <a:pt x="157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61" y="226"/>
                  </a:lnTo>
                  <a:lnTo>
                    <a:pt x="161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7" y="227"/>
                  </a:lnTo>
                  <a:lnTo>
                    <a:pt x="159" y="229"/>
                  </a:lnTo>
                  <a:lnTo>
                    <a:pt x="159" y="231"/>
                  </a:lnTo>
                  <a:lnTo>
                    <a:pt x="161" y="231"/>
                  </a:lnTo>
                  <a:lnTo>
                    <a:pt x="163" y="231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4" y="231"/>
                  </a:lnTo>
                  <a:lnTo>
                    <a:pt x="164" y="231"/>
                  </a:lnTo>
                  <a:lnTo>
                    <a:pt x="166" y="229"/>
                  </a:lnTo>
                  <a:lnTo>
                    <a:pt x="168" y="229"/>
                  </a:lnTo>
                  <a:lnTo>
                    <a:pt x="170" y="231"/>
                  </a:lnTo>
                  <a:lnTo>
                    <a:pt x="172" y="231"/>
                  </a:lnTo>
                  <a:lnTo>
                    <a:pt x="172" y="231"/>
                  </a:lnTo>
                  <a:lnTo>
                    <a:pt x="175" y="233"/>
                  </a:lnTo>
                  <a:lnTo>
                    <a:pt x="177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81" y="231"/>
                  </a:lnTo>
                  <a:lnTo>
                    <a:pt x="181" y="231"/>
                  </a:lnTo>
                  <a:lnTo>
                    <a:pt x="182" y="231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2" y="233"/>
                  </a:lnTo>
                  <a:lnTo>
                    <a:pt x="182" y="235"/>
                  </a:lnTo>
                  <a:lnTo>
                    <a:pt x="182" y="235"/>
                  </a:lnTo>
                  <a:lnTo>
                    <a:pt x="186" y="235"/>
                  </a:lnTo>
                  <a:lnTo>
                    <a:pt x="186" y="236"/>
                  </a:lnTo>
                  <a:lnTo>
                    <a:pt x="186" y="236"/>
                  </a:lnTo>
                  <a:lnTo>
                    <a:pt x="186" y="236"/>
                  </a:lnTo>
                  <a:lnTo>
                    <a:pt x="182" y="238"/>
                  </a:lnTo>
                  <a:lnTo>
                    <a:pt x="182" y="240"/>
                  </a:lnTo>
                  <a:lnTo>
                    <a:pt x="186" y="242"/>
                  </a:lnTo>
                  <a:lnTo>
                    <a:pt x="188" y="244"/>
                  </a:lnTo>
                  <a:lnTo>
                    <a:pt x="184" y="244"/>
                  </a:lnTo>
                  <a:lnTo>
                    <a:pt x="179" y="242"/>
                  </a:lnTo>
                  <a:lnTo>
                    <a:pt x="177" y="240"/>
                  </a:lnTo>
                  <a:lnTo>
                    <a:pt x="177" y="242"/>
                  </a:lnTo>
                  <a:lnTo>
                    <a:pt x="179" y="242"/>
                  </a:lnTo>
                  <a:lnTo>
                    <a:pt x="179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4" y="244"/>
                  </a:lnTo>
                  <a:lnTo>
                    <a:pt x="184" y="244"/>
                  </a:lnTo>
                  <a:lnTo>
                    <a:pt x="184" y="244"/>
                  </a:lnTo>
                  <a:lnTo>
                    <a:pt x="188" y="246"/>
                  </a:lnTo>
                  <a:lnTo>
                    <a:pt x="188" y="247"/>
                  </a:lnTo>
                  <a:lnTo>
                    <a:pt x="190" y="249"/>
                  </a:lnTo>
                  <a:lnTo>
                    <a:pt x="190" y="251"/>
                  </a:lnTo>
                  <a:lnTo>
                    <a:pt x="190" y="251"/>
                  </a:lnTo>
                  <a:lnTo>
                    <a:pt x="190" y="253"/>
                  </a:lnTo>
                  <a:lnTo>
                    <a:pt x="188" y="253"/>
                  </a:lnTo>
                  <a:lnTo>
                    <a:pt x="188" y="251"/>
                  </a:lnTo>
                  <a:lnTo>
                    <a:pt x="188" y="251"/>
                  </a:lnTo>
                  <a:lnTo>
                    <a:pt x="186" y="253"/>
                  </a:lnTo>
                  <a:lnTo>
                    <a:pt x="186" y="253"/>
                  </a:lnTo>
                  <a:lnTo>
                    <a:pt x="186" y="253"/>
                  </a:lnTo>
                  <a:lnTo>
                    <a:pt x="184" y="251"/>
                  </a:lnTo>
                  <a:lnTo>
                    <a:pt x="184" y="251"/>
                  </a:lnTo>
                  <a:lnTo>
                    <a:pt x="184" y="251"/>
                  </a:lnTo>
                  <a:lnTo>
                    <a:pt x="182" y="253"/>
                  </a:lnTo>
                  <a:lnTo>
                    <a:pt x="182" y="255"/>
                  </a:lnTo>
                  <a:lnTo>
                    <a:pt x="182" y="255"/>
                  </a:lnTo>
                  <a:lnTo>
                    <a:pt x="182" y="255"/>
                  </a:lnTo>
                  <a:lnTo>
                    <a:pt x="182" y="256"/>
                  </a:lnTo>
                  <a:lnTo>
                    <a:pt x="182" y="258"/>
                  </a:lnTo>
                  <a:lnTo>
                    <a:pt x="184" y="260"/>
                  </a:lnTo>
                  <a:lnTo>
                    <a:pt x="184" y="260"/>
                  </a:lnTo>
                  <a:lnTo>
                    <a:pt x="184" y="262"/>
                  </a:lnTo>
                  <a:lnTo>
                    <a:pt x="186" y="262"/>
                  </a:lnTo>
                  <a:lnTo>
                    <a:pt x="186" y="264"/>
                  </a:lnTo>
                  <a:lnTo>
                    <a:pt x="186" y="264"/>
                  </a:lnTo>
                  <a:lnTo>
                    <a:pt x="186" y="264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90" y="269"/>
                  </a:lnTo>
                  <a:lnTo>
                    <a:pt x="190" y="269"/>
                  </a:lnTo>
                  <a:lnTo>
                    <a:pt x="190" y="269"/>
                  </a:lnTo>
                  <a:lnTo>
                    <a:pt x="190" y="269"/>
                  </a:lnTo>
                  <a:lnTo>
                    <a:pt x="190" y="271"/>
                  </a:lnTo>
                  <a:lnTo>
                    <a:pt x="190" y="273"/>
                  </a:lnTo>
                  <a:lnTo>
                    <a:pt x="190" y="273"/>
                  </a:lnTo>
                  <a:lnTo>
                    <a:pt x="191" y="273"/>
                  </a:lnTo>
                  <a:lnTo>
                    <a:pt x="190" y="274"/>
                  </a:lnTo>
                  <a:lnTo>
                    <a:pt x="190" y="276"/>
                  </a:lnTo>
                  <a:lnTo>
                    <a:pt x="190" y="278"/>
                  </a:lnTo>
                  <a:lnTo>
                    <a:pt x="190" y="280"/>
                  </a:lnTo>
                  <a:lnTo>
                    <a:pt x="191" y="283"/>
                  </a:lnTo>
                  <a:lnTo>
                    <a:pt x="191" y="283"/>
                  </a:lnTo>
                  <a:lnTo>
                    <a:pt x="193" y="285"/>
                  </a:lnTo>
                  <a:lnTo>
                    <a:pt x="193" y="285"/>
                  </a:lnTo>
                  <a:lnTo>
                    <a:pt x="195" y="285"/>
                  </a:lnTo>
                  <a:lnTo>
                    <a:pt x="195" y="283"/>
                  </a:lnTo>
                  <a:lnTo>
                    <a:pt x="193" y="278"/>
                  </a:lnTo>
                  <a:lnTo>
                    <a:pt x="193" y="274"/>
                  </a:lnTo>
                  <a:lnTo>
                    <a:pt x="195" y="274"/>
                  </a:lnTo>
                  <a:lnTo>
                    <a:pt x="195" y="274"/>
                  </a:lnTo>
                  <a:lnTo>
                    <a:pt x="197" y="273"/>
                  </a:lnTo>
                  <a:lnTo>
                    <a:pt x="197" y="273"/>
                  </a:lnTo>
                  <a:lnTo>
                    <a:pt x="197" y="271"/>
                  </a:lnTo>
                  <a:lnTo>
                    <a:pt x="199" y="267"/>
                  </a:lnTo>
                  <a:lnTo>
                    <a:pt x="200" y="267"/>
                  </a:lnTo>
                  <a:lnTo>
                    <a:pt x="204" y="264"/>
                  </a:lnTo>
                  <a:lnTo>
                    <a:pt x="204" y="262"/>
                  </a:lnTo>
                  <a:lnTo>
                    <a:pt x="202" y="260"/>
                  </a:lnTo>
                  <a:lnTo>
                    <a:pt x="202" y="258"/>
                  </a:lnTo>
                  <a:close/>
                  <a:moveTo>
                    <a:pt x="172" y="99"/>
                  </a:moveTo>
                  <a:lnTo>
                    <a:pt x="173" y="99"/>
                  </a:lnTo>
                  <a:lnTo>
                    <a:pt x="173" y="99"/>
                  </a:lnTo>
                  <a:lnTo>
                    <a:pt x="175" y="99"/>
                  </a:lnTo>
                  <a:lnTo>
                    <a:pt x="175" y="99"/>
                  </a:lnTo>
                  <a:lnTo>
                    <a:pt x="177" y="97"/>
                  </a:lnTo>
                  <a:lnTo>
                    <a:pt x="177" y="96"/>
                  </a:lnTo>
                  <a:lnTo>
                    <a:pt x="177" y="96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7" y="96"/>
                  </a:lnTo>
                  <a:lnTo>
                    <a:pt x="172" y="96"/>
                  </a:lnTo>
                  <a:lnTo>
                    <a:pt x="172" y="96"/>
                  </a:lnTo>
                  <a:lnTo>
                    <a:pt x="172" y="97"/>
                  </a:lnTo>
                  <a:lnTo>
                    <a:pt x="172" y="99"/>
                  </a:lnTo>
                  <a:close/>
                  <a:moveTo>
                    <a:pt x="24" y="92"/>
                  </a:move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4" y="97"/>
                  </a:lnTo>
                  <a:lnTo>
                    <a:pt x="34" y="96"/>
                  </a:lnTo>
                  <a:lnTo>
                    <a:pt x="36" y="94"/>
                  </a:lnTo>
                  <a:lnTo>
                    <a:pt x="38" y="94"/>
                  </a:lnTo>
                  <a:lnTo>
                    <a:pt x="38" y="92"/>
                  </a:lnTo>
                  <a:lnTo>
                    <a:pt x="38" y="90"/>
                  </a:lnTo>
                  <a:lnTo>
                    <a:pt x="40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7"/>
                  </a:lnTo>
                  <a:lnTo>
                    <a:pt x="38" y="87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38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4" y="79"/>
                  </a:lnTo>
                  <a:lnTo>
                    <a:pt x="31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81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4" y="88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close/>
                  <a:moveTo>
                    <a:pt x="141" y="47"/>
                  </a:moveTo>
                  <a:lnTo>
                    <a:pt x="141" y="49"/>
                  </a:lnTo>
                  <a:lnTo>
                    <a:pt x="143" y="49"/>
                  </a:lnTo>
                  <a:lnTo>
                    <a:pt x="145" y="50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48" y="50"/>
                  </a:lnTo>
                  <a:lnTo>
                    <a:pt x="148" y="49"/>
                  </a:lnTo>
                  <a:lnTo>
                    <a:pt x="150" y="49"/>
                  </a:lnTo>
                  <a:lnTo>
                    <a:pt x="150" y="47"/>
                  </a:lnTo>
                  <a:lnTo>
                    <a:pt x="150" y="45"/>
                  </a:lnTo>
                  <a:lnTo>
                    <a:pt x="150" y="43"/>
                  </a:lnTo>
                  <a:lnTo>
                    <a:pt x="150" y="43"/>
                  </a:lnTo>
                  <a:lnTo>
                    <a:pt x="154" y="41"/>
                  </a:lnTo>
                  <a:lnTo>
                    <a:pt x="154" y="43"/>
                  </a:lnTo>
                  <a:lnTo>
                    <a:pt x="155" y="43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4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6" y="41"/>
                  </a:lnTo>
                  <a:lnTo>
                    <a:pt x="145" y="41"/>
                  </a:lnTo>
                  <a:lnTo>
                    <a:pt x="143" y="41"/>
                  </a:lnTo>
                  <a:lnTo>
                    <a:pt x="143" y="43"/>
                  </a:lnTo>
                  <a:lnTo>
                    <a:pt x="141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7"/>
                  </a:lnTo>
                  <a:lnTo>
                    <a:pt x="141" y="47"/>
                  </a:lnTo>
                  <a:close/>
                  <a:moveTo>
                    <a:pt x="83" y="251"/>
                  </a:moveTo>
                  <a:lnTo>
                    <a:pt x="83" y="249"/>
                  </a:lnTo>
                  <a:lnTo>
                    <a:pt x="81" y="249"/>
                  </a:lnTo>
                  <a:lnTo>
                    <a:pt x="80" y="247"/>
                  </a:lnTo>
                  <a:lnTo>
                    <a:pt x="78" y="247"/>
                  </a:lnTo>
                  <a:lnTo>
                    <a:pt x="76" y="246"/>
                  </a:lnTo>
                  <a:lnTo>
                    <a:pt x="74" y="244"/>
                  </a:lnTo>
                  <a:lnTo>
                    <a:pt x="74" y="244"/>
                  </a:lnTo>
                  <a:lnTo>
                    <a:pt x="74" y="246"/>
                  </a:lnTo>
                  <a:lnTo>
                    <a:pt x="74" y="246"/>
                  </a:lnTo>
                  <a:lnTo>
                    <a:pt x="72" y="246"/>
                  </a:lnTo>
                  <a:lnTo>
                    <a:pt x="72" y="246"/>
                  </a:lnTo>
                  <a:lnTo>
                    <a:pt x="72" y="246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70" y="244"/>
                  </a:lnTo>
                  <a:lnTo>
                    <a:pt x="72" y="244"/>
                  </a:lnTo>
                  <a:lnTo>
                    <a:pt x="72" y="244"/>
                  </a:lnTo>
                  <a:lnTo>
                    <a:pt x="74" y="242"/>
                  </a:lnTo>
                  <a:lnTo>
                    <a:pt x="72" y="240"/>
                  </a:lnTo>
                  <a:lnTo>
                    <a:pt x="72" y="238"/>
                  </a:lnTo>
                  <a:lnTo>
                    <a:pt x="70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2" y="235"/>
                  </a:lnTo>
                  <a:lnTo>
                    <a:pt x="72" y="233"/>
                  </a:lnTo>
                  <a:lnTo>
                    <a:pt x="74" y="233"/>
                  </a:lnTo>
                  <a:lnTo>
                    <a:pt x="74" y="233"/>
                  </a:lnTo>
                  <a:lnTo>
                    <a:pt x="74" y="231"/>
                  </a:lnTo>
                  <a:lnTo>
                    <a:pt x="76" y="231"/>
                  </a:lnTo>
                  <a:lnTo>
                    <a:pt x="78" y="233"/>
                  </a:lnTo>
                  <a:lnTo>
                    <a:pt x="80" y="233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1" y="229"/>
                  </a:lnTo>
                  <a:lnTo>
                    <a:pt x="81" y="229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6"/>
                  </a:lnTo>
                  <a:lnTo>
                    <a:pt x="81" y="226"/>
                  </a:lnTo>
                  <a:lnTo>
                    <a:pt x="80" y="224"/>
                  </a:lnTo>
                  <a:lnTo>
                    <a:pt x="78" y="222"/>
                  </a:lnTo>
                  <a:lnTo>
                    <a:pt x="78" y="220"/>
                  </a:lnTo>
                  <a:lnTo>
                    <a:pt x="78" y="220"/>
                  </a:lnTo>
                  <a:lnTo>
                    <a:pt x="78" y="220"/>
                  </a:lnTo>
                  <a:lnTo>
                    <a:pt x="78" y="218"/>
                  </a:lnTo>
                  <a:lnTo>
                    <a:pt x="78" y="218"/>
                  </a:lnTo>
                  <a:lnTo>
                    <a:pt x="78" y="217"/>
                  </a:lnTo>
                  <a:lnTo>
                    <a:pt x="76" y="217"/>
                  </a:lnTo>
                  <a:lnTo>
                    <a:pt x="76" y="217"/>
                  </a:lnTo>
                  <a:lnTo>
                    <a:pt x="76" y="215"/>
                  </a:lnTo>
                  <a:lnTo>
                    <a:pt x="76" y="215"/>
                  </a:lnTo>
                  <a:lnTo>
                    <a:pt x="76" y="213"/>
                  </a:lnTo>
                  <a:lnTo>
                    <a:pt x="76" y="213"/>
                  </a:lnTo>
                  <a:lnTo>
                    <a:pt x="76" y="211"/>
                  </a:lnTo>
                  <a:lnTo>
                    <a:pt x="76" y="211"/>
                  </a:lnTo>
                  <a:lnTo>
                    <a:pt x="78" y="211"/>
                  </a:lnTo>
                  <a:lnTo>
                    <a:pt x="78" y="209"/>
                  </a:lnTo>
                  <a:lnTo>
                    <a:pt x="80" y="209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0" y="206"/>
                  </a:lnTo>
                  <a:lnTo>
                    <a:pt x="72" y="206"/>
                  </a:lnTo>
                  <a:lnTo>
                    <a:pt x="74" y="204"/>
                  </a:lnTo>
                  <a:lnTo>
                    <a:pt x="74" y="204"/>
                  </a:lnTo>
                  <a:lnTo>
                    <a:pt x="74" y="204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78" y="204"/>
                  </a:lnTo>
                  <a:lnTo>
                    <a:pt x="78" y="202"/>
                  </a:lnTo>
                  <a:lnTo>
                    <a:pt x="81" y="202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1" y="199"/>
                  </a:lnTo>
                  <a:lnTo>
                    <a:pt x="83" y="199"/>
                  </a:lnTo>
                  <a:lnTo>
                    <a:pt x="83" y="199"/>
                  </a:lnTo>
                  <a:lnTo>
                    <a:pt x="85" y="197"/>
                  </a:lnTo>
                  <a:lnTo>
                    <a:pt x="89" y="195"/>
                  </a:lnTo>
                  <a:lnTo>
                    <a:pt x="89" y="193"/>
                  </a:lnTo>
                  <a:lnTo>
                    <a:pt x="83" y="193"/>
                  </a:lnTo>
                  <a:lnTo>
                    <a:pt x="83" y="193"/>
                  </a:lnTo>
                  <a:lnTo>
                    <a:pt x="83" y="193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0" y="188"/>
                  </a:lnTo>
                  <a:lnTo>
                    <a:pt x="78" y="188"/>
                  </a:lnTo>
                  <a:lnTo>
                    <a:pt x="74" y="188"/>
                  </a:lnTo>
                  <a:lnTo>
                    <a:pt x="74" y="188"/>
                  </a:lnTo>
                  <a:lnTo>
                    <a:pt x="74" y="186"/>
                  </a:lnTo>
                  <a:lnTo>
                    <a:pt x="74" y="186"/>
                  </a:lnTo>
                  <a:lnTo>
                    <a:pt x="74" y="186"/>
                  </a:lnTo>
                  <a:lnTo>
                    <a:pt x="74" y="186"/>
                  </a:lnTo>
                  <a:lnTo>
                    <a:pt x="76" y="186"/>
                  </a:lnTo>
                  <a:lnTo>
                    <a:pt x="80" y="186"/>
                  </a:lnTo>
                  <a:lnTo>
                    <a:pt x="81" y="186"/>
                  </a:lnTo>
                  <a:lnTo>
                    <a:pt x="83" y="188"/>
                  </a:lnTo>
                  <a:lnTo>
                    <a:pt x="85" y="190"/>
                  </a:lnTo>
                  <a:lnTo>
                    <a:pt x="87" y="190"/>
                  </a:lnTo>
                  <a:lnTo>
                    <a:pt x="90" y="188"/>
                  </a:lnTo>
                  <a:lnTo>
                    <a:pt x="96" y="186"/>
                  </a:lnTo>
                  <a:lnTo>
                    <a:pt x="96" y="188"/>
                  </a:lnTo>
                  <a:lnTo>
                    <a:pt x="96" y="186"/>
                  </a:lnTo>
                  <a:lnTo>
                    <a:pt x="98" y="186"/>
                  </a:lnTo>
                  <a:lnTo>
                    <a:pt x="96" y="184"/>
                  </a:lnTo>
                  <a:lnTo>
                    <a:pt x="98" y="184"/>
                  </a:lnTo>
                  <a:lnTo>
                    <a:pt x="99" y="182"/>
                  </a:lnTo>
                  <a:lnTo>
                    <a:pt x="99" y="182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8" y="180"/>
                  </a:lnTo>
                  <a:lnTo>
                    <a:pt x="98" y="179"/>
                  </a:lnTo>
                  <a:lnTo>
                    <a:pt x="98" y="177"/>
                  </a:lnTo>
                  <a:lnTo>
                    <a:pt x="98" y="177"/>
                  </a:lnTo>
                  <a:lnTo>
                    <a:pt x="90" y="175"/>
                  </a:lnTo>
                  <a:lnTo>
                    <a:pt x="89" y="173"/>
                  </a:lnTo>
                  <a:lnTo>
                    <a:pt x="90" y="173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6" y="171"/>
                  </a:lnTo>
                  <a:lnTo>
                    <a:pt x="96" y="171"/>
                  </a:lnTo>
                  <a:lnTo>
                    <a:pt x="96" y="171"/>
                  </a:lnTo>
                  <a:lnTo>
                    <a:pt x="101" y="171"/>
                  </a:lnTo>
                  <a:lnTo>
                    <a:pt x="101" y="171"/>
                  </a:lnTo>
                  <a:lnTo>
                    <a:pt x="103" y="171"/>
                  </a:lnTo>
                  <a:lnTo>
                    <a:pt x="103" y="173"/>
                  </a:lnTo>
                  <a:lnTo>
                    <a:pt x="103" y="173"/>
                  </a:lnTo>
                  <a:lnTo>
                    <a:pt x="103" y="173"/>
                  </a:lnTo>
                  <a:lnTo>
                    <a:pt x="103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7" y="173"/>
                  </a:lnTo>
                  <a:lnTo>
                    <a:pt x="105" y="173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7" y="171"/>
                  </a:lnTo>
                  <a:lnTo>
                    <a:pt x="107" y="170"/>
                  </a:lnTo>
                  <a:lnTo>
                    <a:pt x="107" y="170"/>
                  </a:lnTo>
                  <a:lnTo>
                    <a:pt x="107" y="170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7" y="159"/>
                  </a:lnTo>
                  <a:lnTo>
                    <a:pt x="108" y="157"/>
                  </a:lnTo>
                  <a:lnTo>
                    <a:pt x="108" y="155"/>
                  </a:lnTo>
                  <a:lnTo>
                    <a:pt x="108" y="153"/>
                  </a:lnTo>
                  <a:lnTo>
                    <a:pt x="108" y="152"/>
                  </a:lnTo>
                  <a:lnTo>
                    <a:pt x="108" y="150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8" y="144"/>
                  </a:lnTo>
                  <a:lnTo>
                    <a:pt x="108" y="144"/>
                  </a:lnTo>
                  <a:lnTo>
                    <a:pt x="112" y="141"/>
                  </a:lnTo>
                  <a:lnTo>
                    <a:pt x="112" y="139"/>
                  </a:lnTo>
                  <a:lnTo>
                    <a:pt x="114" y="137"/>
                  </a:lnTo>
                  <a:lnTo>
                    <a:pt x="114" y="135"/>
                  </a:lnTo>
                  <a:lnTo>
                    <a:pt x="116" y="135"/>
                  </a:lnTo>
                  <a:lnTo>
                    <a:pt x="116" y="135"/>
                  </a:lnTo>
                  <a:lnTo>
                    <a:pt x="116" y="135"/>
                  </a:lnTo>
                  <a:lnTo>
                    <a:pt x="116" y="134"/>
                  </a:lnTo>
                  <a:lnTo>
                    <a:pt x="117" y="134"/>
                  </a:lnTo>
                  <a:lnTo>
                    <a:pt x="117" y="134"/>
                  </a:lnTo>
                  <a:lnTo>
                    <a:pt x="119" y="134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21" y="135"/>
                  </a:lnTo>
                  <a:lnTo>
                    <a:pt x="121" y="135"/>
                  </a:lnTo>
                  <a:lnTo>
                    <a:pt x="119" y="139"/>
                  </a:lnTo>
                  <a:lnTo>
                    <a:pt x="119" y="139"/>
                  </a:lnTo>
                  <a:lnTo>
                    <a:pt x="121" y="141"/>
                  </a:lnTo>
                  <a:lnTo>
                    <a:pt x="119" y="143"/>
                  </a:lnTo>
                  <a:lnTo>
                    <a:pt x="119" y="143"/>
                  </a:lnTo>
                  <a:lnTo>
                    <a:pt x="117" y="141"/>
                  </a:lnTo>
                  <a:lnTo>
                    <a:pt x="117" y="141"/>
                  </a:lnTo>
                  <a:lnTo>
                    <a:pt x="116" y="141"/>
                  </a:lnTo>
                  <a:lnTo>
                    <a:pt x="116" y="143"/>
                  </a:lnTo>
                  <a:lnTo>
                    <a:pt x="114" y="143"/>
                  </a:lnTo>
                  <a:lnTo>
                    <a:pt x="116" y="144"/>
                  </a:lnTo>
                  <a:lnTo>
                    <a:pt x="116" y="144"/>
                  </a:lnTo>
                  <a:lnTo>
                    <a:pt x="116" y="146"/>
                  </a:lnTo>
                  <a:lnTo>
                    <a:pt x="117" y="146"/>
                  </a:lnTo>
                  <a:lnTo>
                    <a:pt x="119" y="144"/>
                  </a:lnTo>
                  <a:lnTo>
                    <a:pt x="119" y="144"/>
                  </a:lnTo>
                  <a:lnTo>
                    <a:pt x="121" y="146"/>
                  </a:lnTo>
                  <a:lnTo>
                    <a:pt x="121" y="146"/>
                  </a:lnTo>
                  <a:lnTo>
                    <a:pt x="123" y="146"/>
                  </a:lnTo>
                  <a:lnTo>
                    <a:pt x="121" y="146"/>
                  </a:lnTo>
                  <a:lnTo>
                    <a:pt x="121" y="148"/>
                  </a:lnTo>
                  <a:lnTo>
                    <a:pt x="121" y="148"/>
                  </a:lnTo>
                  <a:lnTo>
                    <a:pt x="121" y="148"/>
                  </a:lnTo>
                  <a:lnTo>
                    <a:pt x="121" y="150"/>
                  </a:lnTo>
                  <a:lnTo>
                    <a:pt x="121" y="152"/>
                  </a:lnTo>
                  <a:lnTo>
                    <a:pt x="123" y="152"/>
                  </a:lnTo>
                  <a:lnTo>
                    <a:pt x="123" y="152"/>
                  </a:lnTo>
                  <a:lnTo>
                    <a:pt x="125" y="152"/>
                  </a:lnTo>
                  <a:lnTo>
                    <a:pt x="125" y="150"/>
                  </a:lnTo>
                  <a:lnTo>
                    <a:pt x="125" y="150"/>
                  </a:lnTo>
                  <a:lnTo>
                    <a:pt x="123" y="146"/>
                  </a:lnTo>
                  <a:lnTo>
                    <a:pt x="123" y="144"/>
                  </a:lnTo>
                  <a:lnTo>
                    <a:pt x="125" y="143"/>
                  </a:lnTo>
                  <a:lnTo>
                    <a:pt x="126" y="141"/>
                  </a:lnTo>
                  <a:lnTo>
                    <a:pt x="126" y="139"/>
                  </a:lnTo>
                  <a:lnTo>
                    <a:pt x="128" y="139"/>
                  </a:lnTo>
                  <a:lnTo>
                    <a:pt x="128" y="141"/>
                  </a:lnTo>
                  <a:lnTo>
                    <a:pt x="130" y="141"/>
                  </a:lnTo>
                  <a:lnTo>
                    <a:pt x="130" y="141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28" y="144"/>
                  </a:lnTo>
                  <a:lnTo>
                    <a:pt x="130" y="146"/>
                  </a:lnTo>
                  <a:lnTo>
                    <a:pt x="132" y="146"/>
                  </a:lnTo>
                  <a:lnTo>
                    <a:pt x="134" y="146"/>
                  </a:lnTo>
                  <a:lnTo>
                    <a:pt x="134" y="144"/>
                  </a:lnTo>
                  <a:lnTo>
                    <a:pt x="134" y="141"/>
                  </a:lnTo>
                  <a:lnTo>
                    <a:pt x="134" y="141"/>
                  </a:lnTo>
                  <a:lnTo>
                    <a:pt x="134" y="139"/>
                  </a:lnTo>
                  <a:lnTo>
                    <a:pt x="137" y="137"/>
                  </a:lnTo>
                  <a:lnTo>
                    <a:pt x="141" y="130"/>
                  </a:lnTo>
                  <a:lnTo>
                    <a:pt x="143" y="128"/>
                  </a:lnTo>
                  <a:lnTo>
                    <a:pt x="143" y="126"/>
                  </a:lnTo>
                  <a:lnTo>
                    <a:pt x="143" y="125"/>
                  </a:lnTo>
                  <a:lnTo>
                    <a:pt x="143" y="123"/>
                  </a:lnTo>
                  <a:lnTo>
                    <a:pt x="145" y="121"/>
                  </a:lnTo>
                  <a:lnTo>
                    <a:pt x="145" y="121"/>
                  </a:lnTo>
                  <a:lnTo>
                    <a:pt x="141" y="117"/>
                  </a:lnTo>
                  <a:lnTo>
                    <a:pt x="139" y="114"/>
                  </a:lnTo>
                  <a:lnTo>
                    <a:pt x="139" y="114"/>
                  </a:lnTo>
                  <a:lnTo>
                    <a:pt x="137" y="112"/>
                  </a:lnTo>
                  <a:lnTo>
                    <a:pt x="135" y="112"/>
                  </a:lnTo>
                  <a:lnTo>
                    <a:pt x="123" y="114"/>
                  </a:lnTo>
                  <a:lnTo>
                    <a:pt x="119" y="114"/>
                  </a:lnTo>
                  <a:lnTo>
                    <a:pt x="116" y="112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14" y="108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2" y="106"/>
                  </a:lnTo>
                  <a:lnTo>
                    <a:pt x="110" y="108"/>
                  </a:lnTo>
                  <a:lnTo>
                    <a:pt x="108" y="110"/>
                  </a:lnTo>
                  <a:lnTo>
                    <a:pt x="107" y="112"/>
                  </a:lnTo>
                  <a:lnTo>
                    <a:pt x="107" y="114"/>
                  </a:lnTo>
                  <a:lnTo>
                    <a:pt x="107" y="117"/>
                  </a:lnTo>
                  <a:lnTo>
                    <a:pt x="107" y="119"/>
                  </a:lnTo>
                  <a:lnTo>
                    <a:pt x="105" y="119"/>
                  </a:lnTo>
                  <a:lnTo>
                    <a:pt x="105" y="117"/>
                  </a:lnTo>
                  <a:lnTo>
                    <a:pt x="107" y="117"/>
                  </a:lnTo>
                  <a:lnTo>
                    <a:pt x="107" y="115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7" y="110"/>
                  </a:lnTo>
                  <a:lnTo>
                    <a:pt x="107" y="110"/>
                  </a:lnTo>
                  <a:lnTo>
                    <a:pt x="110" y="106"/>
                  </a:lnTo>
                  <a:lnTo>
                    <a:pt x="114" y="105"/>
                  </a:lnTo>
                  <a:lnTo>
                    <a:pt x="114" y="103"/>
                  </a:lnTo>
                  <a:lnTo>
                    <a:pt x="114" y="99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0" y="99"/>
                  </a:lnTo>
                  <a:lnTo>
                    <a:pt x="108" y="99"/>
                  </a:lnTo>
                  <a:lnTo>
                    <a:pt x="105" y="97"/>
                  </a:lnTo>
                  <a:lnTo>
                    <a:pt x="105" y="97"/>
                  </a:lnTo>
                  <a:lnTo>
                    <a:pt x="105" y="97"/>
                  </a:lnTo>
                  <a:lnTo>
                    <a:pt x="105" y="97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3" y="97"/>
                  </a:lnTo>
                  <a:lnTo>
                    <a:pt x="103" y="97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8" y="99"/>
                  </a:lnTo>
                  <a:lnTo>
                    <a:pt x="98" y="99"/>
                  </a:lnTo>
                  <a:lnTo>
                    <a:pt x="96" y="101"/>
                  </a:lnTo>
                  <a:lnTo>
                    <a:pt x="89" y="103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94" y="101"/>
                  </a:lnTo>
                  <a:lnTo>
                    <a:pt x="96" y="99"/>
                  </a:lnTo>
                  <a:lnTo>
                    <a:pt x="98" y="99"/>
                  </a:lnTo>
                  <a:lnTo>
                    <a:pt x="99" y="97"/>
                  </a:lnTo>
                  <a:lnTo>
                    <a:pt x="99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1" y="96"/>
                  </a:lnTo>
                  <a:lnTo>
                    <a:pt x="103" y="96"/>
                  </a:lnTo>
                  <a:lnTo>
                    <a:pt x="105" y="96"/>
                  </a:lnTo>
                  <a:lnTo>
                    <a:pt x="105" y="96"/>
                  </a:lnTo>
                  <a:lnTo>
                    <a:pt x="107" y="97"/>
                  </a:lnTo>
                  <a:lnTo>
                    <a:pt x="107" y="96"/>
                  </a:lnTo>
                  <a:lnTo>
                    <a:pt x="108" y="96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4" y="96"/>
                  </a:lnTo>
                  <a:lnTo>
                    <a:pt x="112" y="96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0" y="90"/>
                  </a:lnTo>
                  <a:lnTo>
                    <a:pt x="110" y="88"/>
                  </a:lnTo>
                  <a:lnTo>
                    <a:pt x="110" y="85"/>
                  </a:lnTo>
                  <a:lnTo>
                    <a:pt x="110" y="79"/>
                  </a:lnTo>
                  <a:lnTo>
                    <a:pt x="108" y="79"/>
                  </a:lnTo>
                  <a:lnTo>
                    <a:pt x="110" y="78"/>
                  </a:lnTo>
                  <a:lnTo>
                    <a:pt x="110" y="76"/>
                  </a:lnTo>
                  <a:lnTo>
                    <a:pt x="110" y="74"/>
                  </a:lnTo>
                  <a:lnTo>
                    <a:pt x="110" y="74"/>
                  </a:lnTo>
                  <a:lnTo>
                    <a:pt x="112" y="72"/>
                  </a:lnTo>
                  <a:lnTo>
                    <a:pt x="110" y="70"/>
                  </a:lnTo>
                  <a:lnTo>
                    <a:pt x="107" y="70"/>
                  </a:lnTo>
                  <a:lnTo>
                    <a:pt x="105" y="70"/>
                  </a:lnTo>
                  <a:lnTo>
                    <a:pt x="103" y="69"/>
                  </a:lnTo>
                  <a:lnTo>
                    <a:pt x="101" y="69"/>
                  </a:lnTo>
                  <a:lnTo>
                    <a:pt x="98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4" y="63"/>
                  </a:lnTo>
                  <a:lnTo>
                    <a:pt x="94" y="65"/>
                  </a:lnTo>
                  <a:lnTo>
                    <a:pt x="92" y="65"/>
                  </a:lnTo>
                  <a:lnTo>
                    <a:pt x="94" y="65"/>
                  </a:lnTo>
                  <a:lnTo>
                    <a:pt x="94" y="61"/>
                  </a:lnTo>
                  <a:lnTo>
                    <a:pt x="96" y="61"/>
                  </a:lnTo>
                  <a:lnTo>
                    <a:pt x="98" y="61"/>
                  </a:lnTo>
                  <a:lnTo>
                    <a:pt x="99" y="63"/>
                  </a:lnTo>
                  <a:lnTo>
                    <a:pt x="101" y="65"/>
                  </a:lnTo>
                  <a:lnTo>
                    <a:pt x="103" y="69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10" y="70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4" y="69"/>
                  </a:lnTo>
                  <a:lnTo>
                    <a:pt x="114" y="67"/>
                  </a:lnTo>
                  <a:lnTo>
                    <a:pt x="116" y="63"/>
                  </a:lnTo>
                  <a:lnTo>
                    <a:pt x="116" y="59"/>
                  </a:lnTo>
                  <a:lnTo>
                    <a:pt x="116" y="56"/>
                  </a:lnTo>
                  <a:lnTo>
                    <a:pt x="117" y="52"/>
                  </a:lnTo>
                  <a:lnTo>
                    <a:pt x="119" y="52"/>
                  </a:lnTo>
                  <a:lnTo>
                    <a:pt x="123" y="50"/>
                  </a:lnTo>
                  <a:lnTo>
                    <a:pt x="123" y="49"/>
                  </a:lnTo>
                  <a:lnTo>
                    <a:pt x="121" y="40"/>
                  </a:lnTo>
                  <a:lnTo>
                    <a:pt x="121" y="34"/>
                  </a:lnTo>
                  <a:lnTo>
                    <a:pt x="123" y="31"/>
                  </a:lnTo>
                  <a:lnTo>
                    <a:pt x="121" y="25"/>
                  </a:lnTo>
                  <a:lnTo>
                    <a:pt x="119" y="22"/>
                  </a:lnTo>
                  <a:lnTo>
                    <a:pt x="117" y="18"/>
                  </a:lnTo>
                  <a:lnTo>
                    <a:pt x="119" y="13"/>
                  </a:lnTo>
                  <a:lnTo>
                    <a:pt x="123" y="5"/>
                  </a:lnTo>
                  <a:lnTo>
                    <a:pt x="126" y="3"/>
                  </a:lnTo>
                  <a:lnTo>
                    <a:pt x="128" y="2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5" y="0"/>
                  </a:lnTo>
                  <a:lnTo>
                    <a:pt x="123" y="2"/>
                  </a:lnTo>
                  <a:lnTo>
                    <a:pt x="119" y="3"/>
                  </a:lnTo>
                  <a:lnTo>
                    <a:pt x="114" y="11"/>
                  </a:lnTo>
                  <a:lnTo>
                    <a:pt x="110" y="13"/>
                  </a:lnTo>
                  <a:lnTo>
                    <a:pt x="107" y="14"/>
                  </a:lnTo>
                  <a:lnTo>
                    <a:pt x="101" y="14"/>
                  </a:lnTo>
                  <a:lnTo>
                    <a:pt x="98" y="14"/>
                  </a:lnTo>
                  <a:lnTo>
                    <a:pt x="94" y="16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22"/>
                  </a:lnTo>
                  <a:lnTo>
                    <a:pt x="87" y="25"/>
                  </a:lnTo>
                  <a:lnTo>
                    <a:pt x="85" y="27"/>
                  </a:lnTo>
                  <a:lnTo>
                    <a:pt x="74" y="47"/>
                  </a:lnTo>
                  <a:lnTo>
                    <a:pt x="70" y="52"/>
                  </a:lnTo>
                  <a:lnTo>
                    <a:pt x="67" y="54"/>
                  </a:lnTo>
                  <a:lnTo>
                    <a:pt x="61" y="56"/>
                  </a:lnTo>
                  <a:lnTo>
                    <a:pt x="58" y="58"/>
                  </a:lnTo>
                  <a:lnTo>
                    <a:pt x="45" y="56"/>
                  </a:lnTo>
                  <a:lnTo>
                    <a:pt x="43" y="56"/>
                  </a:lnTo>
                  <a:lnTo>
                    <a:pt x="42" y="58"/>
                  </a:lnTo>
                  <a:lnTo>
                    <a:pt x="40" y="59"/>
                  </a:lnTo>
                  <a:lnTo>
                    <a:pt x="34" y="59"/>
                  </a:lnTo>
                  <a:lnTo>
                    <a:pt x="33" y="59"/>
                  </a:lnTo>
                  <a:lnTo>
                    <a:pt x="29" y="59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2" y="67"/>
                  </a:lnTo>
                  <a:lnTo>
                    <a:pt x="18" y="70"/>
                  </a:lnTo>
                  <a:lnTo>
                    <a:pt x="9" y="85"/>
                  </a:lnTo>
                  <a:lnTo>
                    <a:pt x="9" y="87"/>
                  </a:lnTo>
                  <a:lnTo>
                    <a:pt x="7" y="90"/>
                  </a:lnTo>
                  <a:lnTo>
                    <a:pt x="7" y="96"/>
                  </a:lnTo>
                  <a:lnTo>
                    <a:pt x="7" y="97"/>
                  </a:lnTo>
                  <a:lnTo>
                    <a:pt x="9" y="97"/>
                  </a:lnTo>
                  <a:lnTo>
                    <a:pt x="9" y="96"/>
                  </a:lnTo>
                  <a:lnTo>
                    <a:pt x="9" y="94"/>
                  </a:lnTo>
                  <a:lnTo>
                    <a:pt x="7" y="90"/>
                  </a:lnTo>
                  <a:lnTo>
                    <a:pt x="9" y="90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1" y="96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6" y="99"/>
                  </a:lnTo>
                  <a:lnTo>
                    <a:pt x="18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0" y="105"/>
                  </a:lnTo>
                  <a:lnTo>
                    <a:pt x="22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5" y="106"/>
                  </a:lnTo>
                  <a:lnTo>
                    <a:pt x="25" y="105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4" y="97"/>
                  </a:lnTo>
                  <a:lnTo>
                    <a:pt x="22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18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2" y="99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0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5" y="85"/>
                  </a:lnTo>
                  <a:lnTo>
                    <a:pt x="25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29" y="76"/>
                  </a:lnTo>
                  <a:lnTo>
                    <a:pt x="29" y="74"/>
                  </a:lnTo>
                  <a:lnTo>
                    <a:pt x="31" y="74"/>
                  </a:lnTo>
                  <a:lnTo>
                    <a:pt x="33" y="74"/>
                  </a:lnTo>
                  <a:lnTo>
                    <a:pt x="34" y="74"/>
                  </a:lnTo>
                  <a:lnTo>
                    <a:pt x="36" y="72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2" y="7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3" y="69"/>
                  </a:lnTo>
                  <a:lnTo>
                    <a:pt x="43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7" y="67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2" y="67"/>
                  </a:lnTo>
                  <a:lnTo>
                    <a:pt x="52" y="65"/>
                  </a:lnTo>
                  <a:lnTo>
                    <a:pt x="58" y="69"/>
                  </a:lnTo>
                  <a:lnTo>
                    <a:pt x="58" y="70"/>
                  </a:lnTo>
                  <a:lnTo>
                    <a:pt x="60" y="70"/>
                  </a:lnTo>
                  <a:lnTo>
                    <a:pt x="70" y="65"/>
                  </a:lnTo>
                  <a:lnTo>
                    <a:pt x="74" y="65"/>
                  </a:lnTo>
                  <a:lnTo>
                    <a:pt x="78" y="65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1" y="63"/>
                  </a:lnTo>
                  <a:lnTo>
                    <a:pt x="81" y="65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5" y="61"/>
                  </a:lnTo>
                  <a:lnTo>
                    <a:pt x="85" y="59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9" y="61"/>
                  </a:lnTo>
                  <a:lnTo>
                    <a:pt x="92" y="65"/>
                  </a:lnTo>
                  <a:lnTo>
                    <a:pt x="87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0" y="67"/>
                  </a:lnTo>
                  <a:lnTo>
                    <a:pt x="80" y="69"/>
                  </a:lnTo>
                  <a:lnTo>
                    <a:pt x="78" y="69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69" y="69"/>
                  </a:lnTo>
                  <a:lnTo>
                    <a:pt x="67" y="69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8" y="72"/>
                  </a:lnTo>
                  <a:lnTo>
                    <a:pt x="56" y="74"/>
                  </a:lnTo>
                  <a:lnTo>
                    <a:pt x="56" y="76"/>
                  </a:lnTo>
                  <a:lnTo>
                    <a:pt x="54" y="78"/>
                  </a:lnTo>
                  <a:lnTo>
                    <a:pt x="54" y="79"/>
                  </a:lnTo>
                  <a:lnTo>
                    <a:pt x="54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4" y="87"/>
                  </a:lnTo>
                  <a:lnTo>
                    <a:pt x="54" y="87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8" y="92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6"/>
                  </a:lnTo>
                  <a:lnTo>
                    <a:pt x="54" y="97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8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3"/>
                  </a:lnTo>
                  <a:lnTo>
                    <a:pt x="61" y="106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3" y="108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3" y="112"/>
                  </a:lnTo>
                  <a:lnTo>
                    <a:pt x="63" y="110"/>
                  </a:lnTo>
                  <a:lnTo>
                    <a:pt x="63" y="112"/>
                  </a:lnTo>
                  <a:lnTo>
                    <a:pt x="61" y="114"/>
                  </a:lnTo>
                  <a:lnTo>
                    <a:pt x="61" y="114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58" y="108"/>
                  </a:lnTo>
                  <a:lnTo>
                    <a:pt x="60" y="106"/>
                  </a:lnTo>
                  <a:lnTo>
                    <a:pt x="60" y="106"/>
                  </a:lnTo>
                  <a:lnTo>
                    <a:pt x="60" y="105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6" y="103"/>
                  </a:lnTo>
                  <a:lnTo>
                    <a:pt x="54" y="103"/>
                  </a:lnTo>
                  <a:lnTo>
                    <a:pt x="52" y="103"/>
                  </a:lnTo>
                  <a:lnTo>
                    <a:pt x="54" y="101"/>
                  </a:lnTo>
                  <a:lnTo>
                    <a:pt x="52" y="101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5"/>
                  </a:lnTo>
                  <a:lnTo>
                    <a:pt x="52" y="105"/>
                  </a:lnTo>
                  <a:lnTo>
                    <a:pt x="52" y="105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2" y="105"/>
                  </a:lnTo>
                  <a:lnTo>
                    <a:pt x="52" y="105"/>
                  </a:lnTo>
                  <a:lnTo>
                    <a:pt x="51" y="105"/>
                  </a:lnTo>
                  <a:lnTo>
                    <a:pt x="51" y="108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08"/>
                  </a:lnTo>
                  <a:lnTo>
                    <a:pt x="49" y="106"/>
                  </a:lnTo>
                  <a:lnTo>
                    <a:pt x="49" y="105"/>
                  </a:lnTo>
                  <a:lnTo>
                    <a:pt x="49" y="103"/>
                  </a:lnTo>
                  <a:lnTo>
                    <a:pt x="51" y="103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51" y="99"/>
                  </a:lnTo>
                  <a:lnTo>
                    <a:pt x="52" y="99"/>
                  </a:lnTo>
                  <a:lnTo>
                    <a:pt x="52" y="97"/>
                  </a:lnTo>
                  <a:lnTo>
                    <a:pt x="54" y="97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0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49" y="87"/>
                  </a:lnTo>
                  <a:lnTo>
                    <a:pt x="49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3" y="88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40" y="96"/>
                  </a:lnTo>
                  <a:lnTo>
                    <a:pt x="42" y="96"/>
                  </a:lnTo>
                  <a:lnTo>
                    <a:pt x="42" y="97"/>
                  </a:lnTo>
                  <a:lnTo>
                    <a:pt x="40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3" y="103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1" y="106"/>
                  </a:lnTo>
                  <a:lnTo>
                    <a:pt x="31" y="106"/>
                  </a:lnTo>
                  <a:lnTo>
                    <a:pt x="31" y="108"/>
                  </a:lnTo>
                  <a:lnTo>
                    <a:pt x="31" y="108"/>
                  </a:lnTo>
                  <a:lnTo>
                    <a:pt x="33" y="108"/>
                  </a:lnTo>
                  <a:lnTo>
                    <a:pt x="34" y="108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3" y="110"/>
                  </a:lnTo>
                  <a:lnTo>
                    <a:pt x="33" y="112"/>
                  </a:lnTo>
                  <a:lnTo>
                    <a:pt x="33" y="114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7" y="117"/>
                  </a:lnTo>
                  <a:lnTo>
                    <a:pt x="27" y="115"/>
                  </a:lnTo>
                  <a:lnTo>
                    <a:pt x="25" y="115"/>
                  </a:lnTo>
                  <a:lnTo>
                    <a:pt x="25" y="115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2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6" y="108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1" y="106"/>
                  </a:lnTo>
                  <a:lnTo>
                    <a:pt x="11" y="106"/>
                  </a:lnTo>
                  <a:lnTo>
                    <a:pt x="9" y="106"/>
                  </a:lnTo>
                  <a:lnTo>
                    <a:pt x="7" y="106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1"/>
                  </a:lnTo>
                  <a:lnTo>
                    <a:pt x="7" y="99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6"/>
                  </a:lnTo>
                  <a:lnTo>
                    <a:pt x="5" y="97"/>
                  </a:lnTo>
                  <a:lnTo>
                    <a:pt x="5" y="99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43"/>
                  </a:lnTo>
                  <a:lnTo>
                    <a:pt x="2" y="144"/>
                  </a:lnTo>
                  <a:lnTo>
                    <a:pt x="2" y="150"/>
                  </a:lnTo>
                  <a:lnTo>
                    <a:pt x="2" y="152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2" y="161"/>
                  </a:lnTo>
                  <a:lnTo>
                    <a:pt x="2" y="161"/>
                  </a:lnTo>
                  <a:lnTo>
                    <a:pt x="2" y="161"/>
                  </a:lnTo>
                  <a:lnTo>
                    <a:pt x="2" y="161"/>
                  </a:lnTo>
                  <a:lnTo>
                    <a:pt x="2" y="159"/>
                  </a:lnTo>
                  <a:lnTo>
                    <a:pt x="4" y="157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50"/>
                  </a:lnTo>
                  <a:lnTo>
                    <a:pt x="4" y="152"/>
                  </a:lnTo>
                  <a:lnTo>
                    <a:pt x="9" y="152"/>
                  </a:lnTo>
                  <a:lnTo>
                    <a:pt x="9" y="153"/>
                  </a:lnTo>
                  <a:lnTo>
                    <a:pt x="11" y="155"/>
                  </a:lnTo>
                  <a:lnTo>
                    <a:pt x="11" y="159"/>
                  </a:lnTo>
                  <a:lnTo>
                    <a:pt x="11" y="162"/>
                  </a:lnTo>
                  <a:lnTo>
                    <a:pt x="14" y="164"/>
                  </a:lnTo>
                  <a:lnTo>
                    <a:pt x="14" y="166"/>
                  </a:lnTo>
                  <a:lnTo>
                    <a:pt x="14" y="168"/>
                  </a:lnTo>
                  <a:lnTo>
                    <a:pt x="16" y="168"/>
                  </a:lnTo>
                  <a:lnTo>
                    <a:pt x="14" y="170"/>
                  </a:lnTo>
                  <a:lnTo>
                    <a:pt x="13" y="171"/>
                  </a:lnTo>
                  <a:lnTo>
                    <a:pt x="11" y="173"/>
                  </a:lnTo>
                  <a:lnTo>
                    <a:pt x="11" y="173"/>
                  </a:lnTo>
                  <a:lnTo>
                    <a:pt x="7" y="177"/>
                  </a:lnTo>
                  <a:lnTo>
                    <a:pt x="5" y="177"/>
                  </a:lnTo>
                  <a:lnTo>
                    <a:pt x="5" y="177"/>
                  </a:lnTo>
                  <a:lnTo>
                    <a:pt x="5" y="175"/>
                  </a:lnTo>
                  <a:lnTo>
                    <a:pt x="5" y="175"/>
                  </a:lnTo>
                  <a:lnTo>
                    <a:pt x="5" y="173"/>
                  </a:lnTo>
                  <a:lnTo>
                    <a:pt x="5" y="173"/>
                  </a:lnTo>
                  <a:lnTo>
                    <a:pt x="5" y="171"/>
                  </a:lnTo>
                  <a:lnTo>
                    <a:pt x="5" y="170"/>
                  </a:lnTo>
                  <a:lnTo>
                    <a:pt x="4" y="162"/>
                  </a:lnTo>
                  <a:lnTo>
                    <a:pt x="4" y="162"/>
                  </a:lnTo>
                  <a:lnTo>
                    <a:pt x="4" y="162"/>
                  </a:lnTo>
                  <a:lnTo>
                    <a:pt x="4" y="162"/>
                  </a:lnTo>
                  <a:lnTo>
                    <a:pt x="2" y="162"/>
                  </a:lnTo>
                  <a:lnTo>
                    <a:pt x="2" y="161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4"/>
                  </a:lnTo>
                  <a:lnTo>
                    <a:pt x="5" y="180"/>
                  </a:lnTo>
                  <a:lnTo>
                    <a:pt x="5" y="184"/>
                  </a:lnTo>
                  <a:lnTo>
                    <a:pt x="4" y="188"/>
                  </a:lnTo>
                  <a:lnTo>
                    <a:pt x="4" y="191"/>
                  </a:lnTo>
                  <a:lnTo>
                    <a:pt x="0" y="199"/>
                  </a:lnTo>
                  <a:lnTo>
                    <a:pt x="0" y="200"/>
                  </a:lnTo>
                  <a:lnTo>
                    <a:pt x="2" y="202"/>
                  </a:lnTo>
                  <a:lnTo>
                    <a:pt x="4" y="202"/>
                  </a:lnTo>
                  <a:lnTo>
                    <a:pt x="5" y="202"/>
                  </a:lnTo>
                  <a:lnTo>
                    <a:pt x="11" y="208"/>
                  </a:lnTo>
                  <a:lnTo>
                    <a:pt x="13" y="208"/>
                  </a:lnTo>
                  <a:lnTo>
                    <a:pt x="11" y="206"/>
                  </a:lnTo>
                  <a:lnTo>
                    <a:pt x="11" y="204"/>
                  </a:lnTo>
                  <a:lnTo>
                    <a:pt x="9" y="204"/>
                  </a:lnTo>
                  <a:lnTo>
                    <a:pt x="7" y="204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7" y="200"/>
                  </a:lnTo>
                  <a:lnTo>
                    <a:pt x="7" y="200"/>
                  </a:lnTo>
                  <a:lnTo>
                    <a:pt x="9" y="199"/>
                  </a:lnTo>
                  <a:lnTo>
                    <a:pt x="9" y="199"/>
                  </a:lnTo>
                  <a:lnTo>
                    <a:pt x="11" y="197"/>
                  </a:lnTo>
                  <a:lnTo>
                    <a:pt x="11" y="197"/>
                  </a:lnTo>
                  <a:lnTo>
                    <a:pt x="13" y="199"/>
                  </a:lnTo>
                  <a:lnTo>
                    <a:pt x="13" y="199"/>
                  </a:lnTo>
                  <a:lnTo>
                    <a:pt x="11" y="199"/>
                  </a:lnTo>
                  <a:lnTo>
                    <a:pt x="11" y="199"/>
                  </a:lnTo>
                  <a:lnTo>
                    <a:pt x="16" y="206"/>
                  </a:lnTo>
                  <a:lnTo>
                    <a:pt x="18" y="208"/>
                  </a:lnTo>
                  <a:lnTo>
                    <a:pt x="20" y="209"/>
                  </a:lnTo>
                  <a:lnTo>
                    <a:pt x="24" y="209"/>
                  </a:lnTo>
                  <a:lnTo>
                    <a:pt x="25" y="209"/>
                  </a:lnTo>
                  <a:lnTo>
                    <a:pt x="27" y="211"/>
                  </a:lnTo>
                  <a:lnTo>
                    <a:pt x="27" y="211"/>
                  </a:lnTo>
                  <a:lnTo>
                    <a:pt x="27" y="215"/>
                  </a:lnTo>
                  <a:lnTo>
                    <a:pt x="29" y="218"/>
                  </a:lnTo>
                  <a:lnTo>
                    <a:pt x="29" y="220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9" y="224"/>
                  </a:lnTo>
                  <a:lnTo>
                    <a:pt x="29" y="224"/>
                  </a:lnTo>
                  <a:lnTo>
                    <a:pt x="29" y="227"/>
                  </a:lnTo>
                  <a:lnTo>
                    <a:pt x="29" y="231"/>
                  </a:lnTo>
                  <a:lnTo>
                    <a:pt x="31" y="235"/>
                  </a:lnTo>
                  <a:lnTo>
                    <a:pt x="31" y="236"/>
                  </a:lnTo>
                  <a:lnTo>
                    <a:pt x="29" y="236"/>
                  </a:lnTo>
                  <a:lnTo>
                    <a:pt x="27" y="236"/>
                  </a:lnTo>
                  <a:lnTo>
                    <a:pt x="24" y="236"/>
                  </a:lnTo>
                  <a:lnTo>
                    <a:pt x="24" y="235"/>
                  </a:lnTo>
                  <a:lnTo>
                    <a:pt x="24" y="233"/>
                  </a:lnTo>
                  <a:lnTo>
                    <a:pt x="25" y="233"/>
                  </a:lnTo>
                  <a:lnTo>
                    <a:pt x="25" y="233"/>
                  </a:lnTo>
                  <a:lnTo>
                    <a:pt x="25" y="231"/>
                  </a:lnTo>
                  <a:lnTo>
                    <a:pt x="22" y="231"/>
                  </a:lnTo>
                  <a:lnTo>
                    <a:pt x="20" y="231"/>
                  </a:lnTo>
                  <a:lnTo>
                    <a:pt x="20" y="233"/>
                  </a:lnTo>
                  <a:lnTo>
                    <a:pt x="20" y="235"/>
                  </a:lnTo>
                  <a:lnTo>
                    <a:pt x="18" y="238"/>
                  </a:lnTo>
                  <a:lnTo>
                    <a:pt x="18" y="240"/>
                  </a:lnTo>
                  <a:lnTo>
                    <a:pt x="20" y="242"/>
                  </a:lnTo>
                  <a:lnTo>
                    <a:pt x="20" y="244"/>
                  </a:lnTo>
                  <a:lnTo>
                    <a:pt x="20" y="244"/>
                  </a:lnTo>
                  <a:lnTo>
                    <a:pt x="22" y="242"/>
                  </a:lnTo>
                  <a:lnTo>
                    <a:pt x="22" y="242"/>
                  </a:lnTo>
                  <a:lnTo>
                    <a:pt x="24" y="240"/>
                  </a:lnTo>
                  <a:lnTo>
                    <a:pt x="24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6"/>
                  </a:lnTo>
                  <a:lnTo>
                    <a:pt x="25" y="236"/>
                  </a:lnTo>
                  <a:lnTo>
                    <a:pt x="31" y="236"/>
                  </a:lnTo>
                  <a:lnTo>
                    <a:pt x="29" y="240"/>
                  </a:lnTo>
                  <a:lnTo>
                    <a:pt x="29" y="242"/>
                  </a:lnTo>
                  <a:lnTo>
                    <a:pt x="29" y="244"/>
                  </a:lnTo>
                  <a:lnTo>
                    <a:pt x="27" y="247"/>
                  </a:lnTo>
                  <a:lnTo>
                    <a:pt x="29" y="249"/>
                  </a:lnTo>
                  <a:lnTo>
                    <a:pt x="29" y="251"/>
                  </a:lnTo>
                  <a:lnTo>
                    <a:pt x="29" y="253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29" y="258"/>
                  </a:lnTo>
                  <a:lnTo>
                    <a:pt x="29" y="258"/>
                  </a:lnTo>
                  <a:lnTo>
                    <a:pt x="31" y="258"/>
                  </a:lnTo>
                  <a:lnTo>
                    <a:pt x="33" y="258"/>
                  </a:lnTo>
                  <a:lnTo>
                    <a:pt x="36" y="256"/>
                  </a:lnTo>
                  <a:lnTo>
                    <a:pt x="36" y="256"/>
                  </a:lnTo>
                  <a:lnTo>
                    <a:pt x="42" y="258"/>
                  </a:lnTo>
                  <a:lnTo>
                    <a:pt x="45" y="260"/>
                  </a:lnTo>
                  <a:lnTo>
                    <a:pt x="56" y="262"/>
                  </a:lnTo>
                  <a:lnTo>
                    <a:pt x="56" y="262"/>
                  </a:lnTo>
                  <a:lnTo>
                    <a:pt x="56" y="264"/>
                  </a:lnTo>
                  <a:lnTo>
                    <a:pt x="56" y="265"/>
                  </a:lnTo>
                  <a:lnTo>
                    <a:pt x="58" y="265"/>
                  </a:lnTo>
                  <a:lnTo>
                    <a:pt x="58" y="265"/>
                  </a:lnTo>
                  <a:lnTo>
                    <a:pt x="61" y="265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5" y="265"/>
                  </a:lnTo>
                  <a:lnTo>
                    <a:pt x="65" y="264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9" y="264"/>
                  </a:lnTo>
                  <a:lnTo>
                    <a:pt x="69" y="262"/>
                  </a:lnTo>
                  <a:lnTo>
                    <a:pt x="70" y="260"/>
                  </a:lnTo>
                  <a:lnTo>
                    <a:pt x="72" y="260"/>
                  </a:lnTo>
                  <a:lnTo>
                    <a:pt x="72" y="260"/>
                  </a:lnTo>
                  <a:lnTo>
                    <a:pt x="72" y="260"/>
                  </a:lnTo>
                  <a:lnTo>
                    <a:pt x="72" y="260"/>
                  </a:lnTo>
                  <a:lnTo>
                    <a:pt x="74" y="258"/>
                  </a:lnTo>
                  <a:lnTo>
                    <a:pt x="74" y="258"/>
                  </a:lnTo>
                  <a:lnTo>
                    <a:pt x="74" y="258"/>
                  </a:lnTo>
                  <a:lnTo>
                    <a:pt x="74" y="256"/>
                  </a:lnTo>
                  <a:lnTo>
                    <a:pt x="76" y="255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78" y="256"/>
                  </a:lnTo>
                  <a:lnTo>
                    <a:pt x="76" y="256"/>
                  </a:lnTo>
                  <a:lnTo>
                    <a:pt x="76" y="256"/>
                  </a:lnTo>
                  <a:lnTo>
                    <a:pt x="76" y="258"/>
                  </a:lnTo>
                  <a:lnTo>
                    <a:pt x="78" y="260"/>
                  </a:lnTo>
                  <a:lnTo>
                    <a:pt x="78" y="260"/>
                  </a:lnTo>
                  <a:lnTo>
                    <a:pt x="78" y="260"/>
                  </a:lnTo>
                  <a:lnTo>
                    <a:pt x="78" y="260"/>
                  </a:lnTo>
                  <a:lnTo>
                    <a:pt x="78" y="262"/>
                  </a:lnTo>
                  <a:lnTo>
                    <a:pt x="80" y="262"/>
                  </a:lnTo>
                  <a:lnTo>
                    <a:pt x="81" y="262"/>
                  </a:lnTo>
                  <a:lnTo>
                    <a:pt x="81" y="262"/>
                  </a:lnTo>
                  <a:lnTo>
                    <a:pt x="81" y="264"/>
                  </a:lnTo>
                  <a:lnTo>
                    <a:pt x="83" y="264"/>
                  </a:lnTo>
                  <a:lnTo>
                    <a:pt x="83" y="264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3" y="260"/>
                  </a:lnTo>
                  <a:lnTo>
                    <a:pt x="83" y="260"/>
                  </a:lnTo>
                  <a:lnTo>
                    <a:pt x="83" y="260"/>
                  </a:lnTo>
                  <a:lnTo>
                    <a:pt x="81" y="258"/>
                  </a:lnTo>
                  <a:lnTo>
                    <a:pt x="81" y="258"/>
                  </a:lnTo>
                  <a:lnTo>
                    <a:pt x="81" y="258"/>
                  </a:lnTo>
                  <a:lnTo>
                    <a:pt x="81" y="258"/>
                  </a:lnTo>
                  <a:lnTo>
                    <a:pt x="83" y="258"/>
                  </a:lnTo>
                  <a:lnTo>
                    <a:pt x="83" y="258"/>
                  </a:lnTo>
                  <a:lnTo>
                    <a:pt x="83" y="258"/>
                  </a:lnTo>
                  <a:lnTo>
                    <a:pt x="85" y="258"/>
                  </a:lnTo>
                  <a:lnTo>
                    <a:pt x="83" y="256"/>
                  </a:lnTo>
                  <a:lnTo>
                    <a:pt x="83" y="251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BA9FF804-728B-311E-4E66-39CC802DD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9550" y="3876676"/>
              <a:ext cx="536575" cy="303213"/>
            </a:xfrm>
            <a:custGeom>
              <a:avLst/>
              <a:gdLst>
                <a:gd name="T0" fmla="*/ 329 w 338"/>
                <a:gd name="T1" fmla="*/ 105 h 191"/>
                <a:gd name="T2" fmla="*/ 320 w 338"/>
                <a:gd name="T3" fmla="*/ 90 h 191"/>
                <a:gd name="T4" fmla="*/ 307 w 338"/>
                <a:gd name="T5" fmla="*/ 85 h 191"/>
                <a:gd name="T6" fmla="*/ 298 w 338"/>
                <a:gd name="T7" fmla="*/ 81 h 191"/>
                <a:gd name="T8" fmla="*/ 282 w 338"/>
                <a:gd name="T9" fmla="*/ 76 h 191"/>
                <a:gd name="T10" fmla="*/ 275 w 338"/>
                <a:gd name="T11" fmla="*/ 70 h 191"/>
                <a:gd name="T12" fmla="*/ 282 w 338"/>
                <a:gd name="T13" fmla="*/ 59 h 191"/>
                <a:gd name="T14" fmla="*/ 268 w 338"/>
                <a:gd name="T15" fmla="*/ 63 h 191"/>
                <a:gd name="T16" fmla="*/ 262 w 338"/>
                <a:gd name="T17" fmla="*/ 58 h 191"/>
                <a:gd name="T18" fmla="*/ 250 w 338"/>
                <a:gd name="T19" fmla="*/ 50 h 191"/>
                <a:gd name="T20" fmla="*/ 246 w 338"/>
                <a:gd name="T21" fmla="*/ 61 h 191"/>
                <a:gd name="T22" fmla="*/ 242 w 338"/>
                <a:gd name="T23" fmla="*/ 65 h 191"/>
                <a:gd name="T24" fmla="*/ 228 w 338"/>
                <a:gd name="T25" fmla="*/ 74 h 191"/>
                <a:gd name="T26" fmla="*/ 214 w 338"/>
                <a:gd name="T27" fmla="*/ 54 h 191"/>
                <a:gd name="T28" fmla="*/ 206 w 338"/>
                <a:gd name="T29" fmla="*/ 47 h 191"/>
                <a:gd name="T30" fmla="*/ 215 w 338"/>
                <a:gd name="T31" fmla="*/ 41 h 191"/>
                <a:gd name="T32" fmla="*/ 206 w 338"/>
                <a:gd name="T33" fmla="*/ 31 h 191"/>
                <a:gd name="T34" fmla="*/ 196 w 338"/>
                <a:gd name="T35" fmla="*/ 31 h 191"/>
                <a:gd name="T36" fmla="*/ 179 w 338"/>
                <a:gd name="T37" fmla="*/ 23 h 191"/>
                <a:gd name="T38" fmla="*/ 161 w 338"/>
                <a:gd name="T39" fmla="*/ 16 h 191"/>
                <a:gd name="T40" fmla="*/ 152 w 338"/>
                <a:gd name="T41" fmla="*/ 2 h 191"/>
                <a:gd name="T42" fmla="*/ 145 w 338"/>
                <a:gd name="T43" fmla="*/ 3 h 191"/>
                <a:gd name="T44" fmla="*/ 140 w 338"/>
                <a:gd name="T45" fmla="*/ 14 h 191"/>
                <a:gd name="T46" fmla="*/ 129 w 338"/>
                <a:gd name="T47" fmla="*/ 11 h 191"/>
                <a:gd name="T48" fmla="*/ 121 w 338"/>
                <a:gd name="T49" fmla="*/ 2 h 191"/>
                <a:gd name="T50" fmla="*/ 109 w 338"/>
                <a:gd name="T51" fmla="*/ 2 h 191"/>
                <a:gd name="T52" fmla="*/ 107 w 338"/>
                <a:gd name="T53" fmla="*/ 13 h 191"/>
                <a:gd name="T54" fmla="*/ 91 w 338"/>
                <a:gd name="T55" fmla="*/ 22 h 191"/>
                <a:gd name="T56" fmla="*/ 73 w 338"/>
                <a:gd name="T57" fmla="*/ 27 h 191"/>
                <a:gd name="T58" fmla="*/ 66 w 338"/>
                <a:gd name="T59" fmla="*/ 32 h 191"/>
                <a:gd name="T60" fmla="*/ 51 w 338"/>
                <a:gd name="T61" fmla="*/ 43 h 191"/>
                <a:gd name="T62" fmla="*/ 44 w 338"/>
                <a:gd name="T63" fmla="*/ 50 h 191"/>
                <a:gd name="T64" fmla="*/ 28 w 338"/>
                <a:gd name="T65" fmla="*/ 50 h 191"/>
                <a:gd name="T66" fmla="*/ 19 w 338"/>
                <a:gd name="T67" fmla="*/ 56 h 191"/>
                <a:gd name="T68" fmla="*/ 10 w 338"/>
                <a:gd name="T69" fmla="*/ 69 h 191"/>
                <a:gd name="T70" fmla="*/ 8 w 338"/>
                <a:gd name="T71" fmla="*/ 63 h 191"/>
                <a:gd name="T72" fmla="*/ 0 w 338"/>
                <a:gd name="T73" fmla="*/ 59 h 191"/>
                <a:gd name="T74" fmla="*/ 6 w 338"/>
                <a:gd name="T75" fmla="*/ 74 h 191"/>
                <a:gd name="T76" fmla="*/ 20 w 338"/>
                <a:gd name="T77" fmla="*/ 88 h 191"/>
                <a:gd name="T78" fmla="*/ 17 w 338"/>
                <a:gd name="T79" fmla="*/ 103 h 191"/>
                <a:gd name="T80" fmla="*/ 24 w 338"/>
                <a:gd name="T81" fmla="*/ 114 h 191"/>
                <a:gd name="T82" fmla="*/ 29 w 338"/>
                <a:gd name="T83" fmla="*/ 126 h 191"/>
                <a:gd name="T84" fmla="*/ 46 w 338"/>
                <a:gd name="T85" fmla="*/ 137 h 191"/>
                <a:gd name="T86" fmla="*/ 66 w 338"/>
                <a:gd name="T87" fmla="*/ 155 h 191"/>
                <a:gd name="T88" fmla="*/ 76 w 338"/>
                <a:gd name="T89" fmla="*/ 162 h 191"/>
                <a:gd name="T90" fmla="*/ 94 w 338"/>
                <a:gd name="T91" fmla="*/ 181 h 191"/>
                <a:gd name="T92" fmla="*/ 96 w 338"/>
                <a:gd name="T93" fmla="*/ 186 h 191"/>
                <a:gd name="T94" fmla="*/ 121 w 338"/>
                <a:gd name="T95" fmla="*/ 188 h 191"/>
                <a:gd name="T96" fmla="*/ 131 w 338"/>
                <a:gd name="T97" fmla="*/ 191 h 191"/>
                <a:gd name="T98" fmla="*/ 143 w 338"/>
                <a:gd name="T99" fmla="*/ 177 h 191"/>
                <a:gd name="T100" fmla="*/ 145 w 338"/>
                <a:gd name="T101" fmla="*/ 157 h 191"/>
                <a:gd name="T102" fmla="*/ 159 w 338"/>
                <a:gd name="T103" fmla="*/ 159 h 191"/>
                <a:gd name="T104" fmla="*/ 183 w 338"/>
                <a:gd name="T105" fmla="*/ 170 h 191"/>
                <a:gd name="T106" fmla="*/ 192 w 338"/>
                <a:gd name="T107" fmla="*/ 171 h 191"/>
                <a:gd name="T108" fmla="*/ 215 w 338"/>
                <a:gd name="T109" fmla="*/ 179 h 191"/>
                <a:gd name="T110" fmla="*/ 230 w 338"/>
                <a:gd name="T111" fmla="*/ 179 h 191"/>
                <a:gd name="T112" fmla="*/ 244 w 338"/>
                <a:gd name="T113" fmla="*/ 184 h 191"/>
                <a:gd name="T114" fmla="*/ 270 w 338"/>
                <a:gd name="T115" fmla="*/ 171 h 191"/>
                <a:gd name="T116" fmla="*/ 293 w 338"/>
                <a:gd name="T117" fmla="*/ 157 h 191"/>
                <a:gd name="T118" fmla="*/ 315 w 338"/>
                <a:gd name="T119" fmla="*/ 134 h 191"/>
                <a:gd name="T120" fmla="*/ 329 w 338"/>
                <a:gd name="T121" fmla="*/ 12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8" h="191">
                  <a:moveTo>
                    <a:pt x="338" y="117"/>
                  </a:moveTo>
                  <a:lnTo>
                    <a:pt x="338" y="114"/>
                  </a:lnTo>
                  <a:lnTo>
                    <a:pt x="336" y="112"/>
                  </a:lnTo>
                  <a:lnTo>
                    <a:pt x="336" y="112"/>
                  </a:lnTo>
                  <a:lnTo>
                    <a:pt x="336" y="110"/>
                  </a:lnTo>
                  <a:lnTo>
                    <a:pt x="336" y="108"/>
                  </a:lnTo>
                  <a:lnTo>
                    <a:pt x="336" y="106"/>
                  </a:lnTo>
                  <a:lnTo>
                    <a:pt x="335" y="106"/>
                  </a:lnTo>
                  <a:lnTo>
                    <a:pt x="335" y="106"/>
                  </a:lnTo>
                  <a:lnTo>
                    <a:pt x="333" y="106"/>
                  </a:lnTo>
                  <a:lnTo>
                    <a:pt x="333" y="106"/>
                  </a:lnTo>
                  <a:lnTo>
                    <a:pt x="333" y="106"/>
                  </a:lnTo>
                  <a:lnTo>
                    <a:pt x="331" y="106"/>
                  </a:lnTo>
                  <a:lnTo>
                    <a:pt x="331" y="105"/>
                  </a:lnTo>
                  <a:lnTo>
                    <a:pt x="329" y="105"/>
                  </a:lnTo>
                  <a:lnTo>
                    <a:pt x="327" y="105"/>
                  </a:lnTo>
                  <a:lnTo>
                    <a:pt x="327" y="105"/>
                  </a:lnTo>
                  <a:lnTo>
                    <a:pt x="327" y="103"/>
                  </a:lnTo>
                  <a:lnTo>
                    <a:pt x="327" y="101"/>
                  </a:lnTo>
                  <a:lnTo>
                    <a:pt x="326" y="99"/>
                  </a:lnTo>
                  <a:lnTo>
                    <a:pt x="326" y="97"/>
                  </a:lnTo>
                  <a:lnTo>
                    <a:pt x="326" y="94"/>
                  </a:lnTo>
                  <a:lnTo>
                    <a:pt x="326" y="94"/>
                  </a:lnTo>
                  <a:lnTo>
                    <a:pt x="326" y="92"/>
                  </a:lnTo>
                  <a:lnTo>
                    <a:pt x="324" y="92"/>
                  </a:lnTo>
                  <a:lnTo>
                    <a:pt x="324" y="90"/>
                  </a:lnTo>
                  <a:lnTo>
                    <a:pt x="324" y="88"/>
                  </a:lnTo>
                  <a:lnTo>
                    <a:pt x="324" y="88"/>
                  </a:lnTo>
                  <a:lnTo>
                    <a:pt x="322" y="90"/>
                  </a:lnTo>
                  <a:lnTo>
                    <a:pt x="320" y="90"/>
                  </a:lnTo>
                  <a:lnTo>
                    <a:pt x="317" y="87"/>
                  </a:lnTo>
                  <a:lnTo>
                    <a:pt x="315" y="87"/>
                  </a:lnTo>
                  <a:lnTo>
                    <a:pt x="313" y="87"/>
                  </a:lnTo>
                  <a:lnTo>
                    <a:pt x="313" y="87"/>
                  </a:lnTo>
                  <a:lnTo>
                    <a:pt x="313" y="87"/>
                  </a:lnTo>
                  <a:lnTo>
                    <a:pt x="313" y="87"/>
                  </a:lnTo>
                  <a:lnTo>
                    <a:pt x="313" y="87"/>
                  </a:lnTo>
                  <a:lnTo>
                    <a:pt x="311" y="88"/>
                  </a:lnTo>
                  <a:lnTo>
                    <a:pt x="311" y="88"/>
                  </a:lnTo>
                  <a:lnTo>
                    <a:pt x="309" y="88"/>
                  </a:lnTo>
                  <a:lnTo>
                    <a:pt x="309" y="87"/>
                  </a:lnTo>
                  <a:lnTo>
                    <a:pt x="309" y="87"/>
                  </a:lnTo>
                  <a:lnTo>
                    <a:pt x="309" y="87"/>
                  </a:lnTo>
                  <a:lnTo>
                    <a:pt x="309" y="85"/>
                  </a:lnTo>
                  <a:lnTo>
                    <a:pt x="307" y="85"/>
                  </a:lnTo>
                  <a:lnTo>
                    <a:pt x="307" y="85"/>
                  </a:lnTo>
                  <a:lnTo>
                    <a:pt x="306" y="83"/>
                  </a:lnTo>
                  <a:lnTo>
                    <a:pt x="304" y="83"/>
                  </a:lnTo>
                  <a:lnTo>
                    <a:pt x="302" y="83"/>
                  </a:lnTo>
                  <a:lnTo>
                    <a:pt x="300" y="81"/>
                  </a:lnTo>
                  <a:lnTo>
                    <a:pt x="300" y="79"/>
                  </a:lnTo>
                  <a:lnTo>
                    <a:pt x="298" y="78"/>
                  </a:lnTo>
                  <a:lnTo>
                    <a:pt x="297" y="78"/>
                  </a:lnTo>
                  <a:lnTo>
                    <a:pt x="297" y="78"/>
                  </a:lnTo>
                  <a:lnTo>
                    <a:pt x="297" y="79"/>
                  </a:lnTo>
                  <a:lnTo>
                    <a:pt x="297" y="79"/>
                  </a:lnTo>
                  <a:lnTo>
                    <a:pt x="297" y="79"/>
                  </a:lnTo>
                  <a:lnTo>
                    <a:pt x="298" y="79"/>
                  </a:lnTo>
                  <a:lnTo>
                    <a:pt x="298" y="79"/>
                  </a:lnTo>
                  <a:lnTo>
                    <a:pt x="298" y="81"/>
                  </a:lnTo>
                  <a:lnTo>
                    <a:pt x="298" y="81"/>
                  </a:lnTo>
                  <a:lnTo>
                    <a:pt x="297" y="81"/>
                  </a:lnTo>
                  <a:lnTo>
                    <a:pt x="295" y="81"/>
                  </a:lnTo>
                  <a:lnTo>
                    <a:pt x="293" y="83"/>
                  </a:lnTo>
                  <a:lnTo>
                    <a:pt x="291" y="83"/>
                  </a:lnTo>
                  <a:lnTo>
                    <a:pt x="289" y="85"/>
                  </a:lnTo>
                  <a:lnTo>
                    <a:pt x="288" y="83"/>
                  </a:lnTo>
                  <a:lnTo>
                    <a:pt x="286" y="81"/>
                  </a:lnTo>
                  <a:lnTo>
                    <a:pt x="284" y="79"/>
                  </a:lnTo>
                  <a:lnTo>
                    <a:pt x="284" y="79"/>
                  </a:lnTo>
                  <a:lnTo>
                    <a:pt x="284" y="78"/>
                  </a:lnTo>
                  <a:lnTo>
                    <a:pt x="284" y="78"/>
                  </a:lnTo>
                  <a:lnTo>
                    <a:pt x="282" y="76"/>
                  </a:lnTo>
                  <a:lnTo>
                    <a:pt x="282" y="76"/>
                  </a:lnTo>
                  <a:lnTo>
                    <a:pt x="282" y="76"/>
                  </a:lnTo>
                  <a:lnTo>
                    <a:pt x="282" y="74"/>
                  </a:lnTo>
                  <a:lnTo>
                    <a:pt x="282" y="74"/>
                  </a:lnTo>
                  <a:lnTo>
                    <a:pt x="282" y="74"/>
                  </a:lnTo>
                  <a:lnTo>
                    <a:pt x="282" y="74"/>
                  </a:lnTo>
                  <a:lnTo>
                    <a:pt x="282" y="74"/>
                  </a:lnTo>
                  <a:lnTo>
                    <a:pt x="282" y="74"/>
                  </a:lnTo>
                  <a:lnTo>
                    <a:pt x="282" y="74"/>
                  </a:lnTo>
                  <a:lnTo>
                    <a:pt x="280" y="74"/>
                  </a:lnTo>
                  <a:lnTo>
                    <a:pt x="280" y="74"/>
                  </a:lnTo>
                  <a:lnTo>
                    <a:pt x="280" y="74"/>
                  </a:lnTo>
                  <a:lnTo>
                    <a:pt x="279" y="74"/>
                  </a:lnTo>
                  <a:lnTo>
                    <a:pt x="279" y="74"/>
                  </a:lnTo>
                  <a:lnTo>
                    <a:pt x="279" y="74"/>
                  </a:lnTo>
                  <a:lnTo>
                    <a:pt x="275" y="70"/>
                  </a:lnTo>
                  <a:lnTo>
                    <a:pt x="275" y="70"/>
                  </a:lnTo>
                  <a:lnTo>
                    <a:pt x="275" y="69"/>
                  </a:lnTo>
                  <a:lnTo>
                    <a:pt x="277" y="69"/>
                  </a:lnTo>
                  <a:lnTo>
                    <a:pt x="279" y="69"/>
                  </a:lnTo>
                  <a:lnTo>
                    <a:pt x="280" y="69"/>
                  </a:lnTo>
                  <a:lnTo>
                    <a:pt x="282" y="67"/>
                  </a:lnTo>
                  <a:lnTo>
                    <a:pt x="284" y="65"/>
                  </a:lnTo>
                  <a:lnTo>
                    <a:pt x="284" y="65"/>
                  </a:lnTo>
                  <a:lnTo>
                    <a:pt x="282" y="63"/>
                  </a:lnTo>
                  <a:lnTo>
                    <a:pt x="282" y="63"/>
                  </a:lnTo>
                  <a:lnTo>
                    <a:pt x="282" y="61"/>
                  </a:lnTo>
                  <a:lnTo>
                    <a:pt x="282" y="61"/>
                  </a:lnTo>
                  <a:lnTo>
                    <a:pt x="282" y="59"/>
                  </a:lnTo>
                  <a:lnTo>
                    <a:pt x="282" y="59"/>
                  </a:lnTo>
                  <a:lnTo>
                    <a:pt x="282" y="59"/>
                  </a:lnTo>
                  <a:lnTo>
                    <a:pt x="282" y="59"/>
                  </a:lnTo>
                  <a:lnTo>
                    <a:pt x="282" y="59"/>
                  </a:lnTo>
                  <a:lnTo>
                    <a:pt x="282" y="58"/>
                  </a:lnTo>
                  <a:lnTo>
                    <a:pt x="282" y="58"/>
                  </a:lnTo>
                  <a:lnTo>
                    <a:pt x="280" y="58"/>
                  </a:lnTo>
                  <a:lnTo>
                    <a:pt x="280" y="58"/>
                  </a:lnTo>
                  <a:lnTo>
                    <a:pt x="280" y="58"/>
                  </a:lnTo>
                  <a:lnTo>
                    <a:pt x="280" y="58"/>
                  </a:lnTo>
                  <a:lnTo>
                    <a:pt x="279" y="61"/>
                  </a:lnTo>
                  <a:lnTo>
                    <a:pt x="279" y="61"/>
                  </a:lnTo>
                  <a:lnTo>
                    <a:pt x="277" y="61"/>
                  </a:lnTo>
                  <a:lnTo>
                    <a:pt x="271" y="61"/>
                  </a:lnTo>
                  <a:lnTo>
                    <a:pt x="270" y="61"/>
                  </a:lnTo>
                  <a:lnTo>
                    <a:pt x="268" y="63"/>
                  </a:lnTo>
                  <a:lnTo>
                    <a:pt x="268" y="63"/>
                  </a:lnTo>
                  <a:lnTo>
                    <a:pt x="268" y="63"/>
                  </a:lnTo>
                  <a:lnTo>
                    <a:pt x="268" y="63"/>
                  </a:lnTo>
                  <a:lnTo>
                    <a:pt x="268" y="63"/>
                  </a:lnTo>
                  <a:lnTo>
                    <a:pt x="266" y="61"/>
                  </a:lnTo>
                  <a:lnTo>
                    <a:pt x="266" y="59"/>
                  </a:lnTo>
                  <a:lnTo>
                    <a:pt x="264" y="59"/>
                  </a:lnTo>
                  <a:lnTo>
                    <a:pt x="264" y="61"/>
                  </a:lnTo>
                  <a:lnTo>
                    <a:pt x="264" y="61"/>
                  </a:lnTo>
                  <a:lnTo>
                    <a:pt x="262" y="61"/>
                  </a:lnTo>
                  <a:lnTo>
                    <a:pt x="262" y="59"/>
                  </a:lnTo>
                  <a:lnTo>
                    <a:pt x="262" y="58"/>
                  </a:lnTo>
                  <a:lnTo>
                    <a:pt x="262" y="58"/>
                  </a:lnTo>
                  <a:lnTo>
                    <a:pt x="262" y="58"/>
                  </a:lnTo>
                  <a:lnTo>
                    <a:pt x="262" y="58"/>
                  </a:lnTo>
                  <a:lnTo>
                    <a:pt x="262" y="58"/>
                  </a:lnTo>
                  <a:lnTo>
                    <a:pt x="262" y="58"/>
                  </a:lnTo>
                  <a:lnTo>
                    <a:pt x="262" y="56"/>
                  </a:lnTo>
                  <a:lnTo>
                    <a:pt x="261" y="56"/>
                  </a:lnTo>
                  <a:lnTo>
                    <a:pt x="259" y="56"/>
                  </a:lnTo>
                  <a:lnTo>
                    <a:pt x="257" y="56"/>
                  </a:lnTo>
                  <a:lnTo>
                    <a:pt x="257" y="54"/>
                  </a:lnTo>
                  <a:lnTo>
                    <a:pt x="257" y="54"/>
                  </a:lnTo>
                  <a:lnTo>
                    <a:pt x="255" y="52"/>
                  </a:lnTo>
                  <a:lnTo>
                    <a:pt x="255" y="52"/>
                  </a:lnTo>
                  <a:lnTo>
                    <a:pt x="255" y="52"/>
                  </a:lnTo>
                  <a:lnTo>
                    <a:pt x="255" y="52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52" y="52"/>
                  </a:lnTo>
                  <a:lnTo>
                    <a:pt x="252" y="50"/>
                  </a:lnTo>
                  <a:lnTo>
                    <a:pt x="250" y="50"/>
                  </a:lnTo>
                  <a:lnTo>
                    <a:pt x="246" y="49"/>
                  </a:lnTo>
                  <a:lnTo>
                    <a:pt x="244" y="49"/>
                  </a:lnTo>
                  <a:lnTo>
                    <a:pt x="244" y="49"/>
                  </a:lnTo>
                  <a:lnTo>
                    <a:pt x="242" y="49"/>
                  </a:lnTo>
                  <a:lnTo>
                    <a:pt x="241" y="47"/>
                  </a:lnTo>
                  <a:lnTo>
                    <a:pt x="239" y="49"/>
                  </a:lnTo>
                  <a:lnTo>
                    <a:pt x="239" y="50"/>
                  </a:lnTo>
                  <a:lnTo>
                    <a:pt x="241" y="52"/>
                  </a:lnTo>
                  <a:lnTo>
                    <a:pt x="242" y="54"/>
                  </a:lnTo>
                  <a:lnTo>
                    <a:pt x="242" y="56"/>
                  </a:lnTo>
                  <a:lnTo>
                    <a:pt x="242" y="56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6" y="59"/>
                  </a:lnTo>
                  <a:lnTo>
                    <a:pt x="246" y="61"/>
                  </a:lnTo>
                  <a:lnTo>
                    <a:pt x="246" y="63"/>
                  </a:lnTo>
                  <a:lnTo>
                    <a:pt x="246" y="63"/>
                  </a:lnTo>
                  <a:lnTo>
                    <a:pt x="248" y="65"/>
                  </a:lnTo>
                  <a:lnTo>
                    <a:pt x="246" y="65"/>
                  </a:lnTo>
                  <a:lnTo>
                    <a:pt x="246" y="65"/>
                  </a:lnTo>
                  <a:lnTo>
                    <a:pt x="246" y="65"/>
                  </a:lnTo>
                  <a:lnTo>
                    <a:pt x="246" y="63"/>
                  </a:lnTo>
                  <a:lnTo>
                    <a:pt x="244" y="63"/>
                  </a:lnTo>
                  <a:lnTo>
                    <a:pt x="244" y="63"/>
                  </a:lnTo>
                  <a:lnTo>
                    <a:pt x="244" y="63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65"/>
                  </a:lnTo>
                  <a:lnTo>
                    <a:pt x="242" y="65"/>
                  </a:lnTo>
                  <a:lnTo>
                    <a:pt x="242" y="65"/>
                  </a:lnTo>
                  <a:lnTo>
                    <a:pt x="241" y="67"/>
                  </a:lnTo>
                  <a:lnTo>
                    <a:pt x="241" y="67"/>
                  </a:lnTo>
                  <a:lnTo>
                    <a:pt x="239" y="67"/>
                  </a:lnTo>
                  <a:lnTo>
                    <a:pt x="239" y="67"/>
                  </a:lnTo>
                  <a:lnTo>
                    <a:pt x="239" y="67"/>
                  </a:lnTo>
                  <a:lnTo>
                    <a:pt x="237" y="67"/>
                  </a:lnTo>
                  <a:lnTo>
                    <a:pt x="235" y="69"/>
                  </a:lnTo>
                  <a:lnTo>
                    <a:pt x="235" y="69"/>
                  </a:lnTo>
                  <a:lnTo>
                    <a:pt x="235" y="70"/>
                  </a:lnTo>
                  <a:lnTo>
                    <a:pt x="233" y="70"/>
                  </a:lnTo>
                  <a:lnTo>
                    <a:pt x="233" y="72"/>
                  </a:lnTo>
                  <a:lnTo>
                    <a:pt x="232" y="74"/>
                  </a:lnTo>
                  <a:lnTo>
                    <a:pt x="230" y="74"/>
                  </a:lnTo>
                  <a:lnTo>
                    <a:pt x="228" y="74"/>
                  </a:lnTo>
                  <a:lnTo>
                    <a:pt x="226" y="72"/>
                  </a:lnTo>
                  <a:lnTo>
                    <a:pt x="224" y="70"/>
                  </a:lnTo>
                  <a:lnTo>
                    <a:pt x="224" y="70"/>
                  </a:lnTo>
                  <a:lnTo>
                    <a:pt x="224" y="67"/>
                  </a:lnTo>
                  <a:lnTo>
                    <a:pt x="223" y="65"/>
                  </a:lnTo>
                  <a:lnTo>
                    <a:pt x="221" y="63"/>
                  </a:lnTo>
                  <a:lnTo>
                    <a:pt x="221" y="63"/>
                  </a:lnTo>
                  <a:lnTo>
                    <a:pt x="221" y="61"/>
                  </a:lnTo>
                  <a:lnTo>
                    <a:pt x="219" y="59"/>
                  </a:lnTo>
                  <a:lnTo>
                    <a:pt x="219" y="58"/>
                  </a:lnTo>
                  <a:lnTo>
                    <a:pt x="217" y="58"/>
                  </a:lnTo>
                  <a:lnTo>
                    <a:pt x="215" y="56"/>
                  </a:lnTo>
                  <a:lnTo>
                    <a:pt x="214" y="56"/>
                  </a:lnTo>
                  <a:lnTo>
                    <a:pt x="214" y="54"/>
                  </a:lnTo>
                  <a:lnTo>
                    <a:pt x="214" y="54"/>
                  </a:lnTo>
                  <a:lnTo>
                    <a:pt x="214" y="54"/>
                  </a:lnTo>
                  <a:lnTo>
                    <a:pt x="214" y="52"/>
                  </a:lnTo>
                  <a:lnTo>
                    <a:pt x="214" y="52"/>
                  </a:lnTo>
                  <a:lnTo>
                    <a:pt x="210" y="52"/>
                  </a:lnTo>
                  <a:lnTo>
                    <a:pt x="210" y="52"/>
                  </a:lnTo>
                  <a:lnTo>
                    <a:pt x="210" y="52"/>
                  </a:lnTo>
                  <a:lnTo>
                    <a:pt x="210" y="52"/>
                  </a:lnTo>
                  <a:lnTo>
                    <a:pt x="208" y="52"/>
                  </a:lnTo>
                  <a:lnTo>
                    <a:pt x="208" y="52"/>
                  </a:lnTo>
                  <a:lnTo>
                    <a:pt x="208" y="50"/>
                  </a:lnTo>
                  <a:lnTo>
                    <a:pt x="206" y="50"/>
                  </a:lnTo>
                  <a:lnTo>
                    <a:pt x="206" y="49"/>
                  </a:lnTo>
                  <a:lnTo>
                    <a:pt x="206" y="47"/>
                  </a:lnTo>
                  <a:lnTo>
                    <a:pt x="206" y="47"/>
                  </a:lnTo>
                  <a:lnTo>
                    <a:pt x="206" y="47"/>
                  </a:lnTo>
                  <a:lnTo>
                    <a:pt x="206" y="47"/>
                  </a:lnTo>
                  <a:lnTo>
                    <a:pt x="206" y="47"/>
                  </a:lnTo>
                  <a:lnTo>
                    <a:pt x="208" y="47"/>
                  </a:lnTo>
                  <a:lnTo>
                    <a:pt x="208" y="45"/>
                  </a:lnTo>
                  <a:lnTo>
                    <a:pt x="208" y="45"/>
                  </a:lnTo>
                  <a:lnTo>
                    <a:pt x="210" y="45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2" y="43"/>
                  </a:lnTo>
                  <a:lnTo>
                    <a:pt x="214" y="43"/>
                  </a:lnTo>
                  <a:lnTo>
                    <a:pt x="214" y="43"/>
                  </a:lnTo>
                  <a:lnTo>
                    <a:pt x="214" y="43"/>
                  </a:lnTo>
                  <a:lnTo>
                    <a:pt x="215" y="41"/>
                  </a:lnTo>
                  <a:lnTo>
                    <a:pt x="215" y="41"/>
                  </a:lnTo>
                  <a:lnTo>
                    <a:pt x="215" y="41"/>
                  </a:lnTo>
                  <a:lnTo>
                    <a:pt x="215" y="40"/>
                  </a:lnTo>
                  <a:lnTo>
                    <a:pt x="215" y="40"/>
                  </a:lnTo>
                  <a:lnTo>
                    <a:pt x="215" y="40"/>
                  </a:lnTo>
                  <a:lnTo>
                    <a:pt x="215" y="40"/>
                  </a:lnTo>
                  <a:lnTo>
                    <a:pt x="215" y="38"/>
                  </a:lnTo>
                  <a:lnTo>
                    <a:pt x="215" y="38"/>
                  </a:lnTo>
                  <a:lnTo>
                    <a:pt x="215" y="38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4" y="31"/>
                  </a:lnTo>
                  <a:lnTo>
                    <a:pt x="212" y="31"/>
                  </a:lnTo>
                  <a:lnTo>
                    <a:pt x="210" y="31"/>
                  </a:lnTo>
                  <a:lnTo>
                    <a:pt x="208" y="31"/>
                  </a:lnTo>
                  <a:lnTo>
                    <a:pt x="206" y="31"/>
                  </a:lnTo>
                  <a:lnTo>
                    <a:pt x="206" y="31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5" y="32"/>
                  </a:lnTo>
                  <a:lnTo>
                    <a:pt x="205" y="32"/>
                  </a:lnTo>
                  <a:lnTo>
                    <a:pt x="203" y="31"/>
                  </a:lnTo>
                  <a:lnTo>
                    <a:pt x="201" y="31"/>
                  </a:lnTo>
                  <a:lnTo>
                    <a:pt x="197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6" y="31"/>
                  </a:lnTo>
                  <a:lnTo>
                    <a:pt x="196" y="29"/>
                  </a:lnTo>
                  <a:lnTo>
                    <a:pt x="196" y="29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0" y="29"/>
                  </a:lnTo>
                  <a:lnTo>
                    <a:pt x="188" y="29"/>
                  </a:lnTo>
                  <a:lnTo>
                    <a:pt x="188" y="29"/>
                  </a:lnTo>
                  <a:lnTo>
                    <a:pt x="186" y="25"/>
                  </a:lnTo>
                  <a:lnTo>
                    <a:pt x="186" y="23"/>
                  </a:lnTo>
                  <a:lnTo>
                    <a:pt x="186" y="23"/>
                  </a:lnTo>
                  <a:lnTo>
                    <a:pt x="185" y="23"/>
                  </a:lnTo>
                  <a:lnTo>
                    <a:pt x="181" y="23"/>
                  </a:lnTo>
                  <a:lnTo>
                    <a:pt x="179" y="23"/>
                  </a:lnTo>
                  <a:lnTo>
                    <a:pt x="179" y="23"/>
                  </a:lnTo>
                  <a:lnTo>
                    <a:pt x="179" y="23"/>
                  </a:lnTo>
                  <a:lnTo>
                    <a:pt x="177" y="22"/>
                  </a:lnTo>
                  <a:lnTo>
                    <a:pt x="168" y="18"/>
                  </a:lnTo>
                  <a:lnTo>
                    <a:pt x="167" y="20"/>
                  </a:lnTo>
                  <a:lnTo>
                    <a:pt x="167" y="20"/>
                  </a:lnTo>
                  <a:lnTo>
                    <a:pt x="165" y="20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3" y="20"/>
                  </a:lnTo>
                  <a:lnTo>
                    <a:pt x="163" y="20"/>
                  </a:lnTo>
                  <a:lnTo>
                    <a:pt x="163" y="18"/>
                  </a:lnTo>
                  <a:lnTo>
                    <a:pt x="163" y="18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1" y="16"/>
                  </a:lnTo>
                  <a:lnTo>
                    <a:pt x="161" y="14"/>
                  </a:lnTo>
                  <a:lnTo>
                    <a:pt x="159" y="14"/>
                  </a:lnTo>
                  <a:lnTo>
                    <a:pt x="159" y="13"/>
                  </a:lnTo>
                  <a:lnTo>
                    <a:pt x="159" y="11"/>
                  </a:lnTo>
                  <a:lnTo>
                    <a:pt x="159" y="11"/>
                  </a:lnTo>
                  <a:lnTo>
                    <a:pt x="159" y="9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59" y="5"/>
                  </a:lnTo>
                  <a:lnTo>
                    <a:pt x="158" y="5"/>
                  </a:lnTo>
                  <a:lnTo>
                    <a:pt x="154" y="5"/>
                  </a:lnTo>
                  <a:lnTo>
                    <a:pt x="154" y="3"/>
                  </a:lnTo>
                  <a:lnTo>
                    <a:pt x="154" y="2"/>
                  </a:lnTo>
                  <a:lnTo>
                    <a:pt x="154" y="2"/>
                  </a:lnTo>
                  <a:lnTo>
                    <a:pt x="152" y="2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2" y="5"/>
                  </a:lnTo>
                  <a:lnTo>
                    <a:pt x="152" y="5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5"/>
                  </a:lnTo>
                  <a:lnTo>
                    <a:pt x="145" y="5"/>
                  </a:lnTo>
                  <a:lnTo>
                    <a:pt x="147" y="7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5" y="9"/>
                  </a:lnTo>
                  <a:lnTo>
                    <a:pt x="145" y="9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0" y="14"/>
                  </a:lnTo>
                  <a:lnTo>
                    <a:pt x="138" y="14"/>
                  </a:lnTo>
                  <a:lnTo>
                    <a:pt x="136" y="14"/>
                  </a:lnTo>
                  <a:lnTo>
                    <a:pt x="136" y="16"/>
                  </a:lnTo>
                  <a:lnTo>
                    <a:pt x="136" y="18"/>
                  </a:lnTo>
                  <a:lnTo>
                    <a:pt x="134" y="18"/>
                  </a:lnTo>
                  <a:lnTo>
                    <a:pt x="134" y="18"/>
                  </a:lnTo>
                  <a:lnTo>
                    <a:pt x="132" y="18"/>
                  </a:lnTo>
                  <a:lnTo>
                    <a:pt x="131" y="18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7" y="16"/>
                  </a:lnTo>
                  <a:lnTo>
                    <a:pt x="127" y="14"/>
                  </a:lnTo>
                  <a:lnTo>
                    <a:pt x="127" y="13"/>
                  </a:lnTo>
                  <a:lnTo>
                    <a:pt x="127" y="11"/>
                  </a:lnTo>
                  <a:lnTo>
                    <a:pt x="129" y="11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25" y="11"/>
                  </a:lnTo>
                  <a:lnTo>
                    <a:pt x="123" y="11"/>
                  </a:lnTo>
                  <a:lnTo>
                    <a:pt x="123" y="9"/>
                  </a:lnTo>
                  <a:lnTo>
                    <a:pt x="125" y="7"/>
                  </a:lnTo>
                  <a:lnTo>
                    <a:pt x="125" y="7"/>
                  </a:lnTo>
                  <a:lnTo>
                    <a:pt x="125" y="5"/>
                  </a:lnTo>
                  <a:lnTo>
                    <a:pt x="125" y="5"/>
                  </a:lnTo>
                  <a:lnTo>
                    <a:pt x="125" y="3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1" y="3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18" y="2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111" y="0"/>
                  </a:lnTo>
                  <a:lnTo>
                    <a:pt x="109" y="2"/>
                  </a:lnTo>
                  <a:lnTo>
                    <a:pt x="109" y="3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7"/>
                  </a:lnTo>
                  <a:lnTo>
                    <a:pt x="112" y="7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4" y="11"/>
                  </a:lnTo>
                  <a:lnTo>
                    <a:pt x="114" y="13"/>
                  </a:lnTo>
                  <a:lnTo>
                    <a:pt x="109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4"/>
                  </a:lnTo>
                  <a:lnTo>
                    <a:pt x="105" y="14"/>
                  </a:lnTo>
                  <a:lnTo>
                    <a:pt x="98" y="18"/>
                  </a:lnTo>
                  <a:lnTo>
                    <a:pt x="96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7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80" y="25"/>
                  </a:lnTo>
                  <a:lnTo>
                    <a:pt x="76" y="25"/>
                  </a:lnTo>
                  <a:lnTo>
                    <a:pt x="75" y="27"/>
                  </a:lnTo>
                  <a:lnTo>
                    <a:pt x="73" y="27"/>
                  </a:lnTo>
                  <a:lnTo>
                    <a:pt x="73" y="29"/>
                  </a:lnTo>
                  <a:lnTo>
                    <a:pt x="73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6"/>
                  </a:lnTo>
                  <a:lnTo>
                    <a:pt x="60" y="38"/>
                  </a:lnTo>
                  <a:lnTo>
                    <a:pt x="60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6" y="40"/>
                  </a:lnTo>
                  <a:lnTo>
                    <a:pt x="55" y="41"/>
                  </a:lnTo>
                  <a:lnTo>
                    <a:pt x="55" y="43"/>
                  </a:lnTo>
                  <a:lnTo>
                    <a:pt x="51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6" y="49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3" y="47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29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2" y="50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20" y="54"/>
                  </a:lnTo>
                  <a:lnTo>
                    <a:pt x="19" y="54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7" y="56"/>
                  </a:lnTo>
                  <a:lnTo>
                    <a:pt x="17" y="58"/>
                  </a:lnTo>
                  <a:lnTo>
                    <a:pt x="15" y="59"/>
                  </a:lnTo>
                  <a:lnTo>
                    <a:pt x="13" y="59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1" y="65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4" y="61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9"/>
                  </a:lnTo>
                  <a:lnTo>
                    <a:pt x="2" y="59"/>
                  </a:lnTo>
                  <a:lnTo>
                    <a:pt x="2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2" y="65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0"/>
                  </a:lnTo>
                  <a:lnTo>
                    <a:pt x="4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8" y="74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0" y="85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90"/>
                  </a:lnTo>
                  <a:lnTo>
                    <a:pt x="22" y="92"/>
                  </a:lnTo>
                  <a:lnTo>
                    <a:pt x="20" y="94"/>
                  </a:lnTo>
                  <a:lnTo>
                    <a:pt x="20" y="96"/>
                  </a:lnTo>
                  <a:lnTo>
                    <a:pt x="19" y="94"/>
                  </a:lnTo>
                  <a:lnTo>
                    <a:pt x="19" y="96"/>
                  </a:lnTo>
                  <a:lnTo>
                    <a:pt x="19" y="97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17" y="105"/>
                  </a:lnTo>
                  <a:lnTo>
                    <a:pt x="19" y="105"/>
                  </a:lnTo>
                  <a:lnTo>
                    <a:pt x="19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0" y="108"/>
                  </a:lnTo>
                  <a:lnTo>
                    <a:pt x="22" y="108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4" y="117"/>
                  </a:lnTo>
                  <a:lnTo>
                    <a:pt x="24" y="117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8" y="119"/>
                  </a:lnTo>
                  <a:lnTo>
                    <a:pt x="28" y="119"/>
                  </a:lnTo>
                  <a:lnTo>
                    <a:pt x="28" y="121"/>
                  </a:lnTo>
                  <a:lnTo>
                    <a:pt x="28" y="123"/>
                  </a:lnTo>
                  <a:lnTo>
                    <a:pt x="28" y="125"/>
                  </a:lnTo>
                  <a:lnTo>
                    <a:pt x="28" y="126"/>
                  </a:lnTo>
                  <a:lnTo>
                    <a:pt x="29" y="126"/>
                  </a:lnTo>
                  <a:lnTo>
                    <a:pt x="31" y="128"/>
                  </a:lnTo>
                  <a:lnTo>
                    <a:pt x="33" y="128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37" y="134"/>
                  </a:lnTo>
                  <a:lnTo>
                    <a:pt x="38" y="134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40" y="132"/>
                  </a:lnTo>
                  <a:lnTo>
                    <a:pt x="42" y="134"/>
                  </a:lnTo>
                  <a:lnTo>
                    <a:pt x="44" y="134"/>
                  </a:lnTo>
                  <a:lnTo>
                    <a:pt x="44" y="134"/>
                  </a:lnTo>
                  <a:lnTo>
                    <a:pt x="46" y="135"/>
                  </a:lnTo>
                  <a:lnTo>
                    <a:pt x="46" y="135"/>
                  </a:lnTo>
                  <a:lnTo>
                    <a:pt x="46" y="137"/>
                  </a:lnTo>
                  <a:lnTo>
                    <a:pt x="46" y="137"/>
                  </a:lnTo>
                  <a:lnTo>
                    <a:pt x="47" y="137"/>
                  </a:lnTo>
                  <a:lnTo>
                    <a:pt x="47" y="139"/>
                  </a:lnTo>
                  <a:lnTo>
                    <a:pt x="47" y="141"/>
                  </a:lnTo>
                  <a:lnTo>
                    <a:pt x="47" y="141"/>
                  </a:lnTo>
                  <a:lnTo>
                    <a:pt x="49" y="141"/>
                  </a:lnTo>
                  <a:lnTo>
                    <a:pt x="53" y="146"/>
                  </a:lnTo>
                  <a:lnTo>
                    <a:pt x="55" y="148"/>
                  </a:lnTo>
                  <a:lnTo>
                    <a:pt x="55" y="150"/>
                  </a:lnTo>
                  <a:lnTo>
                    <a:pt x="56" y="150"/>
                  </a:lnTo>
                  <a:lnTo>
                    <a:pt x="60" y="150"/>
                  </a:lnTo>
                  <a:lnTo>
                    <a:pt x="60" y="152"/>
                  </a:lnTo>
                  <a:lnTo>
                    <a:pt x="62" y="152"/>
                  </a:lnTo>
                  <a:lnTo>
                    <a:pt x="62" y="153"/>
                  </a:lnTo>
                  <a:lnTo>
                    <a:pt x="66" y="155"/>
                  </a:lnTo>
                  <a:lnTo>
                    <a:pt x="66" y="157"/>
                  </a:lnTo>
                  <a:lnTo>
                    <a:pt x="66" y="159"/>
                  </a:lnTo>
                  <a:lnTo>
                    <a:pt x="66" y="161"/>
                  </a:lnTo>
                  <a:lnTo>
                    <a:pt x="67" y="161"/>
                  </a:lnTo>
                  <a:lnTo>
                    <a:pt x="69" y="162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71" y="161"/>
                  </a:lnTo>
                  <a:lnTo>
                    <a:pt x="73" y="161"/>
                  </a:lnTo>
                  <a:lnTo>
                    <a:pt x="73" y="161"/>
                  </a:lnTo>
                  <a:lnTo>
                    <a:pt x="73" y="161"/>
                  </a:lnTo>
                  <a:lnTo>
                    <a:pt x="75" y="161"/>
                  </a:lnTo>
                  <a:lnTo>
                    <a:pt x="75" y="162"/>
                  </a:lnTo>
                  <a:lnTo>
                    <a:pt x="76" y="162"/>
                  </a:lnTo>
                  <a:lnTo>
                    <a:pt x="76" y="162"/>
                  </a:lnTo>
                  <a:lnTo>
                    <a:pt x="76" y="164"/>
                  </a:lnTo>
                  <a:lnTo>
                    <a:pt x="76" y="166"/>
                  </a:lnTo>
                  <a:lnTo>
                    <a:pt x="78" y="166"/>
                  </a:lnTo>
                  <a:lnTo>
                    <a:pt x="78" y="168"/>
                  </a:lnTo>
                  <a:lnTo>
                    <a:pt x="80" y="168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4" y="170"/>
                  </a:lnTo>
                  <a:lnTo>
                    <a:pt x="85" y="175"/>
                  </a:lnTo>
                  <a:lnTo>
                    <a:pt x="87" y="177"/>
                  </a:lnTo>
                  <a:lnTo>
                    <a:pt x="89" y="177"/>
                  </a:lnTo>
                  <a:lnTo>
                    <a:pt x="89" y="177"/>
                  </a:lnTo>
                  <a:lnTo>
                    <a:pt x="91" y="179"/>
                  </a:lnTo>
                  <a:lnTo>
                    <a:pt x="93" y="179"/>
                  </a:lnTo>
                  <a:lnTo>
                    <a:pt x="94" y="181"/>
                  </a:lnTo>
                  <a:lnTo>
                    <a:pt x="96" y="181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96" y="188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100" y="190"/>
                  </a:lnTo>
                  <a:lnTo>
                    <a:pt x="107" y="190"/>
                  </a:lnTo>
                  <a:lnTo>
                    <a:pt x="112" y="191"/>
                  </a:lnTo>
                  <a:lnTo>
                    <a:pt x="112" y="191"/>
                  </a:lnTo>
                  <a:lnTo>
                    <a:pt x="112" y="191"/>
                  </a:lnTo>
                  <a:lnTo>
                    <a:pt x="114" y="191"/>
                  </a:lnTo>
                  <a:lnTo>
                    <a:pt x="116" y="190"/>
                  </a:lnTo>
                  <a:lnTo>
                    <a:pt x="118" y="190"/>
                  </a:lnTo>
                  <a:lnTo>
                    <a:pt x="118" y="186"/>
                  </a:lnTo>
                  <a:lnTo>
                    <a:pt x="120" y="186"/>
                  </a:lnTo>
                  <a:lnTo>
                    <a:pt x="120" y="188"/>
                  </a:lnTo>
                  <a:lnTo>
                    <a:pt x="121" y="188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5" y="188"/>
                  </a:lnTo>
                  <a:lnTo>
                    <a:pt x="125" y="188"/>
                  </a:lnTo>
                  <a:lnTo>
                    <a:pt x="127" y="188"/>
                  </a:lnTo>
                  <a:lnTo>
                    <a:pt x="127" y="188"/>
                  </a:lnTo>
                  <a:lnTo>
                    <a:pt x="127" y="188"/>
                  </a:lnTo>
                  <a:lnTo>
                    <a:pt x="127" y="190"/>
                  </a:lnTo>
                  <a:lnTo>
                    <a:pt x="127" y="190"/>
                  </a:lnTo>
                  <a:lnTo>
                    <a:pt x="127" y="188"/>
                  </a:lnTo>
                  <a:lnTo>
                    <a:pt x="129" y="188"/>
                  </a:lnTo>
                  <a:lnTo>
                    <a:pt x="129" y="190"/>
                  </a:lnTo>
                  <a:lnTo>
                    <a:pt x="129" y="190"/>
                  </a:lnTo>
                  <a:lnTo>
                    <a:pt x="129" y="191"/>
                  </a:lnTo>
                  <a:lnTo>
                    <a:pt x="131" y="191"/>
                  </a:lnTo>
                  <a:lnTo>
                    <a:pt x="131" y="190"/>
                  </a:lnTo>
                  <a:lnTo>
                    <a:pt x="131" y="190"/>
                  </a:lnTo>
                  <a:lnTo>
                    <a:pt x="131" y="188"/>
                  </a:lnTo>
                  <a:lnTo>
                    <a:pt x="131" y="186"/>
                  </a:lnTo>
                  <a:lnTo>
                    <a:pt x="131" y="182"/>
                  </a:lnTo>
                  <a:lnTo>
                    <a:pt x="132" y="182"/>
                  </a:lnTo>
                  <a:lnTo>
                    <a:pt x="134" y="179"/>
                  </a:lnTo>
                  <a:lnTo>
                    <a:pt x="136" y="179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6" y="175"/>
                  </a:lnTo>
                  <a:lnTo>
                    <a:pt x="138" y="175"/>
                  </a:lnTo>
                  <a:lnTo>
                    <a:pt x="140" y="175"/>
                  </a:lnTo>
                  <a:lnTo>
                    <a:pt x="141" y="177"/>
                  </a:lnTo>
                  <a:lnTo>
                    <a:pt x="143" y="177"/>
                  </a:lnTo>
                  <a:lnTo>
                    <a:pt x="143" y="175"/>
                  </a:lnTo>
                  <a:lnTo>
                    <a:pt x="143" y="175"/>
                  </a:lnTo>
                  <a:lnTo>
                    <a:pt x="143" y="175"/>
                  </a:lnTo>
                  <a:lnTo>
                    <a:pt x="143" y="173"/>
                  </a:lnTo>
                  <a:lnTo>
                    <a:pt x="143" y="173"/>
                  </a:lnTo>
                  <a:lnTo>
                    <a:pt x="143" y="173"/>
                  </a:lnTo>
                  <a:lnTo>
                    <a:pt x="143" y="171"/>
                  </a:lnTo>
                  <a:lnTo>
                    <a:pt x="145" y="168"/>
                  </a:lnTo>
                  <a:lnTo>
                    <a:pt x="145" y="164"/>
                  </a:lnTo>
                  <a:lnTo>
                    <a:pt x="145" y="162"/>
                  </a:lnTo>
                  <a:lnTo>
                    <a:pt x="145" y="161"/>
                  </a:lnTo>
                  <a:lnTo>
                    <a:pt x="145" y="159"/>
                  </a:lnTo>
                  <a:lnTo>
                    <a:pt x="145" y="159"/>
                  </a:lnTo>
                  <a:lnTo>
                    <a:pt x="145" y="159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7" y="157"/>
                  </a:lnTo>
                  <a:lnTo>
                    <a:pt x="149" y="159"/>
                  </a:lnTo>
                  <a:lnTo>
                    <a:pt x="152" y="159"/>
                  </a:lnTo>
                  <a:lnTo>
                    <a:pt x="154" y="161"/>
                  </a:lnTo>
                  <a:lnTo>
                    <a:pt x="154" y="161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8" y="162"/>
                  </a:lnTo>
                  <a:lnTo>
                    <a:pt x="158" y="162"/>
                  </a:lnTo>
                  <a:lnTo>
                    <a:pt x="159" y="161"/>
                  </a:lnTo>
                  <a:lnTo>
                    <a:pt x="159" y="161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61" y="161"/>
                  </a:lnTo>
                  <a:lnTo>
                    <a:pt x="161" y="161"/>
                  </a:lnTo>
                  <a:lnTo>
                    <a:pt x="163" y="161"/>
                  </a:lnTo>
                  <a:lnTo>
                    <a:pt x="165" y="161"/>
                  </a:lnTo>
                  <a:lnTo>
                    <a:pt x="167" y="162"/>
                  </a:lnTo>
                  <a:lnTo>
                    <a:pt x="168" y="162"/>
                  </a:lnTo>
                  <a:lnTo>
                    <a:pt x="170" y="162"/>
                  </a:lnTo>
                  <a:lnTo>
                    <a:pt x="172" y="166"/>
                  </a:lnTo>
                  <a:lnTo>
                    <a:pt x="174" y="166"/>
                  </a:lnTo>
                  <a:lnTo>
                    <a:pt x="176" y="166"/>
                  </a:lnTo>
                  <a:lnTo>
                    <a:pt x="181" y="170"/>
                  </a:lnTo>
                  <a:lnTo>
                    <a:pt x="181" y="170"/>
                  </a:lnTo>
                  <a:lnTo>
                    <a:pt x="183" y="170"/>
                  </a:lnTo>
                  <a:lnTo>
                    <a:pt x="183" y="170"/>
                  </a:lnTo>
                  <a:lnTo>
                    <a:pt x="185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8" y="168"/>
                  </a:lnTo>
                  <a:lnTo>
                    <a:pt x="188" y="170"/>
                  </a:lnTo>
                  <a:lnTo>
                    <a:pt x="188" y="170"/>
                  </a:lnTo>
                  <a:lnTo>
                    <a:pt x="188" y="170"/>
                  </a:lnTo>
                  <a:lnTo>
                    <a:pt x="188" y="170"/>
                  </a:lnTo>
                  <a:lnTo>
                    <a:pt x="190" y="170"/>
                  </a:lnTo>
                  <a:lnTo>
                    <a:pt x="190" y="170"/>
                  </a:lnTo>
                  <a:lnTo>
                    <a:pt x="190" y="170"/>
                  </a:lnTo>
                  <a:lnTo>
                    <a:pt x="190" y="171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2" y="173"/>
                  </a:lnTo>
                  <a:lnTo>
                    <a:pt x="197" y="177"/>
                  </a:lnTo>
                  <a:lnTo>
                    <a:pt x="201" y="179"/>
                  </a:lnTo>
                  <a:lnTo>
                    <a:pt x="205" y="177"/>
                  </a:lnTo>
                  <a:lnTo>
                    <a:pt x="212" y="179"/>
                  </a:lnTo>
                  <a:lnTo>
                    <a:pt x="212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7" y="173"/>
                  </a:lnTo>
                  <a:lnTo>
                    <a:pt x="219" y="173"/>
                  </a:lnTo>
                  <a:lnTo>
                    <a:pt x="221" y="173"/>
                  </a:lnTo>
                  <a:lnTo>
                    <a:pt x="221" y="173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4" y="173"/>
                  </a:lnTo>
                  <a:lnTo>
                    <a:pt x="226" y="175"/>
                  </a:lnTo>
                  <a:lnTo>
                    <a:pt x="228" y="175"/>
                  </a:lnTo>
                  <a:lnTo>
                    <a:pt x="228" y="175"/>
                  </a:lnTo>
                  <a:lnTo>
                    <a:pt x="228" y="177"/>
                  </a:lnTo>
                  <a:lnTo>
                    <a:pt x="230" y="177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32" y="179"/>
                  </a:lnTo>
                  <a:lnTo>
                    <a:pt x="233" y="179"/>
                  </a:lnTo>
                  <a:lnTo>
                    <a:pt x="233" y="179"/>
                  </a:lnTo>
                  <a:lnTo>
                    <a:pt x="235" y="181"/>
                  </a:lnTo>
                  <a:lnTo>
                    <a:pt x="237" y="181"/>
                  </a:lnTo>
                  <a:lnTo>
                    <a:pt x="237" y="181"/>
                  </a:lnTo>
                  <a:lnTo>
                    <a:pt x="239" y="181"/>
                  </a:lnTo>
                  <a:lnTo>
                    <a:pt x="241" y="181"/>
                  </a:lnTo>
                  <a:lnTo>
                    <a:pt x="241" y="181"/>
                  </a:lnTo>
                  <a:lnTo>
                    <a:pt x="242" y="186"/>
                  </a:lnTo>
                  <a:lnTo>
                    <a:pt x="244" y="188"/>
                  </a:lnTo>
                  <a:lnTo>
                    <a:pt x="244" y="188"/>
                  </a:lnTo>
                  <a:lnTo>
                    <a:pt x="244" y="186"/>
                  </a:lnTo>
                  <a:lnTo>
                    <a:pt x="244" y="184"/>
                  </a:lnTo>
                  <a:lnTo>
                    <a:pt x="248" y="177"/>
                  </a:lnTo>
                  <a:lnTo>
                    <a:pt x="248" y="175"/>
                  </a:lnTo>
                  <a:lnTo>
                    <a:pt x="250" y="173"/>
                  </a:lnTo>
                  <a:lnTo>
                    <a:pt x="252" y="173"/>
                  </a:lnTo>
                  <a:lnTo>
                    <a:pt x="252" y="171"/>
                  </a:lnTo>
                  <a:lnTo>
                    <a:pt x="252" y="171"/>
                  </a:lnTo>
                  <a:lnTo>
                    <a:pt x="255" y="170"/>
                  </a:lnTo>
                  <a:lnTo>
                    <a:pt x="257" y="168"/>
                  </a:lnTo>
                  <a:lnTo>
                    <a:pt x="259" y="170"/>
                  </a:lnTo>
                  <a:lnTo>
                    <a:pt x="264" y="171"/>
                  </a:lnTo>
                  <a:lnTo>
                    <a:pt x="266" y="171"/>
                  </a:lnTo>
                  <a:lnTo>
                    <a:pt x="268" y="171"/>
                  </a:lnTo>
                  <a:lnTo>
                    <a:pt x="268" y="171"/>
                  </a:lnTo>
                  <a:lnTo>
                    <a:pt x="270" y="170"/>
                  </a:lnTo>
                  <a:lnTo>
                    <a:pt x="270" y="171"/>
                  </a:lnTo>
                  <a:lnTo>
                    <a:pt x="271" y="171"/>
                  </a:lnTo>
                  <a:lnTo>
                    <a:pt x="273" y="173"/>
                  </a:lnTo>
                  <a:lnTo>
                    <a:pt x="282" y="170"/>
                  </a:lnTo>
                  <a:lnTo>
                    <a:pt x="284" y="168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8" y="164"/>
                  </a:lnTo>
                  <a:lnTo>
                    <a:pt x="288" y="164"/>
                  </a:lnTo>
                  <a:lnTo>
                    <a:pt x="289" y="164"/>
                  </a:lnTo>
                  <a:lnTo>
                    <a:pt x="289" y="164"/>
                  </a:lnTo>
                  <a:lnTo>
                    <a:pt x="291" y="162"/>
                  </a:lnTo>
                  <a:lnTo>
                    <a:pt x="291" y="161"/>
                  </a:lnTo>
                  <a:lnTo>
                    <a:pt x="291" y="159"/>
                  </a:lnTo>
                  <a:lnTo>
                    <a:pt x="291" y="157"/>
                  </a:lnTo>
                  <a:lnTo>
                    <a:pt x="293" y="157"/>
                  </a:lnTo>
                  <a:lnTo>
                    <a:pt x="295" y="157"/>
                  </a:lnTo>
                  <a:lnTo>
                    <a:pt x="297" y="157"/>
                  </a:lnTo>
                  <a:lnTo>
                    <a:pt x="298" y="157"/>
                  </a:lnTo>
                  <a:lnTo>
                    <a:pt x="300" y="155"/>
                  </a:lnTo>
                  <a:lnTo>
                    <a:pt x="300" y="153"/>
                  </a:lnTo>
                  <a:lnTo>
                    <a:pt x="302" y="152"/>
                  </a:lnTo>
                  <a:lnTo>
                    <a:pt x="302" y="148"/>
                  </a:lnTo>
                  <a:lnTo>
                    <a:pt x="302" y="148"/>
                  </a:lnTo>
                  <a:lnTo>
                    <a:pt x="302" y="146"/>
                  </a:lnTo>
                  <a:lnTo>
                    <a:pt x="302" y="143"/>
                  </a:lnTo>
                  <a:lnTo>
                    <a:pt x="304" y="141"/>
                  </a:lnTo>
                  <a:lnTo>
                    <a:pt x="304" y="139"/>
                  </a:lnTo>
                  <a:lnTo>
                    <a:pt x="306" y="137"/>
                  </a:lnTo>
                  <a:lnTo>
                    <a:pt x="313" y="135"/>
                  </a:lnTo>
                  <a:lnTo>
                    <a:pt x="315" y="134"/>
                  </a:lnTo>
                  <a:lnTo>
                    <a:pt x="315" y="132"/>
                  </a:lnTo>
                  <a:lnTo>
                    <a:pt x="317" y="128"/>
                  </a:lnTo>
                  <a:lnTo>
                    <a:pt x="317" y="128"/>
                  </a:lnTo>
                  <a:lnTo>
                    <a:pt x="318" y="128"/>
                  </a:lnTo>
                  <a:lnTo>
                    <a:pt x="320" y="126"/>
                  </a:lnTo>
                  <a:lnTo>
                    <a:pt x="322" y="125"/>
                  </a:lnTo>
                  <a:lnTo>
                    <a:pt x="322" y="125"/>
                  </a:lnTo>
                  <a:lnTo>
                    <a:pt x="322" y="125"/>
                  </a:lnTo>
                  <a:lnTo>
                    <a:pt x="324" y="123"/>
                  </a:lnTo>
                  <a:lnTo>
                    <a:pt x="324" y="121"/>
                  </a:lnTo>
                  <a:lnTo>
                    <a:pt x="324" y="121"/>
                  </a:lnTo>
                  <a:lnTo>
                    <a:pt x="326" y="121"/>
                  </a:lnTo>
                  <a:lnTo>
                    <a:pt x="327" y="121"/>
                  </a:lnTo>
                  <a:lnTo>
                    <a:pt x="327" y="121"/>
                  </a:lnTo>
                  <a:lnTo>
                    <a:pt x="329" y="121"/>
                  </a:lnTo>
                  <a:lnTo>
                    <a:pt x="331" y="121"/>
                  </a:lnTo>
                  <a:lnTo>
                    <a:pt x="331" y="121"/>
                  </a:lnTo>
                  <a:lnTo>
                    <a:pt x="333" y="121"/>
                  </a:lnTo>
                  <a:lnTo>
                    <a:pt x="335" y="119"/>
                  </a:lnTo>
                  <a:lnTo>
                    <a:pt x="336" y="119"/>
                  </a:lnTo>
                  <a:lnTo>
                    <a:pt x="338" y="119"/>
                  </a:lnTo>
                  <a:lnTo>
                    <a:pt x="338" y="117"/>
                  </a:lnTo>
                  <a:lnTo>
                    <a:pt x="338" y="117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94C449D5-BFD3-8478-EB40-27051FFDB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25" y="5562601"/>
              <a:ext cx="185738" cy="109538"/>
            </a:xfrm>
            <a:custGeom>
              <a:avLst/>
              <a:gdLst>
                <a:gd name="T0" fmla="*/ 103 w 117"/>
                <a:gd name="T1" fmla="*/ 7 h 69"/>
                <a:gd name="T2" fmla="*/ 94 w 117"/>
                <a:gd name="T3" fmla="*/ 11 h 69"/>
                <a:gd name="T4" fmla="*/ 79 w 117"/>
                <a:gd name="T5" fmla="*/ 18 h 69"/>
                <a:gd name="T6" fmla="*/ 58 w 117"/>
                <a:gd name="T7" fmla="*/ 22 h 69"/>
                <a:gd name="T8" fmla="*/ 41 w 117"/>
                <a:gd name="T9" fmla="*/ 20 h 69"/>
                <a:gd name="T10" fmla="*/ 32 w 117"/>
                <a:gd name="T11" fmla="*/ 18 h 69"/>
                <a:gd name="T12" fmla="*/ 34 w 117"/>
                <a:gd name="T13" fmla="*/ 29 h 69"/>
                <a:gd name="T14" fmla="*/ 29 w 117"/>
                <a:gd name="T15" fmla="*/ 33 h 69"/>
                <a:gd name="T16" fmla="*/ 23 w 117"/>
                <a:gd name="T17" fmla="*/ 31 h 69"/>
                <a:gd name="T18" fmla="*/ 20 w 117"/>
                <a:gd name="T19" fmla="*/ 31 h 69"/>
                <a:gd name="T20" fmla="*/ 20 w 117"/>
                <a:gd name="T21" fmla="*/ 31 h 69"/>
                <a:gd name="T22" fmla="*/ 16 w 117"/>
                <a:gd name="T23" fmla="*/ 33 h 69"/>
                <a:gd name="T24" fmla="*/ 14 w 117"/>
                <a:gd name="T25" fmla="*/ 31 h 69"/>
                <a:gd name="T26" fmla="*/ 14 w 117"/>
                <a:gd name="T27" fmla="*/ 33 h 69"/>
                <a:gd name="T28" fmla="*/ 11 w 117"/>
                <a:gd name="T29" fmla="*/ 38 h 69"/>
                <a:gd name="T30" fmla="*/ 5 w 117"/>
                <a:gd name="T31" fmla="*/ 40 h 69"/>
                <a:gd name="T32" fmla="*/ 2 w 117"/>
                <a:gd name="T33" fmla="*/ 36 h 69"/>
                <a:gd name="T34" fmla="*/ 2 w 117"/>
                <a:gd name="T35" fmla="*/ 42 h 69"/>
                <a:gd name="T36" fmla="*/ 4 w 117"/>
                <a:gd name="T37" fmla="*/ 47 h 69"/>
                <a:gd name="T38" fmla="*/ 4 w 117"/>
                <a:gd name="T39" fmla="*/ 51 h 69"/>
                <a:gd name="T40" fmla="*/ 7 w 117"/>
                <a:gd name="T41" fmla="*/ 54 h 69"/>
                <a:gd name="T42" fmla="*/ 9 w 117"/>
                <a:gd name="T43" fmla="*/ 58 h 69"/>
                <a:gd name="T44" fmla="*/ 14 w 117"/>
                <a:gd name="T45" fmla="*/ 60 h 69"/>
                <a:gd name="T46" fmla="*/ 20 w 117"/>
                <a:gd name="T47" fmla="*/ 63 h 69"/>
                <a:gd name="T48" fmla="*/ 27 w 117"/>
                <a:gd name="T49" fmla="*/ 63 h 69"/>
                <a:gd name="T50" fmla="*/ 32 w 117"/>
                <a:gd name="T51" fmla="*/ 65 h 69"/>
                <a:gd name="T52" fmla="*/ 38 w 117"/>
                <a:gd name="T53" fmla="*/ 69 h 69"/>
                <a:gd name="T54" fmla="*/ 38 w 117"/>
                <a:gd name="T55" fmla="*/ 65 h 69"/>
                <a:gd name="T56" fmla="*/ 41 w 117"/>
                <a:gd name="T57" fmla="*/ 61 h 69"/>
                <a:gd name="T58" fmla="*/ 51 w 117"/>
                <a:gd name="T59" fmla="*/ 61 h 69"/>
                <a:gd name="T60" fmla="*/ 56 w 117"/>
                <a:gd name="T61" fmla="*/ 60 h 69"/>
                <a:gd name="T62" fmla="*/ 60 w 117"/>
                <a:gd name="T63" fmla="*/ 56 h 69"/>
                <a:gd name="T64" fmla="*/ 63 w 117"/>
                <a:gd name="T65" fmla="*/ 54 h 69"/>
                <a:gd name="T66" fmla="*/ 67 w 117"/>
                <a:gd name="T67" fmla="*/ 54 h 69"/>
                <a:gd name="T68" fmla="*/ 69 w 117"/>
                <a:gd name="T69" fmla="*/ 52 h 69"/>
                <a:gd name="T70" fmla="*/ 69 w 117"/>
                <a:gd name="T71" fmla="*/ 49 h 69"/>
                <a:gd name="T72" fmla="*/ 70 w 117"/>
                <a:gd name="T73" fmla="*/ 45 h 69"/>
                <a:gd name="T74" fmla="*/ 76 w 117"/>
                <a:gd name="T75" fmla="*/ 43 h 69"/>
                <a:gd name="T76" fmla="*/ 76 w 117"/>
                <a:gd name="T77" fmla="*/ 43 h 69"/>
                <a:gd name="T78" fmla="*/ 81 w 117"/>
                <a:gd name="T79" fmla="*/ 47 h 69"/>
                <a:gd name="T80" fmla="*/ 81 w 117"/>
                <a:gd name="T81" fmla="*/ 45 h 69"/>
                <a:gd name="T82" fmla="*/ 88 w 117"/>
                <a:gd name="T83" fmla="*/ 43 h 69"/>
                <a:gd name="T84" fmla="*/ 92 w 117"/>
                <a:gd name="T85" fmla="*/ 45 h 69"/>
                <a:gd name="T86" fmla="*/ 90 w 117"/>
                <a:gd name="T87" fmla="*/ 42 h 69"/>
                <a:gd name="T88" fmla="*/ 88 w 117"/>
                <a:gd name="T89" fmla="*/ 40 h 69"/>
                <a:gd name="T90" fmla="*/ 85 w 117"/>
                <a:gd name="T91" fmla="*/ 36 h 69"/>
                <a:gd name="T92" fmla="*/ 83 w 117"/>
                <a:gd name="T93" fmla="*/ 33 h 69"/>
                <a:gd name="T94" fmla="*/ 85 w 117"/>
                <a:gd name="T95" fmla="*/ 23 h 69"/>
                <a:gd name="T96" fmla="*/ 90 w 117"/>
                <a:gd name="T97" fmla="*/ 23 h 69"/>
                <a:gd name="T98" fmla="*/ 92 w 117"/>
                <a:gd name="T99" fmla="*/ 18 h 69"/>
                <a:gd name="T100" fmla="*/ 114 w 117"/>
                <a:gd name="T101" fmla="*/ 4 h 69"/>
                <a:gd name="T102" fmla="*/ 116 w 117"/>
                <a:gd name="T103" fmla="*/ 2 h 69"/>
                <a:gd name="T104" fmla="*/ 117 w 117"/>
                <a:gd name="T10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7" h="69">
                  <a:moveTo>
                    <a:pt x="116" y="0"/>
                  </a:moveTo>
                  <a:lnTo>
                    <a:pt x="114" y="2"/>
                  </a:lnTo>
                  <a:lnTo>
                    <a:pt x="105" y="5"/>
                  </a:lnTo>
                  <a:lnTo>
                    <a:pt x="103" y="7"/>
                  </a:lnTo>
                  <a:lnTo>
                    <a:pt x="101" y="7"/>
                  </a:lnTo>
                  <a:lnTo>
                    <a:pt x="97" y="9"/>
                  </a:lnTo>
                  <a:lnTo>
                    <a:pt x="96" y="9"/>
                  </a:lnTo>
                  <a:lnTo>
                    <a:pt x="94" y="11"/>
                  </a:lnTo>
                  <a:lnTo>
                    <a:pt x="90" y="13"/>
                  </a:lnTo>
                  <a:lnTo>
                    <a:pt x="88" y="14"/>
                  </a:lnTo>
                  <a:lnTo>
                    <a:pt x="81" y="16"/>
                  </a:lnTo>
                  <a:lnTo>
                    <a:pt x="79" y="18"/>
                  </a:lnTo>
                  <a:lnTo>
                    <a:pt x="76" y="16"/>
                  </a:lnTo>
                  <a:lnTo>
                    <a:pt x="74" y="18"/>
                  </a:lnTo>
                  <a:lnTo>
                    <a:pt x="70" y="20"/>
                  </a:lnTo>
                  <a:lnTo>
                    <a:pt x="58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43" y="20"/>
                  </a:lnTo>
                  <a:lnTo>
                    <a:pt x="41" y="20"/>
                  </a:lnTo>
                  <a:lnTo>
                    <a:pt x="38" y="20"/>
                  </a:lnTo>
                  <a:lnTo>
                    <a:pt x="36" y="20"/>
                  </a:lnTo>
                  <a:lnTo>
                    <a:pt x="34" y="18"/>
                  </a:lnTo>
                  <a:lnTo>
                    <a:pt x="32" y="18"/>
                  </a:lnTo>
                  <a:lnTo>
                    <a:pt x="34" y="20"/>
                  </a:lnTo>
                  <a:lnTo>
                    <a:pt x="34" y="22"/>
                  </a:lnTo>
                  <a:lnTo>
                    <a:pt x="34" y="25"/>
                  </a:lnTo>
                  <a:lnTo>
                    <a:pt x="34" y="29"/>
                  </a:lnTo>
                  <a:lnTo>
                    <a:pt x="32" y="31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7" y="33"/>
                  </a:lnTo>
                  <a:lnTo>
                    <a:pt x="25" y="33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4"/>
                  </a:lnTo>
                  <a:lnTo>
                    <a:pt x="13" y="36"/>
                  </a:lnTo>
                  <a:lnTo>
                    <a:pt x="11" y="38"/>
                  </a:lnTo>
                  <a:lnTo>
                    <a:pt x="9" y="38"/>
                  </a:lnTo>
                  <a:lnTo>
                    <a:pt x="7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4" y="38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5" y="52"/>
                  </a:lnTo>
                  <a:lnTo>
                    <a:pt x="7" y="54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8"/>
                  </a:lnTo>
                  <a:lnTo>
                    <a:pt x="9" y="58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3" y="60"/>
                  </a:lnTo>
                  <a:lnTo>
                    <a:pt x="14" y="60"/>
                  </a:lnTo>
                  <a:lnTo>
                    <a:pt x="14" y="61"/>
                  </a:lnTo>
                  <a:lnTo>
                    <a:pt x="16" y="61"/>
                  </a:lnTo>
                  <a:lnTo>
                    <a:pt x="18" y="63"/>
                  </a:lnTo>
                  <a:lnTo>
                    <a:pt x="20" y="63"/>
                  </a:lnTo>
                  <a:lnTo>
                    <a:pt x="22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7" y="63"/>
                  </a:lnTo>
                  <a:lnTo>
                    <a:pt x="29" y="63"/>
                  </a:lnTo>
                  <a:lnTo>
                    <a:pt x="31" y="63"/>
                  </a:lnTo>
                  <a:lnTo>
                    <a:pt x="32" y="63"/>
                  </a:lnTo>
                  <a:lnTo>
                    <a:pt x="32" y="65"/>
                  </a:lnTo>
                  <a:lnTo>
                    <a:pt x="34" y="67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7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3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5" y="60"/>
                  </a:lnTo>
                  <a:lnTo>
                    <a:pt x="49" y="61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2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60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3" y="56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7" y="54"/>
                  </a:lnTo>
                  <a:lnTo>
                    <a:pt x="67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49"/>
                  </a:lnTo>
                  <a:lnTo>
                    <a:pt x="69" y="47"/>
                  </a:lnTo>
                  <a:lnTo>
                    <a:pt x="70" y="47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8" y="43"/>
                  </a:lnTo>
                  <a:lnTo>
                    <a:pt x="78" y="45"/>
                  </a:lnTo>
                  <a:lnTo>
                    <a:pt x="79" y="45"/>
                  </a:lnTo>
                  <a:lnTo>
                    <a:pt x="81" y="47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3" y="45"/>
                  </a:lnTo>
                  <a:lnTo>
                    <a:pt x="83" y="43"/>
                  </a:lnTo>
                  <a:lnTo>
                    <a:pt x="85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3"/>
                  </a:lnTo>
                  <a:lnTo>
                    <a:pt x="90" y="43"/>
                  </a:lnTo>
                  <a:lnTo>
                    <a:pt x="90" y="42"/>
                  </a:lnTo>
                  <a:lnTo>
                    <a:pt x="90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7" y="38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4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22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94" y="16"/>
                  </a:lnTo>
                  <a:lnTo>
                    <a:pt x="105" y="11"/>
                  </a:lnTo>
                  <a:lnTo>
                    <a:pt x="110" y="7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32BA9699-7C48-1E31-4837-B0205AB7B1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42263" y="4418013"/>
              <a:ext cx="469900" cy="458788"/>
            </a:xfrm>
            <a:custGeom>
              <a:avLst/>
              <a:gdLst>
                <a:gd name="T0" fmla="*/ 195 w 296"/>
                <a:gd name="T1" fmla="*/ 264 h 289"/>
                <a:gd name="T2" fmla="*/ 159 w 296"/>
                <a:gd name="T3" fmla="*/ 255 h 289"/>
                <a:gd name="T4" fmla="*/ 220 w 296"/>
                <a:gd name="T5" fmla="*/ 262 h 289"/>
                <a:gd name="T6" fmla="*/ 202 w 296"/>
                <a:gd name="T7" fmla="*/ 255 h 289"/>
                <a:gd name="T8" fmla="*/ 197 w 296"/>
                <a:gd name="T9" fmla="*/ 257 h 289"/>
                <a:gd name="T10" fmla="*/ 227 w 296"/>
                <a:gd name="T11" fmla="*/ 271 h 289"/>
                <a:gd name="T12" fmla="*/ 128 w 296"/>
                <a:gd name="T13" fmla="*/ 244 h 289"/>
                <a:gd name="T14" fmla="*/ 159 w 296"/>
                <a:gd name="T15" fmla="*/ 235 h 289"/>
                <a:gd name="T16" fmla="*/ 146 w 296"/>
                <a:gd name="T17" fmla="*/ 226 h 289"/>
                <a:gd name="T18" fmla="*/ 146 w 296"/>
                <a:gd name="T19" fmla="*/ 226 h 289"/>
                <a:gd name="T20" fmla="*/ 144 w 296"/>
                <a:gd name="T21" fmla="*/ 215 h 289"/>
                <a:gd name="T22" fmla="*/ 94 w 296"/>
                <a:gd name="T23" fmla="*/ 195 h 289"/>
                <a:gd name="T24" fmla="*/ 97 w 296"/>
                <a:gd name="T25" fmla="*/ 186 h 289"/>
                <a:gd name="T26" fmla="*/ 69 w 296"/>
                <a:gd name="T27" fmla="*/ 170 h 289"/>
                <a:gd name="T28" fmla="*/ 78 w 296"/>
                <a:gd name="T29" fmla="*/ 181 h 289"/>
                <a:gd name="T30" fmla="*/ 56 w 296"/>
                <a:gd name="T31" fmla="*/ 157 h 289"/>
                <a:gd name="T32" fmla="*/ 38 w 296"/>
                <a:gd name="T33" fmla="*/ 136 h 289"/>
                <a:gd name="T34" fmla="*/ 81 w 296"/>
                <a:gd name="T35" fmla="*/ 156 h 289"/>
                <a:gd name="T36" fmla="*/ 78 w 296"/>
                <a:gd name="T37" fmla="*/ 150 h 289"/>
                <a:gd name="T38" fmla="*/ 45 w 296"/>
                <a:gd name="T39" fmla="*/ 132 h 289"/>
                <a:gd name="T40" fmla="*/ 67 w 296"/>
                <a:gd name="T41" fmla="*/ 130 h 289"/>
                <a:gd name="T42" fmla="*/ 61 w 296"/>
                <a:gd name="T43" fmla="*/ 127 h 289"/>
                <a:gd name="T44" fmla="*/ 41 w 296"/>
                <a:gd name="T45" fmla="*/ 98 h 289"/>
                <a:gd name="T46" fmla="*/ 43 w 296"/>
                <a:gd name="T47" fmla="*/ 127 h 289"/>
                <a:gd name="T48" fmla="*/ 67 w 296"/>
                <a:gd name="T49" fmla="*/ 112 h 289"/>
                <a:gd name="T50" fmla="*/ 50 w 296"/>
                <a:gd name="T51" fmla="*/ 101 h 289"/>
                <a:gd name="T52" fmla="*/ 274 w 296"/>
                <a:gd name="T53" fmla="*/ 76 h 289"/>
                <a:gd name="T54" fmla="*/ 269 w 296"/>
                <a:gd name="T55" fmla="*/ 54 h 289"/>
                <a:gd name="T56" fmla="*/ 256 w 296"/>
                <a:gd name="T57" fmla="*/ 49 h 289"/>
                <a:gd name="T58" fmla="*/ 217 w 296"/>
                <a:gd name="T59" fmla="*/ 53 h 289"/>
                <a:gd name="T60" fmla="*/ 190 w 296"/>
                <a:gd name="T61" fmla="*/ 38 h 289"/>
                <a:gd name="T62" fmla="*/ 162 w 296"/>
                <a:gd name="T63" fmla="*/ 11 h 289"/>
                <a:gd name="T64" fmla="*/ 137 w 296"/>
                <a:gd name="T65" fmla="*/ 4 h 289"/>
                <a:gd name="T66" fmla="*/ 125 w 296"/>
                <a:gd name="T67" fmla="*/ 18 h 289"/>
                <a:gd name="T68" fmla="*/ 108 w 296"/>
                <a:gd name="T69" fmla="*/ 45 h 289"/>
                <a:gd name="T70" fmla="*/ 90 w 296"/>
                <a:gd name="T71" fmla="*/ 62 h 289"/>
                <a:gd name="T72" fmla="*/ 74 w 296"/>
                <a:gd name="T73" fmla="*/ 76 h 289"/>
                <a:gd name="T74" fmla="*/ 50 w 296"/>
                <a:gd name="T75" fmla="*/ 69 h 289"/>
                <a:gd name="T76" fmla="*/ 13 w 296"/>
                <a:gd name="T77" fmla="*/ 78 h 289"/>
                <a:gd name="T78" fmla="*/ 4 w 296"/>
                <a:gd name="T79" fmla="*/ 91 h 289"/>
                <a:gd name="T80" fmla="*/ 14 w 296"/>
                <a:gd name="T81" fmla="*/ 112 h 289"/>
                <a:gd name="T82" fmla="*/ 20 w 296"/>
                <a:gd name="T83" fmla="*/ 123 h 289"/>
                <a:gd name="T84" fmla="*/ 27 w 296"/>
                <a:gd name="T85" fmla="*/ 118 h 289"/>
                <a:gd name="T86" fmla="*/ 31 w 296"/>
                <a:gd name="T87" fmla="*/ 112 h 289"/>
                <a:gd name="T88" fmla="*/ 52 w 296"/>
                <a:gd name="T89" fmla="*/ 91 h 289"/>
                <a:gd name="T90" fmla="*/ 90 w 296"/>
                <a:gd name="T91" fmla="*/ 156 h 289"/>
                <a:gd name="T92" fmla="*/ 85 w 296"/>
                <a:gd name="T93" fmla="*/ 163 h 289"/>
                <a:gd name="T94" fmla="*/ 108 w 296"/>
                <a:gd name="T95" fmla="*/ 194 h 289"/>
                <a:gd name="T96" fmla="*/ 121 w 296"/>
                <a:gd name="T97" fmla="*/ 204 h 289"/>
                <a:gd name="T98" fmla="*/ 123 w 296"/>
                <a:gd name="T99" fmla="*/ 213 h 289"/>
                <a:gd name="T100" fmla="*/ 152 w 296"/>
                <a:gd name="T101" fmla="*/ 213 h 289"/>
                <a:gd name="T102" fmla="*/ 197 w 296"/>
                <a:gd name="T103" fmla="*/ 248 h 289"/>
                <a:gd name="T104" fmla="*/ 191 w 296"/>
                <a:gd name="T105" fmla="*/ 231 h 289"/>
                <a:gd name="T106" fmla="*/ 137 w 296"/>
                <a:gd name="T107" fmla="*/ 166 h 289"/>
                <a:gd name="T108" fmla="*/ 126 w 296"/>
                <a:gd name="T109" fmla="*/ 138 h 289"/>
                <a:gd name="T110" fmla="*/ 112 w 296"/>
                <a:gd name="T111" fmla="*/ 119 h 289"/>
                <a:gd name="T112" fmla="*/ 143 w 296"/>
                <a:gd name="T113" fmla="*/ 109 h 289"/>
                <a:gd name="T114" fmla="*/ 173 w 296"/>
                <a:gd name="T115" fmla="*/ 92 h 289"/>
                <a:gd name="T116" fmla="*/ 200 w 296"/>
                <a:gd name="T117" fmla="*/ 100 h 289"/>
                <a:gd name="T118" fmla="*/ 236 w 296"/>
                <a:gd name="T119" fmla="*/ 100 h 289"/>
                <a:gd name="T120" fmla="*/ 260 w 296"/>
                <a:gd name="T121" fmla="*/ 105 h 289"/>
                <a:gd name="T122" fmla="*/ 282 w 296"/>
                <a:gd name="T123" fmla="*/ 114 h 289"/>
                <a:gd name="T124" fmla="*/ 291 w 296"/>
                <a:gd name="T125" fmla="*/ 98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6" h="289">
                  <a:moveTo>
                    <a:pt x="171" y="264"/>
                  </a:moveTo>
                  <a:lnTo>
                    <a:pt x="168" y="264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6"/>
                  </a:lnTo>
                  <a:lnTo>
                    <a:pt x="166" y="266"/>
                  </a:lnTo>
                  <a:lnTo>
                    <a:pt x="166" y="264"/>
                  </a:lnTo>
                  <a:lnTo>
                    <a:pt x="166" y="266"/>
                  </a:lnTo>
                  <a:lnTo>
                    <a:pt x="166" y="266"/>
                  </a:lnTo>
                  <a:lnTo>
                    <a:pt x="166" y="266"/>
                  </a:lnTo>
                  <a:lnTo>
                    <a:pt x="166" y="268"/>
                  </a:lnTo>
                  <a:lnTo>
                    <a:pt x="168" y="268"/>
                  </a:lnTo>
                  <a:lnTo>
                    <a:pt x="168" y="268"/>
                  </a:lnTo>
                  <a:lnTo>
                    <a:pt x="168" y="266"/>
                  </a:lnTo>
                  <a:lnTo>
                    <a:pt x="170" y="268"/>
                  </a:lnTo>
                  <a:lnTo>
                    <a:pt x="170" y="268"/>
                  </a:lnTo>
                  <a:lnTo>
                    <a:pt x="170" y="268"/>
                  </a:lnTo>
                  <a:lnTo>
                    <a:pt x="170" y="268"/>
                  </a:lnTo>
                  <a:lnTo>
                    <a:pt x="171" y="266"/>
                  </a:lnTo>
                  <a:lnTo>
                    <a:pt x="171" y="266"/>
                  </a:lnTo>
                  <a:lnTo>
                    <a:pt x="171" y="264"/>
                  </a:lnTo>
                  <a:lnTo>
                    <a:pt x="171" y="264"/>
                  </a:lnTo>
                  <a:close/>
                  <a:moveTo>
                    <a:pt x="209" y="268"/>
                  </a:moveTo>
                  <a:lnTo>
                    <a:pt x="208" y="266"/>
                  </a:lnTo>
                  <a:lnTo>
                    <a:pt x="208" y="268"/>
                  </a:lnTo>
                  <a:lnTo>
                    <a:pt x="204" y="266"/>
                  </a:lnTo>
                  <a:lnTo>
                    <a:pt x="206" y="266"/>
                  </a:lnTo>
                  <a:lnTo>
                    <a:pt x="206" y="266"/>
                  </a:lnTo>
                  <a:lnTo>
                    <a:pt x="206" y="266"/>
                  </a:lnTo>
                  <a:lnTo>
                    <a:pt x="204" y="266"/>
                  </a:lnTo>
                  <a:lnTo>
                    <a:pt x="202" y="266"/>
                  </a:lnTo>
                  <a:lnTo>
                    <a:pt x="200" y="264"/>
                  </a:lnTo>
                  <a:lnTo>
                    <a:pt x="197" y="264"/>
                  </a:lnTo>
                  <a:lnTo>
                    <a:pt x="197" y="264"/>
                  </a:lnTo>
                  <a:lnTo>
                    <a:pt x="197" y="264"/>
                  </a:lnTo>
                  <a:lnTo>
                    <a:pt x="195" y="264"/>
                  </a:lnTo>
                  <a:lnTo>
                    <a:pt x="195" y="264"/>
                  </a:lnTo>
                  <a:lnTo>
                    <a:pt x="195" y="264"/>
                  </a:lnTo>
                  <a:lnTo>
                    <a:pt x="193" y="264"/>
                  </a:lnTo>
                  <a:lnTo>
                    <a:pt x="195" y="262"/>
                  </a:lnTo>
                  <a:lnTo>
                    <a:pt x="195" y="262"/>
                  </a:lnTo>
                  <a:lnTo>
                    <a:pt x="195" y="262"/>
                  </a:lnTo>
                  <a:lnTo>
                    <a:pt x="193" y="262"/>
                  </a:lnTo>
                  <a:lnTo>
                    <a:pt x="193" y="264"/>
                  </a:lnTo>
                  <a:lnTo>
                    <a:pt x="191" y="264"/>
                  </a:lnTo>
                  <a:lnTo>
                    <a:pt x="191" y="264"/>
                  </a:lnTo>
                  <a:lnTo>
                    <a:pt x="193" y="266"/>
                  </a:lnTo>
                  <a:lnTo>
                    <a:pt x="193" y="266"/>
                  </a:lnTo>
                  <a:lnTo>
                    <a:pt x="195" y="264"/>
                  </a:lnTo>
                  <a:lnTo>
                    <a:pt x="213" y="269"/>
                  </a:lnTo>
                  <a:lnTo>
                    <a:pt x="211" y="269"/>
                  </a:lnTo>
                  <a:lnTo>
                    <a:pt x="209" y="268"/>
                  </a:lnTo>
                  <a:close/>
                  <a:moveTo>
                    <a:pt x="182" y="253"/>
                  </a:moveTo>
                  <a:lnTo>
                    <a:pt x="182" y="251"/>
                  </a:lnTo>
                  <a:lnTo>
                    <a:pt x="181" y="251"/>
                  </a:lnTo>
                  <a:lnTo>
                    <a:pt x="177" y="250"/>
                  </a:lnTo>
                  <a:lnTo>
                    <a:pt x="171" y="251"/>
                  </a:lnTo>
                  <a:lnTo>
                    <a:pt x="170" y="251"/>
                  </a:lnTo>
                  <a:lnTo>
                    <a:pt x="170" y="251"/>
                  </a:lnTo>
                  <a:lnTo>
                    <a:pt x="166" y="251"/>
                  </a:lnTo>
                  <a:lnTo>
                    <a:pt x="164" y="251"/>
                  </a:lnTo>
                  <a:lnTo>
                    <a:pt x="162" y="250"/>
                  </a:lnTo>
                  <a:lnTo>
                    <a:pt x="161" y="250"/>
                  </a:lnTo>
                  <a:lnTo>
                    <a:pt x="161" y="250"/>
                  </a:lnTo>
                  <a:lnTo>
                    <a:pt x="159" y="250"/>
                  </a:lnTo>
                  <a:lnTo>
                    <a:pt x="157" y="250"/>
                  </a:lnTo>
                  <a:lnTo>
                    <a:pt x="157" y="250"/>
                  </a:lnTo>
                  <a:lnTo>
                    <a:pt x="157" y="251"/>
                  </a:lnTo>
                  <a:lnTo>
                    <a:pt x="159" y="251"/>
                  </a:lnTo>
                  <a:lnTo>
                    <a:pt x="161" y="251"/>
                  </a:lnTo>
                  <a:lnTo>
                    <a:pt x="161" y="251"/>
                  </a:lnTo>
                  <a:lnTo>
                    <a:pt x="157" y="253"/>
                  </a:lnTo>
                  <a:lnTo>
                    <a:pt x="159" y="255"/>
                  </a:lnTo>
                  <a:lnTo>
                    <a:pt x="159" y="255"/>
                  </a:lnTo>
                  <a:lnTo>
                    <a:pt x="159" y="255"/>
                  </a:lnTo>
                  <a:lnTo>
                    <a:pt x="161" y="253"/>
                  </a:lnTo>
                  <a:lnTo>
                    <a:pt x="162" y="255"/>
                  </a:lnTo>
                  <a:lnTo>
                    <a:pt x="168" y="255"/>
                  </a:lnTo>
                  <a:lnTo>
                    <a:pt x="170" y="255"/>
                  </a:lnTo>
                  <a:lnTo>
                    <a:pt x="173" y="255"/>
                  </a:lnTo>
                  <a:lnTo>
                    <a:pt x="177" y="253"/>
                  </a:lnTo>
                  <a:lnTo>
                    <a:pt x="181" y="255"/>
                  </a:lnTo>
                  <a:lnTo>
                    <a:pt x="182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86" y="255"/>
                  </a:lnTo>
                  <a:lnTo>
                    <a:pt x="184" y="253"/>
                  </a:lnTo>
                  <a:lnTo>
                    <a:pt x="182" y="253"/>
                  </a:lnTo>
                  <a:close/>
                  <a:moveTo>
                    <a:pt x="249" y="286"/>
                  </a:moveTo>
                  <a:lnTo>
                    <a:pt x="249" y="286"/>
                  </a:lnTo>
                  <a:lnTo>
                    <a:pt x="247" y="286"/>
                  </a:lnTo>
                  <a:lnTo>
                    <a:pt x="247" y="284"/>
                  </a:lnTo>
                  <a:lnTo>
                    <a:pt x="247" y="284"/>
                  </a:lnTo>
                  <a:lnTo>
                    <a:pt x="247" y="282"/>
                  </a:lnTo>
                  <a:lnTo>
                    <a:pt x="247" y="280"/>
                  </a:lnTo>
                  <a:lnTo>
                    <a:pt x="247" y="278"/>
                  </a:lnTo>
                  <a:lnTo>
                    <a:pt x="246" y="278"/>
                  </a:lnTo>
                  <a:lnTo>
                    <a:pt x="246" y="278"/>
                  </a:lnTo>
                  <a:lnTo>
                    <a:pt x="244" y="278"/>
                  </a:lnTo>
                  <a:lnTo>
                    <a:pt x="244" y="278"/>
                  </a:lnTo>
                  <a:lnTo>
                    <a:pt x="244" y="278"/>
                  </a:lnTo>
                  <a:lnTo>
                    <a:pt x="244" y="277"/>
                  </a:lnTo>
                  <a:lnTo>
                    <a:pt x="242" y="277"/>
                  </a:lnTo>
                  <a:lnTo>
                    <a:pt x="240" y="277"/>
                  </a:lnTo>
                  <a:lnTo>
                    <a:pt x="238" y="275"/>
                  </a:lnTo>
                  <a:lnTo>
                    <a:pt x="236" y="275"/>
                  </a:lnTo>
                  <a:lnTo>
                    <a:pt x="227" y="268"/>
                  </a:lnTo>
                  <a:lnTo>
                    <a:pt x="226" y="268"/>
                  </a:lnTo>
                  <a:lnTo>
                    <a:pt x="224" y="266"/>
                  </a:lnTo>
                  <a:lnTo>
                    <a:pt x="222" y="264"/>
                  </a:lnTo>
                  <a:lnTo>
                    <a:pt x="220" y="262"/>
                  </a:lnTo>
                  <a:lnTo>
                    <a:pt x="218" y="262"/>
                  </a:lnTo>
                  <a:lnTo>
                    <a:pt x="218" y="262"/>
                  </a:lnTo>
                  <a:lnTo>
                    <a:pt x="217" y="259"/>
                  </a:lnTo>
                  <a:lnTo>
                    <a:pt x="217" y="259"/>
                  </a:lnTo>
                  <a:lnTo>
                    <a:pt x="217" y="257"/>
                  </a:lnTo>
                  <a:lnTo>
                    <a:pt x="217" y="257"/>
                  </a:lnTo>
                  <a:lnTo>
                    <a:pt x="217" y="255"/>
                  </a:lnTo>
                  <a:lnTo>
                    <a:pt x="215" y="255"/>
                  </a:lnTo>
                  <a:lnTo>
                    <a:pt x="215" y="255"/>
                  </a:lnTo>
                  <a:lnTo>
                    <a:pt x="215" y="255"/>
                  </a:lnTo>
                  <a:lnTo>
                    <a:pt x="213" y="255"/>
                  </a:lnTo>
                  <a:lnTo>
                    <a:pt x="211" y="255"/>
                  </a:lnTo>
                  <a:lnTo>
                    <a:pt x="211" y="255"/>
                  </a:lnTo>
                  <a:lnTo>
                    <a:pt x="209" y="255"/>
                  </a:lnTo>
                  <a:lnTo>
                    <a:pt x="209" y="255"/>
                  </a:lnTo>
                  <a:lnTo>
                    <a:pt x="208" y="257"/>
                  </a:lnTo>
                  <a:lnTo>
                    <a:pt x="209" y="257"/>
                  </a:lnTo>
                  <a:lnTo>
                    <a:pt x="211" y="257"/>
                  </a:lnTo>
                  <a:lnTo>
                    <a:pt x="211" y="257"/>
                  </a:lnTo>
                  <a:lnTo>
                    <a:pt x="211" y="259"/>
                  </a:lnTo>
                  <a:lnTo>
                    <a:pt x="211" y="259"/>
                  </a:lnTo>
                  <a:lnTo>
                    <a:pt x="213" y="260"/>
                  </a:lnTo>
                  <a:lnTo>
                    <a:pt x="211" y="260"/>
                  </a:lnTo>
                  <a:lnTo>
                    <a:pt x="209" y="257"/>
                  </a:lnTo>
                  <a:lnTo>
                    <a:pt x="208" y="259"/>
                  </a:lnTo>
                  <a:lnTo>
                    <a:pt x="208" y="259"/>
                  </a:lnTo>
                  <a:lnTo>
                    <a:pt x="208" y="257"/>
                  </a:lnTo>
                  <a:lnTo>
                    <a:pt x="206" y="257"/>
                  </a:lnTo>
                  <a:lnTo>
                    <a:pt x="204" y="255"/>
                  </a:lnTo>
                  <a:lnTo>
                    <a:pt x="204" y="255"/>
                  </a:lnTo>
                  <a:lnTo>
                    <a:pt x="204" y="255"/>
                  </a:lnTo>
                  <a:lnTo>
                    <a:pt x="202" y="255"/>
                  </a:lnTo>
                  <a:lnTo>
                    <a:pt x="202" y="255"/>
                  </a:lnTo>
                  <a:lnTo>
                    <a:pt x="202" y="255"/>
                  </a:lnTo>
                  <a:lnTo>
                    <a:pt x="202" y="255"/>
                  </a:lnTo>
                  <a:lnTo>
                    <a:pt x="202" y="255"/>
                  </a:lnTo>
                  <a:lnTo>
                    <a:pt x="202" y="255"/>
                  </a:lnTo>
                  <a:lnTo>
                    <a:pt x="200" y="255"/>
                  </a:lnTo>
                  <a:lnTo>
                    <a:pt x="200" y="255"/>
                  </a:lnTo>
                  <a:lnTo>
                    <a:pt x="200" y="255"/>
                  </a:lnTo>
                  <a:lnTo>
                    <a:pt x="199" y="255"/>
                  </a:lnTo>
                  <a:lnTo>
                    <a:pt x="199" y="255"/>
                  </a:lnTo>
                  <a:lnTo>
                    <a:pt x="199" y="255"/>
                  </a:lnTo>
                  <a:lnTo>
                    <a:pt x="199" y="255"/>
                  </a:lnTo>
                  <a:lnTo>
                    <a:pt x="199" y="253"/>
                  </a:lnTo>
                  <a:lnTo>
                    <a:pt x="199" y="253"/>
                  </a:lnTo>
                  <a:lnTo>
                    <a:pt x="199" y="253"/>
                  </a:lnTo>
                  <a:lnTo>
                    <a:pt x="199" y="253"/>
                  </a:lnTo>
                  <a:lnTo>
                    <a:pt x="197" y="251"/>
                  </a:lnTo>
                  <a:lnTo>
                    <a:pt x="195" y="251"/>
                  </a:lnTo>
                  <a:lnTo>
                    <a:pt x="188" y="248"/>
                  </a:lnTo>
                  <a:lnTo>
                    <a:pt x="184" y="248"/>
                  </a:lnTo>
                  <a:lnTo>
                    <a:pt x="179" y="248"/>
                  </a:lnTo>
                  <a:lnTo>
                    <a:pt x="179" y="248"/>
                  </a:lnTo>
                  <a:lnTo>
                    <a:pt x="177" y="246"/>
                  </a:lnTo>
                  <a:lnTo>
                    <a:pt x="175" y="246"/>
                  </a:lnTo>
                  <a:lnTo>
                    <a:pt x="175" y="246"/>
                  </a:lnTo>
                  <a:lnTo>
                    <a:pt x="175" y="246"/>
                  </a:lnTo>
                  <a:lnTo>
                    <a:pt x="177" y="246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7" y="250"/>
                  </a:lnTo>
                  <a:lnTo>
                    <a:pt x="177" y="250"/>
                  </a:lnTo>
                  <a:lnTo>
                    <a:pt x="179" y="250"/>
                  </a:lnTo>
                  <a:lnTo>
                    <a:pt x="181" y="250"/>
                  </a:lnTo>
                  <a:lnTo>
                    <a:pt x="186" y="250"/>
                  </a:lnTo>
                  <a:lnTo>
                    <a:pt x="186" y="250"/>
                  </a:lnTo>
                  <a:lnTo>
                    <a:pt x="186" y="251"/>
                  </a:lnTo>
                  <a:lnTo>
                    <a:pt x="188" y="251"/>
                  </a:lnTo>
                  <a:lnTo>
                    <a:pt x="190" y="251"/>
                  </a:lnTo>
                  <a:lnTo>
                    <a:pt x="193" y="255"/>
                  </a:lnTo>
                  <a:lnTo>
                    <a:pt x="197" y="255"/>
                  </a:lnTo>
                  <a:lnTo>
                    <a:pt x="197" y="257"/>
                  </a:lnTo>
                  <a:lnTo>
                    <a:pt x="197" y="259"/>
                  </a:lnTo>
                  <a:lnTo>
                    <a:pt x="202" y="259"/>
                  </a:lnTo>
                  <a:lnTo>
                    <a:pt x="204" y="260"/>
                  </a:lnTo>
                  <a:lnTo>
                    <a:pt x="208" y="260"/>
                  </a:lnTo>
                  <a:lnTo>
                    <a:pt x="209" y="262"/>
                  </a:lnTo>
                  <a:lnTo>
                    <a:pt x="211" y="262"/>
                  </a:lnTo>
                  <a:lnTo>
                    <a:pt x="213" y="264"/>
                  </a:lnTo>
                  <a:lnTo>
                    <a:pt x="213" y="264"/>
                  </a:lnTo>
                  <a:lnTo>
                    <a:pt x="213" y="264"/>
                  </a:lnTo>
                  <a:lnTo>
                    <a:pt x="213" y="264"/>
                  </a:lnTo>
                  <a:lnTo>
                    <a:pt x="213" y="264"/>
                  </a:lnTo>
                  <a:lnTo>
                    <a:pt x="213" y="264"/>
                  </a:lnTo>
                  <a:lnTo>
                    <a:pt x="213" y="264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1" y="260"/>
                  </a:lnTo>
                  <a:lnTo>
                    <a:pt x="211" y="260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5" y="262"/>
                  </a:lnTo>
                  <a:lnTo>
                    <a:pt x="215" y="262"/>
                  </a:lnTo>
                  <a:lnTo>
                    <a:pt x="215" y="262"/>
                  </a:lnTo>
                  <a:lnTo>
                    <a:pt x="215" y="262"/>
                  </a:lnTo>
                  <a:lnTo>
                    <a:pt x="215" y="262"/>
                  </a:lnTo>
                  <a:lnTo>
                    <a:pt x="215" y="262"/>
                  </a:lnTo>
                  <a:lnTo>
                    <a:pt x="217" y="262"/>
                  </a:lnTo>
                  <a:lnTo>
                    <a:pt x="218" y="264"/>
                  </a:lnTo>
                  <a:lnTo>
                    <a:pt x="220" y="264"/>
                  </a:lnTo>
                  <a:lnTo>
                    <a:pt x="220" y="264"/>
                  </a:lnTo>
                  <a:lnTo>
                    <a:pt x="220" y="266"/>
                  </a:lnTo>
                  <a:lnTo>
                    <a:pt x="224" y="268"/>
                  </a:lnTo>
                  <a:lnTo>
                    <a:pt x="226" y="269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71"/>
                  </a:lnTo>
                  <a:lnTo>
                    <a:pt x="229" y="271"/>
                  </a:lnTo>
                  <a:lnTo>
                    <a:pt x="227" y="271"/>
                  </a:lnTo>
                  <a:lnTo>
                    <a:pt x="229" y="273"/>
                  </a:lnTo>
                  <a:lnTo>
                    <a:pt x="229" y="273"/>
                  </a:lnTo>
                  <a:lnTo>
                    <a:pt x="229" y="273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5"/>
                  </a:lnTo>
                  <a:lnTo>
                    <a:pt x="236" y="275"/>
                  </a:lnTo>
                  <a:lnTo>
                    <a:pt x="236" y="275"/>
                  </a:lnTo>
                  <a:lnTo>
                    <a:pt x="236" y="277"/>
                  </a:lnTo>
                  <a:lnTo>
                    <a:pt x="236" y="277"/>
                  </a:lnTo>
                  <a:lnTo>
                    <a:pt x="236" y="278"/>
                  </a:lnTo>
                  <a:lnTo>
                    <a:pt x="236" y="278"/>
                  </a:lnTo>
                  <a:lnTo>
                    <a:pt x="246" y="284"/>
                  </a:lnTo>
                  <a:lnTo>
                    <a:pt x="246" y="286"/>
                  </a:lnTo>
                  <a:lnTo>
                    <a:pt x="247" y="286"/>
                  </a:lnTo>
                  <a:lnTo>
                    <a:pt x="249" y="286"/>
                  </a:lnTo>
                  <a:lnTo>
                    <a:pt x="249" y="287"/>
                  </a:lnTo>
                  <a:lnTo>
                    <a:pt x="251" y="289"/>
                  </a:lnTo>
                  <a:lnTo>
                    <a:pt x="251" y="287"/>
                  </a:lnTo>
                  <a:lnTo>
                    <a:pt x="249" y="287"/>
                  </a:lnTo>
                  <a:lnTo>
                    <a:pt x="249" y="286"/>
                  </a:lnTo>
                  <a:close/>
                  <a:moveTo>
                    <a:pt x="137" y="244"/>
                  </a:move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4" y="242"/>
                  </a:lnTo>
                  <a:lnTo>
                    <a:pt x="132" y="242"/>
                  </a:lnTo>
                  <a:lnTo>
                    <a:pt x="130" y="244"/>
                  </a:lnTo>
                  <a:lnTo>
                    <a:pt x="128" y="244"/>
                  </a:lnTo>
                  <a:lnTo>
                    <a:pt x="128" y="244"/>
                  </a:lnTo>
                  <a:lnTo>
                    <a:pt x="128" y="244"/>
                  </a:lnTo>
                  <a:lnTo>
                    <a:pt x="128" y="244"/>
                  </a:lnTo>
                  <a:lnTo>
                    <a:pt x="128" y="244"/>
                  </a:lnTo>
                  <a:lnTo>
                    <a:pt x="128" y="246"/>
                  </a:lnTo>
                  <a:lnTo>
                    <a:pt x="128" y="246"/>
                  </a:lnTo>
                  <a:lnTo>
                    <a:pt x="130" y="246"/>
                  </a:lnTo>
                  <a:lnTo>
                    <a:pt x="130" y="246"/>
                  </a:lnTo>
                  <a:lnTo>
                    <a:pt x="130" y="248"/>
                  </a:lnTo>
                  <a:lnTo>
                    <a:pt x="128" y="248"/>
                  </a:lnTo>
                  <a:lnTo>
                    <a:pt x="130" y="248"/>
                  </a:lnTo>
                  <a:lnTo>
                    <a:pt x="132" y="248"/>
                  </a:lnTo>
                  <a:lnTo>
                    <a:pt x="135" y="246"/>
                  </a:lnTo>
                  <a:lnTo>
                    <a:pt x="137" y="246"/>
                  </a:lnTo>
                  <a:lnTo>
                    <a:pt x="137" y="246"/>
                  </a:lnTo>
                  <a:lnTo>
                    <a:pt x="137" y="246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close/>
                  <a:moveTo>
                    <a:pt x="161" y="241"/>
                  </a:moveTo>
                  <a:lnTo>
                    <a:pt x="184" y="241"/>
                  </a:lnTo>
                  <a:lnTo>
                    <a:pt x="182" y="239"/>
                  </a:lnTo>
                  <a:lnTo>
                    <a:pt x="181" y="239"/>
                  </a:lnTo>
                  <a:lnTo>
                    <a:pt x="177" y="239"/>
                  </a:lnTo>
                  <a:lnTo>
                    <a:pt x="173" y="239"/>
                  </a:lnTo>
                  <a:lnTo>
                    <a:pt x="170" y="239"/>
                  </a:lnTo>
                  <a:lnTo>
                    <a:pt x="170" y="239"/>
                  </a:lnTo>
                  <a:lnTo>
                    <a:pt x="168" y="237"/>
                  </a:lnTo>
                  <a:lnTo>
                    <a:pt x="168" y="239"/>
                  </a:lnTo>
                  <a:lnTo>
                    <a:pt x="162" y="239"/>
                  </a:lnTo>
                  <a:lnTo>
                    <a:pt x="162" y="239"/>
                  </a:lnTo>
                  <a:lnTo>
                    <a:pt x="161" y="237"/>
                  </a:lnTo>
                  <a:lnTo>
                    <a:pt x="159" y="237"/>
                  </a:lnTo>
                  <a:lnTo>
                    <a:pt x="159" y="237"/>
                  </a:lnTo>
                  <a:lnTo>
                    <a:pt x="161" y="237"/>
                  </a:lnTo>
                  <a:lnTo>
                    <a:pt x="161" y="237"/>
                  </a:lnTo>
                  <a:lnTo>
                    <a:pt x="161" y="237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57" y="233"/>
                  </a:lnTo>
                  <a:lnTo>
                    <a:pt x="155" y="233"/>
                  </a:lnTo>
                  <a:lnTo>
                    <a:pt x="155" y="233"/>
                  </a:lnTo>
                  <a:lnTo>
                    <a:pt x="155" y="233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3" y="233"/>
                  </a:lnTo>
                  <a:lnTo>
                    <a:pt x="152" y="233"/>
                  </a:lnTo>
                  <a:lnTo>
                    <a:pt x="152" y="233"/>
                  </a:lnTo>
                  <a:lnTo>
                    <a:pt x="152" y="233"/>
                  </a:lnTo>
                  <a:lnTo>
                    <a:pt x="153" y="235"/>
                  </a:lnTo>
                  <a:lnTo>
                    <a:pt x="155" y="237"/>
                  </a:lnTo>
                  <a:lnTo>
                    <a:pt x="153" y="237"/>
                  </a:lnTo>
                  <a:lnTo>
                    <a:pt x="152" y="235"/>
                  </a:lnTo>
                  <a:lnTo>
                    <a:pt x="150" y="233"/>
                  </a:lnTo>
                  <a:lnTo>
                    <a:pt x="148" y="235"/>
                  </a:lnTo>
                  <a:lnTo>
                    <a:pt x="148" y="235"/>
                  </a:lnTo>
                  <a:lnTo>
                    <a:pt x="148" y="235"/>
                  </a:lnTo>
                  <a:lnTo>
                    <a:pt x="148" y="235"/>
                  </a:lnTo>
                  <a:lnTo>
                    <a:pt x="148" y="235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4" y="235"/>
                  </a:lnTo>
                  <a:lnTo>
                    <a:pt x="144" y="235"/>
                  </a:lnTo>
                  <a:lnTo>
                    <a:pt x="144" y="235"/>
                  </a:lnTo>
                  <a:lnTo>
                    <a:pt x="144" y="235"/>
                  </a:lnTo>
                  <a:lnTo>
                    <a:pt x="146" y="237"/>
                  </a:lnTo>
                  <a:lnTo>
                    <a:pt x="146" y="237"/>
                  </a:lnTo>
                  <a:lnTo>
                    <a:pt x="148" y="237"/>
                  </a:lnTo>
                  <a:lnTo>
                    <a:pt x="150" y="237"/>
                  </a:lnTo>
                  <a:lnTo>
                    <a:pt x="153" y="239"/>
                  </a:lnTo>
                  <a:lnTo>
                    <a:pt x="159" y="241"/>
                  </a:lnTo>
                  <a:lnTo>
                    <a:pt x="161" y="241"/>
                  </a:lnTo>
                  <a:close/>
                  <a:moveTo>
                    <a:pt x="146" y="226"/>
                  </a:moveTo>
                  <a:lnTo>
                    <a:pt x="146" y="226"/>
                  </a:lnTo>
                  <a:lnTo>
                    <a:pt x="146" y="226"/>
                  </a:lnTo>
                  <a:lnTo>
                    <a:pt x="146" y="226"/>
                  </a:lnTo>
                  <a:lnTo>
                    <a:pt x="146" y="226"/>
                  </a:lnTo>
                  <a:lnTo>
                    <a:pt x="146" y="226"/>
                  </a:lnTo>
                  <a:lnTo>
                    <a:pt x="146" y="228"/>
                  </a:lnTo>
                  <a:lnTo>
                    <a:pt x="150" y="230"/>
                  </a:lnTo>
                  <a:lnTo>
                    <a:pt x="153" y="231"/>
                  </a:lnTo>
                  <a:lnTo>
                    <a:pt x="157" y="231"/>
                  </a:lnTo>
                  <a:lnTo>
                    <a:pt x="166" y="231"/>
                  </a:lnTo>
                  <a:lnTo>
                    <a:pt x="168" y="230"/>
                  </a:lnTo>
                  <a:lnTo>
                    <a:pt x="168" y="230"/>
                  </a:lnTo>
                  <a:lnTo>
                    <a:pt x="170" y="230"/>
                  </a:lnTo>
                  <a:lnTo>
                    <a:pt x="170" y="230"/>
                  </a:lnTo>
                  <a:lnTo>
                    <a:pt x="170" y="228"/>
                  </a:lnTo>
                  <a:lnTo>
                    <a:pt x="170" y="228"/>
                  </a:lnTo>
                  <a:lnTo>
                    <a:pt x="170" y="226"/>
                  </a:lnTo>
                  <a:lnTo>
                    <a:pt x="168" y="228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6" y="226"/>
                  </a:lnTo>
                  <a:lnTo>
                    <a:pt x="166" y="226"/>
                  </a:lnTo>
                  <a:lnTo>
                    <a:pt x="166" y="226"/>
                  </a:lnTo>
                  <a:lnTo>
                    <a:pt x="166" y="226"/>
                  </a:lnTo>
                  <a:lnTo>
                    <a:pt x="164" y="226"/>
                  </a:lnTo>
                  <a:lnTo>
                    <a:pt x="166" y="226"/>
                  </a:lnTo>
                  <a:lnTo>
                    <a:pt x="166" y="224"/>
                  </a:lnTo>
                  <a:lnTo>
                    <a:pt x="159" y="222"/>
                  </a:lnTo>
                  <a:lnTo>
                    <a:pt x="150" y="222"/>
                  </a:lnTo>
                  <a:lnTo>
                    <a:pt x="148" y="222"/>
                  </a:lnTo>
                  <a:lnTo>
                    <a:pt x="148" y="222"/>
                  </a:lnTo>
                  <a:lnTo>
                    <a:pt x="146" y="222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6" y="226"/>
                  </a:lnTo>
                  <a:lnTo>
                    <a:pt x="146" y="226"/>
                  </a:lnTo>
                  <a:lnTo>
                    <a:pt x="148" y="226"/>
                  </a:lnTo>
                  <a:lnTo>
                    <a:pt x="146" y="226"/>
                  </a:lnTo>
                  <a:lnTo>
                    <a:pt x="146" y="226"/>
                  </a:lnTo>
                  <a:close/>
                  <a:moveTo>
                    <a:pt x="144" y="226"/>
                  </a:moveTo>
                  <a:lnTo>
                    <a:pt x="144" y="224"/>
                  </a:lnTo>
                  <a:lnTo>
                    <a:pt x="143" y="222"/>
                  </a:lnTo>
                  <a:lnTo>
                    <a:pt x="143" y="222"/>
                  </a:lnTo>
                  <a:lnTo>
                    <a:pt x="141" y="222"/>
                  </a:lnTo>
                  <a:lnTo>
                    <a:pt x="141" y="221"/>
                  </a:lnTo>
                  <a:lnTo>
                    <a:pt x="139" y="221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7" y="222"/>
                  </a:lnTo>
                  <a:lnTo>
                    <a:pt x="139" y="224"/>
                  </a:lnTo>
                  <a:lnTo>
                    <a:pt x="143" y="226"/>
                  </a:lnTo>
                  <a:lnTo>
                    <a:pt x="144" y="226"/>
                  </a:lnTo>
                  <a:lnTo>
                    <a:pt x="144" y="226"/>
                  </a:lnTo>
                  <a:close/>
                  <a:moveTo>
                    <a:pt x="137" y="215"/>
                  </a:moveTo>
                  <a:lnTo>
                    <a:pt x="137" y="215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3" y="215"/>
                  </a:lnTo>
                  <a:lnTo>
                    <a:pt x="144" y="215"/>
                  </a:lnTo>
                  <a:lnTo>
                    <a:pt x="144" y="215"/>
                  </a:lnTo>
                  <a:lnTo>
                    <a:pt x="143" y="215"/>
                  </a:lnTo>
                  <a:lnTo>
                    <a:pt x="141" y="213"/>
                  </a:lnTo>
                  <a:lnTo>
                    <a:pt x="139" y="213"/>
                  </a:lnTo>
                  <a:lnTo>
                    <a:pt x="137" y="213"/>
                  </a:lnTo>
                  <a:lnTo>
                    <a:pt x="137" y="215"/>
                  </a:lnTo>
                  <a:lnTo>
                    <a:pt x="137" y="215"/>
                  </a:lnTo>
                  <a:lnTo>
                    <a:pt x="137" y="215"/>
                  </a:lnTo>
                  <a:close/>
                  <a:moveTo>
                    <a:pt x="108" y="204"/>
                  </a:moveTo>
                  <a:lnTo>
                    <a:pt x="108" y="203"/>
                  </a:lnTo>
                  <a:lnTo>
                    <a:pt x="108" y="203"/>
                  </a:lnTo>
                  <a:lnTo>
                    <a:pt x="106" y="203"/>
                  </a:lnTo>
                  <a:lnTo>
                    <a:pt x="106" y="203"/>
                  </a:lnTo>
                  <a:lnTo>
                    <a:pt x="106" y="203"/>
                  </a:lnTo>
                  <a:lnTo>
                    <a:pt x="105" y="203"/>
                  </a:lnTo>
                  <a:lnTo>
                    <a:pt x="106" y="203"/>
                  </a:lnTo>
                  <a:lnTo>
                    <a:pt x="108" y="204"/>
                  </a:lnTo>
                  <a:lnTo>
                    <a:pt x="108" y="206"/>
                  </a:lnTo>
                  <a:lnTo>
                    <a:pt x="110" y="204"/>
                  </a:lnTo>
                  <a:lnTo>
                    <a:pt x="112" y="206"/>
                  </a:lnTo>
                  <a:lnTo>
                    <a:pt x="108" y="204"/>
                  </a:lnTo>
                  <a:lnTo>
                    <a:pt x="108" y="204"/>
                  </a:lnTo>
                  <a:close/>
                  <a:moveTo>
                    <a:pt x="92" y="194"/>
                  </a:moveTo>
                  <a:lnTo>
                    <a:pt x="92" y="194"/>
                  </a:lnTo>
                  <a:lnTo>
                    <a:pt x="88" y="190"/>
                  </a:lnTo>
                  <a:lnTo>
                    <a:pt x="88" y="190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90"/>
                  </a:lnTo>
                  <a:lnTo>
                    <a:pt x="88" y="190"/>
                  </a:lnTo>
                  <a:lnTo>
                    <a:pt x="88" y="192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92" y="194"/>
                  </a:lnTo>
                  <a:lnTo>
                    <a:pt x="94" y="195"/>
                  </a:lnTo>
                  <a:lnTo>
                    <a:pt x="96" y="195"/>
                  </a:lnTo>
                  <a:lnTo>
                    <a:pt x="94" y="195"/>
                  </a:lnTo>
                  <a:lnTo>
                    <a:pt x="92" y="194"/>
                  </a:lnTo>
                  <a:close/>
                  <a:moveTo>
                    <a:pt x="97" y="186"/>
                  </a:moveTo>
                  <a:lnTo>
                    <a:pt x="96" y="186"/>
                  </a:lnTo>
                  <a:lnTo>
                    <a:pt x="96" y="185"/>
                  </a:lnTo>
                  <a:lnTo>
                    <a:pt x="96" y="185"/>
                  </a:lnTo>
                  <a:lnTo>
                    <a:pt x="96" y="185"/>
                  </a:lnTo>
                  <a:lnTo>
                    <a:pt x="96" y="185"/>
                  </a:lnTo>
                  <a:lnTo>
                    <a:pt x="94" y="185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2" y="183"/>
                  </a:lnTo>
                  <a:lnTo>
                    <a:pt x="90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81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2" y="185"/>
                  </a:lnTo>
                  <a:lnTo>
                    <a:pt x="92" y="185"/>
                  </a:lnTo>
                  <a:lnTo>
                    <a:pt x="94" y="185"/>
                  </a:lnTo>
                  <a:lnTo>
                    <a:pt x="92" y="185"/>
                  </a:lnTo>
                  <a:lnTo>
                    <a:pt x="92" y="185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96" y="188"/>
                  </a:lnTo>
                  <a:lnTo>
                    <a:pt x="96" y="188"/>
                  </a:lnTo>
                  <a:lnTo>
                    <a:pt x="96" y="188"/>
                  </a:lnTo>
                  <a:lnTo>
                    <a:pt x="97" y="188"/>
                  </a:lnTo>
                  <a:lnTo>
                    <a:pt x="97" y="188"/>
                  </a:lnTo>
                  <a:lnTo>
                    <a:pt x="97" y="188"/>
                  </a:lnTo>
                  <a:lnTo>
                    <a:pt x="97" y="188"/>
                  </a:lnTo>
                  <a:lnTo>
                    <a:pt x="97" y="186"/>
                  </a:lnTo>
                  <a:close/>
                  <a:moveTo>
                    <a:pt x="87" y="179"/>
                  </a:moveTo>
                  <a:lnTo>
                    <a:pt x="88" y="179"/>
                  </a:lnTo>
                  <a:lnTo>
                    <a:pt x="88" y="177"/>
                  </a:lnTo>
                  <a:lnTo>
                    <a:pt x="87" y="175"/>
                  </a:lnTo>
                  <a:lnTo>
                    <a:pt x="78" y="168"/>
                  </a:lnTo>
                  <a:lnTo>
                    <a:pt x="79" y="170"/>
                  </a:lnTo>
                  <a:lnTo>
                    <a:pt x="79" y="170"/>
                  </a:lnTo>
                  <a:lnTo>
                    <a:pt x="79" y="170"/>
                  </a:lnTo>
                  <a:lnTo>
                    <a:pt x="79" y="170"/>
                  </a:lnTo>
                  <a:lnTo>
                    <a:pt x="79" y="170"/>
                  </a:lnTo>
                  <a:lnTo>
                    <a:pt x="79" y="172"/>
                  </a:lnTo>
                  <a:lnTo>
                    <a:pt x="79" y="172"/>
                  </a:lnTo>
                  <a:lnTo>
                    <a:pt x="81" y="174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5" y="177"/>
                  </a:lnTo>
                  <a:lnTo>
                    <a:pt x="85" y="175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7" y="177"/>
                  </a:lnTo>
                  <a:lnTo>
                    <a:pt x="87" y="177"/>
                  </a:lnTo>
                  <a:lnTo>
                    <a:pt x="87" y="177"/>
                  </a:lnTo>
                  <a:lnTo>
                    <a:pt x="87" y="179"/>
                  </a:lnTo>
                  <a:close/>
                  <a:moveTo>
                    <a:pt x="69" y="170"/>
                  </a:moveTo>
                  <a:lnTo>
                    <a:pt x="69" y="170"/>
                  </a:lnTo>
                  <a:lnTo>
                    <a:pt x="67" y="170"/>
                  </a:lnTo>
                  <a:lnTo>
                    <a:pt x="67" y="170"/>
                  </a:lnTo>
                  <a:lnTo>
                    <a:pt x="67" y="170"/>
                  </a:lnTo>
                  <a:lnTo>
                    <a:pt x="67" y="168"/>
                  </a:lnTo>
                  <a:lnTo>
                    <a:pt x="67" y="170"/>
                  </a:lnTo>
                  <a:lnTo>
                    <a:pt x="67" y="170"/>
                  </a:lnTo>
                  <a:lnTo>
                    <a:pt x="69" y="170"/>
                  </a:lnTo>
                  <a:lnTo>
                    <a:pt x="69" y="170"/>
                  </a:lnTo>
                  <a:lnTo>
                    <a:pt x="69" y="170"/>
                  </a:lnTo>
                  <a:lnTo>
                    <a:pt x="69" y="170"/>
                  </a:lnTo>
                  <a:close/>
                  <a:moveTo>
                    <a:pt x="85" y="188"/>
                  </a:moveTo>
                  <a:lnTo>
                    <a:pt x="87" y="186"/>
                  </a:lnTo>
                  <a:lnTo>
                    <a:pt x="87" y="186"/>
                  </a:lnTo>
                  <a:lnTo>
                    <a:pt x="83" y="185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79" y="181"/>
                  </a:lnTo>
                  <a:lnTo>
                    <a:pt x="79" y="181"/>
                  </a:lnTo>
                  <a:lnTo>
                    <a:pt x="78" y="179"/>
                  </a:lnTo>
                  <a:lnTo>
                    <a:pt x="78" y="177"/>
                  </a:lnTo>
                  <a:lnTo>
                    <a:pt x="76" y="177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6" y="174"/>
                  </a:lnTo>
                  <a:lnTo>
                    <a:pt x="76" y="174"/>
                  </a:lnTo>
                  <a:lnTo>
                    <a:pt x="74" y="174"/>
                  </a:lnTo>
                  <a:lnTo>
                    <a:pt x="74" y="174"/>
                  </a:lnTo>
                  <a:lnTo>
                    <a:pt x="74" y="174"/>
                  </a:lnTo>
                  <a:lnTo>
                    <a:pt x="74" y="174"/>
                  </a:lnTo>
                  <a:lnTo>
                    <a:pt x="72" y="174"/>
                  </a:lnTo>
                  <a:lnTo>
                    <a:pt x="72" y="172"/>
                  </a:lnTo>
                  <a:lnTo>
                    <a:pt x="72" y="172"/>
                  </a:lnTo>
                  <a:lnTo>
                    <a:pt x="72" y="172"/>
                  </a:lnTo>
                  <a:lnTo>
                    <a:pt x="69" y="170"/>
                  </a:lnTo>
                  <a:lnTo>
                    <a:pt x="69" y="168"/>
                  </a:lnTo>
                  <a:lnTo>
                    <a:pt x="69" y="168"/>
                  </a:lnTo>
                  <a:lnTo>
                    <a:pt x="69" y="168"/>
                  </a:lnTo>
                  <a:lnTo>
                    <a:pt x="67" y="168"/>
                  </a:lnTo>
                  <a:lnTo>
                    <a:pt x="69" y="168"/>
                  </a:lnTo>
                  <a:lnTo>
                    <a:pt x="69" y="170"/>
                  </a:lnTo>
                  <a:lnTo>
                    <a:pt x="69" y="170"/>
                  </a:lnTo>
                  <a:lnTo>
                    <a:pt x="72" y="175"/>
                  </a:lnTo>
                  <a:lnTo>
                    <a:pt x="74" y="175"/>
                  </a:lnTo>
                  <a:lnTo>
                    <a:pt x="76" y="177"/>
                  </a:lnTo>
                  <a:lnTo>
                    <a:pt x="78" y="181"/>
                  </a:lnTo>
                  <a:lnTo>
                    <a:pt x="79" y="183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3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3" y="188"/>
                  </a:lnTo>
                  <a:lnTo>
                    <a:pt x="83" y="186"/>
                  </a:lnTo>
                  <a:lnTo>
                    <a:pt x="83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3" y="186"/>
                  </a:lnTo>
                  <a:lnTo>
                    <a:pt x="85" y="188"/>
                  </a:lnTo>
                  <a:close/>
                  <a:moveTo>
                    <a:pt x="63" y="159"/>
                  </a:moveTo>
                  <a:lnTo>
                    <a:pt x="63" y="159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1" y="161"/>
                  </a:lnTo>
                  <a:lnTo>
                    <a:pt x="61" y="161"/>
                  </a:lnTo>
                  <a:lnTo>
                    <a:pt x="63" y="163"/>
                  </a:lnTo>
                  <a:lnTo>
                    <a:pt x="63" y="16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5" y="161"/>
                  </a:lnTo>
                  <a:lnTo>
                    <a:pt x="65" y="161"/>
                  </a:lnTo>
                  <a:lnTo>
                    <a:pt x="63" y="161"/>
                  </a:lnTo>
                  <a:lnTo>
                    <a:pt x="63" y="159"/>
                  </a:lnTo>
                  <a:close/>
                  <a:moveTo>
                    <a:pt x="56" y="157"/>
                  </a:moveTo>
                  <a:lnTo>
                    <a:pt x="54" y="156"/>
                  </a:lnTo>
                  <a:lnTo>
                    <a:pt x="56" y="157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8" y="157"/>
                  </a:lnTo>
                  <a:lnTo>
                    <a:pt x="56" y="157"/>
                  </a:lnTo>
                  <a:close/>
                  <a:moveTo>
                    <a:pt x="65" y="154"/>
                  </a:moveTo>
                  <a:lnTo>
                    <a:pt x="65" y="154"/>
                  </a:lnTo>
                  <a:lnTo>
                    <a:pt x="65" y="154"/>
                  </a:lnTo>
                  <a:lnTo>
                    <a:pt x="65" y="152"/>
                  </a:lnTo>
                  <a:lnTo>
                    <a:pt x="65" y="152"/>
                  </a:lnTo>
                  <a:lnTo>
                    <a:pt x="65" y="152"/>
                  </a:lnTo>
                  <a:lnTo>
                    <a:pt x="65" y="152"/>
                  </a:lnTo>
                  <a:lnTo>
                    <a:pt x="63" y="152"/>
                  </a:lnTo>
                  <a:lnTo>
                    <a:pt x="63" y="152"/>
                  </a:lnTo>
                  <a:lnTo>
                    <a:pt x="63" y="152"/>
                  </a:lnTo>
                  <a:lnTo>
                    <a:pt x="63" y="154"/>
                  </a:lnTo>
                  <a:lnTo>
                    <a:pt x="63" y="154"/>
                  </a:lnTo>
                  <a:lnTo>
                    <a:pt x="63" y="156"/>
                  </a:lnTo>
                  <a:lnTo>
                    <a:pt x="63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4"/>
                  </a:lnTo>
                  <a:lnTo>
                    <a:pt x="65" y="154"/>
                  </a:lnTo>
                  <a:close/>
                  <a:moveTo>
                    <a:pt x="38" y="134"/>
                  </a:move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40" y="132"/>
                  </a:lnTo>
                  <a:lnTo>
                    <a:pt x="38" y="132"/>
                  </a:lnTo>
                  <a:lnTo>
                    <a:pt x="38" y="134"/>
                  </a:lnTo>
                  <a:close/>
                  <a:moveTo>
                    <a:pt x="63" y="134"/>
                  </a:moveTo>
                  <a:lnTo>
                    <a:pt x="69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70" y="145"/>
                  </a:lnTo>
                  <a:lnTo>
                    <a:pt x="70" y="145"/>
                  </a:lnTo>
                  <a:lnTo>
                    <a:pt x="70" y="145"/>
                  </a:lnTo>
                  <a:lnTo>
                    <a:pt x="70" y="145"/>
                  </a:lnTo>
                  <a:lnTo>
                    <a:pt x="70" y="145"/>
                  </a:lnTo>
                  <a:lnTo>
                    <a:pt x="70" y="147"/>
                  </a:lnTo>
                  <a:lnTo>
                    <a:pt x="72" y="148"/>
                  </a:lnTo>
                  <a:lnTo>
                    <a:pt x="74" y="148"/>
                  </a:lnTo>
                  <a:lnTo>
                    <a:pt x="76" y="150"/>
                  </a:lnTo>
                  <a:lnTo>
                    <a:pt x="78" y="152"/>
                  </a:lnTo>
                  <a:lnTo>
                    <a:pt x="78" y="152"/>
                  </a:lnTo>
                  <a:lnTo>
                    <a:pt x="78" y="152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81" y="154"/>
                  </a:lnTo>
                  <a:lnTo>
                    <a:pt x="81" y="154"/>
                  </a:lnTo>
                  <a:lnTo>
                    <a:pt x="81" y="154"/>
                  </a:lnTo>
                  <a:lnTo>
                    <a:pt x="79" y="154"/>
                  </a:lnTo>
                  <a:lnTo>
                    <a:pt x="79" y="154"/>
                  </a:lnTo>
                  <a:lnTo>
                    <a:pt x="79" y="156"/>
                  </a:lnTo>
                  <a:lnTo>
                    <a:pt x="81" y="156"/>
                  </a:lnTo>
                  <a:lnTo>
                    <a:pt x="81" y="156"/>
                  </a:lnTo>
                  <a:lnTo>
                    <a:pt x="81" y="156"/>
                  </a:lnTo>
                  <a:lnTo>
                    <a:pt x="79" y="156"/>
                  </a:lnTo>
                  <a:lnTo>
                    <a:pt x="79" y="157"/>
                  </a:lnTo>
                  <a:lnTo>
                    <a:pt x="81" y="157"/>
                  </a:lnTo>
                  <a:lnTo>
                    <a:pt x="81" y="159"/>
                  </a:lnTo>
                  <a:lnTo>
                    <a:pt x="83" y="159"/>
                  </a:lnTo>
                  <a:lnTo>
                    <a:pt x="83" y="159"/>
                  </a:lnTo>
                  <a:lnTo>
                    <a:pt x="83" y="159"/>
                  </a:lnTo>
                  <a:lnTo>
                    <a:pt x="81" y="157"/>
                  </a:lnTo>
                  <a:lnTo>
                    <a:pt x="81" y="157"/>
                  </a:lnTo>
                  <a:lnTo>
                    <a:pt x="83" y="157"/>
                  </a:lnTo>
                  <a:lnTo>
                    <a:pt x="85" y="157"/>
                  </a:lnTo>
                  <a:lnTo>
                    <a:pt x="87" y="159"/>
                  </a:lnTo>
                  <a:lnTo>
                    <a:pt x="87" y="159"/>
                  </a:lnTo>
                  <a:lnTo>
                    <a:pt x="87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87" y="157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5" y="156"/>
                  </a:lnTo>
                  <a:lnTo>
                    <a:pt x="87" y="156"/>
                  </a:lnTo>
                  <a:lnTo>
                    <a:pt x="87" y="157"/>
                  </a:lnTo>
                  <a:lnTo>
                    <a:pt x="88" y="157"/>
                  </a:lnTo>
                  <a:lnTo>
                    <a:pt x="87" y="156"/>
                  </a:lnTo>
                  <a:lnTo>
                    <a:pt x="87" y="154"/>
                  </a:lnTo>
                  <a:lnTo>
                    <a:pt x="85" y="154"/>
                  </a:lnTo>
                  <a:lnTo>
                    <a:pt x="85" y="154"/>
                  </a:lnTo>
                  <a:lnTo>
                    <a:pt x="79" y="148"/>
                  </a:lnTo>
                  <a:lnTo>
                    <a:pt x="78" y="147"/>
                  </a:lnTo>
                  <a:lnTo>
                    <a:pt x="78" y="148"/>
                  </a:lnTo>
                  <a:lnTo>
                    <a:pt x="78" y="150"/>
                  </a:lnTo>
                  <a:lnTo>
                    <a:pt x="79" y="150"/>
                  </a:lnTo>
                  <a:lnTo>
                    <a:pt x="79" y="152"/>
                  </a:lnTo>
                  <a:lnTo>
                    <a:pt x="78" y="150"/>
                  </a:lnTo>
                  <a:lnTo>
                    <a:pt x="74" y="143"/>
                  </a:lnTo>
                  <a:lnTo>
                    <a:pt x="70" y="143"/>
                  </a:lnTo>
                  <a:lnTo>
                    <a:pt x="70" y="141"/>
                  </a:lnTo>
                  <a:lnTo>
                    <a:pt x="72" y="141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4" y="143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78" y="147"/>
                  </a:lnTo>
                  <a:lnTo>
                    <a:pt x="79" y="147"/>
                  </a:lnTo>
                  <a:lnTo>
                    <a:pt x="78" y="145"/>
                  </a:lnTo>
                  <a:lnTo>
                    <a:pt x="78" y="145"/>
                  </a:lnTo>
                  <a:lnTo>
                    <a:pt x="78" y="143"/>
                  </a:lnTo>
                  <a:lnTo>
                    <a:pt x="76" y="143"/>
                  </a:lnTo>
                  <a:lnTo>
                    <a:pt x="74" y="143"/>
                  </a:lnTo>
                  <a:lnTo>
                    <a:pt x="74" y="141"/>
                  </a:lnTo>
                  <a:lnTo>
                    <a:pt x="72" y="139"/>
                  </a:lnTo>
                  <a:lnTo>
                    <a:pt x="70" y="138"/>
                  </a:lnTo>
                  <a:lnTo>
                    <a:pt x="69" y="138"/>
                  </a:lnTo>
                  <a:lnTo>
                    <a:pt x="69" y="139"/>
                  </a:lnTo>
                  <a:lnTo>
                    <a:pt x="67" y="138"/>
                  </a:lnTo>
                  <a:lnTo>
                    <a:pt x="65" y="134"/>
                  </a:lnTo>
                  <a:lnTo>
                    <a:pt x="61" y="132"/>
                  </a:lnTo>
                  <a:lnTo>
                    <a:pt x="61" y="132"/>
                  </a:lnTo>
                  <a:lnTo>
                    <a:pt x="61" y="130"/>
                  </a:lnTo>
                  <a:lnTo>
                    <a:pt x="63" y="132"/>
                  </a:lnTo>
                  <a:lnTo>
                    <a:pt x="63" y="134"/>
                  </a:lnTo>
                  <a:close/>
                  <a:moveTo>
                    <a:pt x="47" y="141"/>
                  </a:moveTo>
                  <a:lnTo>
                    <a:pt x="45" y="138"/>
                  </a:lnTo>
                  <a:lnTo>
                    <a:pt x="45" y="138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5" y="132"/>
                  </a:lnTo>
                  <a:lnTo>
                    <a:pt x="45" y="132"/>
                  </a:lnTo>
                  <a:lnTo>
                    <a:pt x="43" y="130"/>
                  </a:lnTo>
                  <a:lnTo>
                    <a:pt x="41" y="130"/>
                  </a:lnTo>
                  <a:lnTo>
                    <a:pt x="41" y="132"/>
                  </a:lnTo>
                  <a:lnTo>
                    <a:pt x="41" y="134"/>
                  </a:lnTo>
                  <a:lnTo>
                    <a:pt x="43" y="134"/>
                  </a:lnTo>
                  <a:lnTo>
                    <a:pt x="43" y="138"/>
                  </a:lnTo>
                  <a:lnTo>
                    <a:pt x="45" y="138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39"/>
                  </a:lnTo>
                  <a:lnTo>
                    <a:pt x="47" y="141"/>
                  </a:lnTo>
                  <a:lnTo>
                    <a:pt x="47" y="141"/>
                  </a:lnTo>
                  <a:lnTo>
                    <a:pt x="49" y="143"/>
                  </a:lnTo>
                  <a:lnTo>
                    <a:pt x="49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9" y="145"/>
                  </a:lnTo>
                  <a:lnTo>
                    <a:pt x="50" y="147"/>
                  </a:lnTo>
                  <a:lnTo>
                    <a:pt x="52" y="147"/>
                  </a:lnTo>
                  <a:lnTo>
                    <a:pt x="52" y="145"/>
                  </a:lnTo>
                  <a:lnTo>
                    <a:pt x="47" y="141"/>
                  </a:lnTo>
                  <a:close/>
                  <a:moveTo>
                    <a:pt x="63" y="127"/>
                  </a:moveTo>
                  <a:lnTo>
                    <a:pt x="63" y="127"/>
                  </a:lnTo>
                  <a:lnTo>
                    <a:pt x="61" y="127"/>
                  </a:lnTo>
                  <a:lnTo>
                    <a:pt x="61" y="127"/>
                  </a:lnTo>
                  <a:lnTo>
                    <a:pt x="63" y="127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69" y="130"/>
                  </a:lnTo>
                  <a:lnTo>
                    <a:pt x="69" y="129"/>
                  </a:lnTo>
                  <a:lnTo>
                    <a:pt x="67" y="127"/>
                  </a:lnTo>
                  <a:lnTo>
                    <a:pt x="65" y="127"/>
                  </a:lnTo>
                  <a:lnTo>
                    <a:pt x="65" y="125"/>
                  </a:lnTo>
                  <a:lnTo>
                    <a:pt x="63" y="123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1" y="125"/>
                  </a:lnTo>
                  <a:lnTo>
                    <a:pt x="61" y="125"/>
                  </a:lnTo>
                  <a:lnTo>
                    <a:pt x="61" y="125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25"/>
                  </a:lnTo>
                  <a:lnTo>
                    <a:pt x="60" y="125"/>
                  </a:lnTo>
                  <a:lnTo>
                    <a:pt x="61" y="125"/>
                  </a:lnTo>
                  <a:lnTo>
                    <a:pt x="61" y="125"/>
                  </a:lnTo>
                  <a:lnTo>
                    <a:pt x="60" y="125"/>
                  </a:lnTo>
                  <a:lnTo>
                    <a:pt x="60" y="125"/>
                  </a:lnTo>
                  <a:lnTo>
                    <a:pt x="60" y="125"/>
                  </a:lnTo>
                  <a:lnTo>
                    <a:pt x="58" y="125"/>
                  </a:lnTo>
                  <a:lnTo>
                    <a:pt x="60" y="127"/>
                  </a:lnTo>
                  <a:lnTo>
                    <a:pt x="61" y="127"/>
                  </a:lnTo>
                  <a:lnTo>
                    <a:pt x="61" y="127"/>
                  </a:lnTo>
                  <a:lnTo>
                    <a:pt x="61" y="127"/>
                  </a:lnTo>
                  <a:lnTo>
                    <a:pt x="63" y="127"/>
                  </a:lnTo>
                  <a:close/>
                  <a:moveTo>
                    <a:pt x="50" y="136"/>
                  </a:moveTo>
                  <a:lnTo>
                    <a:pt x="50" y="136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2"/>
                  </a:lnTo>
                  <a:lnTo>
                    <a:pt x="49" y="132"/>
                  </a:lnTo>
                  <a:lnTo>
                    <a:pt x="49" y="130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49" y="127"/>
                  </a:lnTo>
                  <a:lnTo>
                    <a:pt x="49" y="127"/>
                  </a:lnTo>
                  <a:lnTo>
                    <a:pt x="49" y="125"/>
                  </a:lnTo>
                  <a:lnTo>
                    <a:pt x="47" y="125"/>
                  </a:lnTo>
                  <a:lnTo>
                    <a:pt x="49" y="125"/>
                  </a:lnTo>
                  <a:lnTo>
                    <a:pt x="49" y="123"/>
                  </a:lnTo>
                  <a:lnTo>
                    <a:pt x="47" y="121"/>
                  </a:lnTo>
                  <a:lnTo>
                    <a:pt x="47" y="118"/>
                  </a:lnTo>
                  <a:lnTo>
                    <a:pt x="47" y="118"/>
                  </a:lnTo>
                  <a:lnTo>
                    <a:pt x="49" y="116"/>
                  </a:lnTo>
                  <a:lnTo>
                    <a:pt x="47" y="116"/>
                  </a:lnTo>
                  <a:lnTo>
                    <a:pt x="49" y="114"/>
                  </a:lnTo>
                  <a:lnTo>
                    <a:pt x="49" y="114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0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5" y="110"/>
                  </a:lnTo>
                  <a:lnTo>
                    <a:pt x="45" y="107"/>
                  </a:lnTo>
                  <a:lnTo>
                    <a:pt x="43" y="105"/>
                  </a:lnTo>
                  <a:lnTo>
                    <a:pt x="43" y="103"/>
                  </a:lnTo>
                  <a:lnTo>
                    <a:pt x="43" y="101"/>
                  </a:lnTo>
                  <a:lnTo>
                    <a:pt x="43" y="100"/>
                  </a:lnTo>
                  <a:lnTo>
                    <a:pt x="43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3"/>
                  </a:lnTo>
                  <a:lnTo>
                    <a:pt x="41" y="107"/>
                  </a:lnTo>
                  <a:lnTo>
                    <a:pt x="43" y="107"/>
                  </a:lnTo>
                  <a:lnTo>
                    <a:pt x="43" y="110"/>
                  </a:lnTo>
                  <a:lnTo>
                    <a:pt x="45" y="112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2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6"/>
                  </a:lnTo>
                  <a:lnTo>
                    <a:pt x="45" y="116"/>
                  </a:lnTo>
                  <a:lnTo>
                    <a:pt x="45" y="116"/>
                  </a:lnTo>
                  <a:lnTo>
                    <a:pt x="43" y="118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1" y="116"/>
                  </a:lnTo>
                  <a:lnTo>
                    <a:pt x="41" y="114"/>
                  </a:lnTo>
                  <a:lnTo>
                    <a:pt x="40" y="114"/>
                  </a:lnTo>
                  <a:lnTo>
                    <a:pt x="40" y="114"/>
                  </a:lnTo>
                  <a:lnTo>
                    <a:pt x="40" y="116"/>
                  </a:lnTo>
                  <a:lnTo>
                    <a:pt x="40" y="116"/>
                  </a:lnTo>
                  <a:lnTo>
                    <a:pt x="40" y="116"/>
                  </a:lnTo>
                  <a:lnTo>
                    <a:pt x="40" y="116"/>
                  </a:lnTo>
                  <a:lnTo>
                    <a:pt x="41" y="118"/>
                  </a:lnTo>
                  <a:lnTo>
                    <a:pt x="41" y="121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7"/>
                  </a:lnTo>
                  <a:lnTo>
                    <a:pt x="43" y="127"/>
                  </a:lnTo>
                  <a:lnTo>
                    <a:pt x="43" y="129"/>
                  </a:lnTo>
                  <a:lnTo>
                    <a:pt x="45" y="127"/>
                  </a:lnTo>
                  <a:lnTo>
                    <a:pt x="45" y="127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30"/>
                  </a:lnTo>
                  <a:lnTo>
                    <a:pt x="47" y="134"/>
                  </a:lnTo>
                  <a:lnTo>
                    <a:pt x="49" y="138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close/>
                  <a:moveTo>
                    <a:pt x="56" y="109"/>
                  </a:moveTo>
                  <a:lnTo>
                    <a:pt x="56" y="107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2"/>
                  </a:lnTo>
                  <a:lnTo>
                    <a:pt x="58" y="112"/>
                  </a:lnTo>
                  <a:lnTo>
                    <a:pt x="61" y="114"/>
                  </a:lnTo>
                  <a:lnTo>
                    <a:pt x="61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7" y="112"/>
                  </a:lnTo>
                  <a:lnTo>
                    <a:pt x="65" y="110"/>
                  </a:lnTo>
                  <a:lnTo>
                    <a:pt x="61" y="107"/>
                  </a:lnTo>
                  <a:lnTo>
                    <a:pt x="61" y="105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58" y="105"/>
                  </a:lnTo>
                  <a:lnTo>
                    <a:pt x="58" y="103"/>
                  </a:lnTo>
                  <a:lnTo>
                    <a:pt x="60" y="100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56" y="100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6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2"/>
                  </a:lnTo>
                  <a:lnTo>
                    <a:pt x="52" y="92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100"/>
                  </a:lnTo>
                  <a:lnTo>
                    <a:pt x="50" y="100"/>
                  </a:lnTo>
                  <a:lnTo>
                    <a:pt x="52" y="101"/>
                  </a:lnTo>
                  <a:lnTo>
                    <a:pt x="50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50" y="109"/>
                  </a:lnTo>
                  <a:lnTo>
                    <a:pt x="54" y="109"/>
                  </a:lnTo>
                  <a:lnTo>
                    <a:pt x="56" y="109"/>
                  </a:lnTo>
                  <a:lnTo>
                    <a:pt x="56" y="109"/>
                  </a:lnTo>
                  <a:close/>
                  <a:moveTo>
                    <a:pt x="296" y="94"/>
                  </a:moveTo>
                  <a:lnTo>
                    <a:pt x="294" y="94"/>
                  </a:lnTo>
                  <a:lnTo>
                    <a:pt x="294" y="92"/>
                  </a:lnTo>
                  <a:lnTo>
                    <a:pt x="283" y="91"/>
                  </a:lnTo>
                  <a:lnTo>
                    <a:pt x="282" y="89"/>
                  </a:lnTo>
                  <a:lnTo>
                    <a:pt x="280" y="87"/>
                  </a:lnTo>
                  <a:lnTo>
                    <a:pt x="280" y="87"/>
                  </a:lnTo>
                  <a:lnTo>
                    <a:pt x="280" y="87"/>
                  </a:lnTo>
                  <a:lnTo>
                    <a:pt x="280" y="85"/>
                  </a:lnTo>
                  <a:lnTo>
                    <a:pt x="280" y="85"/>
                  </a:lnTo>
                  <a:lnTo>
                    <a:pt x="278" y="85"/>
                  </a:lnTo>
                  <a:lnTo>
                    <a:pt x="276" y="85"/>
                  </a:lnTo>
                  <a:lnTo>
                    <a:pt x="276" y="85"/>
                  </a:lnTo>
                  <a:lnTo>
                    <a:pt x="274" y="83"/>
                  </a:lnTo>
                  <a:lnTo>
                    <a:pt x="274" y="82"/>
                  </a:lnTo>
                  <a:lnTo>
                    <a:pt x="276" y="82"/>
                  </a:lnTo>
                  <a:lnTo>
                    <a:pt x="278" y="80"/>
                  </a:lnTo>
                  <a:lnTo>
                    <a:pt x="276" y="80"/>
                  </a:lnTo>
                  <a:lnTo>
                    <a:pt x="276" y="78"/>
                  </a:lnTo>
                  <a:lnTo>
                    <a:pt x="276" y="78"/>
                  </a:lnTo>
                  <a:lnTo>
                    <a:pt x="274" y="76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80" y="76"/>
                  </a:lnTo>
                  <a:lnTo>
                    <a:pt x="280" y="74"/>
                  </a:lnTo>
                  <a:lnTo>
                    <a:pt x="280" y="73"/>
                  </a:lnTo>
                  <a:lnTo>
                    <a:pt x="280" y="73"/>
                  </a:lnTo>
                  <a:lnTo>
                    <a:pt x="278" y="73"/>
                  </a:lnTo>
                  <a:lnTo>
                    <a:pt x="278" y="73"/>
                  </a:lnTo>
                  <a:lnTo>
                    <a:pt x="278" y="73"/>
                  </a:lnTo>
                  <a:lnTo>
                    <a:pt x="278" y="71"/>
                  </a:lnTo>
                  <a:lnTo>
                    <a:pt x="276" y="71"/>
                  </a:lnTo>
                  <a:lnTo>
                    <a:pt x="276" y="71"/>
                  </a:lnTo>
                  <a:lnTo>
                    <a:pt x="276" y="71"/>
                  </a:lnTo>
                  <a:lnTo>
                    <a:pt x="276" y="71"/>
                  </a:lnTo>
                  <a:lnTo>
                    <a:pt x="276" y="71"/>
                  </a:lnTo>
                  <a:lnTo>
                    <a:pt x="274" y="71"/>
                  </a:lnTo>
                  <a:lnTo>
                    <a:pt x="274" y="71"/>
                  </a:lnTo>
                  <a:lnTo>
                    <a:pt x="273" y="73"/>
                  </a:lnTo>
                  <a:lnTo>
                    <a:pt x="273" y="73"/>
                  </a:lnTo>
                  <a:lnTo>
                    <a:pt x="273" y="73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1" y="69"/>
                  </a:lnTo>
                  <a:lnTo>
                    <a:pt x="271" y="67"/>
                  </a:lnTo>
                  <a:lnTo>
                    <a:pt x="271" y="67"/>
                  </a:lnTo>
                  <a:lnTo>
                    <a:pt x="271" y="65"/>
                  </a:lnTo>
                  <a:lnTo>
                    <a:pt x="273" y="65"/>
                  </a:lnTo>
                  <a:lnTo>
                    <a:pt x="274" y="63"/>
                  </a:lnTo>
                  <a:lnTo>
                    <a:pt x="274" y="63"/>
                  </a:lnTo>
                  <a:lnTo>
                    <a:pt x="274" y="62"/>
                  </a:lnTo>
                  <a:lnTo>
                    <a:pt x="273" y="62"/>
                  </a:lnTo>
                  <a:lnTo>
                    <a:pt x="273" y="60"/>
                  </a:lnTo>
                  <a:lnTo>
                    <a:pt x="271" y="60"/>
                  </a:lnTo>
                  <a:lnTo>
                    <a:pt x="271" y="60"/>
                  </a:lnTo>
                  <a:lnTo>
                    <a:pt x="271" y="56"/>
                  </a:lnTo>
                  <a:lnTo>
                    <a:pt x="271" y="56"/>
                  </a:lnTo>
                  <a:lnTo>
                    <a:pt x="269" y="54"/>
                  </a:lnTo>
                  <a:lnTo>
                    <a:pt x="269" y="54"/>
                  </a:lnTo>
                  <a:lnTo>
                    <a:pt x="267" y="53"/>
                  </a:lnTo>
                  <a:lnTo>
                    <a:pt x="267" y="53"/>
                  </a:lnTo>
                  <a:lnTo>
                    <a:pt x="267" y="53"/>
                  </a:lnTo>
                  <a:lnTo>
                    <a:pt x="267" y="51"/>
                  </a:lnTo>
                  <a:lnTo>
                    <a:pt x="267" y="51"/>
                  </a:lnTo>
                  <a:lnTo>
                    <a:pt x="269" y="49"/>
                  </a:lnTo>
                  <a:lnTo>
                    <a:pt x="269" y="49"/>
                  </a:lnTo>
                  <a:lnTo>
                    <a:pt x="271" y="49"/>
                  </a:lnTo>
                  <a:lnTo>
                    <a:pt x="271" y="49"/>
                  </a:lnTo>
                  <a:lnTo>
                    <a:pt x="271" y="47"/>
                  </a:lnTo>
                  <a:lnTo>
                    <a:pt x="271" y="47"/>
                  </a:lnTo>
                  <a:lnTo>
                    <a:pt x="269" y="47"/>
                  </a:lnTo>
                  <a:lnTo>
                    <a:pt x="269" y="45"/>
                  </a:lnTo>
                  <a:lnTo>
                    <a:pt x="269" y="45"/>
                  </a:lnTo>
                  <a:lnTo>
                    <a:pt x="271" y="45"/>
                  </a:lnTo>
                  <a:lnTo>
                    <a:pt x="271" y="44"/>
                  </a:lnTo>
                  <a:lnTo>
                    <a:pt x="269" y="44"/>
                  </a:lnTo>
                  <a:lnTo>
                    <a:pt x="269" y="45"/>
                  </a:lnTo>
                  <a:lnTo>
                    <a:pt x="269" y="45"/>
                  </a:lnTo>
                  <a:lnTo>
                    <a:pt x="267" y="45"/>
                  </a:lnTo>
                  <a:lnTo>
                    <a:pt x="267" y="45"/>
                  </a:lnTo>
                  <a:lnTo>
                    <a:pt x="267" y="45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5"/>
                  </a:lnTo>
                  <a:lnTo>
                    <a:pt x="265" y="47"/>
                  </a:lnTo>
                  <a:lnTo>
                    <a:pt x="265" y="47"/>
                  </a:lnTo>
                  <a:lnTo>
                    <a:pt x="264" y="47"/>
                  </a:lnTo>
                  <a:lnTo>
                    <a:pt x="264" y="47"/>
                  </a:lnTo>
                  <a:lnTo>
                    <a:pt x="262" y="47"/>
                  </a:lnTo>
                  <a:lnTo>
                    <a:pt x="260" y="45"/>
                  </a:lnTo>
                  <a:lnTo>
                    <a:pt x="258" y="45"/>
                  </a:lnTo>
                  <a:lnTo>
                    <a:pt x="256" y="47"/>
                  </a:lnTo>
                  <a:lnTo>
                    <a:pt x="256" y="47"/>
                  </a:lnTo>
                  <a:lnTo>
                    <a:pt x="256" y="47"/>
                  </a:lnTo>
                  <a:lnTo>
                    <a:pt x="256" y="49"/>
                  </a:lnTo>
                  <a:lnTo>
                    <a:pt x="256" y="49"/>
                  </a:lnTo>
                  <a:lnTo>
                    <a:pt x="256" y="49"/>
                  </a:lnTo>
                  <a:lnTo>
                    <a:pt x="255" y="51"/>
                  </a:lnTo>
                  <a:lnTo>
                    <a:pt x="255" y="53"/>
                  </a:lnTo>
                  <a:lnTo>
                    <a:pt x="253" y="54"/>
                  </a:lnTo>
                  <a:lnTo>
                    <a:pt x="251" y="54"/>
                  </a:lnTo>
                  <a:lnTo>
                    <a:pt x="249" y="54"/>
                  </a:lnTo>
                  <a:lnTo>
                    <a:pt x="249" y="54"/>
                  </a:lnTo>
                  <a:lnTo>
                    <a:pt x="247" y="56"/>
                  </a:lnTo>
                  <a:lnTo>
                    <a:pt x="246" y="58"/>
                  </a:lnTo>
                  <a:lnTo>
                    <a:pt x="246" y="58"/>
                  </a:lnTo>
                  <a:lnTo>
                    <a:pt x="246" y="58"/>
                  </a:lnTo>
                  <a:lnTo>
                    <a:pt x="246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4" y="56"/>
                  </a:lnTo>
                  <a:lnTo>
                    <a:pt x="244" y="56"/>
                  </a:lnTo>
                  <a:lnTo>
                    <a:pt x="242" y="56"/>
                  </a:lnTo>
                  <a:lnTo>
                    <a:pt x="242" y="58"/>
                  </a:lnTo>
                  <a:lnTo>
                    <a:pt x="240" y="56"/>
                  </a:lnTo>
                  <a:lnTo>
                    <a:pt x="240" y="56"/>
                  </a:lnTo>
                  <a:lnTo>
                    <a:pt x="238" y="56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29" y="56"/>
                  </a:lnTo>
                  <a:lnTo>
                    <a:pt x="229" y="56"/>
                  </a:lnTo>
                  <a:lnTo>
                    <a:pt x="224" y="54"/>
                  </a:lnTo>
                  <a:lnTo>
                    <a:pt x="220" y="54"/>
                  </a:lnTo>
                  <a:lnTo>
                    <a:pt x="220" y="54"/>
                  </a:lnTo>
                  <a:lnTo>
                    <a:pt x="218" y="54"/>
                  </a:lnTo>
                  <a:lnTo>
                    <a:pt x="218" y="56"/>
                  </a:lnTo>
                  <a:lnTo>
                    <a:pt x="218" y="56"/>
                  </a:lnTo>
                  <a:lnTo>
                    <a:pt x="218" y="54"/>
                  </a:lnTo>
                  <a:lnTo>
                    <a:pt x="217" y="53"/>
                  </a:lnTo>
                  <a:lnTo>
                    <a:pt x="217" y="53"/>
                  </a:lnTo>
                  <a:lnTo>
                    <a:pt x="209" y="51"/>
                  </a:lnTo>
                  <a:lnTo>
                    <a:pt x="209" y="51"/>
                  </a:lnTo>
                  <a:lnTo>
                    <a:pt x="208" y="51"/>
                  </a:lnTo>
                  <a:lnTo>
                    <a:pt x="208" y="49"/>
                  </a:lnTo>
                  <a:lnTo>
                    <a:pt x="208" y="49"/>
                  </a:lnTo>
                  <a:lnTo>
                    <a:pt x="208" y="49"/>
                  </a:lnTo>
                  <a:lnTo>
                    <a:pt x="208" y="47"/>
                  </a:lnTo>
                  <a:lnTo>
                    <a:pt x="208" y="47"/>
                  </a:lnTo>
                  <a:lnTo>
                    <a:pt x="208" y="45"/>
                  </a:lnTo>
                  <a:lnTo>
                    <a:pt x="204" y="44"/>
                  </a:lnTo>
                  <a:lnTo>
                    <a:pt x="202" y="44"/>
                  </a:lnTo>
                  <a:lnTo>
                    <a:pt x="200" y="42"/>
                  </a:lnTo>
                  <a:lnTo>
                    <a:pt x="197" y="42"/>
                  </a:lnTo>
                  <a:lnTo>
                    <a:pt x="197" y="42"/>
                  </a:lnTo>
                  <a:lnTo>
                    <a:pt x="197" y="44"/>
                  </a:lnTo>
                  <a:lnTo>
                    <a:pt x="197" y="44"/>
                  </a:lnTo>
                  <a:lnTo>
                    <a:pt x="195" y="44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1" y="40"/>
                  </a:lnTo>
                  <a:lnTo>
                    <a:pt x="191" y="42"/>
                  </a:lnTo>
                  <a:lnTo>
                    <a:pt x="191" y="42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38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90" y="36"/>
                  </a:lnTo>
                  <a:lnTo>
                    <a:pt x="188" y="36"/>
                  </a:lnTo>
                  <a:lnTo>
                    <a:pt x="188" y="35"/>
                  </a:lnTo>
                  <a:lnTo>
                    <a:pt x="188" y="33"/>
                  </a:lnTo>
                  <a:lnTo>
                    <a:pt x="186" y="31"/>
                  </a:lnTo>
                  <a:lnTo>
                    <a:pt x="186" y="31"/>
                  </a:lnTo>
                  <a:lnTo>
                    <a:pt x="181" y="31"/>
                  </a:lnTo>
                  <a:lnTo>
                    <a:pt x="181" y="29"/>
                  </a:lnTo>
                  <a:lnTo>
                    <a:pt x="179" y="27"/>
                  </a:lnTo>
                  <a:lnTo>
                    <a:pt x="177" y="27"/>
                  </a:lnTo>
                  <a:lnTo>
                    <a:pt x="177" y="27"/>
                  </a:lnTo>
                  <a:lnTo>
                    <a:pt x="177" y="26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1" y="20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17"/>
                  </a:lnTo>
                  <a:lnTo>
                    <a:pt x="170" y="15"/>
                  </a:lnTo>
                  <a:lnTo>
                    <a:pt x="170" y="15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3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4" y="11"/>
                  </a:lnTo>
                  <a:lnTo>
                    <a:pt x="164" y="11"/>
                  </a:lnTo>
                  <a:lnTo>
                    <a:pt x="164" y="11"/>
                  </a:lnTo>
                  <a:lnTo>
                    <a:pt x="162" y="11"/>
                  </a:lnTo>
                  <a:lnTo>
                    <a:pt x="162" y="11"/>
                  </a:lnTo>
                  <a:lnTo>
                    <a:pt x="161" y="9"/>
                  </a:lnTo>
                  <a:lnTo>
                    <a:pt x="161" y="8"/>
                  </a:lnTo>
                  <a:lnTo>
                    <a:pt x="159" y="8"/>
                  </a:lnTo>
                  <a:lnTo>
                    <a:pt x="159" y="6"/>
                  </a:lnTo>
                  <a:lnTo>
                    <a:pt x="157" y="6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3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46" y="2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1" y="0"/>
                  </a:lnTo>
                  <a:lnTo>
                    <a:pt x="141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7" y="6"/>
                  </a:lnTo>
                  <a:lnTo>
                    <a:pt x="137" y="8"/>
                  </a:lnTo>
                  <a:lnTo>
                    <a:pt x="137" y="8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13"/>
                  </a:lnTo>
                  <a:lnTo>
                    <a:pt x="137" y="13"/>
                  </a:lnTo>
                  <a:lnTo>
                    <a:pt x="135" y="13"/>
                  </a:lnTo>
                  <a:lnTo>
                    <a:pt x="135" y="13"/>
                  </a:lnTo>
                  <a:lnTo>
                    <a:pt x="135" y="13"/>
                  </a:lnTo>
                  <a:lnTo>
                    <a:pt x="134" y="13"/>
                  </a:lnTo>
                  <a:lnTo>
                    <a:pt x="134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28" y="11"/>
                  </a:lnTo>
                  <a:lnTo>
                    <a:pt x="128" y="13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6" y="17"/>
                  </a:lnTo>
                  <a:lnTo>
                    <a:pt x="126" y="18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3" y="18"/>
                  </a:lnTo>
                  <a:lnTo>
                    <a:pt x="121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7" y="20"/>
                  </a:lnTo>
                  <a:lnTo>
                    <a:pt x="115" y="20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4" y="24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6" y="24"/>
                  </a:lnTo>
                  <a:lnTo>
                    <a:pt x="106" y="26"/>
                  </a:lnTo>
                  <a:lnTo>
                    <a:pt x="106" y="26"/>
                  </a:lnTo>
                  <a:lnTo>
                    <a:pt x="105" y="27"/>
                  </a:lnTo>
                  <a:lnTo>
                    <a:pt x="105" y="29"/>
                  </a:lnTo>
                  <a:lnTo>
                    <a:pt x="105" y="31"/>
                  </a:lnTo>
                  <a:lnTo>
                    <a:pt x="105" y="33"/>
                  </a:lnTo>
                  <a:lnTo>
                    <a:pt x="106" y="33"/>
                  </a:lnTo>
                  <a:lnTo>
                    <a:pt x="106" y="35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8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9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6" y="53"/>
                  </a:lnTo>
                  <a:lnTo>
                    <a:pt x="105" y="53"/>
                  </a:lnTo>
                  <a:lnTo>
                    <a:pt x="103" y="53"/>
                  </a:lnTo>
                  <a:lnTo>
                    <a:pt x="101" y="51"/>
                  </a:lnTo>
                  <a:lnTo>
                    <a:pt x="101" y="53"/>
                  </a:lnTo>
                  <a:lnTo>
                    <a:pt x="99" y="53"/>
                  </a:lnTo>
                  <a:lnTo>
                    <a:pt x="99" y="53"/>
                  </a:lnTo>
                  <a:lnTo>
                    <a:pt x="99" y="53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2" y="56"/>
                  </a:lnTo>
                  <a:lnTo>
                    <a:pt x="90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2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90" y="63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3"/>
                  </a:lnTo>
                  <a:lnTo>
                    <a:pt x="92" y="63"/>
                  </a:lnTo>
                  <a:lnTo>
                    <a:pt x="94" y="63"/>
                  </a:lnTo>
                  <a:lnTo>
                    <a:pt x="94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0" y="65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90" y="71"/>
                  </a:lnTo>
                  <a:lnTo>
                    <a:pt x="90" y="73"/>
                  </a:lnTo>
                  <a:lnTo>
                    <a:pt x="90" y="73"/>
                  </a:lnTo>
                  <a:lnTo>
                    <a:pt x="90" y="74"/>
                  </a:lnTo>
                  <a:lnTo>
                    <a:pt x="94" y="76"/>
                  </a:lnTo>
                  <a:lnTo>
                    <a:pt x="92" y="76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0" y="78"/>
                  </a:lnTo>
                  <a:lnTo>
                    <a:pt x="88" y="78"/>
                  </a:lnTo>
                  <a:lnTo>
                    <a:pt x="87" y="80"/>
                  </a:lnTo>
                  <a:lnTo>
                    <a:pt x="85" y="80"/>
                  </a:lnTo>
                  <a:lnTo>
                    <a:pt x="83" y="80"/>
                  </a:lnTo>
                  <a:lnTo>
                    <a:pt x="79" y="76"/>
                  </a:lnTo>
                  <a:lnTo>
                    <a:pt x="78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0" y="74"/>
                  </a:lnTo>
                  <a:lnTo>
                    <a:pt x="70" y="76"/>
                  </a:lnTo>
                  <a:lnTo>
                    <a:pt x="69" y="78"/>
                  </a:lnTo>
                  <a:lnTo>
                    <a:pt x="67" y="78"/>
                  </a:lnTo>
                  <a:lnTo>
                    <a:pt x="65" y="78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0" y="73"/>
                  </a:lnTo>
                  <a:lnTo>
                    <a:pt x="58" y="73"/>
                  </a:lnTo>
                  <a:lnTo>
                    <a:pt x="58" y="73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58" y="71"/>
                  </a:lnTo>
                  <a:lnTo>
                    <a:pt x="58" y="71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6" y="69"/>
                  </a:lnTo>
                  <a:lnTo>
                    <a:pt x="56" y="67"/>
                  </a:lnTo>
                  <a:lnTo>
                    <a:pt x="54" y="67"/>
                  </a:lnTo>
                  <a:lnTo>
                    <a:pt x="54" y="65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2" y="63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0" y="67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49" y="71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7" y="74"/>
                  </a:lnTo>
                  <a:lnTo>
                    <a:pt x="45" y="76"/>
                  </a:lnTo>
                  <a:lnTo>
                    <a:pt x="43" y="76"/>
                  </a:lnTo>
                  <a:lnTo>
                    <a:pt x="41" y="76"/>
                  </a:lnTo>
                  <a:lnTo>
                    <a:pt x="40" y="76"/>
                  </a:lnTo>
                  <a:lnTo>
                    <a:pt x="38" y="76"/>
                  </a:lnTo>
                  <a:lnTo>
                    <a:pt x="36" y="74"/>
                  </a:lnTo>
                  <a:lnTo>
                    <a:pt x="34" y="76"/>
                  </a:lnTo>
                  <a:lnTo>
                    <a:pt x="32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29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8"/>
                  </a:lnTo>
                  <a:lnTo>
                    <a:pt x="22" y="78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3" y="78"/>
                  </a:lnTo>
                  <a:lnTo>
                    <a:pt x="9" y="78"/>
                  </a:lnTo>
                  <a:lnTo>
                    <a:pt x="7" y="78"/>
                  </a:lnTo>
                  <a:lnTo>
                    <a:pt x="5" y="76"/>
                  </a:lnTo>
                  <a:lnTo>
                    <a:pt x="4" y="76"/>
                  </a:lnTo>
                  <a:lnTo>
                    <a:pt x="2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0" y="80"/>
                  </a:lnTo>
                  <a:lnTo>
                    <a:pt x="2" y="83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9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5" y="91"/>
                  </a:lnTo>
                  <a:lnTo>
                    <a:pt x="5" y="91"/>
                  </a:lnTo>
                  <a:lnTo>
                    <a:pt x="5" y="91"/>
                  </a:lnTo>
                  <a:lnTo>
                    <a:pt x="5" y="91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4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5" y="96"/>
                  </a:lnTo>
                  <a:lnTo>
                    <a:pt x="5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5" y="96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1"/>
                  </a:lnTo>
                  <a:lnTo>
                    <a:pt x="5" y="101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11" y="100"/>
                  </a:lnTo>
                  <a:lnTo>
                    <a:pt x="11" y="101"/>
                  </a:lnTo>
                  <a:lnTo>
                    <a:pt x="7" y="101"/>
                  </a:lnTo>
                  <a:lnTo>
                    <a:pt x="5" y="101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13" y="110"/>
                  </a:lnTo>
                  <a:lnTo>
                    <a:pt x="14" y="112"/>
                  </a:lnTo>
                  <a:lnTo>
                    <a:pt x="14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4" y="118"/>
                  </a:lnTo>
                  <a:lnTo>
                    <a:pt x="14" y="118"/>
                  </a:lnTo>
                  <a:lnTo>
                    <a:pt x="14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3"/>
                  </a:lnTo>
                  <a:lnTo>
                    <a:pt x="18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5"/>
                  </a:lnTo>
                  <a:lnTo>
                    <a:pt x="20" y="125"/>
                  </a:lnTo>
                  <a:lnTo>
                    <a:pt x="20" y="127"/>
                  </a:lnTo>
                  <a:lnTo>
                    <a:pt x="22" y="127"/>
                  </a:lnTo>
                  <a:lnTo>
                    <a:pt x="22" y="125"/>
                  </a:lnTo>
                  <a:lnTo>
                    <a:pt x="20" y="125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1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2" y="123"/>
                  </a:lnTo>
                  <a:lnTo>
                    <a:pt x="22" y="123"/>
                  </a:lnTo>
                  <a:lnTo>
                    <a:pt x="22" y="123"/>
                  </a:lnTo>
                  <a:lnTo>
                    <a:pt x="22" y="123"/>
                  </a:lnTo>
                  <a:lnTo>
                    <a:pt x="22" y="123"/>
                  </a:lnTo>
                  <a:lnTo>
                    <a:pt x="22" y="123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3" y="123"/>
                  </a:lnTo>
                  <a:lnTo>
                    <a:pt x="23" y="123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23" y="119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18"/>
                  </a:lnTo>
                  <a:lnTo>
                    <a:pt x="23" y="118"/>
                  </a:lnTo>
                  <a:lnTo>
                    <a:pt x="23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09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2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0"/>
                  </a:lnTo>
                  <a:lnTo>
                    <a:pt x="34" y="109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4" y="105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6" y="101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8" y="98"/>
                  </a:lnTo>
                  <a:lnTo>
                    <a:pt x="38" y="92"/>
                  </a:lnTo>
                  <a:lnTo>
                    <a:pt x="38" y="91"/>
                  </a:lnTo>
                  <a:lnTo>
                    <a:pt x="40" y="87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5" y="87"/>
                  </a:lnTo>
                  <a:lnTo>
                    <a:pt x="50" y="89"/>
                  </a:lnTo>
                  <a:lnTo>
                    <a:pt x="50" y="91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4" y="89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6" y="92"/>
                  </a:lnTo>
                  <a:lnTo>
                    <a:pt x="58" y="96"/>
                  </a:lnTo>
                  <a:lnTo>
                    <a:pt x="63" y="101"/>
                  </a:lnTo>
                  <a:lnTo>
                    <a:pt x="67" y="101"/>
                  </a:lnTo>
                  <a:lnTo>
                    <a:pt x="67" y="103"/>
                  </a:lnTo>
                  <a:lnTo>
                    <a:pt x="69" y="103"/>
                  </a:lnTo>
                  <a:lnTo>
                    <a:pt x="69" y="105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70" y="116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9" y="125"/>
                  </a:lnTo>
                  <a:lnTo>
                    <a:pt x="70" y="127"/>
                  </a:lnTo>
                  <a:lnTo>
                    <a:pt x="70" y="129"/>
                  </a:lnTo>
                  <a:lnTo>
                    <a:pt x="70" y="129"/>
                  </a:lnTo>
                  <a:lnTo>
                    <a:pt x="69" y="130"/>
                  </a:lnTo>
                  <a:lnTo>
                    <a:pt x="70" y="132"/>
                  </a:lnTo>
                  <a:lnTo>
                    <a:pt x="76" y="139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78" y="141"/>
                  </a:lnTo>
                  <a:lnTo>
                    <a:pt x="78" y="143"/>
                  </a:lnTo>
                  <a:lnTo>
                    <a:pt x="79" y="143"/>
                  </a:lnTo>
                  <a:lnTo>
                    <a:pt x="81" y="145"/>
                  </a:lnTo>
                  <a:lnTo>
                    <a:pt x="83" y="148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101" y="161"/>
                  </a:lnTo>
                  <a:lnTo>
                    <a:pt x="101" y="161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96" y="161"/>
                  </a:lnTo>
                  <a:lnTo>
                    <a:pt x="96" y="161"/>
                  </a:lnTo>
                  <a:lnTo>
                    <a:pt x="92" y="159"/>
                  </a:lnTo>
                  <a:lnTo>
                    <a:pt x="90" y="159"/>
                  </a:lnTo>
                  <a:lnTo>
                    <a:pt x="88" y="157"/>
                  </a:lnTo>
                  <a:lnTo>
                    <a:pt x="88" y="157"/>
                  </a:lnTo>
                  <a:lnTo>
                    <a:pt x="88" y="157"/>
                  </a:lnTo>
                  <a:lnTo>
                    <a:pt x="88" y="159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0" y="159"/>
                  </a:lnTo>
                  <a:lnTo>
                    <a:pt x="90" y="161"/>
                  </a:lnTo>
                  <a:lnTo>
                    <a:pt x="88" y="161"/>
                  </a:lnTo>
                  <a:lnTo>
                    <a:pt x="90" y="163"/>
                  </a:lnTo>
                  <a:lnTo>
                    <a:pt x="88" y="163"/>
                  </a:lnTo>
                  <a:lnTo>
                    <a:pt x="88" y="163"/>
                  </a:lnTo>
                  <a:lnTo>
                    <a:pt x="88" y="161"/>
                  </a:lnTo>
                  <a:lnTo>
                    <a:pt x="85" y="159"/>
                  </a:lnTo>
                  <a:lnTo>
                    <a:pt x="85" y="159"/>
                  </a:lnTo>
                  <a:lnTo>
                    <a:pt x="85" y="161"/>
                  </a:lnTo>
                  <a:lnTo>
                    <a:pt x="85" y="161"/>
                  </a:lnTo>
                  <a:lnTo>
                    <a:pt x="85" y="161"/>
                  </a:lnTo>
                  <a:lnTo>
                    <a:pt x="85" y="161"/>
                  </a:lnTo>
                  <a:lnTo>
                    <a:pt x="85" y="161"/>
                  </a:lnTo>
                  <a:lnTo>
                    <a:pt x="85" y="161"/>
                  </a:lnTo>
                  <a:lnTo>
                    <a:pt x="85" y="161"/>
                  </a:lnTo>
                  <a:lnTo>
                    <a:pt x="85" y="163"/>
                  </a:lnTo>
                  <a:lnTo>
                    <a:pt x="85" y="163"/>
                  </a:lnTo>
                  <a:lnTo>
                    <a:pt x="83" y="163"/>
                  </a:lnTo>
                  <a:lnTo>
                    <a:pt x="83" y="161"/>
                  </a:lnTo>
                  <a:lnTo>
                    <a:pt x="83" y="161"/>
                  </a:lnTo>
                  <a:lnTo>
                    <a:pt x="81" y="161"/>
                  </a:lnTo>
                  <a:lnTo>
                    <a:pt x="81" y="161"/>
                  </a:lnTo>
                  <a:lnTo>
                    <a:pt x="81" y="163"/>
                  </a:lnTo>
                  <a:lnTo>
                    <a:pt x="83" y="165"/>
                  </a:lnTo>
                  <a:lnTo>
                    <a:pt x="83" y="165"/>
                  </a:lnTo>
                  <a:lnTo>
                    <a:pt x="83" y="166"/>
                  </a:lnTo>
                  <a:lnTo>
                    <a:pt x="85" y="170"/>
                  </a:lnTo>
                  <a:lnTo>
                    <a:pt x="87" y="170"/>
                  </a:lnTo>
                  <a:lnTo>
                    <a:pt x="85" y="170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4" y="179"/>
                  </a:lnTo>
                  <a:lnTo>
                    <a:pt x="94" y="181"/>
                  </a:lnTo>
                  <a:lnTo>
                    <a:pt x="97" y="185"/>
                  </a:lnTo>
                  <a:lnTo>
                    <a:pt x="97" y="185"/>
                  </a:lnTo>
                  <a:lnTo>
                    <a:pt x="97" y="185"/>
                  </a:lnTo>
                  <a:lnTo>
                    <a:pt x="97" y="185"/>
                  </a:lnTo>
                  <a:lnTo>
                    <a:pt x="99" y="186"/>
                  </a:lnTo>
                  <a:lnTo>
                    <a:pt x="99" y="186"/>
                  </a:lnTo>
                  <a:lnTo>
                    <a:pt x="99" y="186"/>
                  </a:lnTo>
                  <a:lnTo>
                    <a:pt x="99" y="186"/>
                  </a:lnTo>
                  <a:lnTo>
                    <a:pt x="101" y="186"/>
                  </a:lnTo>
                  <a:lnTo>
                    <a:pt x="101" y="186"/>
                  </a:lnTo>
                  <a:lnTo>
                    <a:pt x="103" y="188"/>
                  </a:lnTo>
                  <a:lnTo>
                    <a:pt x="103" y="188"/>
                  </a:lnTo>
                  <a:lnTo>
                    <a:pt x="105" y="190"/>
                  </a:lnTo>
                  <a:lnTo>
                    <a:pt x="106" y="192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06" y="192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0" y="194"/>
                  </a:lnTo>
                  <a:lnTo>
                    <a:pt x="110" y="195"/>
                  </a:lnTo>
                  <a:lnTo>
                    <a:pt x="110" y="197"/>
                  </a:lnTo>
                  <a:lnTo>
                    <a:pt x="114" y="197"/>
                  </a:lnTo>
                  <a:lnTo>
                    <a:pt x="115" y="197"/>
                  </a:lnTo>
                  <a:lnTo>
                    <a:pt x="115" y="197"/>
                  </a:lnTo>
                  <a:lnTo>
                    <a:pt x="117" y="199"/>
                  </a:lnTo>
                  <a:lnTo>
                    <a:pt x="117" y="199"/>
                  </a:lnTo>
                  <a:lnTo>
                    <a:pt x="119" y="201"/>
                  </a:lnTo>
                  <a:lnTo>
                    <a:pt x="119" y="201"/>
                  </a:lnTo>
                  <a:lnTo>
                    <a:pt x="119" y="201"/>
                  </a:lnTo>
                  <a:lnTo>
                    <a:pt x="119" y="201"/>
                  </a:lnTo>
                  <a:lnTo>
                    <a:pt x="119" y="201"/>
                  </a:lnTo>
                  <a:lnTo>
                    <a:pt x="121" y="201"/>
                  </a:lnTo>
                  <a:lnTo>
                    <a:pt x="121" y="203"/>
                  </a:lnTo>
                  <a:lnTo>
                    <a:pt x="123" y="203"/>
                  </a:lnTo>
                  <a:lnTo>
                    <a:pt x="123" y="201"/>
                  </a:lnTo>
                  <a:lnTo>
                    <a:pt x="123" y="203"/>
                  </a:lnTo>
                  <a:lnTo>
                    <a:pt x="123" y="203"/>
                  </a:lnTo>
                  <a:lnTo>
                    <a:pt x="123" y="203"/>
                  </a:lnTo>
                  <a:lnTo>
                    <a:pt x="123" y="203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1" y="204"/>
                  </a:lnTo>
                  <a:lnTo>
                    <a:pt x="123" y="204"/>
                  </a:lnTo>
                  <a:lnTo>
                    <a:pt x="123" y="206"/>
                  </a:lnTo>
                  <a:lnTo>
                    <a:pt x="121" y="206"/>
                  </a:lnTo>
                  <a:lnTo>
                    <a:pt x="121" y="206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3" y="208"/>
                  </a:lnTo>
                  <a:lnTo>
                    <a:pt x="121" y="210"/>
                  </a:lnTo>
                  <a:lnTo>
                    <a:pt x="121" y="210"/>
                  </a:lnTo>
                  <a:lnTo>
                    <a:pt x="121" y="210"/>
                  </a:lnTo>
                  <a:lnTo>
                    <a:pt x="121" y="210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1" y="212"/>
                  </a:lnTo>
                  <a:lnTo>
                    <a:pt x="123" y="212"/>
                  </a:lnTo>
                  <a:lnTo>
                    <a:pt x="123" y="212"/>
                  </a:lnTo>
                  <a:lnTo>
                    <a:pt x="123" y="212"/>
                  </a:lnTo>
                  <a:lnTo>
                    <a:pt x="123" y="212"/>
                  </a:lnTo>
                  <a:lnTo>
                    <a:pt x="125" y="212"/>
                  </a:lnTo>
                  <a:lnTo>
                    <a:pt x="125" y="212"/>
                  </a:lnTo>
                  <a:lnTo>
                    <a:pt x="125" y="212"/>
                  </a:lnTo>
                  <a:lnTo>
                    <a:pt x="125" y="213"/>
                  </a:lnTo>
                  <a:lnTo>
                    <a:pt x="125" y="213"/>
                  </a:lnTo>
                  <a:lnTo>
                    <a:pt x="125" y="213"/>
                  </a:lnTo>
                  <a:lnTo>
                    <a:pt x="125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5"/>
                  </a:lnTo>
                  <a:lnTo>
                    <a:pt x="123" y="215"/>
                  </a:lnTo>
                  <a:lnTo>
                    <a:pt x="123" y="215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5" y="215"/>
                  </a:lnTo>
                  <a:lnTo>
                    <a:pt x="125" y="215"/>
                  </a:lnTo>
                  <a:lnTo>
                    <a:pt x="126" y="215"/>
                  </a:lnTo>
                  <a:lnTo>
                    <a:pt x="126" y="215"/>
                  </a:lnTo>
                  <a:lnTo>
                    <a:pt x="126" y="215"/>
                  </a:lnTo>
                  <a:lnTo>
                    <a:pt x="126" y="215"/>
                  </a:lnTo>
                  <a:lnTo>
                    <a:pt x="126" y="215"/>
                  </a:lnTo>
                  <a:lnTo>
                    <a:pt x="128" y="215"/>
                  </a:lnTo>
                  <a:lnTo>
                    <a:pt x="130" y="217"/>
                  </a:lnTo>
                  <a:lnTo>
                    <a:pt x="132" y="217"/>
                  </a:lnTo>
                  <a:lnTo>
                    <a:pt x="130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3"/>
                  </a:lnTo>
                  <a:lnTo>
                    <a:pt x="132" y="213"/>
                  </a:lnTo>
                  <a:lnTo>
                    <a:pt x="132" y="213"/>
                  </a:lnTo>
                  <a:lnTo>
                    <a:pt x="137" y="213"/>
                  </a:lnTo>
                  <a:lnTo>
                    <a:pt x="139" y="212"/>
                  </a:lnTo>
                  <a:lnTo>
                    <a:pt x="141" y="212"/>
                  </a:lnTo>
                  <a:lnTo>
                    <a:pt x="141" y="212"/>
                  </a:lnTo>
                  <a:lnTo>
                    <a:pt x="141" y="212"/>
                  </a:lnTo>
                  <a:lnTo>
                    <a:pt x="143" y="212"/>
                  </a:lnTo>
                  <a:lnTo>
                    <a:pt x="146" y="212"/>
                  </a:lnTo>
                  <a:lnTo>
                    <a:pt x="148" y="212"/>
                  </a:lnTo>
                  <a:lnTo>
                    <a:pt x="150" y="212"/>
                  </a:lnTo>
                  <a:lnTo>
                    <a:pt x="148" y="213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44" y="213"/>
                  </a:lnTo>
                  <a:lnTo>
                    <a:pt x="144" y="213"/>
                  </a:lnTo>
                  <a:lnTo>
                    <a:pt x="148" y="213"/>
                  </a:lnTo>
                  <a:lnTo>
                    <a:pt x="150" y="215"/>
                  </a:lnTo>
                  <a:lnTo>
                    <a:pt x="152" y="215"/>
                  </a:lnTo>
                  <a:lnTo>
                    <a:pt x="152" y="213"/>
                  </a:lnTo>
                  <a:lnTo>
                    <a:pt x="152" y="213"/>
                  </a:lnTo>
                  <a:lnTo>
                    <a:pt x="152" y="213"/>
                  </a:lnTo>
                  <a:lnTo>
                    <a:pt x="152" y="215"/>
                  </a:lnTo>
                  <a:lnTo>
                    <a:pt x="152" y="215"/>
                  </a:lnTo>
                  <a:lnTo>
                    <a:pt x="152" y="215"/>
                  </a:lnTo>
                  <a:lnTo>
                    <a:pt x="157" y="219"/>
                  </a:lnTo>
                  <a:lnTo>
                    <a:pt x="161" y="219"/>
                  </a:lnTo>
                  <a:lnTo>
                    <a:pt x="162" y="221"/>
                  </a:lnTo>
                  <a:lnTo>
                    <a:pt x="170" y="221"/>
                  </a:lnTo>
                  <a:lnTo>
                    <a:pt x="170" y="222"/>
                  </a:lnTo>
                  <a:lnTo>
                    <a:pt x="170" y="222"/>
                  </a:lnTo>
                  <a:lnTo>
                    <a:pt x="170" y="222"/>
                  </a:lnTo>
                  <a:lnTo>
                    <a:pt x="171" y="224"/>
                  </a:lnTo>
                  <a:lnTo>
                    <a:pt x="177" y="230"/>
                  </a:lnTo>
                  <a:lnTo>
                    <a:pt x="177" y="230"/>
                  </a:lnTo>
                  <a:lnTo>
                    <a:pt x="177" y="230"/>
                  </a:lnTo>
                  <a:lnTo>
                    <a:pt x="177" y="230"/>
                  </a:lnTo>
                  <a:lnTo>
                    <a:pt x="179" y="230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79" y="231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81" y="233"/>
                  </a:lnTo>
                  <a:lnTo>
                    <a:pt x="181" y="233"/>
                  </a:lnTo>
                  <a:lnTo>
                    <a:pt x="181" y="233"/>
                  </a:lnTo>
                  <a:lnTo>
                    <a:pt x="181" y="235"/>
                  </a:lnTo>
                  <a:lnTo>
                    <a:pt x="181" y="235"/>
                  </a:lnTo>
                  <a:lnTo>
                    <a:pt x="182" y="235"/>
                  </a:lnTo>
                  <a:lnTo>
                    <a:pt x="184" y="237"/>
                  </a:lnTo>
                  <a:lnTo>
                    <a:pt x="191" y="241"/>
                  </a:lnTo>
                  <a:lnTo>
                    <a:pt x="193" y="244"/>
                  </a:lnTo>
                  <a:lnTo>
                    <a:pt x="195" y="246"/>
                  </a:lnTo>
                  <a:lnTo>
                    <a:pt x="197" y="244"/>
                  </a:lnTo>
                  <a:lnTo>
                    <a:pt x="197" y="244"/>
                  </a:lnTo>
                  <a:lnTo>
                    <a:pt x="197" y="246"/>
                  </a:lnTo>
                  <a:lnTo>
                    <a:pt x="197" y="246"/>
                  </a:lnTo>
                  <a:lnTo>
                    <a:pt x="197" y="246"/>
                  </a:lnTo>
                  <a:lnTo>
                    <a:pt x="197" y="248"/>
                  </a:lnTo>
                  <a:lnTo>
                    <a:pt x="199" y="248"/>
                  </a:lnTo>
                  <a:lnTo>
                    <a:pt x="199" y="248"/>
                  </a:lnTo>
                  <a:lnTo>
                    <a:pt x="197" y="248"/>
                  </a:lnTo>
                  <a:lnTo>
                    <a:pt x="197" y="248"/>
                  </a:lnTo>
                  <a:lnTo>
                    <a:pt x="199" y="248"/>
                  </a:lnTo>
                  <a:lnTo>
                    <a:pt x="199" y="248"/>
                  </a:lnTo>
                  <a:lnTo>
                    <a:pt x="200" y="246"/>
                  </a:lnTo>
                  <a:lnTo>
                    <a:pt x="200" y="248"/>
                  </a:lnTo>
                  <a:lnTo>
                    <a:pt x="199" y="248"/>
                  </a:lnTo>
                  <a:lnTo>
                    <a:pt x="199" y="248"/>
                  </a:lnTo>
                  <a:lnTo>
                    <a:pt x="199" y="250"/>
                  </a:lnTo>
                  <a:lnTo>
                    <a:pt x="200" y="250"/>
                  </a:lnTo>
                  <a:lnTo>
                    <a:pt x="200" y="251"/>
                  </a:lnTo>
                  <a:lnTo>
                    <a:pt x="200" y="251"/>
                  </a:lnTo>
                  <a:lnTo>
                    <a:pt x="202" y="253"/>
                  </a:lnTo>
                  <a:lnTo>
                    <a:pt x="202" y="251"/>
                  </a:lnTo>
                  <a:lnTo>
                    <a:pt x="204" y="253"/>
                  </a:lnTo>
                  <a:lnTo>
                    <a:pt x="204" y="253"/>
                  </a:lnTo>
                  <a:lnTo>
                    <a:pt x="204" y="253"/>
                  </a:lnTo>
                  <a:lnTo>
                    <a:pt x="208" y="253"/>
                  </a:lnTo>
                  <a:lnTo>
                    <a:pt x="208" y="251"/>
                  </a:lnTo>
                  <a:lnTo>
                    <a:pt x="208" y="250"/>
                  </a:lnTo>
                  <a:lnTo>
                    <a:pt x="208" y="250"/>
                  </a:lnTo>
                  <a:lnTo>
                    <a:pt x="208" y="250"/>
                  </a:lnTo>
                  <a:lnTo>
                    <a:pt x="208" y="250"/>
                  </a:lnTo>
                  <a:lnTo>
                    <a:pt x="208" y="246"/>
                  </a:lnTo>
                  <a:lnTo>
                    <a:pt x="206" y="244"/>
                  </a:lnTo>
                  <a:lnTo>
                    <a:pt x="204" y="244"/>
                  </a:lnTo>
                  <a:lnTo>
                    <a:pt x="199" y="239"/>
                  </a:lnTo>
                  <a:lnTo>
                    <a:pt x="197" y="239"/>
                  </a:lnTo>
                  <a:lnTo>
                    <a:pt x="197" y="237"/>
                  </a:lnTo>
                  <a:lnTo>
                    <a:pt x="197" y="237"/>
                  </a:lnTo>
                  <a:lnTo>
                    <a:pt x="195" y="235"/>
                  </a:lnTo>
                  <a:lnTo>
                    <a:pt x="195" y="235"/>
                  </a:lnTo>
                  <a:lnTo>
                    <a:pt x="195" y="233"/>
                  </a:lnTo>
                  <a:lnTo>
                    <a:pt x="193" y="233"/>
                  </a:lnTo>
                  <a:lnTo>
                    <a:pt x="191" y="231"/>
                  </a:lnTo>
                  <a:lnTo>
                    <a:pt x="190" y="228"/>
                  </a:lnTo>
                  <a:lnTo>
                    <a:pt x="190" y="224"/>
                  </a:lnTo>
                  <a:lnTo>
                    <a:pt x="190" y="219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2" y="215"/>
                  </a:lnTo>
                  <a:lnTo>
                    <a:pt x="179" y="213"/>
                  </a:lnTo>
                  <a:lnTo>
                    <a:pt x="179" y="213"/>
                  </a:lnTo>
                  <a:lnTo>
                    <a:pt x="177" y="212"/>
                  </a:lnTo>
                  <a:lnTo>
                    <a:pt x="175" y="208"/>
                  </a:lnTo>
                  <a:lnTo>
                    <a:pt x="166" y="201"/>
                  </a:lnTo>
                  <a:lnTo>
                    <a:pt x="161" y="195"/>
                  </a:lnTo>
                  <a:lnTo>
                    <a:pt x="161" y="195"/>
                  </a:lnTo>
                  <a:lnTo>
                    <a:pt x="161" y="194"/>
                  </a:lnTo>
                  <a:lnTo>
                    <a:pt x="159" y="192"/>
                  </a:lnTo>
                  <a:lnTo>
                    <a:pt x="159" y="192"/>
                  </a:lnTo>
                  <a:lnTo>
                    <a:pt x="157" y="190"/>
                  </a:lnTo>
                  <a:lnTo>
                    <a:pt x="155" y="186"/>
                  </a:lnTo>
                  <a:lnTo>
                    <a:pt x="153" y="185"/>
                  </a:lnTo>
                  <a:lnTo>
                    <a:pt x="152" y="183"/>
                  </a:lnTo>
                  <a:lnTo>
                    <a:pt x="152" y="181"/>
                  </a:lnTo>
                  <a:lnTo>
                    <a:pt x="150" y="181"/>
                  </a:lnTo>
                  <a:lnTo>
                    <a:pt x="150" y="181"/>
                  </a:lnTo>
                  <a:lnTo>
                    <a:pt x="148" y="179"/>
                  </a:lnTo>
                  <a:lnTo>
                    <a:pt x="146" y="179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4" y="175"/>
                  </a:lnTo>
                  <a:lnTo>
                    <a:pt x="144" y="175"/>
                  </a:lnTo>
                  <a:lnTo>
                    <a:pt x="143" y="175"/>
                  </a:lnTo>
                  <a:lnTo>
                    <a:pt x="143" y="175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39" y="170"/>
                  </a:lnTo>
                  <a:lnTo>
                    <a:pt x="139" y="170"/>
                  </a:lnTo>
                  <a:lnTo>
                    <a:pt x="137" y="166"/>
                  </a:lnTo>
                  <a:lnTo>
                    <a:pt x="135" y="166"/>
                  </a:lnTo>
                  <a:lnTo>
                    <a:pt x="135" y="163"/>
                  </a:lnTo>
                  <a:lnTo>
                    <a:pt x="135" y="161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4" y="154"/>
                  </a:lnTo>
                  <a:lnTo>
                    <a:pt x="134" y="154"/>
                  </a:lnTo>
                  <a:lnTo>
                    <a:pt x="132" y="154"/>
                  </a:lnTo>
                  <a:lnTo>
                    <a:pt x="132" y="154"/>
                  </a:lnTo>
                  <a:lnTo>
                    <a:pt x="132" y="154"/>
                  </a:lnTo>
                  <a:lnTo>
                    <a:pt x="132" y="154"/>
                  </a:lnTo>
                  <a:lnTo>
                    <a:pt x="134" y="152"/>
                  </a:lnTo>
                  <a:lnTo>
                    <a:pt x="134" y="152"/>
                  </a:lnTo>
                  <a:lnTo>
                    <a:pt x="134" y="152"/>
                  </a:lnTo>
                  <a:lnTo>
                    <a:pt x="134" y="150"/>
                  </a:lnTo>
                  <a:lnTo>
                    <a:pt x="132" y="147"/>
                  </a:lnTo>
                  <a:lnTo>
                    <a:pt x="132" y="145"/>
                  </a:lnTo>
                  <a:lnTo>
                    <a:pt x="132" y="145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28" y="143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26" y="141"/>
                  </a:lnTo>
                  <a:lnTo>
                    <a:pt x="126" y="141"/>
                  </a:lnTo>
                  <a:lnTo>
                    <a:pt x="126" y="139"/>
                  </a:lnTo>
                  <a:lnTo>
                    <a:pt x="128" y="139"/>
                  </a:lnTo>
                  <a:lnTo>
                    <a:pt x="128" y="139"/>
                  </a:lnTo>
                  <a:lnTo>
                    <a:pt x="128" y="138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26" y="136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3" y="134"/>
                  </a:lnTo>
                  <a:lnTo>
                    <a:pt x="123" y="132"/>
                  </a:lnTo>
                  <a:lnTo>
                    <a:pt x="123" y="132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21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7" y="130"/>
                  </a:lnTo>
                  <a:lnTo>
                    <a:pt x="117" y="132"/>
                  </a:lnTo>
                  <a:lnTo>
                    <a:pt x="117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0"/>
                  </a:lnTo>
                  <a:lnTo>
                    <a:pt x="115" y="130"/>
                  </a:lnTo>
                  <a:lnTo>
                    <a:pt x="114" y="130"/>
                  </a:lnTo>
                  <a:lnTo>
                    <a:pt x="114" y="129"/>
                  </a:lnTo>
                  <a:lnTo>
                    <a:pt x="114" y="129"/>
                  </a:lnTo>
                  <a:lnTo>
                    <a:pt x="112" y="127"/>
                  </a:lnTo>
                  <a:lnTo>
                    <a:pt x="112" y="125"/>
                  </a:lnTo>
                  <a:lnTo>
                    <a:pt x="112" y="125"/>
                  </a:lnTo>
                  <a:lnTo>
                    <a:pt x="112" y="123"/>
                  </a:lnTo>
                  <a:lnTo>
                    <a:pt x="112" y="123"/>
                  </a:lnTo>
                  <a:lnTo>
                    <a:pt x="114" y="123"/>
                  </a:lnTo>
                  <a:lnTo>
                    <a:pt x="114" y="121"/>
                  </a:lnTo>
                  <a:lnTo>
                    <a:pt x="114" y="119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6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4" y="112"/>
                  </a:lnTo>
                  <a:lnTo>
                    <a:pt x="114" y="110"/>
                  </a:lnTo>
                  <a:lnTo>
                    <a:pt x="114" y="109"/>
                  </a:lnTo>
                  <a:lnTo>
                    <a:pt x="114" y="107"/>
                  </a:lnTo>
                  <a:lnTo>
                    <a:pt x="114" y="105"/>
                  </a:lnTo>
                  <a:lnTo>
                    <a:pt x="114" y="103"/>
                  </a:lnTo>
                  <a:lnTo>
                    <a:pt x="114" y="100"/>
                  </a:lnTo>
                  <a:lnTo>
                    <a:pt x="114" y="98"/>
                  </a:lnTo>
                  <a:lnTo>
                    <a:pt x="115" y="98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9" y="94"/>
                  </a:lnTo>
                  <a:lnTo>
                    <a:pt x="125" y="96"/>
                  </a:lnTo>
                  <a:lnTo>
                    <a:pt x="125" y="94"/>
                  </a:lnTo>
                  <a:lnTo>
                    <a:pt x="126" y="94"/>
                  </a:lnTo>
                  <a:lnTo>
                    <a:pt x="126" y="96"/>
                  </a:lnTo>
                  <a:lnTo>
                    <a:pt x="126" y="96"/>
                  </a:lnTo>
                  <a:lnTo>
                    <a:pt x="126" y="96"/>
                  </a:lnTo>
                  <a:lnTo>
                    <a:pt x="126" y="98"/>
                  </a:lnTo>
                  <a:lnTo>
                    <a:pt x="126" y="98"/>
                  </a:lnTo>
                  <a:lnTo>
                    <a:pt x="126" y="98"/>
                  </a:lnTo>
                  <a:lnTo>
                    <a:pt x="128" y="98"/>
                  </a:lnTo>
                  <a:lnTo>
                    <a:pt x="128" y="98"/>
                  </a:lnTo>
                  <a:lnTo>
                    <a:pt x="130" y="100"/>
                  </a:lnTo>
                  <a:lnTo>
                    <a:pt x="130" y="103"/>
                  </a:lnTo>
                  <a:lnTo>
                    <a:pt x="132" y="103"/>
                  </a:lnTo>
                  <a:lnTo>
                    <a:pt x="135" y="109"/>
                  </a:lnTo>
                  <a:lnTo>
                    <a:pt x="137" y="109"/>
                  </a:lnTo>
                  <a:lnTo>
                    <a:pt x="139" y="110"/>
                  </a:lnTo>
                  <a:lnTo>
                    <a:pt x="141" y="110"/>
                  </a:lnTo>
                  <a:lnTo>
                    <a:pt x="143" y="110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43" y="107"/>
                  </a:lnTo>
                  <a:lnTo>
                    <a:pt x="144" y="105"/>
                  </a:lnTo>
                  <a:lnTo>
                    <a:pt x="144" y="105"/>
                  </a:lnTo>
                  <a:lnTo>
                    <a:pt x="144" y="103"/>
                  </a:lnTo>
                  <a:lnTo>
                    <a:pt x="144" y="103"/>
                  </a:lnTo>
                  <a:lnTo>
                    <a:pt x="144" y="103"/>
                  </a:lnTo>
                  <a:lnTo>
                    <a:pt x="144" y="101"/>
                  </a:lnTo>
                  <a:lnTo>
                    <a:pt x="144" y="101"/>
                  </a:lnTo>
                  <a:lnTo>
                    <a:pt x="146" y="101"/>
                  </a:lnTo>
                  <a:lnTo>
                    <a:pt x="146" y="101"/>
                  </a:lnTo>
                  <a:lnTo>
                    <a:pt x="148" y="100"/>
                  </a:lnTo>
                  <a:lnTo>
                    <a:pt x="150" y="96"/>
                  </a:lnTo>
                  <a:lnTo>
                    <a:pt x="152" y="94"/>
                  </a:lnTo>
                  <a:lnTo>
                    <a:pt x="155" y="94"/>
                  </a:lnTo>
                  <a:lnTo>
                    <a:pt x="164" y="98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6" y="96"/>
                  </a:lnTo>
                  <a:lnTo>
                    <a:pt x="166" y="96"/>
                  </a:lnTo>
                  <a:lnTo>
                    <a:pt x="166" y="94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2"/>
                  </a:lnTo>
                  <a:lnTo>
                    <a:pt x="170" y="92"/>
                  </a:lnTo>
                  <a:lnTo>
                    <a:pt x="170" y="92"/>
                  </a:lnTo>
                  <a:lnTo>
                    <a:pt x="170" y="92"/>
                  </a:lnTo>
                  <a:lnTo>
                    <a:pt x="170" y="91"/>
                  </a:lnTo>
                  <a:lnTo>
                    <a:pt x="171" y="91"/>
                  </a:lnTo>
                  <a:lnTo>
                    <a:pt x="171" y="91"/>
                  </a:lnTo>
                  <a:lnTo>
                    <a:pt x="171" y="92"/>
                  </a:lnTo>
                  <a:lnTo>
                    <a:pt x="173" y="92"/>
                  </a:lnTo>
                  <a:lnTo>
                    <a:pt x="171" y="92"/>
                  </a:lnTo>
                  <a:lnTo>
                    <a:pt x="173" y="94"/>
                  </a:lnTo>
                  <a:lnTo>
                    <a:pt x="173" y="94"/>
                  </a:lnTo>
                  <a:lnTo>
                    <a:pt x="173" y="92"/>
                  </a:lnTo>
                  <a:lnTo>
                    <a:pt x="173" y="92"/>
                  </a:lnTo>
                  <a:lnTo>
                    <a:pt x="173" y="92"/>
                  </a:lnTo>
                  <a:lnTo>
                    <a:pt x="175" y="94"/>
                  </a:lnTo>
                  <a:lnTo>
                    <a:pt x="175" y="94"/>
                  </a:lnTo>
                  <a:lnTo>
                    <a:pt x="175" y="92"/>
                  </a:lnTo>
                  <a:lnTo>
                    <a:pt x="175" y="94"/>
                  </a:lnTo>
                  <a:lnTo>
                    <a:pt x="175" y="94"/>
                  </a:lnTo>
                  <a:lnTo>
                    <a:pt x="175" y="94"/>
                  </a:lnTo>
                  <a:lnTo>
                    <a:pt x="175" y="94"/>
                  </a:lnTo>
                  <a:lnTo>
                    <a:pt x="177" y="94"/>
                  </a:lnTo>
                  <a:lnTo>
                    <a:pt x="177" y="94"/>
                  </a:lnTo>
                  <a:lnTo>
                    <a:pt x="177" y="94"/>
                  </a:lnTo>
                  <a:lnTo>
                    <a:pt x="179" y="96"/>
                  </a:lnTo>
                  <a:lnTo>
                    <a:pt x="181" y="98"/>
                  </a:lnTo>
                  <a:lnTo>
                    <a:pt x="182" y="98"/>
                  </a:lnTo>
                  <a:lnTo>
                    <a:pt x="184" y="100"/>
                  </a:lnTo>
                  <a:lnTo>
                    <a:pt x="186" y="100"/>
                  </a:lnTo>
                  <a:lnTo>
                    <a:pt x="188" y="100"/>
                  </a:lnTo>
                  <a:lnTo>
                    <a:pt x="188" y="100"/>
                  </a:lnTo>
                  <a:lnTo>
                    <a:pt x="190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3" y="100"/>
                  </a:lnTo>
                  <a:lnTo>
                    <a:pt x="193" y="100"/>
                  </a:lnTo>
                  <a:lnTo>
                    <a:pt x="195" y="100"/>
                  </a:lnTo>
                  <a:lnTo>
                    <a:pt x="195" y="100"/>
                  </a:lnTo>
                  <a:lnTo>
                    <a:pt x="197" y="100"/>
                  </a:lnTo>
                  <a:lnTo>
                    <a:pt x="197" y="100"/>
                  </a:lnTo>
                  <a:lnTo>
                    <a:pt x="197" y="100"/>
                  </a:lnTo>
                  <a:lnTo>
                    <a:pt x="197" y="100"/>
                  </a:lnTo>
                  <a:lnTo>
                    <a:pt x="199" y="100"/>
                  </a:lnTo>
                  <a:lnTo>
                    <a:pt x="199" y="100"/>
                  </a:lnTo>
                  <a:lnTo>
                    <a:pt x="199" y="100"/>
                  </a:lnTo>
                  <a:lnTo>
                    <a:pt x="199" y="100"/>
                  </a:lnTo>
                  <a:lnTo>
                    <a:pt x="199" y="101"/>
                  </a:lnTo>
                  <a:lnTo>
                    <a:pt x="199" y="101"/>
                  </a:lnTo>
                  <a:lnTo>
                    <a:pt x="199" y="101"/>
                  </a:lnTo>
                  <a:lnTo>
                    <a:pt x="200" y="100"/>
                  </a:lnTo>
                  <a:lnTo>
                    <a:pt x="200" y="101"/>
                  </a:lnTo>
                  <a:lnTo>
                    <a:pt x="199" y="101"/>
                  </a:lnTo>
                  <a:lnTo>
                    <a:pt x="200" y="101"/>
                  </a:lnTo>
                  <a:lnTo>
                    <a:pt x="202" y="101"/>
                  </a:lnTo>
                  <a:lnTo>
                    <a:pt x="204" y="101"/>
                  </a:lnTo>
                  <a:lnTo>
                    <a:pt x="204" y="101"/>
                  </a:lnTo>
                  <a:lnTo>
                    <a:pt x="206" y="101"/>
                  </a:lnTo>
                  <a:lnTo>
                    <a:pt x="208" y="100"/>
                  </a:lnTo>
                  <a:lnTo>
                    <a:pt x="208" y="98"/>
                  </a:lnTo>
                  <a:lnTo>
                    <a:pt x="209" y="100"/>
                  </a:lnTo>
                  <a:lnTo>
                    <a:pt x="211" y="100"/>
                  </a:lnTo>
                  <a:lnTo>
                    <a:pt x="213" y="101"/>
                  </a:lnTo>
                  <a:lnTo>
                    <a:pt x="215" y="105"/>
                  </a:lnTo>
                  <a:lnTo>
                    <a:pt x="217" y="105"/>
                  </a:lnTo>
                  <a:lnTo>
                    <a:pt x="217" y="105"/>
                  </a:lnTo>
                  <a:lnTo>
                    <a:pt x="218" y="105"/>
                  </a:lnTo>
                  <a:lnTo>
                    <a:pt x="218" y="105"/>
                  </a:lnTo>
                  <a:lnTo>
                    <a:pt x="220" y="105"/>
                  </a:lnTo>
                  <a:lnTo>
                    <a:pt x="220" y="105"/>
                  </a:lnTo>
                  <a:lnTo>
                    <a:pt x="222" y="103"/>
                  </a:lnTo>
                  <a:lnTo>
                    <a:pt x="226" y="100"/>
                  </a:lnTo>
                  <a:lnTo>
                    <a:pt x="226" y="100"/>
                  </a:lnTo>
                  <a:lnTo>
                    <a:pt x="226" y="100"/>
                  </a:lnTo>
                  <a:lnTo>
                    <a:pt x="227" y="100"/>
                  </a:lnTo>
                  <a:lnTo>
                    <a:pt x="229" y="103"/>
                  </a:lnTo>
                  <a:lnTo>
                    <a:pt x="231" y="103"/>
                  </a:lnTo>
                  <a:lnTo>
                    <a:pt x="231" y="103"/>
                  </a:lnTo>
                  <a:lnTo>
                    <a:pt x="233" y="103"/>
                  </a:lnTo>
                  <a:lnTo>
                    <a:pt x="233" y="103"/>
                  </a:lnTo>
                  <a:lnTo>
                    <a:pt x="233" y="103"/>
                  </a:lnTo>
                  <a:lnTo>
                    <a:pt x="235" y="103"/>
                  </a:lnTo>
                  <a:lnTo>
                    <a:pt x="235" y="103"/>
                  </a:lnTo>
                  <a:lnTo>
                    <a:pt x="235" y="101"/>
                  </a:lnTo>
                  <a:lnTo>
                    <a:pt x="235" y="101"/>
                  </a:lnTo>
                  <a:lnTo>
                    <a:pt x="235" y="100"/>
                  </a:lnTo>
                  <a:lnTo>
                    <a:pt x="236" y="100"/>
                  </a:lnTo>
                  <a:lnTo>
                    <a:pt x="236" y="100"/>
                  </a:lnTo>
                  <a:lnTo>
                    <a:pt x="238" y="100"/>
                  </a:lnTo>
                  <a:lnTo>
                    <a:pt x="240" y="101"/>
                  </a:lnTo>
                  <a:lnTo>
                    <a:pt x="242" y="101"/>
                  </a:lnTo>
                  <a:lnTo>
                    <a:pt x="246" y="101"/>
                  </a:lnTo>
                  <a:lnTo>
                    <a:pt x="246" y="103"/>
                  </a:lnTo>
                  <a:lnTo>
                    <a:pt x="247" y="103"/>
                  </a:lnTo>
                  <a:lnTo>
                    <a:pt x="247" y="105"/>
                  </a:lnTo>
                  <a:lnTo>
                    <a:pt x="247" y="105"/>
                  </a:lnTo>
                  <a:lnTo>
                    <a:pt x="249" y="105"/>
                  </a:lnTo>
                  <a:lnTo>
                    <a:pt x="249" y="105"/>
                  </a:lnTo>
                  <a:lnTo>
                    <a:pt x="249" y="105"/>
                  </a:lnTo>
                  <a:lnTo>
                    <a:pt x="251" y="107"/>
                  </a:lnTo>
                  <a:lnTo>
                    <a:pt x="253" y="107"/>
                  </a:lnTo>
                  <a:lnTo>
                    <a:pt x="253" y="105"/>
                  </a:lnTo>
                  <a:lnTo>
                    <a:pt x="253" y="105"/>
                  </a:lnTo>
                  <a:lnTo>
                    <a:pt x="253" y="103"/>
                  </a:lnTo>
                  <a:lnTo>
                    <a:pt x="253" y="103"/>
                  </a:lnTo>
                  <a:lnTo>
                    <a:pt x="253" y="103"/>
                  </a:lnTo>
                  <a:lnTo>
                    <a:pt x="253" y="103"/>
                  </a:lnTo>
                  <a:lnTo>
                    <a:pt x="255" y="103"/>
                  </a:lnTo>
                  <a:lnTo>
                    <a:pt x="255" y="103"/>
                  </a:lnTo>
                  <a:lnTo>
                    <a:pt x="255" y="103"/>
                  </a:lnTo>
                  <a:lnTo>
                    <a:pt x="256" y="103"/>
                  </a:lnTo>
                  <a:lnTo>
                    <a:pt x="256" y="103"/>
                  </a:lnTo>
                  <a:lnTo>
                    <a:pt x="256" y="103"/>
                  </a:lnTo>
                  <a:lnTo>
                    <a:pt x="256" y="103"/>
                  </a:lnTo>
                  <a:lnTo>
                    <a:pt x="256" y="105"/>
                  </a:lnTo>
                  <a:lnTo>
                    <a:pt x="256" y="105"/>
                  </a:lnTo>
                  <a:lnTo>
                    <a:pt x="258" y="105"/>
                  </a:lnTo>
                  <a:lnTo>
                    <a:pt x="258" y="105"/>
                  </a:lnTo>
                  <a:lnTo>
                    <a:pt x="258" y="105"/>
                  </a:lnTo>
                  <a:lnTo>
                    <a:pt x="258" y="105"/>
                  </a:lnTo>
                  <a:lnTo>
                    <a:pt x="258" y="105"/>
                  </a:lnTo>
                  <a:lnTo>
                    <a:pt x="258" y="105"/>
                  </a:lnTo>
                  <a:lnTo>
                    <a:pt x="258" y="105"/>
                  </a:lnTo>
                  <a:lnTo>
                    <a:pt x="260" y="105"/>
                  </a:lnTo>
                  <a:lnTo>
                    <a:pt x="260" y="105"/>
                  </a:lnTo>
                  <a:lnTo>
                    <a:pt x="260" y="105"/>
                  </a:lnTo>
                  <a:lnTo>
                    <a:pt x="262" y="109"/>
                  </a:lnTo>
                  <a:lnTo>
                    <a:pt x="262" y="109"/>
                  </a:lnTo>
                  <a:lnTo>
                    <a:pt x="264" y="109"/>
                  </a:lnTo>
                  <a:lnTo>
                    <a:pt x="264" y="110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65" y="112"/>
                  </a:lnTo>
                  <a:lnTo>
                    <a:pt x="265" y="112"/>
                  </a:lnTo>
                  <a:lnTo>
                    <a:pt x="265" y="112"/>
                  </a:lnTo>
                  <a:lnTo>
                    <a:pt x="265" y="112"/>
                  </a:lnTo>
                  <a:lnTo>
                    <a:pt x="265" y="112"/>
                  </a:lnTo>
                  <a:lnTo>
                    <a:pt x="264" y="114"/>
                  </a:lnTo>
                  <a:lnTo>
                    <a:pt x="264" y="114"/>
                  </a:lnTo>
                  <a:lnTo>
                    <a:pt x="265" y="116"/>
                  </a:lnTo>
                  <a:lnTo>
                    <a:pt x="265" y="118"/>
                  </a:lnTo>
                  <a:lnTo>
                    <a:pt x="267" y="119"/>
                  </a:lnTo>
                  <a:lnTo>
                    <a:pt x="267" y="119"/>
                  </a:lnTo>
                  <a:lnTo>
                    <a:pt x="269" y="119"/>
                  </a:lnTo>
                  <a:lnTo>
                    <a:pt x="269" y="119"/>
                  </a:lnTo>
                  <a:lnTo>
                    <a:pt x="276" y="119"/>
                  </a:lnTo>
                  <a:lnTo>
                    <a:pt x="276" y="119"/>
                  </a:lnTo>
                  <a:lnTo>
                    <a:pt x="274" y="118"/>
                  </a:lnTo>
                  <a:lnTo>
                    <a:pt x="274" y="116"/>
                  </a:lnTo>
                  <a:lnTo>
                    <a:pt x="276" y="116"/>
                  </a:lnTo>
                  <a:lnTo>
                    <a:pt x="276" y="116"/>
                  </a:lnTo>
                  <a:lnTo>
                    <a:pt x="278" y="118"/>
                  </a:lnTo>
                  <a:lnTo>
                    <a:pt x="278" y="118"/>
                  </a:lnTo>
                  <a:lnTo>
                    <a:pt x="280" y="116"/>
                  </a:lnTo>
                  <a:lnTo>
                    <a:pt x="280" y="116"/>
                  </a:lnTo>
                  <a:lnTo>
                    <a:pt x="280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4"/>
                  </a:lnTo>
                  <a:lnTo>
                    <a:pt x="282" y="112"/>
                  </a:lnTo>
                  <a:lnTo>
                    <a:pt x="282" y="112"/>
                  </a:lnTo>
                  <a:lnTo>
                    <a:pt x="280" y="112"/>
                  </a:lnTo>
                  <a:lnTo>
                    <a:pt x="280" y="112"/>
                  </a:lnTo>
                  <a:lnTo>
                    <a:pt x="280" y="110"/>
                  </a:lnTo>
                  <a:lnTo>
                    <a:pt x="280" y="110"/>
                  </a:lnTo>
                  <a:lnTo>
                    <a:pt x="280" y="109"/>
                  </a:lnTo>
                  <a:lnTo>
                    <a:pt x="280" y="109"/>
                  </a:lnTo>
                  <a:lnTo>
                    <a:pt x="280" y="109"/>
                  </a:lnTo>
                  <a:lnTo>
                    <a:pt x="280" y="107"/>
                  </a:lnTo>
                  <a:lnTo>
                    <a:pt x="280" y="105"/>
                  </a:lnTo>
                  <a:lnTo>
                    <a:pt x="280" y="103"/>
                  </a:lnTo>
                  <a:lnTo>
                    <a:pt x="280" y="103"/>
                  </a:lnTo>
                  <a:lnTo>
                    <a:pt x="278" y="101"/>
                  </a:lnTo>
                  <a:lnTo>
                    <a:pt x="278" y="101"/>
                  </a:lnTo>
                  <a:lnTo>
                    <a:pt x="278" y="101"/>
                  </a:lnTo>
                  <a:lnTo>
                    <a:pt x="278" y="101"/>
                  </a:lnTo>
                  <a:lnTo>
                    <a:pt x="278" y="100"/>
                  </a:lnTo>
                  <a:lnTo>
                    <a:pt x="282" y="100"/>
                  </a:lnTo>
                  <a:lnTo>
                    <a:pt x="282" y="100"/>
                  </a:lnTo>
                  <a:lnTo>
                    <a:pt x="282" y="100"/>
                  </a:lnTo>
                  <a:lnTo>
                    <a:pt x="282" y="98"/>
                  </a:lnTo>
                  <a:lnTo>
                    <a:pt x="282" y="96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8"/>
                  </a:lnTo>
                  <a:lnTo>
                    <a:pt x="285" y="98"/>
                  </a:lnTo>
                  <a:lnTo>
                    <a:pt x="285" y="100"/>
                  </a:lnTo>
                  <a:lnTo>
                    <a:pt x="287" y="100"/>
                  </a:lnTo>
                  <a:lnTo>
                    <a:pt x="289" y="98"/>
                  </a:lnTo>
                  <a:lnTo>
                    <a:pt x="289" y="98"/>
                  </a:lnTo>
                  <a:lnTo>
                    <a:pt x="289" y="98"/>
                  </a:lnTo>
                  <a:lnTo>
                    <a:pt x="289" y="98"/>
                  </a:lnTo>
                  <a:lnTo>
                    <a:pt x="289" y="98"/>
                  </a:lnTo>
                  <a:lnTo>
                    <a:pt x="291" y="98"/>
                  </a:lnTo>
                  <a:lnTo>
                    <a:pt x="291" y="98"/>
                  </a:lnTo>
                  <a:lnTo>
                    <a:pt x="291" y="98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6" y="98"/>
                  </a:lnTo>
                  <a:lnTo>
                    <a:pt x="296" y="96"/>
                  </a:lnTo>
                  <a:lnTo>
                    <a:pt x="296" y="94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FD8D2F23-C691-731A-7B35-BA8B67A84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3938" y="4679951"/>
              <a:ext cx="500063" cy="320675"/>
            </a:xfrm>
            <a:custGeom>
              <a:avLst/>
              <a:gdLst>
                <a:gd name="T0" fmla="*/ 280 w 315"/>
                <a:gd name="T1" fmla="*/ 16 h 202"/>
                <a:gd name="T2" fmla="*/ 248 w 315"/>
                <a:gd name="T3" fmla="*/ 9 h 202"/>
                <a:gd name="T4" fmla="*/ 217 w 315"/>
                <a:gd name="T5" fmla="*/ 9 h 202"/>
                <a:gd name="T6" fmla="*/ 179 w 315"/>
                <a:gd name="T7" fmla="*/ 25 h 202"/>
                <a:gd name="T8" fmla="*/ 163 w 315"/>
                <a:gd name="T9" fmla="*/ 38 h 202"/>
                <a:gd name="T10" fmla="*/ 138 w 315"/>
                <a:gd name="T11" fmla="*/ 34 h 202"/>
                <a:gd name="T12" fmla="*/ 71 w 315"/>
                <a:gd name="T13" fmla="*/ 27 h 202"/>
                <a:gd name="T14" fmla="*/ 27 w 315"/>
                <a:gd name="T15" fmla="*/ 25 h 202"/>
                <a:gd name="T16" fmla="*/ 31 w 315"/>
                <a:gd name="T17" fmla="*/ 7 h 202"/>
                <a:gd name="T18" fmla="*/ 13 w 315"/>
                <a:gd name="T19" fmla="*/ 7 h 202"/>
                <a:gd name="T20" fmla="*/ 4 w 315"/>
                <a:gd name="T21" fmla="*/ 16 h 202"/>
                <a:gd name="T22" fmla="*/ 2 w 315"/>
                <a:gd name="T23" fmla="*/ 34 h 202"/>
                <a:gd name="T24" fmla="*/ 8 w 315"/>
                <a:gd name="T25" fmla="*/ 43 h 202"/>
                <a:gd name="T26" fmla="*/ 9 w 315"/>
                <a:gd name="T27" fmla="*/ 50 h 202"/>
                <a:gd name="T28" fmla="*/ 17 w 315"/>
                <a:gd name="T29" fmla="*/ 57 h 202"/>
                <a:gd name="T30" fmla="*/ 29 w 315"/>
                <a:gd name="T31" fmla="*/ 68 h 202"/>
                <a:gd name="T32" fmla="*/ 27 w 315"/>
                <a:gd name="T33" fmla="*/ 81 h 202"/>
                <a:gd name="T34" fmla="*/ 20 w 315"/>
                <a:gd name="T35" fmla="*/ 92 h 202"/>
                <a:gd name="T36" fmla="*/ 6 w 315"/>
                <a:gd name="T37" fmla="*/ 95 h 202"/>
                <a:gd name="T38" fmla="*/ 6 w 315"/>
                <a:gd name="T39" fmla="*/ 106 h 202"/>
                <a:gd name="T40" fmla="*/ 9 w 315"/>
                <a:gd name="T41" fmla="*/ 124 h 202"/>
                <a:gd name="T42" fmla="*/ 9 w 315"/>
                <a:gd name="T43" fmla="*/ 142 h 202"/>
                <a:gd name="T44" fmla="*/ 24 w 315"/>
                <a:gd name="T45" fmla="*/ 150 h 202"/>
                <a:gd name="T46" fmla="*/ 27 w 315"/>
                <a:gd name="T47" fmla="*/ 155 h 202"/>
                <a:gd name="T48" fmla="*/ 31 w 315"/>
                <a:gd name="T49" fmla="*/ 168 h 202"/>
                <a:gd name="T50" fmla="*/ 31 w 315"/>
                <a:gd name="T51" fmla="*/ 178 h 202"/>
                <a:gd name="T52" fmla="*/ 31 w 315"/>
                <a:gd name="T53" fmla="*/ 191 h 202"/>
                <a:gd name="T54" fmla="*/ 45 w 315"/>
                <a:gd name="T55" fmla="*/ 193 h 202"/>
                <a:gd name="T56" fmla="*/ 65 w 315"/>
                <a:gd name="T57" fmla="*/ 193 h 202"/>
                <a:gd name="T58" fmla="*/ 78 w 315"/>
                <a:gd name="T59" fmla="*/ 188 h 202"/>
                <a:gd name="T60" fmla="*/ 85 w 315"/>
                <a:gd name="T61" fmla="*/ 184 h 202"/>
                <a:gd name="T62" fmla="*/ 96 w 315"/>
                <a:gd name="T63" fmla="*/ 180 h 202"/>
                <a:gd name="T64" fmla="*/ 103 w 315"/>
                <a:gd name="T65" fmla="*/ 184 h 202"/>
                <a:gd name="T66" fmla="*/ 112 w 315"/>
                <a:gd name="T67" fmla="*/ 188 h 202"/>
                <a:gd name="T68" fmla="*/ 123 w 315"/>
                <a:gd name="T69" fmla="*/ 195 h 202"/>
                <a:gd name="T70" fmla="*/ 139 w 315"/>
                <a:gd name="T71" fmla="*/ 197 h 202"/>
                <a:gd name="T72" fmla="*/ 159 w 315"/>
                <a:gd name="T73" fmla="*/ 200 h 202"/>
                <a:gd name="T74" fmla="*/ 172 w 315"/>
                <a:gd name="T75" fmla="*/ 197 h 202"/>
                <a:gd name="T76" fmla="*/ 190 w 315"/>
                <a:gd name="T77" fmla="*/ 195 h 202"/>
                <a:gd name="T78" fmla="*/ 192 w 315"/>
                <a:gd name="T79" fmla="*/ 186 h 202"/>
                <a:gd name="T80" fmla="*/ 190 w 315"/>
                <a:gd name="T81" fmla="*/ 177 h 202"/>
                <a:gd name="T82" fmla="*/ 190 w 315"/>
                <a:gd name="T83" fmla="*/ 169 h 202"/>
                <a:gd name="T84" fmla="*/ 203 w 315"/>
                <a:gd name="T85" fmla="*/ 164 h 202"/>
                <a:gd name="T86" fmla="*/ 212 w 315"/>
                <a:gd name="T87" fmla="*/ 157 h 202"/>
                <a:gd name="T88" fmla="*/ 226 w 315"/>
                <a:gd name="T89" fmla="*/ 153 h 202"/>
                <a:gd name="T90" fmla="*/ 233 w 315"/>
                <a:gd name="T91" fmla="*/ 150 h 202"/>
                <a:gd name="T92" fmla="*/ 242 w 315"/>
                <a:gd name="T93" fmla="*/ 148 h 202"/>
                <a:gd name="T94" fmla="*/ 262 w 315"/>
                <a:gd name="T95" fmla="*/ 159 h 202"/>
                <a:gd name="T96" fmla="*/ 264 w 315"/>
                <a:gd name="T97" fmla="*/ 155 h 202"/>
                <a:gd name="T98" fmla="*/ 275 w 315"/>
                <a:gd name="T99" fmla="*/ 151 h 202"/>
                <a:gd name="T100" fmla="*/ 286 w 315"/>
                <a:gd name="T101" fmla="*/ 151 h 202"/>
                <a:gd name="T102" fmla="*/ 278 w 315"/>
                <a:gd name="T103" fmla="*/ 144 h 202"/>
                <a:gd name="T104" fmla="*/ 273 w 315"/>
                <a:gd name="T105" fmla="*/ 135 h 202"/>
                <a:gd name="T106" fmla="*/ 269 w 315"/>
                <a:gd name="T107" fmla="*/ 130 h 202"/>
                <a:gd name="T108" fmla="*/ 268 w 315"/>
                <a:gd name="T109" fmla="*/ 122 h 202"/>
                <a:gd name="T110" fmla="*/ 262 w 315"/>
                <a:gd name="T111" fmla="*/ 121 h 202"/>
                <a:gd name="T112" fmla="*/ 257 w 315"/>
                <a:gd name="T113" fmla="*/ 122 h 202"/>
                <a:gd name="T114" fmla="*/ 266 w 315"/>
                <a:gd name="T115" fmla="*/ 112 h 202"/>
                <a:gd name="T116" fmla="*/ 277 w 315"/>
                <a:gd name="T117" fmla="*/ 104 h 202"/>
                <a:gd name="T118" fmla="*/ 278 w 315"/>
                <a:gd name="T119" fmla="*/ 81 h 202"/>
                <a:gd name="T120" fmla="*/ 284 w 315"/>
                <a:gd name="T121" fmla="*/ 68 h 202"/>
                <a:gd name="T122" fmla="*/ 306 w 315"/>
                <a:gd name="T123" fmla="*/ 5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5" h="202">
                  <a:moveTo>
                    <a:pt x="315" y="47"/>
                  </a:moveTo>
                  <a:lnTo>
                    <a:pt x="315" y="45"/>
                  </a:lnTo>
                  <a:lnTo>
                    <a:pt x="313" y="45"/>
                  </a:lnTo>
                  <a:lnTo>
                    <a:pt x="313" y="43"/>
                  </a:lnTo>
                  <a:lnTo>
                    <a:pt x="313" y="43"/>
                  </a:lnTo>
                  <a:lnTo>
                    <a:pt x="313" y="34"/>
                  </a:lnTo>
                  <a:lnTo>
                    <a:pt x="313" y="34"/>
                  </a:lnTo>
                  <a:lnTo>
                    <a:pt x="306" y="34"/>
                  </a:lnTo>
                  <a:lnTo>
                    <a:pt x="295" y="32"/>
                  </a:lnTo>
                  <a:lnTo>
                    <a:pt x="284" y="27"/>
                  </a:lnTo>
                  <a:lnTo>
                    <a:pt x="282" y="25"/>
                  </a:lnTo>
                  <a:lnTo>
                    <a:pt x="280" y="18"/>
                  </a:lnTo>
                  <a:lnTo>
                    <a:pt x="280" y="16"/>
                  </a:lnTo>
                  <a:lnTo>
                    <a:pt x="280" y="16"/>
                  </a:lnTo>
                  <a:lnTo>
                    <a:pt x="277" y="16"/>
                  </a:lnTo>
                  <a:lnTo>
                    <a:pt x="273" y="18"/>
                  </a:lnTo>
                  <a:lnTo>
                    <a:pt x="269" y="20"/>
                  </a:lnTo>
                  <a:lnTo>
                    <a:pt x="268" y="16"/>
                  </a:lnTo>
                  <a:lnTo>
                    <a:pt x="268" y="16"/>
                  </a:lnTo>
                  <a:lnTo>
                    <a:pt x="266" y="14"/>
                  </a:lnTo>
                  <a:lnTo>
                    <a:pt x="266" y="14"/>
                  </a:lnTo>
                  <a:lnTo>
                    <a:pt x="262" y="14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1" y="12"/>
                  </a:lnTo>
                  <a:lnTo>
                    <a:pt x="251" y="12"/>
                  </a:lnTo>
                  <a:lnTo>
                    <a:pt x="248" y="10"/>
                  </a:lnTo>
                  <a:lnTo>
                    <a:pt x="248" y="9"/>
                  </a:lnTo>
                  <a:lnTo>
                    <a:pt x="248" y="7"/>
                  </a:lnTo>
                  <a:lnTo>
                    <a:pt x="246" y="7"/>
                  </a:lnTo>
                  <a:lnTo>
                    <a:pt x="246" y="7"/>
                  </a:lnTo>
                  <a:lnTo>
                    <a:pt x="246" y="7"/>
                  </a:lnTo>
                  <a:lnTo>
                    <a:pt x="244" y="7"/>
                  </a:lnTo>
                  <a:lnTo>
                    <a:pt x="239" y="5"/>
                  </a:lnTo>
                  <a:lnTo>
                    <a:pt x="235" y="3"/>
                  </a:lnTo>
                  <a:lnTo>
                    <a:pt x="233" y="3"/>
                  </a:lnTo>
                  <a:lnTo>
                    <a:pt x="228" y="5"/>
                  </a:lnTo>
                  <a:lnTo>
                    <a:pt x="222" y="7"/>
                  </a:lnTo>
                  <a:lnTo>
                    <a:pt x="221" y="9"/>
                  </a:lnTo>
                  <a:lnTo>
                    <a:pt x="219" y="9"/>
                  </a:lnTo>
                  <a:lnTo>
                    <a:pt x="219" y="9"/>
                  </a:lnTo>
                  <a:lnTo>
                    <a:pt x="217" y="9"/>
                  </a:lnTo>
                  <a:lnTo>
                    <a:pt x="217" y="9"/>
                  </a:lnTo>
                  <a:lnTo>
                    <a:pt x="217" y="9"/>
                  </a:lnTo>
                  <a:lnTo>
                    <a:pt x="215" y="9"/>
                  </a:lnTo>
                  <a:lnTo>
                    <a:pt x="204" y="10"/>
                  </a:lnTo>
                  <a:lnTo>
                    <a:pt x="201" y="12"/>
                  </a:lnTo>
                  <a:lnTo>
                    <a:pt x="199" y="12"/>
                  </a:lnTo>
                  <a:lnTo>
                    <a:pt x="195" y="14"/>
                  </a:lnTo>
                  <a:lnTo>
                    <a:pt x="192" y="14"/>
                  </a:lnTo>
                  <a:lnTo>
                    <a:pt x="190" y="16"/>
                  </a:lnTo>
                  <a:lnTo>
                    <a:pt x="188" y="18"/>
                  </a:lnTo>
                  <a:lnTo>
                    <a:pt x="186" y="20"/>
                  </a:lnTo>
                  <a:lnTo>
                    <a:pt x="186" y="20"/>
                  </a:lnTo>
                  <a:lnTo>
                    <a:pt x="181" y="25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7" y="29"/>
                  </a:lnTo>
                  <a:lnTo>
                    <a:pt x="176" y="30"/>
                  </a:lnTo>
                  <a:lnTo>
                    <a:pt x="174" y="32"/>
                  </a:lnTo>
                  <a:lnTo>
                    <a:pt x="174" y="32"/>
                  </a:lnTo>
                  <a:lnTo>
                    <a:pt x="174" y="34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66" y="34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5" y="38"/>
                  </a:lnTo>
                  <a:lnTo>
                    <a:pt x="163" y="38"/>
                  </a:lnTo>
                  <a:lnTo>
                    <a:pt x="163" y="38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6" y="39"/>
                  </a:lnTo>
                  <a:lnTo>
                    <a:pt x="154" y="39"/>
                  </a:lnTo>
                  <a:lnTo>
                    <a:pt x="152" y="39"/>
                  </a:lnTo>
                  <a:lnTo>
                    <a:pt x="150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7" y="36"/>
                  </a:lnTo>
                  <a:lnTo>
                    <a:pt x="145" y="36"/>
                  </a:lnTo>
                  <a:lnTo>
                    <a:pt x="138" y="34"/>
                  </a:lnTo>
                  <a:lnTo>
                    <a:pt x="132" y="32"/>
                  </a:lnTo>
                  <a:lnTo>
                    <a:pt x="121" y="34"/>
                  </a:lnTo>
                  <a:lnTo>
                    <a:pt x="120" y="32"/>
                  </a:lnTo>
                  <a:lnTo>
                    <a:pt x="116" y="32"/>
                  </a:lnTo>
                  <a:lnTo>
                    <a:pt x="109" y="29"/>
                  </a:lnTo>
                  <a:lnTo>
                    <a:pt x="107" y="29"/>
                  </a:lnTo>
                  <a:lnTo>
                    <a:pt x="105" y="30"/>
                  </a:lnTo>
                  <a:lnTo>
                    <a:pt x="103" y="32"/>
                  </a:lnTo>
                  <a:lnTo>
                    <a:pt x="101" y="32"/>
                  </a:lnTo>
                  <a:lnTo>
                    <a:pt x="100" y="32"/>
                  </a:lnTo>
                  <a:lnTo>
                    <a:pt x="92" y="32"/>
                  </a:lnTo>
                  <a:lnTo>
                    <a:pt x="91" y="32"/>
                  </a:lnTo>
                  <a:lnTo>
                    <a:pt x="74" y="29"/>
                  </a:lnTo>
                  <a:lnTo>
                    <a:pt x="71" y="27"/>
                  </a:lnTo>
                  <a:lnTo>
                    <a:pt x="69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4" y="27"/>
                  </a:lnTo>
                  <a:lnTo>
                    <a:pt x="58" y="23"/>
                  </a:lnTo>
                  <a:lnTo>
                    <a:pt x="49" y="23"/>
                  </a:lnTo>
                  <a:lnTo>
                    <a:pt x="45" y="23"/>
                  </a:lnTo>
                  <a:lnTo>
                    <a:pt x="44" y="25"/>
                  </a:lnTo>
                  <a:lnTo>
                    <a:pt x="42" y="25"/>
                  </a:lnTo>
                  <a:lnTo>
                    <a:pt x="40" y="25"/>
                  </a:lnTo>
                  <a:lnTo>
                    <a:pt x="36" y="27"/>
                  </a:lnTo>
                  <a:lnTo>
                    <a:pt x="29" y="27"/>
                  </a:lnTo>
                  <a:lnTo>
                    <a:pt x="27" y="27"/>
                  </a:lnTo>
                  <a:lnTo>
                    <a:pt x="27" y="25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5" y="12"/>
                  </a:lnTo>
                  <a:lnTo>
                    <a:pt x="36" y="1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3" y="9"/>
                  </a:lnTo>
                  <a:lnTo>
                    <a:pt x="31" y="7"/>
                  </a:lnTo>
                  <a:lnTo>
                    <a:pt x="29" y="7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9" y="12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5"/>
                  </a:lnTo>
                  <a:lnTo>
                    <a:pt x="2" y="27"/>
                  </a:lnTo>
                  <a:lnTo>
                    <a:pt x="0" y="29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9" y="50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4" y="61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6"/>
                  </a:lnTo>
                  <a:lnTo>
                    <a:pt x="27" y="68"/>
                  </a:lnTo>
                  <a:lnTo>
                    <a:pt x="29" y="68"/>
                  </a:lnTo>
                  <a:lnTo>
                    <a:pt x="29" y="70"/>
                  </a:lnTo>
                  <a:lnTo>
                    <a:pt x="31" y="70"/>
                  </a:lnTo>
                  <a:lnTo>
                    <a:pt x="33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4"/>
                  </a:lnTo>
                  <a:lnTo>
                    <a:pt x="31" y="77"/>
                  </a:lnTo>
                  <a:lnTo>
                    <a:pt x="31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6" y="83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0" y="90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7" y="94"/>
                  </a:lnTo>
                  <a:lnTo>
                    <a:pt x="13" y="92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8" y="94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6" y="95"/>
                  </a:lnTo>
                  <a:lnTo>
                    <a:pt x="6" y="95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101"/>
                  </a:lnTo>
                  <a:lnTo>
                    <a:pt x="8" y="101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8"/>
                  </a:lnTo>
                  <a:lnTo>
                    <a:pt x="6" y="110"/>
                  </a:lnTo>
                  <a:lnTo>
                    <a:pt x="6" y="112"/>
                  </a:lnTo>
                  <a:lnTo>
                    <a:pt x="4" y="113"/>
                  </a:lnTo>
                  <a:lnTo>
                    <a:pt x="6" y="113"/>
                  </a:lnTo>
                  <a:lnTo>
                    <a:pt x="8" y="115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11" y="119"/>
                  </a:lnTo>
                  <a:lnTo>
                    <a:pt x="9" y="121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8" y="124"/>
                  </a:lnTo>
                  <a:lnTo>
                    <a:pt x="8" y="124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6" y="130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2" y="130"/>
                  </a:lnTo>
                  <a:lnTo>
                    <a:pt x="0" y="132"/>
                  </a:lnTo>
                  <a:lnTo>
                    <a:pt x="6" y="137"/>
                  </a:lnTo>
                  <a:lnTo>
                    <a:pt x="8" y="139"/>
                  </a:lnTo>
                  <a:lnTo>
                    <a:pt x="8" y="141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15" y="146"/>
                  </a:lnTo>
                  <a:lnTo>
                    <a:pt x="15" y="146"/>
                  </a:lnTo>
                  <a:lnTo>
                    <a:pt x="17" y="148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20" y="150"/>
                  </a:lnTo>
                  <a:lnTo>
                    <a:pt x="20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6" y="151"/>
                  </a:lnTo>
                  <a:lnTo>
                    <a:pt x="26" y="151"/>
                  </a:lnTo>
                  <a:lnTo>
                    <a:pt x="26" y="151"/>
                  </a:lnTo>
                  <a:lnTo>
                    <a:pt x="26" y="151"/>
                  </a:lnTo>
                  <a:lnTo>
                    <a:pt x="26" y="151"/>
                  </a:lnTo>
                  <a:lnTo>
                    <a:pt x="26" y="153"/>
                  </a:lnTo>
                  <a:lnTo>
                    <a:pt x="26" y="153"/>
                  </a:lnTo>
                  <a:lnTo>
                    <a:pt x="27" y="155"/>
                  </a:lnTo>
                  <a:lnTo>
                    <a:pt x="27" y="157"/>
                  </a:lnTo>
                  <a:lnTo>
                    <a:pt x="27" y="159"/>
                  </a:lnTo>
                  <a:lnTo>
                    <a:pt x="27" y="159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9" y="160"/>
                  </a:lnTo>
                  <a:lnTo>
                    <a:pt x="29" y="160"/>
                  </a:lnTo>
                  <a:lnTo>
                    <a:pt x="29" y="162"/>
                  </a:lnTo>
                  <a:lnTo>
                    <a:pt x="29" y="164"/>
                  </a:lnTo>
                  <a:lnTo>
                    <a:pt x="31" y="166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5" y="169"/>
                  </a:lnTo>
                  <a:lnTo>
                    <a:pt x="35" y="171"/>
                  </a:lnTo>
                  <a:lnTo>
                    <a:pt x="33" y="173"/>
                  </a:lnTo>
                  <a:lnTo>
                    <a:pt x="33" y="173"/>
                  </a:lnTo>
                  <a:lnTo>
                    <a:pt x="33" y="175"/>
                  </a:lnTo>
                  <a:lnTo>
                    <a:pt x="33" y="175"/>
                  </a:lnTo>
                  <a:lnTo>
                    <a:pt x="33" y="175"/>
                  </a:lnTo>
                  <a:lnTo>
                    <a:pt x="31" y="175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8"/>
                  </a:lnTo>
                  <a:lnTo>
                    <a:pt x="31" y="178"/>
                  </a:lnTo>
                  <a:lnTo>
                    <a:pt x="31" y="180"/>
                  </a:lnTo>
                  <a:lnTo>
                    <a:pt x="31" y="180"/>
                  </a:lnTo>
                  <a:lnTo>
                    <a:pt x="31" y="180"/>
                  </a:lnTo>
                  <a:lnTo>
                    <a:pt x="31" y="180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1" y="184"/>
                  </a:lnTo>
                  <a:lnTo>
                    <a:pt x="31" y="188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3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29" y="197"/>
                  </a:lnTo>
                  <a:lnTo>
                    <a:pt x="40" y="198"/>
                  </a:lnTo>
                  <a:lnTo>
                    <a:pt x="42" y="197"/>
                  </a:lnTo>
                  <a:lnTo>
                    <a:pt x="42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7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5" y="193"/>
                  </a:lnTo>
                  <a:lnTo>
                    <a:pt x="45" y="193"/>
                  </a:lnTo>
                  <a:lnTo>
                    <a:pt x="47" y="191"/>
                  </a:lnTo>
                  <a:lnTo>
                    <a:pt x="47" y="191"/>
                  </a:lnTo>
                  <a:lnTo>
                    <a:pt x="49" y="193"/>
                  </a:lnTo>
                  <a:lnTo>
                    <a:pt x="49" y="193"/>
                  </a:lnTo>
                  <a:lnTo>
                    <a:pt x="49" y="195"/>
                  </a:lnTo>
                  <a:lnTo>
                    <a:pt x="51" y="193"/>
                  </a:lnTo>
                  <a:lnTo>
                    <a:pt x="53" y="193"/>
                  </a:lnTo>
                  <a:lnTo>
                    <a:pt x="53" y="193"/>
                  </a:lnTo>
                  <a:lnTo>
                    <a:pt x="55" y="191"/>
                  </a:lnTo>
                  <a:lnTo>
                    <a:pt x="60" y="191"/>
                  </a:lnTo>
                  <a:lnTo>
                    <a:pt x="62" y="193"/>
                  </a:lnTo>
                  <a:lnTo>
                    <a:pt x="64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1"/>
                  </a:lnTo>
                  <a:lnTo>
                    <a:pt x="71" y="191"/>
                  </a:lnTo>
                  <a:lnTo>
                    <a:pt x="71" y="191"/>
                  </a:lnTo>
                  <a:lnTo>
                    <a:pt x="73" y="189"/>
                  </a:lnTo>
                  <a:lnTo>
                    <a:pt x="73" y="189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3" y="189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5" y="188"/>
                  </a:lnTo>
                  <a:lnTo>
                    <a:pt x="85" y="189"/>
                  </a:lnTo>
                  <a:lnTo>
                    <a:pt x="85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6"/>
                  </a:lnTo>
                  <a:lnTo>
                    <a:pt x="85" y="184"/>
                  </a:lnTo>
                  <a:lnTo>
                    <a:pt x="87" y="182"/>
                  </a:lnTo>
                  <a:lnTo>
                    <a:pt x="89" y="182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2" y="182"/>
                  </a:lnTo>
                  <a:lnTo>
                    <a:pt x="94" y="182"/>
                  </a:lnTo>
                  <a:lnTo>
                    <a:pt x="94" y="182"/>
                  </a:lnTo>
                  <a:lnTo>
                    <a:pt x="94" y="182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100" y="184"/>
                  </a:lnTo>
                  <a:lnTo>
                    <a:pt x="100" y="184"/>
                  </a:lnTo>
                  <a:lnTo>
                    <a:pt x="100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3" y="184"/>
                  </a:lnTo>
                  <a:lnTo>
                    <a:pt x="103" y="184"/>
                  </a:lnTo>
                  <a:lnTo>
                    <a:pt x="105" y="184"/>
                  </a:lnTo>
                  <a:lnTo>
                    <a:pt x="105" y="184"/>
                  </a:lnTo>
                  <a:lnTo>
                    <a:pt x="107" y="182"/>
                  </a:lnTo>
                  <a:lnTo>
                    <a:pt x="107" y="182"/>
                  </a:lnTo>
                  <a:lnTo>
                    <a:pt x="109" y="180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2" y="188"/>
                  </a:lnTo>
                  <a:lnTo>
                    <a:pt x="112" y="188"/>
                  </a:lnTo>
                  <a:lnTo>
                    <a:pt x="112" y="188"/>
                  </a:lnTo>
                  <a:lnTo>
                    <a:pt x="112" y="188"/>
                  </a:lnTo>
                  <a:lnTo>
                    <a:pt x="112" y="188"/>
                  </a:lnTo>
                  <a:lnTo>
                    <a:pt x="112" y="188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4" y="189"/>
                  </a:lnTo>
                  <a:lnTo>
                    <a:pt x="114" y="189"/>
                  </a:lnTo>
                  <a:lnTo>
                    <a:pt x="116" y="189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8" y="191"/>
                  </a:lnTo>
                  <a:lnTo>
                    <a:pt x="120" y="191"/>
                  </a:lnTo>
                  <a:lnTo>
                    <a:pt x="120" y="193"/>
                  </a:lnTo>
                  <a:lnTo>
                    <a:pt x="121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3"/>
                  </a:lnTo>
                  <a:lnTo>
                    <a:pt x="123" y="193"/>
                  </a:lnTo>
                  <a:lnTo>
                    <a:pt x="125" y="193"/>
                  </a:lnTo>
                  <a:lnTo>
                    <a:pt x="127" y="191"/>
                  </a:lnTo>
                  <a:lnTo>
                    <a:pt x="127" y="191"/>
                  </a:lnTo>
                  <a:lnTo>
                    <a:pt x="129" y="191"/>
                  </a:lnTo>
                  <a:lnTo>
                    <a:pt x="130" y="193"/>
                  </a:lnTo>
                  <a:lnTo>
                    <a:pt x="138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3" y="198"/>
                  </a:lnTo>
                  <a:lnTo>
                    <a:pt x="145" y="202"/>
                  </a:lnTo>
                  <a:lnTo>
                    <a:pt x="145" y="202"/>
                  </a:lnTo>
                  <a:lnTo>
                    <a:pt x="147" y="202"/>
                  </a:lnTo>
                  <a:lnTo>
                    <a:pt x="148" y="202"/>
                  </a:lnTo>
                  <a:lnTo>
                    <a:pt x="156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9" y="200"/>
                  </a:lnTo>
                  <a:lnTo>
                    <a:pt x="159" y="200"/>
                  </a:lnTo>
                  <a:lnTo>
                    <a:pt x="159" y="200"/>
                  </a:lnTo>
                  <a:lnTo>
                    <a:pt x="159" y="198"/>
                  </a:lnTo>
                  <a:lnTo>
                    <a:pt x="161" y="198"/>
                  </a:lnTo>
                  <a:lnTo>
                    <a:pt x="161" y="198"/>
                  </a:lnTo>
                  <a:lnTo>
                    <a:pt x="161" y="197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8" y="198"/>
                  </a:lnTo>
                  <a:lnTo>
                    <a:pt x="168" y="198"/>
                  </a:lnTo>
                  <a:lnTo>
                    <a:pt x="168" y="198"/>
                  </a:lnTo>
                  <a:lnTo>
                    <a:pt x="168" y="198"/>
                  </a:lnTo>
                  <a:lnTo>
                    <a:pt x="170" y="198"/>
                  </a:lnTo>
                  <a:lnTo>
                    <a:pt x="170" y="197"/>
                  </a:lnTo>
                  <a:lnTo>
                    <a:pt x="172" y="197"/>
                  </a:lnTo>
                  <a:lnTo>
                    <a:pt x="174" y="197"/>
                  </a:lnTo>
                  <a:lnTo>
                    <a:pt x="174" y="197"/>
                  </a:lnTo>
                  <a:lnTo>
                    <a:pt x="176" y="197"/>
                  </a:lnTo>
                  <a:lnTo>
                    <a:pt x="177" y="198"/>
                  </a:lnTo>
                  <a:lnTo>
                    <a:pt x="177" y="198"/>
                  </a:lnTo>
                  <a:lnTo>
                    <a:pt x="179" y="198"/>
                  </a:lnTo>
                  <a:lnTo>
                    <a:pt x="179" y="197"/>
                  </a:lnTo>
                  <a:lnTo>
                    <a:pt x="181" y="197"/>
                  </a:lnTo>
                  <a:lnTo>
                    <a:pt x="181" y="198"/>
                  </a:lnTo>
                  <a:lnTo>
                    <a:pt x="181" y="198"/>
                  </a:lnTo>
                  <a:lnTo>
                    <a:pt x="183" y="197"/>
                  </a:lnTo>
                  <a:lnTo>
                    <a:pt x="185" y="197"/>
                  </a:lnTo>
                  <a:lnTo>
                    <a:pt x="185" y="197"/>
                  </a:lnTo>
                  <a:lnTo>
                    <a:pt x="190" y="195"/>
                  </a:lnTo>
                  <a:lnTo>
                    <a:pt x="190" y="195"/>
                  </a:lnTo>
                  <a:lnTo>
                    <a:pt x="190" y="195"/>
                  </a:lnTo>
                  <a:lnTo>
                    <a:pt x="190" y="193"/>
                  </a:lnTo>
                  <a:lnTo>
                    <a:pt x="192" y="193"/>
                  </a:lnTo>
                  <a:lnTo>
                    <a:pt x="192" y="191"/>
                  </a:lnTo>
                  <a:lnTo>
                    <a:pt x="192" y="189"/>
                  </a:lnTo>
                  <a:lnTo>
                    <a:pt x="192" y="189"/>
                  </a:lnTo>
                  <a:lnTo>
                    <a:pt x="192" y="189"/>
                  </a:lnTo>
                  <a:lnTo>
                    <a:pt x="192" y="189"/>
                  </a:lnTo>
                  <a:lnTo>
                    <a:pt x="192" y="189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2" y="186"/>
                  </a:lnTo>
                  <a:lnTo>
                    <a:pt x="192" y="186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2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0"/>
                  </a:lnTo>
                  <a:lnTo>
                    <a:pt x="190" y="180"/>
                  </a:lnTo>
                  <a:lnTo>
                    <a:pt x="190" y="178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88" y="177"/>
                  </a:lnTo>
                  <a:lnTo>
                    <a:pt x="188" y="177"/>
                  </a:lnTo>
                  <a:lnTo>
                    <a:pt x="186" y="177"/>
                  </a:lnTo>
                  <a:lnTo>
                    <a:pt x="186" y="175"/>
                  </a:lnTo>
                  <a:lnTo>
                    <a:pt x="186" y="175"/>
                  </a:lnTo>
                  <a:lnTo>
                    <a:pt x="186" y="175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1"/>
                  </a:lnTo>
                  <a:lnTo>
                    <a:pt x="186" y="171"/>
                  </a:lnTo>
                  <a:lnTo>
                    <a:pt x="188" y="171"/>
                  </a:lnTo>
                  <a:lnTo>
                    <a:pt x="188" y="171"/>
                  </a:lnTo>
                  <a:lnTo>
                    <a:pt x="190" y="169"/>
                  </a:lnTo>
                  <a:lnTo>
                    <a:pt x="190" y="169"/>
                  </a:lnTo>
                  <a:lnTo>
                    <a:pt x="194" y="169"/>
                  </a:lnTo>
                  <a:lnTo>
                    <a:pt x="194" y="168"/>
                  </a:lnTo>
                  <a:lnTo>
                    <a:pt x="195" y="168"/>
                  </a:lnTo>
                  <a:lnTo>
                    <a:pt x="195" y="169"/>
                  </a:lnTo>
                  <a:lnTo>
                    <a:pt x="197" y="169"/>
                  </a:lnTo>
                  <a:lnTo>
                    <a:pt x="197" y="171"/>
                  </a:lnTo>
                  <a:lnTo>
                    <a:pt x="199" y="171"/>
                  </a:lnTo>
                  <a:lnTo>
                    <a:pt x="201" y="171"/>
                  </a:lnTo>
                  <a:lnTo>
                    <a:pt x="201" y="169"/>
                  </a:lnTo>
                  <a:lnTo>
                    <a:pt x="199" y="169"/>
                  </a:lnTo>
                  <a:lnTo>
                    <a:pt x="199" y="168"/>
                  </a:lnTo>
                  <a:lnTo>
                    <a:pt x="201" y="166"/>
                  </a:lnTo>
                  <a:lnTo>
                    <a:pt x="203" y="164"/>
                  </a:lnTo>
                  <a:lnTo>
                    <a:pt x="208" y="164"/>
                  </a:lnTo>
                  <a:lnTo>
                    <a:pt x="210" y="164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2" y="160"/>
                  </a:lnTo>
                  <a:lnTo>
                    <a:pt x="212" y="160"/>
                  </a:lnTo>
                  <a:lnTo>
                    <a:pt x="212" y="159"/>
                  </a:lnTo>
                  <a:lnTo>
                    <a:pt x="212" y="159"/>
                  </a:lnTo>
                  <a:lnTo>
                    <a:pt x="212" y="159"/>
                  </a:lnTo>
                  <a:lnTo>
                    <a:pt x="212" y="159"/>
                  </a:lnTo>
                  <a:lnTo>
                    <a:pt x="212" y="159"/>
                  </a:lnTo>
                  <a:lnTo>
                    <a:pt x="212" y="157"/>
                  </a:lnTo>
                  <a:lnTo>
                    <a:pt x="212" y="157"/>
                  </a:lnTo>
                  <a:lnTo>
                    <a:pt x="212" y="157"/>
                  </a:lnTo>
                  <a:lnTo>
                    <a:pt x="212" y="157"/>
                  </a:lnTo>
                  <a:lnTo>
                    <a:pt x="212" y="157"/>
                  </a:lnTo>
                  <a:lnTo>
                    <a:pt x="213" y="155"/>
                  </a:lnTo>
                  <a:lnTo>
                    <a:pt x="213" y="153"/>
                  </a:lnTo>
                  <a:lnTo>
                    <a:pt x="215" y="153"/>
                  </a:lnTo>
                  <a:lnTo>
                    <a:pt x="219" y="155"/>
                  </a:lnTo>
                  <a:lnTo>
                    <a:pt x="221" y="155"/>
                  </a:lnTo>
                  <a:lnTo>
                    <a:pt x="221" y="155"/>
                  </a:lnTo>
                  <a:lnTo>
                    <a:pt x="222" y="153"/>
                  </a:lnTo>
                  <a:lnTo>
                    <a:pt x="222" y="153"/>
                  </a:lnTo>
                  <a:lnTo>
                    <a:pt x="222" y="153"/>
                  </a:lnTo>
                  <a:lnTo>
                    <a:pt x="224" y="153"/>
                  </a:lnTo>
                  <a:lnTo>
                    <a:pt x="224" y="153"/>
                  </a:lnTo>
                  <a:lnTo>
                    <a:pt x="226" y="153"/>
                  </a:lnTo>
                  <a:lnTo>
                    <a:pt x="226" y="153"/>
                  </a:lnTo>
                  <a:lnTo>
                    <a:pt x="226" y="153"/>
                  </a:lnTo>
                  <a:lnTo>
                    <a:pt x="226" y="153"/>
                  </a:lnTo>
                  <a:lnTo>
                    <a:pt x="228" y="153"/>
                  </a:lnTo>
                  <a:lnTo>
                    <a:pt x="228" y="153"/>
                  </a:lnTo>
                  <a:lnTo>
                    <a:pt x="228" y="153"/>
                  </a:lnTo>
                  <a:lnTo>
                    <a:pt x="230" y="151"/>
                  </a:lnTo>
                  <a:lnTo>
                    <a:pt x="230" y="151"/>
                  </a:lnTo>
                  <a:lnTo>
                    <a:pt x="230" y="151"/>
                  </a:lnTo>
                  <a:lnTo>
                    <a:pt x="232" y="151"/>
                  </a:lnTo>
                  <a:lnTo>
                    <a:pt x="232" y="151"/>
                  </a:lnTo>
                  <a:lnTo>
                    <a:pt x="232" y="151"/>
                  </a:lnTo>
                  <a:lnTo>
                    <a:pt x="232" y="150"/>
                  </a:lnTo>
                  <a:lnTo>
                    <a:pt x="233" y="150"/>
                  </a:lnTo>
                  <a:lnTo>
                    <a:pt x="233" y="150"/>
                  </a:lnTo>
                  <a:lnTo>
                    <a:pt x="235" y="146"/>
                  </a:lnTo>
                  <a:lnTo>
                    <a:pt x="237" y="146"/>
                  </a:lnTo>
                  <a:lnTo>
                    <a:pt x="237" y="146"/>
                  </a:lnTo>
                  <a:lnTo>
                    <a:pt x="237" y="146"/>
                  </a:lnTo>
                  <a:lnTo>
                    <a:pt x="239" y="146"/>
                  </a:lnTo>
                  <a:lnTo>
                    <a:pt x="239" y="148"/>
                  </a:lnTo>
                  <a:lnTo>
                    <a:pt x="241" y="148"/>
                  </a:lnTo>
                  <a:lnTo>
                    <a:pt x="241" y="148"/>
                  </a:lnTo>
                  <a:lnTo>
                    <a:pt x="241" y="148"/>
                  </a:lnTo>
                  <a:lnTo>
                    <a:pt x="242" y="148"/>
                  </a:lnTo>
                  <a:lnTo>
                    <a:pt x="242" y="148"/>
                  </a:lnTo>
                  <a:lnTo>
                    <a:pt x="242" y="148"/>
                  </a:lnTo>
                  <a:lnTo>
                    <a:pt x="242" y="148"/>
                  </a:lnTo>
                  <a:lnTo>
                    <a:pt x="244" y="146"/>
                  </a:lnTo>
                  <a:lnTo>
                    <a:pt x="244" y="146"/>
                  </a:lnTo>
                  <a:lnTo>
                    <a:pt x="246" y="146"/>
                  </a:lnTo>
                  <a:lnTo>
                    <a:pt x="248" y="146"/>
                  </a:lnTo>
                  <a:lnTo>
                    <a:pt x="250" y="146"/>
                  </a:lnTo>
                  <a:lnTo>
                    <a:pt x="251" y="148"/>
                  </a:lnTo>
                  <a:lnTo>
                    <a:pt x="253" y="151"/>
                  </a:lnTo>
                  <a:lnTo>
                    <a:pt x="253" y="153"/>
                  </a:lnTo>
                  <a:lnTo>
                    <a:pt x="255" y="153"/>
                  </a:lnTo>
                  <a:lnTo>
                    <a:pt x="259" y="155"/>
                  </a:lnTo>
                  <a:lnTo>
                    <a:pt x="259" y="157"/>
                  </a:lnTo>
                  <a:lnTo>
                    <a:pt x="260" y="159"/>
                  </a:lnTo>
                  <a:lnTo>
                    <a:pt x="260" y="159"/>
                  </a:lnTo>
                  <a:lnTo>
                    <a:pt x="262" y="159"/>
                  </a:lnTo>
                  <a:lnTo>
                    <a:pt x="262" y="159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2" y="157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8" y="153"/>
                  </a:lnTo>
                  <a:lnTo>
                    <a:pt x="269" y="153"/>
                  </a:lnTo>
                  <a:lnTo>
                    <a:pt x="273" y="155"/>
                  </a:lnTo>
                  <a:lnTo>
                    <a:pt x="273" y="155"/>
                  </a:lnTo>
                  <a:lnTo>
                    <a:pt x="275" y="155"/>
                  </a:lnTo>
                  <a:lnTo>
                    <a:pt x="275" y="155"/>
                  </a:lnTo>
                  <a:lnTo>
                    <a:pt x="275" y="155"/>
                  </a:lnTo>
                  <a:lnTo>
                    <a:pt x="275" y="155"/>
                  </a:lnTo>
                  <a:lnTo>
                    <a:pt x="275" y="153"/>
                  </a:lnTo>
                  <a:lnTo>
                    <a:pt x="275" y="153"/>
                  </a:lnTo>
                  <a:lnTo>
                    <a:pt x="275" y="151"/>
                  </a:lnTo>
                  <a:lnTo>
                    <a:pt x="275" y="151"/>
                  </a:lnTo>
                  <a:lnTo>
                    <a:pt x="275" y="151"/>
                  </a:lnTo>
                  <a:lnTo>
                    <a:pt x="275" y="151"/>
                  </a:lnTo>
                  <a:lnTo>
                    <a:pt x="275" y="151"/>
                  </a:lnTo>
                  <a:lnTo>
                    <a:pt x="277" y="151"/>
                  </a:lnTo>
                  <a:lnTo>
                    <a:pt x="277" y="151"/>
                  </a:lnTo>
                  <a:lnTo>
                    <a:pt x="278" y="153"/>
                  </a:lnTo>
                  <a:lnTo>
                    <a:pt x="278" y="153"/>
                  </a:lnTo>
                  <a:lnTo>
                    <a:pt x="280" y="153"/>
                  </a:lnTo>
                  <a:lnTo>
                    <a:pt x="282" y="153"/>
                  </a:lnTo>
                  <a:lnTo>
                    <a:pt x="282" y="153"/>
                  </a:lnTo>
                  <a:lnTo>
                    <a:pt x="284" y="153"/>
                  </a:lnTo>
                  <a:lnTo>
                    <a:pt x="284" y="153"/>
                  </a:lnTo>
                  <a:lnTo>
                    <a:pt x="284" y="153"/>
                  </a:lnTo>
                  <a:lnTo>
                    <a:pt x="286" y="151"/>
                  </a:lnTo>
                  <a:lnTo>
                    <a:pt x="286" y="151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48"/>
                  </a:lnTo>
                  <a:lnTo>
                    <a:pt x="284" y="148"/>
                  </a:lnTo>
                  <a:lnTo>
                    <a:pt x="284" y="148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78" y="144"/>
                  </a:lnTo>
                  <a:lnTo>
                    <a:pt x="278" y="142"/>
                  </a:lnTo>
                  <a:lnTo>
                    <a:pt x="278" y="141"/>
                  </a:lnTo>
                  <a:lnTo>
                    <a:pt x="277" y="141"/>
                  </a:lnTo>
                  <a:lnTo>
                    <a:pt x="277" y="141"/>
                  </a:lnTo>
                  <a:lnTo>
                    <a:pt x="277" y="141"/>
                  </a:lnTo>
                  <a:lnTo>
                    <a:pt x="277" y="139"/>
                  </a:lnTo>
                  <a:lnTo>
                    <a:pt x="277" y="139"/>
                  </a:lnTo>
                  <a:lnTo>
                    <a:pt x="275" y="139"/>
                  </a:lnTo>
                  <a:lnTo>
                    <a:pt x="275" y="139"/>
                  </a:lnTo>
                  <a:lnTo>
                    <a:pt x="275" y="137"/>
                  </a:lnTo>
                  <a:lnTo>
                    <a:pt x="275" y="137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1" y="135"/>
                  </a:lnTo>
                  <a:lnTo>
                    <a:pt x="271" y="133"/>
                  </a:lnTo>
                  <a:lnTo>
                    <a:pt x="271" y="132"/>
                  </a:lnTo>
                  <a:lnTo>
                    <a:pt x="273" y="132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69" y="130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9" y="124"/>
                  </a:lnTo>
                  <a:lnTo>
                    <a:pt x="269" y="124"/>
                  </a:lnTo>
                  <a:lnTo>
                    <a:pt x="269" y="124"/>
                  </a:lnTo>
                  <a:lnTo>
                    <a:pt x="269" y="124"/>
                  </a:lnTo>
                  <a:lnTo>
                    <a:pt x="269" y="124"/>
                  </a:lnTo>
                  <a:lnTo>
                    <a:pt x="269" y="124"/>
                  </a:lnTo>
                  <a:lnTo>
                    <a:pt x="269" y="124"/>
                  </a:lnTo>
                  <a:lnTo>
                    <a:pt x="268" y="122"/>
                  </a:lnTo>
                  <a:lnTo>
                    <a:pt x="268" y="124"/>
                  </a:lnTo>
                  <a:lnTo>
                    <a:pt x="266" y="124"/>
                  </a:lnTo>
                  <a:lnTo>
                    <a:pt x="266" y="122"/>
                  </a:lnTo>
                  <a:lnTo>
                    <a:pt x="266" y="121"/>
                  </a:lnTo>
                  <a:lnTo>
                    <a:pt x="266" y="121"/>
                  </a:lnTo>
                  <a:lnTo>
                    <a:pt x="266" y="121"/>
                  </a:lnTo>
                  <a:lnTo>
                    <a:pt x="266" y="121"/>
                  </a:lnTo>
                  <a:lnTo>
                    <a:pt x="266" y="121"/>
                  </a:lnTo>
                  <a:lnTo>
                    <a:pt x="266" y="121"/>
                  </a:lnTo>
                  <a:lnTo>
                    <a:pt x="264" y="121"/>
                  </a:lnTo>
                  <a:lnTo>
                    <a:pt x="264" y="121"/>
                  </a:lnTo>
                  <a:lnTo>
                    <a:pt x="264" y="121"/>
                  </a:lnTo>
                  <a:lnTo>
                    <a:pt x="264" y="121"/>
                  </a:lnTo>
                  <a:lnTo>
                    <a:pt x="262" y="121"/>
                  </a:lnTo>
                  <a:lnTo>
                    <a:pt x="262" y="121"/>
                  </a:lnTo>
                  <a:lnTo>
                    <a:pt x="262" y="121"/>
                  </a:lnTo>
                  <a:lnTo>
                    <a:pt x="260" y="121"/>
                  </a:lnTo>
                  <a:lnTo>
                    <a:pt x="260" y="121"/>
                  </a:lnTo>
                  <a:lnTo>
                    <a:pt x="260" y="122"/>
                  </a:lnTo>
                  <a:lnTo>
                    <a:pt x="260" y="122"/>
                  </a:lnTo>
                  <a:lnTo>
                    <a:pt x="259" y="122"/>
                  </a:lnTo>
                  <a:lnTo>
                    <a:pt x="257" y="121"/>
                  </a:lnTo>
                  <a:lnTo>
                    <a:pt x="257" y="122"/>
                  </a:lnTo>
                  <a:lnTo>
                    <a:pt x="257" y="122"/>
                  </a:lnTo>
                  <a:lnTo>
                    <a:pt x="257" y="122"/>
                  </a:lnTo>
                  <a:lnTo>
                    <a:pt x="257" y="122"/>
                  </a:lnTo>
                  <a:lnTo>
                    <a:pt x="257" y="122"/>
                  </a:lnTo>
                  <a:lnTo>
                    <a:pt x="257" y="122"/>
                  </a:lnTo>
                  <a:lnTo>
                    <a:pt x="257" y="121"/>
                  </a:lnTo>
                  <a:lnTo>
                    <a:pt x="257" y="121"/>
                  </a:lnTo>
                  <a:lnTo>
                    <a:pt x="257" y="121"/>
                  </a:lnTo>
                  <a:lnTo>
                    <a:pt x="257" y="119"/>
                  </a:lnTo>
                  <a:lnTo>
                    <a:pt x="257" y="119"/>
                  </a:lnTo>
                  <a:lnTo>
                    <a:pt x="259" y="119"/>
                  </a:lnTo>
                  <a:lnTo>
                    <a:pt x="259" y="117"/>
                  </a:lnTo>
                  <a:lnTo>
                    <a:pt x="259" y="115"/>
                  </a:lnTo>
                  <a:lnTo>
                    <a:pt x="259" y="115"/>
                  </a:lnTo>
                  <a:lnTo>
                    <a:pt x="260" y="113"/>
                  </a:lnTo>
                  <a:lnTo>
                    <a:pt x="266" y="113"/>
                  </a:lnTo>
                  <a:lnTo>
                    <a:pt x="266" y="113"/>
                  </a:lnTo>
                  <a:lnTo>
                    <a:pt x="266" y="113"/>
                  </a:lnTo>
                  <a:lnTo>
                    <a:pt x="266" y="112"/>
                  </a:lnTo>
                  <a:lnTo>
                    <a:pt x="266" y="110"/>
                  </a:lnTo>
                  <a:lnTo>
                    <a:pt x="266" y="108"/>
                  </a:lnTo>
                  <a:lnTo>
                    <a:pt x="268" y="108"/>
                  </a:lnTo>
                  <a:lnTo>
                    <a:pt x="269" y="108"/>
                  </a:lnTo>
                  <a:lnTo>
                    <a:pt x="271" y="108"/>
                  </a:lnTo>
                  <a:lnTo>
                    <a:pt x="269" y="106"/>
                  </a:lnTo>
                  <a:lnTo>
                    <a:pt x="269" y="106"/>
                  </a:lnTo>
                  <a:lnTo>
                    <a:pt x="269" y="106"/>
                  </a:lnTo>
                  <a:lnTo>
                    <a:pt x="269" y="104"/>
                  </a:lnTo>
                  <a:lnTo>
                    <a:pt x="269" y="104"/>
                  </a:lnTo>
                  <a:lnTo>
                    <a:pt x="271" y="103"/>
                  </a:lnTo>
                  <a:lnTo>
                    <a:pt x="271" y="103"/>
                  </a:lnTo>
                  <a:lnTo>
                    <a:pt x="273" y="103"/>
                  </a:lnTo>
                  <a:lnTo>
                    <a:pt x="277" y="104"/>
                  </a:lnTo>
                  <a:lnTo>
                    <a:pt x="278" y="104"/>
                  </a:lnTo>
                  <a:lnTo>
                    <a:pt x="278" y="103"/>
                  </a:lnTo>
                  <a:lnTo>
                    <a:pt x="278" y="103"/>
                  </a:lnTo>
                  <a:lnTo>
                    <a:pt x="278" y="99"/>
                  </a:lnTo>
                  <a:lnTo>
                    <a:pt x="278" y="97"/>
                  </a:lnTo>
                  <a:lnTo>
                    <a:pt x="278" y="95"/>
                  </a:lnTo>
                  <a:lnTo>
                    <a:pt x="278" y="94"/>
                  </a:lnTo>
                  <a:lnTo>
                    <a:pt x="278" y="94"/>
                  </a:lnTo>
                  <a:lnTo>
                    <a:pt x="278" y="92"/>
                  </a:lnTo>
                  <a:lnTo>
                    <a:pt x="278" y="88"/>
                  </a:lnTo>
                  <a:lnTo>
                    <a:pt x="278" y="86"/>
                  </a:lnTo>
                  <a:lnTo>
                    <a:pt x="278" y="83"/>
                  </a:lnTo>
                  <a:lnTo>
                    <a:pt x="278" y="83"/>
                  </a:lnTo>
                  <a:lnTo>
                    <a:pt x="278" y="81"/>
                  </a:lnTo>
                  <a:lnTo>
                    <a:pt x="278" y="81"/>
                  </a:lnTo>
                  <a:lnTo>
                    <a:pt x="278" y="81"/>
                  </a:lnTo>
                  <a:lnTo>
                    <a:pt x="280" y="79"/>
                  </a:lnTo>
                  <a:lnTo>
                    <a:pt x="280" y="76"/>
                  </a:lnTo>
                  <a:lnTo>
                    <a:pt x="280" y="74"/>
                  </a:lnTo>
                  <a:lnTo>
                    <a:pt x="282" y="72"/>
                  </a:lnTo>
                  <a:lnTo>
                    <a:pt x="280" y="72"/>
                  </a:lnTo>
                  <a:lnTo>
                    <a:pt x="278" y="70"/>
                  </a:lnTo>
                  <a:lnTo>
                    <a:pt x="278" y="70"/>
                  </a:lnTo>
                  <a:lnTo>
                    <a:pt x="280" y="70"/>
                  </a:lnTo>
                  <a:lnTo>
                    <a:pt x="280" y="70"/>
                  </a:lnTo>
                  <a:lnTo>
                    <a:pt x="280" y="70"/>
                  </a:lnTo>
                  <a:lnTo>
                    <a:pt x="284" y="68"/>
                  </a:lnTo>
                  <a:lnTo>
                    <a:pt x="284" y="68"/>
                  </a:lnTo>
                  <a:lnTo>
                    <a:pt x="286" y="66"/>
                  </a:lnTo>
                  <a:lnTo>
                    <a:pt x="287" y="59"/>
                  </a:lnTo>
                  <a:lnTo>
                    <a:pt x="289" y="59"/>
                  </a:lnTo>
                  <a:lnTo>
                    <a:pt x="289" y="57"/>
                  </a:lnTo>
                  <a:lnTo>
                    <a:pt x="291" y="56"/>
                  </a:lnTo>
                  <a:lnTo>
                    <a:pt x="293" y="56"/>
                  </a:lnTo>
                  <a:lnTo>
                    <a:pt x="297" y="56"/>
                  </a:lnTo>
                  <a:lnTo>
                    <a:pt x="297" y="56"/>
                  </a:lnTo>
                  <a:lnTo>
                    <a:pt x="298" y="56"/>
                  </a:lnTo>
                  <a:lnTo>
                    <a:pt x="300" y="56"/>
                  </a:lnTo>
                  <a:lnTo>
                    <a:pt x="302" y="56"/>
                  </a:lnTo>
                  <a:lnTo>
                    <a:pt x="304" y="56"/>
                  </a:lnTo>
                  <a:lnTo>
                    <a:pt x="304" y="56"/>
                  </a:lnTo>
                  <a:lnTo>
                    <a:pt x="306" y="57"/>
                  </a:lnTo>
                  <a:lnTo>
                    <a:pt x="307" y="57"/>
                  </a:lnTo>
                  <a:lnTo>
                    <a:pt x="307" y="59"/>
                  </a:lnTo>
                  <a:lnTo>
                    <a:pt x="307" y="57"/>
                  </a:lnTo>
                  <a:lnTo>
                    <a:pt x="307" y="57"/>
                  </a:lnTo>
                  <a:lnTo>
                    <a:pt x="309" y="56"/>
                  </a:lnTo>
                  <a:lnTo>
                    <a:pt x="311" y="54"/>
                  </a:lnTo>
                  <a:lnTo>
                    <a:pt x="311" y="54"/>
                  </a:lnTo>
                  <a:lnTo>
                    <a:pt x="313" y="54"/>
                  </a:lnTo>
                  <a:lnTo>
                    <a:pt x="313" y="52"/>
                  </a:lnTo>
                  <a:lnTo>
                    <a:pt x="313" y="48"/>
                  </a:lnTo>
                  <a:lnTo>
                    <a:pt x="315" y="47"/>
                  </a:lnTo>
                  <a:lnTo>
                    <a:pt x="315" y="47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939E4906-21D0-08D0-A480-BA09FBF68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4562476"/>
              <a:ext cx="309563" cy="296863"/>
            </a:xfrm>
            <a:custGeom>
              <a:avLst/>
              <a:gdLst>
                <a:gd name="T0" fmla="*/ 188 w 195"/>
                <a:gd name="T1" fmla="*/ 81 h 187"/>
                <a:gd name="T2" fmla="*/ 182 w 195"/>
                <a:gd name="T3" fmla="*/ 77 h 187"/>
                <a:gd name="T4" fmla="*/ 175 w 195"/>
                <a:gd name="T5" fmla="*/ 70 h 187"/>
                <a:gd name="T6" fmla="*/ 170 w 195"/>
                <a:gd name="T7" fmla="*/ 59 h 187"/>
                <a:gd name="T8" fmla="*/ 173 w 195"/>
                <a:gd name="T9" fmla="*/ 48 h 187"/>
                <a:gd name="T10" fmla="*/ 180 w 195"/>
                <a:gd name="T11" fmla="*/ 38 h 187"/>
                <a:gd name="T12" fmla="*/ 180 w 195"/>
                <a:gd name="T13" fmla="*/ 27 h 187"/>
                <a:gd name="T14" fmla="*/ 175 w 195"/>
                <a:gd name="T15" fmla="*/ 25 h 187"/>
                <a:gd name="T16" fmla="*/ 166 w 195"/>
                <a:gd name="T17" fmla="*/ 28 h 187"/>
                <a:gd name="T18" fmla="*/ 152 w 195"/>
                <a:gd name="T19" fmla="*/ 23 h 187"/>
                <a:gd name="T20" fmla="*/ 153 w 195"/>
                <a:gd name="T21" fmla="*/ 19 h 187"/>
                <a:gd name="T22" fmla="*/ 146 w 195"/>
                <a:gd name="T23" fmla="*/ 14 h 187"/>
                <a:gd name="T24" fmla="*/ 144 w 195"/>
                <a:gd name="T25" fmla="*/ 12 h 187"/>
                <a:gd name="T26" fmla="*/ 141 w 195"/>
                <a:gd name="T27" fmla="*/ 14 h 187"/>
                <a:gd name="T28" fmla="*/ 134 w 195"/>
                <a:gd name="T29" fmla="*/ 10 h 187"/>
                <a:gd name="T30" fmla="*/ 123 w 195"/>
                <a:gd name="T31" fmla="*/ 12 h 187"/>
                <a:gd name="T32" fmla="*/ 114 w 195"/>
                <a:gd name="T33" fmla="*/ 9 h 187"/>
                <a:gd name="T34" fmla="*/ 99 w 195"/>
                <a:gd name="T35" fmla="*/ 9 h 187"/>
                <a:gd name="T36" fmla="*/ 88 w 195"/>
                <a:gd name="T37" fmla="*/ 10 h 187"/>
                <a:gd name="T38" fmla="*/ 85 w 195"/>
                <a:gd name="T39" fmla="*/ 9 h 187"/>
                <a:gd name="T40" fmla="*/ 76 w 195"/>
                <a:gd name="T41" fmla="*/ 9 h 187"/>
                <a:gd name="T42" fmla="*/ 63 w 195"/>
                <a:gd name="T43" fmla="*/ 3 h 187"/>
                <a:gd name="T44" fmla="*/ 61 w 195"/>
                <a:gd name="T45" fmla="*/ 3 h 187"/>
                <a:gd name="T46" fmla="*/ 58 w 195"/>
                <a:gd name="T47" fmla="*/ 1 h 187"/>
                <a:gd name="T48" fmla="*/ 52 w 195"/>
                <a:gd name="T49" fmla="*/ 7 h 187"/>
                <a:gd name="T50" fmla="*/ 32 w 195"/>
                <a:gd name="T51" fmla="*/ 12 h 187"/>
                <a:gd name="T52" fmla="*/ 25 w 195"/>
                <a:gd name="T53" fmla="*/ 18 h 187"/>
                <a:gd name="T54" fmla="*/ 14 w 195"/>
                <a:gd name="T55" fmla="*/ 5 h 187"/>
                <a:gd name="T56" fmla="*/ 2 w 195"/>
                <a:gd name="T57" fmla="*/ 7 h 187"/>
                <a:gd name="T58" fmla="*/ 0 w 195"/>
                <a:gd name="T59" fmla="*/ 25 h 187"/>
                <a:gd name="T60" fmla="*/ 0 w 195"/>
                <a:gd name="T61" fmla="*/ 36 h 187"/>
                <a:gd name="T62" fmla="*/ 5 w 195"/>
                <a:gd name="T63" fmla="*/ 39 h 187"/>
                <a:gd name="T64" fmla="*/ 9 w 195"/>
                <a:gd name="T65" fmla="*/ 41 h 187"/>
                <a:gd name="T66" fmla="*/ 14 w 195"/>
                <a:gd name="T67" fmla="*/ 47 h 187"/>
                <a:gd name="T68" fmla="*/ 18 w 195"/>
                <a:gd name="T69" fmla="*/ 52 h 187"/>
                <a:gd name="T70" fmla="*/ 20 w 195"/>
                <a:gd name="T71" fmla="*/ 63 h 187"/>
                <a:gd name="T72" fmla="*/ 23 w 195"/>
                <a:gd name="T73" fmla="*/ 66 h 187"/>
                <a:gd name="T74" fmla="*/ 29 w 195"/>
                <a:gd name="T75" fmla="*/ 83 h 187"/>
                <a:gd name="T76" fmla="*/ 38 w 195"/>
                <a:gd name="T77" fmla="*/ 90 h 187"/>
                <a:gd name="T78" fmla="*/ 49 w 195"/>
                <a:gd name="T79" fmla="*/ 104 h 187"/>
                <a:gd name="T80" fmla="*/ 78 w 195"/>
                <a:gd name="T81" fmla="*/ 128 h 187"/>
                <a:gd name="T82" fmla="*/ 85 w 195"/>
                <a:gd name="T83" fmla="*/ 148 h 187"/>
                <a:gd name="T84" fmla="*/ 96 w 195"/>
                <a:gd name="T85" fmla="*/ 162 h 187"/>
                <a:gd name="T86" fmla="*/ 97 w 195"/>
                <a:gd name="T87" fmla="*/ 164 h 187"/>
                <a:gd name="T88" fmla="*/ 105 w 195"/>
                <a:gd name="T89" fmla="*/ 166 h 187"/>
                <a:gd name="T90" fmla="*/ 124 w 195"/>
                <a:gd name="T91" fmla="*/ 184 h 187"/>
                <a:gd name="T92" fmla="*/ 135 w 195"/>
                <a:gd name="T93" fmla="*/ 187 h 187"/>
                <a:gd name="T94" fmla="*/ 139 w 195"/>
                <a:gd name="T95" fmla="*/ 186 h 187"/>
                <a:gd name="T96" fmla="*/ 135 w 195"/>
                <a:gd name="T97" fmla="*/ 171 h 187"/>
                <a:gd name="T98" fmla="*/ 137 w 195"/>
                <a:gd name="T99" fmla="*/ 157 h 187"/>
                <a:gd name="T100" fmla="*/ 146 w 195"/>
                <a:gd name="T101" fmla="*/ 142 h 187"/>
                <a:gd name="T102" fmla="*/ 161 w 195"/>
                <a:gd name="T103" fmla="*/ 135 h 187"/>
                <a:gd name="T104" fmla="*/ 164 w 195"/>
                <a:gd name="T105" fmla="*/ 139 h 187"/>
                <a:gd name="T106" fmla="*/ 162 w 195"/>
                <a:gd name="T107" fmla="*/ 128 h 187"/>
                <a:gd name="T108" fmla="*/ 159 w 195"/>
                <a:gd name="T109" fmla="*/ 124 h 187"/>
                <a:gd name="T110" fmla="*/ 168 w 195"/>
                <a:gd name="T111" fmla="*/ 124 h 187"/>
                <a:gd name="T112" fmla="*/ 179 w 195"/>
                <a:gd name="T113" fmla="*/ 117 h 187"/>
                <a:gd name="T114" fmla="*/ 184 w 195"/>
                <a:gd name="T115" fmla="*/ 121 h 187"/>
                <a:gd name="T116" fmla="*/ 188 w 195"/>
                <a:gd name="T117" fmla="*/ 115 h 187"/>
                <a:gd name="T118" fmla="*/ 175 w 195"/>
                <a:gd name="T119" fmla="*/ 92 h 187"/>
                <a:gd name="T120" fmla="*/ 180 w 195"/>
                <a:gd name="T121" fmla="*/ 90 h 187"/>
                <a:gd name="T122" fmla="*/ 193 w 195"/>
                <a:gd name="T123" fmla="*/ 8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5" h="187">
                  <a:moveTo>
                    <a:pt x="193" y="86"/>
                  </a:moveTo>
                  <a:lnTo>
                    <a:pt x="193" y="84"/>
                  </a:lnTo>
                  <a:lnTo>
                    <a:pt x="193" y="84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1" y="84"/>
                  </a:lnTo>
                  <a:lnTo>
                    <a:pt x="191" y="84"/>
                  </a:lnTo>
                  <a:lnTo>
                    <a:pt x="189" y="83"/>
                  </a:lnTo>
                  <a:lnTo>
                    <a:pt x="189" y="83"/>
                  </a:lnTo>
                  <a:lnTo>
                    <a:pt x="188" y="81"/>
                  </a:lnTo>
                  <a:lnTo>
                    <a:pt x="188" y="81"/>
                  </a:lnTo>
                  <a:lnTo>
                    <a:pt x="188" y="81"/>
                  </a:lnTo>
                  <a:lnTo>
                    <a:pt x="188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4" y="79"/>
                  </a:lnTo>
                  <a:lnTo>
                    <a:pt x="182" y="77"/>
                  </a:lnTo>
                  <a:lnTo>
                    <a:pt x="182" y="75"/>
                  </a:lnTo>
                  <a:lnTo>
                    <a:pt x="180" y="75"/>
                  </a:lnTo>
                  <a:lnTo>
                    <a:pt x="180" y="74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79" y="70"/>
                  </a:lnTo>
                  <a:lnTo>
                    <a:pt x="179" y="70"/>
                  </a:lnTo>
                  <a:lnTo>
                    <a:pt x="177" y="70"/>
                  </a:lnTo>
                  <a:lnTo>
                    <a:pt x="175" y="70"/>
                  </a:lnTo>
                  <a:lnTo>
                    <a:pt x="175" y="70"/>
                  </a:lnTo>
                  <a:lnTo>
                    <a:pt x="175" y="70"/>
                  </a:lnTo>
                  <a:lnTo>
                    <a:pt x="171" y="70"/>
                  </a:lnTo>
                  <a:lnTo>
                    <a:pt x="171" y="68"/>
                  </a:lnTo>
                  <a:lnTo>
                    <a:pt x="170" y="68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3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70" y="59"/>
                  </a:lnTo>
                  <a:lnTo>
                    <a:pt x="171" y="57"/>
                  </a:lnTo>
                  <a:lnTo>
                    <a:pt x="170" y="54"/>
                  </a:lnTo>
                  <a:lnTo>
                    <a:pt x="170" y="54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3" y="52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7" y="45"/>
                  </a:lnTo>
                  <a:lnTo>
                    <a:pt x="177" y="43"/>
                  </a:lnTo>
                  <a:lnTo>
                    <a:pt x="177" y="41"/>
                  </a:lnTo>
                  <a:lnTo>
                    <a:pt x="179" y="41"/>
                  </a:lnTo>
                  <a:lnTo>
                    <a:pt x="179" y="39"/>
                  </a:lnTo>
                  <a:lnTo>
                    <a:pt x="179" y="39"/>
                  </a:lnTo>
                  <a:lnTo>
                    <a:pt x="180" y="38"/>
                  </a:lnTo>
                  <a:lnTo>
                    <a:pt x="182" y="30"/>
                  </a:lnTo>
                  <a:lnTo>
                    <a:pt x="182" y="28"/>
                  </a:lnTo>
                  <a:lnTo>
                    <a:pt x="182" y="28"/>
                  </a:lnTo>
                  <a:lnTo>
                    <a:pt x="182" y="28"/>
                  </a:lnTo>
                  <a:lnTo>
                    <a:pt x="182" y="28"/>
                  </a:lnTo>
                  <a:lnTo>
                    <a:pt x="182" y="28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79" y="25"/>
                  </a:lnTo>
                  <a:lnTo>
                    <a:pt x="179" y="25"/>
                  </a:lnTo>
                  <a:lnTo>
                    <a:pt x="179" y="25"/>
                  </a:lnTo>
                  <a:lnTo>
                    <a:pt x="177" y="27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1" y="25"/>
                  </a:lnTo>
                  <a:lnTo>
                    <a:pt x="168" y="28"/>
                  </a:lnTo>
                  <a:lnTo>
                    <a:pt x="166" y="28"/>
                  </a:lnTo>
                  <a:lnTo>
                    <a:pt x="166" y="28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57" y="28"/>
                  </a:lnTo>
                  <a:lnTo>
                    <a:pt x="157" y="28"/>
                  </a:lnTo>
                  <a:lnTo>
                    <a:pt x="155" y="28"/>
                  </a:lnTo>
                  <a:lnTo>
                    <a:pt x="155" y="28"/>
                  </a:lnTo>
                  <a:lnTo>
                    <a:pt x="153" y="27"/>
                  </a:lnTo>
                  <a:lnTo>
                    <a:pt x="153" y="25"/>
                  </a:lnTo>
                  <a:lnTo>
                    <a:pt x="152" y="23"/>
                  </a:lnTo>
                  <a:lnTo>
                    <a:pt x="152" y="23"/>
                  </a:lnTo>
                  <a:lnTo>
                    <a:pt x="153" y="21"/>
                  </a:lnTo>
                  <a:lnTo>
                    <a:pt x="153" y="21"/>
                  </a:lnTo>
                  <a:lnTo>
                    <a:pt x="153" y="21"/>
                  </a:lnTo>
                  <a:lnTo>
                    <a:pt x="153" y="21"/>
                  </a:lnTo>
                  <a:lnTo>
                    <a:pt x="153" y="21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3" y="19"/>
                  </a:lnTo>
                  <a:lnTo>
                    <a:pt x="152" y="19"/>
                  </a:lnTo>
                  <a:lnTo>
                    <a:pt x="152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4" y="14"/>
                  </a:lnTo>
                  <a:lnTo>
                    <a:pt x="144" y="14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41" y="16"/>
                  </a:lnTo>
                  <a:lnTo>
                    <a:pt x="139" y="16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5" y="12"/>
                  </a:lnTo>
                  <a:lnTo>
                    <a:pt x="134" y="12"/>
                  </a:lnTo>
                  <a:lnTo>
                    <a:pt x="134" y="10"/>
                  </a:lnTo>
                  <a:lnTo>
                    <a:pt x="130" y="10"/>
                  </a:lnTo>
                  <a:lnTo>
                    <a:pt x="128" y="10"/>
                  </a:lnTo>
                  <a:lnTo>
                    <a:pt x="126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3" y="9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7" y="12"/>
                  </a:lnTo>
                  <a:lnTo>
                    <a:pt x="115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0" y="12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3" y="14"/>
                  </a:lnTo>
                  <a:lnTo>
                    <a:pt x="101" y="10"/>
                  </a:lnTo>
                  <a:lnTo>
                    <a:pt x="99" y="9"/>
                  </a:lnTo>
                  <a:lnTo>
                    <a:pt x="97" y="9"/>
                  </a:lnTo>
                  <a:lnTo>
                    <a:pt x="96" y="7"/>
                  </a:lnTo>
                  <a:lnTo>
                    <a:pt x="96" y="9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7" y="10"/>
                  </a:lnTo>
                  <a:lnTo>
                    <a:pt x="88" y="10"/>
                  </a:lnTo>
                  <a:lnTo>
                    <a:pt x="88" y="9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8" y="7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4" y="9"/>
                  </a:lnTo>
                  <a:lnTo>
                    <a:pt x="72" y="9"/>
                  </a:lnTo>
                  <a:lnTo>
                    <a:pt x="70" y="7"/>
                  </a:lnTo>
                  <a:lnTo>
                    <a:pt x="69" y="7"/>
                  </a:lnTo>
                  <a:lnTo>
                    <a:pt x="67" y="5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1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59" y="1"/>
                  </a:lnTo>
                  <a:lnTo>
                    <a:pt x="61" y="1"/>
                  </a:lnTo>
                  <a:lnTo>
                    <a:pt x="59" y="1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8" y="0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6" y="1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2" y="7"/>
                  </a:lnTo>
                  <a:lnTo>
                    <a:pt x="43" y="3"/>
                  </a:lnTo>
                  <a:lnTo>
                    <a:pt x="40" y="3"/>
                  </a:lnTo>
                  <a:lnTo>
                    <a:pt x="38" y="5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1" y="16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29" y="19"/>
                  </a:lnTo>
                  <a:lnTo>
                    <a:pt x="27" y="19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8" y="9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9" y="39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6" y="47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22" y="59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70"/>
                  </a:lnTo>
                  <a:lnTo>
                    <a:pt x="23" y="72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4" y="84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8"/>
                  </a:lnTo>
                  <a:lnTo>
                    <a:pt x="36" y="88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40" y="90"/>
                  </a:lnTo>
                  <a:lnTo>
                    <a:pt x="40" y="92"/>
                  </a:lnTo>
                  <a:lnTo>
                    <a:pt x="41" y="94"/>
                  </a:lnTo>
                  <a:lnTo>
                    <a:pt x="43" y="95"/>
                  </a:lnTo>
                  <a:lnTo>
                    <a:pt x="45" y="99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9" y="103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54" y="110"/>
                  </a:lnTo>
                  <a:lnTo>
                    <a:pt x="63" y="117"/>
                  </a:lnTo>
                  <a:lnTo>
                    <a:pt x="65" y="121"/>
                  </a:lnTo>
                  <a:lnTo>
                    <a:pt x="67" y="122"/>
                  </a:lnTo>
                  <a:lnTo>
                    <a:pt x="67" y="122"/>
                  </a:lnTo>
                  <a:lnTo>
                    <a:pt x="70" y="124"/>
                  </a:lnTo>
                  <a:lnTo>
                    <a:pt x="76" y="126"/>
                  </a:lnTo>
                  <a:lnTo>
                    <a:pt x="78" y="126"/>
                  </a:lnTo>
                  <a:lnTo>
                    <a:pt x="78" y="128"/>
                  </a:lnTo>
                  <a:lnTo>
                    <a:pt x="78" y="133"/>
                  </a:lnTo>
                  <a:lnTo>
                    <a:pt x="78" y="137"/>
                  </a:lnTo>
                  <a:lnTo>
                    <a:pt x="79" y="140"/>
                  </a:lnTo>
                  <a:lnTo>
                    <a:pt x="81" y="142"/>
                  </a:lnTo>
                  <a:lnTo>
                    <a:pt x="83" y="142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5" y="146"/>
                  </a:lnTo>
                  <a:lnTo>
                    <a:pt x="85" y="146"/>
                  </a:lnTo>
                  <a:lnTo>
                    <a:pt x="85" y="148"/>
                  </a:lnTo>
                  <a:lnTo>
                    <a:pt x="87" y="148"/>
                  </a:lnTo>
                  <a:lnTo>
                    <a:pt x="92" y="153"/>
                  </a:lnTo>
                  <a:lnTo>
                    <a:pt x="94" y="153"/>
                  </a:lnTo>
                  <a:lnTo>
                    <a:pt x="96" y="155"/>
                  </a:lnTo>
                  <a:lnTo>
                    <a:pt x="96" y="159"/>
                  </a:lnTo>
                  <a:lnTo>
                    <a:pt x="96" y="159"/>
                  </a:lnTo>
                  <a:lnTo>
                    <a:pt x="96" y="159"/>
                  </a:lnTo>
                  <a:lnTo>
                    <a:pt x="96" y="159"/>
                  </a:lnTo>
                  <a:lnTo>
                    <a:pt x="96" y="160"/>
                  </a:lnTo>
                  <a:lnTo>
                    <a:pt x="96" y="162"/>
                  </a:lnTo>
                  <a:lnTo>
                    <a:pt x="92" y="162"/>
                  </a:lnTo>
                  <a:lnTo>
                    <a:pt x="94" y="162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2" y="162"/>
                  </a:lnTo>
                  <a:lnTo>
                    <a:pt x="92" y="162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101" y="164"/>
                  </a:lnTo>
                  <a:lnTo>
                    <a:pt x="103" y="164"/>
                  </a:lnTo>
                  <a:lnTo>
                    <a:pt x="103" y="164"/>
                  </a:lnTo>
                  <a:lnTo>
                    <a:pt x="103" y="164"/>
                  </a:lnTo>
                  <a:lnTo>
                    <a:pt x="105" y="164"/>
                  </a:lnTo>
                  <a:lnTo>
                    <a:pt x="105" y="166"/>
                  </a:lnTo>
                  <a:lnTo>
                    <a:pt x="105" y="166"/>
                  </a:lnTo>
                  <a:lnTo>
                    <a:pt x="105" y="168"/>
                  </a:lnTo>
                  <a:lnTo>
                    <a:pt x="105" y="168"/>
                  </a:lnTo>
                  <a:lnTo>
                    <a:pt x="106" y="171"/>
                  </a:lnTo>
                  <a:lnTo>
                    <a:pt x="106" y="171"/>
                  </a:lnTo>
                  <a:lnTo>
                    <a:pt x="108" y="171"/>
                  </a:lnTo>
                  <a:lnTo>
                    <a:pt x="110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5" y="177"/>
                  </a:lnTo>
                  <a:lnTo>
                    <a:pt x="124" y="184"/>
                  </a:lnTo>
                  <a:lnTo>
                    <a:pt x="126" y="184"/>
                  </a:lnTo>
                  <a:lnTo>
                    <a:pt x="128" y="186"/>
                  </a:lnTo>
                  <a:lnTo>
                    <a:pt x="130" y="186"/>
                  </a:lnTo>
                  <a:lnTo>
                    <a:pt x="132" y="186"/>
                  </a:lnTo>
                  <a:lnTo>
                    <a:pt x="132" y="187"/>
                  </a:lnTo>
                  <a:lnTo>
                    <a:pt x="132" y="187"/>
                  </a:lnTo>
                  <a:lnTo>
                    <a:pt x="132" y="187"/>
                  </a:lnTo>
                  <a:lnTo>
                    <a:pt x="134" y="187"/>
                  </a:lnTo>
                  <a:lnTo>
                    <a:pt x="134" y="187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7" y="187"/>
                  </a:lnTo>
                  <a:lnTo>
                    <a:pt x="137" y="187"/>
                  </a:lnTo>
                  <a:lnTo>
                    <a:pt x="137" y="187"/>
                  </a:lnTo>
                  <a:lnTo>
                    <a:pt x="137" y="187"/>
                  </a:lnTo>
                  <a:lnTo>
                    <a:pt x="139" y="187"/>
                  </a:lnTo>
                  <a:lnTo>
                    <a:pt x="139" y="187"/>
                  </a:lnTo>
                  <a:lnTo>
                    <a:pt x="137" y="186"/>
                  </a:lnTo>
                  <a:lnTo>
                    <a:pt x="139" y="186"/>
                  </a:lnTo>
                  <a:lnTo>
                    <a:pt x="139" y="186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2"/>
                  </a:lnTo>
                  <a:lnTo>
                    <a:pt x="141" y="180"/>
                  </a:lnTo>
                  <a:lnTo>
                    <a:pt x="141" y="178"/>
                  </a:lnTo>
                  <a:lnTo>
                    <a:pt x="139" y="178"/>
                  </a:lnTo>
                  <a:lnTo>
                    <a:pt x="139" y="177"/>
                  </a:lnTo>
                  <a:lnTo>
                    <a:pt x="137" y="173"/>
                  </a:lnTo>
                  <a:lnTo>
                    <a:pt x="135" y="173"/>
                  </a:lnTo>
                  <a:lnTo>
                    <a:pt x="135" y="171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7" y="166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5" y="160"/>
                  </a:lnTo>
                  <a:lnTo>
                    <a:pt x="135" y="159"/>
                  </a:lnTo>
                  <a:lnTo>
                    <a:pt x="137" y="157"/>
                  </a:lnTo>
                  <a:lnTo>
                    <a:pt x="141" y="157"/>
                  </a:lnTo>
                  <a:lnTo>
                    <a:pt x="143" y="157"/>
                  </a:lnTo>
                  <a:lnTo>
                    <a:pt x="146" y="157"/>
                  </a:lnTo>
                  <a:lnTo>
                    <a:pt x="144" y="151"/>
                  </a:lnTo>
                  <a:lnTo>
                    <a:pt x="144" y="150"/>
                  </a:lnTo>
                  <a:lnTo>
                    <a:pt x="144" y="150"/>
                  </a:lnTo>
                  <a:lnTo>
                    <a:pt x="144" y="148"/>
                  </a:lnTo>
                  <a:lnTo>
                    <a:pt x="146" y="146"/>
                  </a:lnTo>
                  <a:lnTo>
                    <a:pt x="148" y="142"/>
                  </a:lnTo>
                  <a:lnTo>
                    <a:pt x="146" y="142"/>
                  </a:lnTo>
                  <a:lnTo>
                    <a:pt x="148" y="140"/>
                  </a:lnTo>
                  <a:lnTo>
                    <a:pt x="153" y="137"/>
                  </a:lnTo>
                  <a:lnTo>
                    <a:pt x="155" y="135"/>
                  </a:lnTo>
                  <a:lnTo>
                    <a:pt x="155" y="135"/>
                  </a:lnTo>
                  <a:lnTo>
                    <a:pt x="155" y="135"/>
                  </a:lnTo>
                  <a:lnTo>
                    <a:pt x="155" y="135"/>
                  </a:lnTo>
                  <a:lnTo>
                    <a:pt x="155" y="135"/>
                  </a:lnTo>
                  <a:lnTo>
                    <a:pt x="159" y="133"/>
                  </a:lnTo>
                  <a:lnTo>
                    <a:pt x="159" y="135"/>
                  </a:lnTo>
                  <a:lnTo>
                    <a:pt x="161" y="135"/>
                  </a:lnTo>
                  <a:lnTo>
                    <a:pt x="161" y="135"/>
                  </a:lnTo>
                  <a:lnTo>
                    <a:pt x="161" y="137"/>
                  </a:lnTo>
                  <a:lnTo>
                    <a:pt x="161" y="137"/>
                  </a:lnTo>
                  <a:lnTo>
                    <a:pt x="161" y="137"/>
                  </a:lnTo>
                  <a:lnTo>
                    <a:pt x="162" y="139"/>
                  </a:lnTo>
                  <a:lnTo>
                    <a:pt x="162" y="139"/>
                  </a:lnTo>
                  <a:lnTo>
                    <a:pt x="162" y="139"/>
                  </a:lnTo>
                  <a:lnTo>
                    <a:pt x="162" y="140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3"/>
                  </a:lnTo>
                  <a:lnTo>
                    <a:pt x="164" y="130"/>
                  </a:lnTo>
                  <a:lnTo>
                    <a:pt x="162" y="128"/>
                  </a:lnTo>
                  <a:lnTo>
                    <a:pt x="162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4"/>
                  </a:lnTo>
                  <a:lnTo>
                    <a:pt x="159" y="124"/>
                  </a:lnTo>
                  <a:lnTo>
                    <a:pt x="159" y="124"/>
                  </a:lnTo>
                  <a:lnTo>
                    <a:pt x="159" y="124"/>
                  </a:lnTo>
                  <a:lnTo>
                    <a:pt x="159" y="124"/>
                  </a:lnTo>
                  <a:lnTo>
                    <a:pt x="159" y="122"/>
                  </a:lnTo>
                  <a:lnTo>
                    <a:pt x="161" y="122"/>
                  </a:lnTo>
                  <a:lnTo>
                    <a:pt x="162" y="121"/>
                  </a:lnTo>
                  <a:lnTo>
                    <a:pt x="162" y="121"/>
                  </a:lnTo>
                  <a:lnTo>
                    <a:pt x="164" y="121"/>
                  </a:lnTo>
                  <a:lnTo>
                    <a:pt x="164" y="121"/>
                  </a:lnTo>
                  <a:lnTo>
                    <a:pt x="164" y="122"/>
                  </a:lnTo>
                  <a:lnTo>
                    <a:pt x="166" y="122"/>
                  </a:lnTo>
                  <a:lnTo>
                    <a:pt x="166" y="124"/>
                  </a:lnTo>
                  <a:lnTo>
                    <a:pt x="168" y="124"/>
                  </a:lnTo>
                  <a:lnTo>
                    <a:pt x="168" y="122"/>
                  </a:lnTo>
                  <a:lnTo>
                    <a:pt x="170" y="121"/>
                  </a:lnTo>
                  <a:lnTo>
                    <a:pt x="171" y="121"/>
                  </a:lnTo>
                  <a:lnTo>
                    <a:pt x="173" y="122"/>
                  </a:lnTo>
                  <a:lnTo>
                    <a:pt x="175" y="122"/>
                  </a:lnTo>
                  <a:lnTo>
                    <a:pt x="175" y="121"/>
                  </a:lnTo>
                  <a:lnTo>
                    <a:pt x="175" y="119"/>
                  </a:lnTo>
                  <a:lnTo>
                    <a:pt x="177" y="117"/>
                  </a:lnTo>
                  <a:lnTo>
                    <a:pt x="177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80" y="117"/>
                  </a:lnTo>
                  <a:lnTo>
                    <a:pt x="180" y="117"/>
                  </a:lnTo>
                  <a:lnTo>
                    <a:pt x="182" y="117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6" y="119"/>
                  </a:lnTo>
                  <a:lnTo>
                    <a:pt x="186" y="119"/>
                  </a:lnTo>
                  <a:lnTo>
                    <a:pt x="188" y="119"/>
                  </a:lnTo>
                  <a:lnTo>
                    <a:pt x="188" y="119"/>
                  </a:lnTo>
                  <a:lnTo>
                    <a:pt x="188" y="119"/>
                  </a:lnTo>
                  <a:lnTo>
                    <a:pt x="188" y="119"/>
                  </a:lnTo>
                  <a:lnTo>
                    <a:pt x="188" y="119"/>
                  </a:lnTo>
                  <a:lnTo>
                    <a:pt x="188" y="117"/>
                  </a:lnTo>
                  <a:lnTo>
                    <a:pt x="188" y="117"/>
                  </a:lnTo>
                  <a:lnTo>
                    <a:pt x="188" y="115"/>
                  </a:lnTo>
                  <a:lnTo>
                    <a:pt x="188" y="115"/>
                  </a:lnTo>
                  <a:lnTo>
                    <a:pt x="189" y="113"/>
                  </a:lnTo>
                  <a:lnTo>
                    <a:pt x="189" y="112"/>
                  </a:lnTo>
                  <a:lnTo>
                    <a:pt x="188" y="108"/>
                  </a:lnTo>
                  <a:lnTo>
                    <a:pt x="186" y="106"/>
                  </a:lnTo>
                  <a:lnTo>
                    <a:pt x="182" y="101"/>
                  </a:lnTo>
                  <a:lnTo>
                    <a:pt x="179" y="95"/>
                  </a:lnTo>
                  <a:lnTo>
                    <a:pt x="177" y="94"/>
                  </a:lnTo>
                  <a:lnTo>
                    <a:pt x="175" y="92"/>
                  </a:lnTo>
                  <a:lnTo>
                    <a:pt x="175" y="92"/>
                  </a:lnTo>
                  <a:lnTo>
                    <a:pt x="175" y="92"/>
                  </a:lnTo>
                  <a:lnTo>
                    <a:pt x="175" y="92"/>
                  </a:lnTo>
                  <a:lnTo>
                    <a:pt x="175" y="90"/>
                  </a:lnTo>
                  <a:lnTo>
                    <a:pt x="175" y="90"/>
                  </a:lnTo>
                  <a:lnTo>
                    <a:pt x="175" y="90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9" y="88"/>
                  </a:lnTo>
                  <a:lnTo>
                    <a:pt x="179" y="88"/>
                  </a:lnTo>
                  <a:lnTo>
                    <a:pt x="180" y="90"/>
                  </a:lnTo>
                  <a:lnTo>
                    <a:pt x="180" y="90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6" y="90"/>
                  </a:lnTo>
                  <a:lnTo>
                    <a:pt x="189" y="92"/>
                  </a:lnTo>
                  <a:lnTo>
                    <a:pt x="189" y="92"/>
                  </a:lnTo>
                  <a:lnTo>
                    <a:pt x="191" y="90"/>
                  </a:lnTo>
                  <a:lnTo>
                    <a:pt x="193" y="88"/>
                  </a:lnTo>
                  <a:lnTo>
                    <a:pt x="193" y="88"/>
                  </a:lnTo>
                  <a:lnTo>
                    <a:pt x="195" y="86"/>
                  </a:lnTo>
                  <a:lnTo>
                    <a:pt x="193" y="86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7B4B6219-972C-0FC7-BDE3-35C8EB062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0725" y="3819526"/>
              <a:ext cx="306388" cy="249238"/>
            </a:xfrm>
            <a:custGeom>
              <a:avLst/>
              <a:gdLst>
                <a:gd name="T0" fmla="*/ 190 w 193"/>
                <a:gd name="T1" fmla="*/ 81 h 157"/>
                <a:gd name="T2" fmla="*/ 184 w 193"/>
                <a:gd name="T3" fmla="*/ 79 h 157"/>
                <a:gd name="T4" fmla="*/ 182 w 193"/>
                <a:gd name="T5" fmla="*/ 74 h 157"/>
                <a:gd name="T6" fmla="*/ 179 w 193"/>
                <a:gd name="T7" fmla="*/ 63 h 157"/>
                <a:gd name="T8" fmla="*/ 173 w 193"/>
                <a:gd name="T9" fmla="*/ 59 h 157"/>
                <a:gd name="T10" fmla="*/ 161 w 193"/>
                <a:gd name="T11" fmla="*/ 58 h 157"/>
                <a:gd name="T12" fmla="*/ 155 w 193"/>
                <a:gd name="T13" fmla="*/ 54 h 157"/>
                <a:gd name="T14" fmla="*/ 161 w 193"/>
                <a:gd name="T15" fmla="*/ 41 h 157"/>
                <a:gd name="T16" fmla="*/ 164 w 193"/>
                <a:gd name="T17" fmla="*/ 32 h 157"/>
                <a:gd name="T18" fmla="*/ 166 w 193"/>
                <a:gd name="T19" fmla="*/ 27 h 157"/>
                <a:gd name="T20" fmla="*/ 155 w 193"/>
                <a:gd name="T21" fmla="*/ 23 h 157"/>
                <a:gd name="T22" fmla="*/ 144 w 193"/>
                <a:gd name="T23" fmla="*/ 18 h 157"/>
                <a:gd name="T24" fmla="*/ 130 w 193"/>
                <a:gd name="T25" fmla="*/ 14 h 157"/>
                <a:gd name="T26" fmla="*/ 125 w 193"/>
                <a:gd name="T27" fmla="*/ 2 h 157"/>
                <a:gd name="T28" fmla="*/ 112 w 193"/>
                <a:gd name="T29" fmla="*/ 5 h 157"/>
                <a:gd name="T30" fmla="*/ 112 w 193"/>
                <a:gd name="T31" fmla="*/ 0 h 157"/>
                <a:gd name="T32" fmla="*/ 101 w 193"/>
                <a:gd name="T33" fmla="*/ 3 h 157"/>
                <a:gd name="T34" fmla="*/ 94 w 193"/>
                <a:gd name="T35" fmla="*/ 7 h 157"/>
                <a:gd name="T36" fmla="*/ 87 w 193"/>
                <a:gd name="T37" fmla="*/ 11 h 157"/>
                <a:gd name="T38" fmla="*/ 88 w 193"/>
                <a:gd name="T39" fmla="*/ 18 h 157"/>
                <a:gd name="T40" fmla="*/ 85 w 193"/>
                <a:gd name="T41" fmla="*/ 11 h 157"/>
                <a:gd name="T42" fmla="*/ 63 w 193"/>
                <a:gd name="T43" fmla="*/ 21 h 157"/>
                <a:gd name="T44" fmla="*/ 49 w 193"/>
                <a:gd name="T45" fmla="*/ 18 h 157"/>
                <a:gd name="T46" fmla="*/ 41 w 193"/>
                <a:gd name="T47" fmla="*/ 12 h 157"/>
                <a:gd name="T48" fmla="*/ 0 w 193"/>
                <a:gd name="T49" fmla="*/ 38 h 157"/>
                <a:gd name="T50" fmla="*/ 4 w 193"/>
                <a:gd name="T51" fmla="*/ 52 h 157"/>
                <a:gd name="T52" fmla="*/ 9 w 193"/>
                <a:gd name="T53" fmla="*/ 54 h 157"/>
                <a:gd name="T54" fmla="*/ 18 w 193"/>
                <a:gd name="T55" fmla="*/ 63 h 157"/>
                <a:gd name="T56" fmla="*/ 32 w 193"/>
                <a:gd name="T57" fmla="*/ 59 h 157"/>
                <a:gd name="T58" fmla="*/ 38 w 193"/>
                <a:gd name="T59" fmla="*/ 76 h 157"/>
                <a:gd name="T60" fmla="*/ 49 w 193"/>
                <a:gd name="T61" fmla="*/ 77 h 157"/>
                <a:gd name="T62" fmla="*/ 56 w 193"/>
                <a:gd name="T63" fmla="*/ 90 h 157"/>
                <a:gd name="T64" fmla="*/ 61 w 193"/>
                <a:gd name="T65" fmla="*/ 90 h 157"/>
                <a:gd name="T66" fmla="*/ 78 w 193"/>
                <a:gd name="T67" fmla="*/ 94 h 157"/>
                <a:gd name="T68" fmla="*/ 83 w 193"/>
                <a:gd name="T69" fmla="*/ 97 h 157"/>
                <a:gd name="T70" fmla="*/ 81 w 193"/>
                <a:gd name="T71" fmla="*/ 108 h 157"/>
                <a:gd name="T72" fmla="*/ 79 w 193"/>
                <a:gd name="T73" fmla="*/ 117 h 157"/>
                <a:gd name="T74" fmla="*/ 96 w 193"/>
                <a:gd name="T75" fmla="*/ 123 h 157"/>
                <a:gd name="T76" fmla="*/ 108 w 193"/>
                <a:gd name="T77" fmla="*/ 112 h 157"/>
                <a:gd name="T78" fmla="*/ 116 w 193"/>
                <a:gd name="T79" fmla="*/ 110 h 157"/>
                <a:gd name="T80" fmla="*/ 117 w 193"/>
                <a:gd name="T81" fmla="*/ 124 h 157"/>
                <a:gd name="T82" fmla="*/ 117 w 193"/>
                <a:gd name="T83" fmla="*/ 133 h 157"/>
                <a:gd name="T84" fmla="*/ 130 w 193"/>
                <a:gd name="T85" fmla="*/ 141 h 157"/>
                <a:gd name="T86" fmla="*/ 139 w 193"/>
                <a:gd name="T87" fmla="*/ 146 h 157"/>
                <a:gd name="T88" fmla="*/ 143 w 193"/>
                <a:gd name="T89" fmla="*/ 148 h 157"/>
                <a:gd name="T90" fmla="*/ 152 w 193"/>
                <a:gd name="T91" fmla="*/ 155 h 157"/>
                <a:gd name="T92" fmla="*/ 161 w 193"/>
                <a:gd name="T93" fmla="*/ 153 h 157"/>
                <a:gd name="T94" fmla="*/ 166 w 193"/>
                <a:gd name="T95" fmla="*/ 148 h 157"/>
                <a:gd name="T96" fmla="*/ 166 w 193"/>
                <a:gd name="T97" fmla="*/ 142 h 157"/>
                <a:gd name="T98" fmla="*/ 164 w 193"/>
                <a:gd name="T99" fmla="*/ 139 h 157"/>
                <a:gd name="T100" fmla="*/ 161 w 193"/>
                <a:gd name="T101" fmla="*/ 133 h 157"/>
                <a:gd name="T102" fmla="*/ 161 w 193"/>
                <a:gd name="T103" fmla="*/ 128 h 157"/>
                <a:gd name="T104" fmla="*/ 164 w 193"/>
                <a:gd name="T105" fmla="*/ 121 h 157"/>
                <a:gd name="T106" fmla="*/ 166 w 193"/>
                <a:gd name="T107" fmla="*/ 114 h 157"/>
                <a:gd name="T108" fmla="*/ 171 w 193"/>
                <a:gd name="T109" fmla="*/ 105 h 157"/>
                <a:gd name="T110" fmla="*/ 177 w 193"/>
                <a:gd name="T111" fmla="*/ 105 h 157"/>
                <a:gd name="T112" fmla="*/ 179 w 193"/>
                <a:gd name="T113" fmla="*/ 106 h 157"/>
                <a:gd name="T114" fmla="*/ 182 w 193"/>
                <a:gd name="T115" fmla="*/ 99 h 157"/>
                <a:gd name="T116" fmla="*/ 190 w 193"/>
                <a:gd name="T117" fmla="*/ 9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3" h="157">
                  <a:moveTo>
                    <a:pt x="193" y="92"/>
                  </a:moveTo>
                  <a:lnTo>
                    <a:pt x="193" y="92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91" y="86"/>
                  </a:lnTo>
                  <a:lnTo>
                    <a:pt x="191" y="85"/>
                  </a:lnTo>
                  <a:lnTo>
                    <a:pt x="191" y="83"/>
                  </a:lnTo>
                  <a:lnTo>
                    <a:pt x="191" y="83"/>
                  </a:lnTo>
                  <a:lnTo>
                    <a:pt x="191" y="83"/>
                  </a:lnTo>
                  <a:lnTo>
                    <a:pt x="190" y="83"/>
                  </a:lnTo>
                  <a:lnTo>
                    <a:pt x="190" y="81"/>
                  </a:lnTo>
                  <a:lnTo>
                    <a:pt x="190" y="81"/>
                  </a:lnTo>
                  <a:lnTo>
                    <a:pt x="190" y="81"/>
                  </a:lnTo>
                  <a:lnTo>
                    <a:pt x="191" y="79"/>
                  </a:lnTo>
                  <a:lnTo>
                    <a:pt x="190" y="79"/>
                  </a:lnTo>
                  <a:lnTo>
                    <a:pt x="188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4" y="79"/>
                  </a:lnTo>
                  <a:lnTo>
                    <a:pt x="184" y="79"/>
                  </a:lnTo>
                  <a:lnTo>
                    <a:pt x="184" y="79"/>
                  </a:lnTo>
                  <a:lnTo>
                    <a:pt x="182" y="79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82" y="74"/>
                  </a:lnTo>
                  <a:lnTo>
                    <a:pt x="184" y="72"/>
                  </a:lnTo>
                  <a:lnTo>
                    <a:pt x="186" y="72"/>
                  </a:lnTo>
                  <a:lnTo>
                    <a:pt x="186" y="72"/>
                  </a:lnTo>
                  <a:lnTo>
                    <a:pt x="186" y="70"/>
                  </a:lnTo>
                  <a:lnTo>
                    <a:pt x="186" y="70"/>
                  </a:lnTo>
                  <a:lnTo>
                    <a:pt x="186" y="70"/>
                  </a:lnTo>
                  <a:lnTo>
                    <a:pt x="182" y="70"/>
                  </a:lnTo>
                  <a:lnTo>
                    <a:pt x="182" y="68"/>
                  </a:lnTo>
                  <a:lnTo>
                    <a:pt x="181" y="68"/>
                  </a:lnTo>
                  <a:lnTo>
                    <a:pt x="182" y="67"/>
                  </a:lnTo>
                  <a:lnTo>
                    <a:pt x="179" y="63"/>
                  </a:lnTo>
                  <a:lnTo>
                    <a:pt x="177" y="61"/>
                  </a:lnTo>
                  <a:lnTo>
                    <a:pt x="177" y="61"/>
                  </a:lnTo>
                  <a:lnTo>
                    <a:pt x="175" y="63"/>
                  </a:lnTo>
                  <a:lnTo>
                    <a:pt x="175" y="61"/>
                  </a:lnTo>
                  <a:lnTo>
                    <a:pt x="173" y="61"/>
                  </a:lnTo>
                  <a:lnTo>
                    <a:pt x="175" y="61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1" y="59"/>
                  </a:lnTo>
                  <a:lnTo>
                    <a:pt x="168" y="59"/>
                  </a:lnTo>
                  <a:lnTo>
                    <a:pt x="168" y="59"/>
                  </a:lnTo>
                  <a:lnTo>
                    <a:pt x="168" y="59"/>
                  </a:lnTo>
                  <a:lnTo>
                    <a:pt x="168" y="59"/>
                  </a:lnTo>
                  <a:lnTo>
                    <a:pt x="162" y="59"/>
                  </a:lnTo>
                  <a:lnTo>
                    <a:pt x="162" y="58"/>
                  </a:lnTo>
                  <a:lnTo>
                    <a:pt x="162" y="58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9"/>
                  </a:lnTo>
                  <a:lnTo>
                    <a:pt x="159" y="59"/>
                  </a:lnTo>
                  <a:lnTo>
                    <a:pt x="159" y="59"/>
                  </a:lnTo>
                  <a:lnTo>
                    <a:pt x="159" y="58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5" y="54"/>
                  </a:lnTo>
                  <a:lnTo>
                    <a:pt x="155" y="52"/>
                  </a:lnTo>
                  <a:lnTo>
                    <a:pt x="155" y="50"/>
                  </a:lnTo>
                  <a:lnTo>
                    <a:pt x="159" y="47"/>
                  </a:lnTo>
                  <a:lnTo>
                    <a:pt x="159" y="47"/>
                  </a:lnTo>
                  <a:lnTo>
                    <a:pt x="159" y="47"/>
                  </a:lnTo>
                  <a:lnTo>
                    <a:pt x="161" y="47"/>
                  </a:lnTo>
                  <a:lnTo>
                    <a:pt x="161" y="45"/>
                  </a:lnTo>
                  <a:lnTo>
                    <a:pt x="161" y="43"/>
                  </a:lnTo>
                  <a:lnTo>
                    <a:pt x="162" y="43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1" y="43"/>
                  </a:lnTo>
                  <a:lnTo>
                    <a:pt x="162" y="39"/>
                  </a:lnTo>
                  <a:lnTo>
                    <a:pt x="162" y="38"/>
                  </a:lnTo>
                  <a:lnTo>
                    <a:pt x="162" y="36"/>
                  </a:lnTo>
                  <a:lnTo>
                    <a:pt x="162" y="36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0"/>
                  </a:lnTo>
                  <a:lnTo>
                    <a:pt x="164" y="32"/>
                  </a:lnTo>
                  <a:lnTo>
                    <a:pt x="164" y="30"/>
                  </a:lnTo>
                  <a:lnTo>
                    <a:pt x="166" y="30"/>
                  </a:lnTo>
                  <a:lnTo>
                    <a:pt x="166" y="30"/>
                  </a:lnTo>
                  <a:lnTo>
                    <a:pt x="164" y="30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7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2" y="27"/>
                  </a:lnTo>
                  <a:lnTo>
                    <a:pt x="162" y="27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59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5" y="25"/>
                  </a:lnTo>
                  <a:lnTo>
                    <a:pt x="155" y="23"/>
                  </a:lnTo>
                  <a:lnTo>
                    <a:pt x="155" y="23"/>
                  </a:lnTo>
                  <a:lnTo>
                    <a:pt x="152" y="23"/>
                  </a:lnTo>
                  <a:lnTo>
                    <a:pt x="152" y="21"/>
                  </a:lnTo>
                  <a:lnTo>
                    <a:pt x="152" y="21"/>
                  </a:lnTo>
                  <a:lnTo>
                    <a:pt x="152" y="20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6" y="16"/>
                  </a:lnTo>
                  <a:lnTo>
                    <a:pt x="144" y="18"/>
                  </a:lnTo>
                  <a:lnTo>
                    <a:pt x="143" y="18"/>
                  </a:lnTo>
                  <a:lnTo>
                    <a:pt x="137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4" y="18"/>
                  </a:lnTo>
                  <a:lnTo>
                    <a:pt x="134" y="16"/>
                  </a:lnTo>
                  <a:lnTo>
                    <a:pt x="134" y="14"/>
                  </a:lnTo>
                  <a:lnTo>
                    <a:pt x="132" y="14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2"/>
                  </a:lnTo>
                  <a:lnTo>
                    <a:pt x="128" y="11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7"/>
                  </a:lnTo>
                  <a:lnTo>
                    <a:pt x="128" y="5"/>
                  </a:lnTo>
                  <a:lnTo>
                    <a:pt x="128" y="3"/>
                  </a:lnTo>
                  <a:lnTo>
                    <a:pt x="126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3"/>
                  </a:lnTo>
                  <a:lnTo>
                    <a:pt x="123" y="5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19" y="7"/>
                  </a:lnTo>
                  <a:lnTo>
                    <a:pt x="117" y="7"/>
                  </a:lnTo>
                  <a:lnTo>
                    <a:pt x="116" y="7"/>
                  </a:lnTo>
                  <a:lnTo>
                    <a:pt x="112" y="7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6" y="5"/>
                  </a:lnTo>
                  <a:lnTo>
                    <a:pt x="114" y="5"/>
                  </a:lnTo>
                  <a:lnTo>
                    <a:pt x="114" y="3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3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99" y="5"/>
                  </a:lnTo>
                  <a:lnTo>
                    <a:pt x="99" y="3"/>
                  </a:lnTo>
                  <a:lnTo>
                    <a:pt x="101" y="3"/>
                  </a:lnTo>
                  <a:lnTo>
                    <a:pt x="101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7" y="2"/>
                  </a:lnTo>
                  <a:lnTo>
                    <a:pt x="96" y="2"/>
                  </a:lnTo>
                  <a:lnTo>
                    <a:pt x="92" y="3"/>
                  </a:lnTo>
                  <a:lnTo>
                    <a:pt x="94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7"/>
                  </a:lnTo>
                  <a:lnTo>
                    <a:pt x="94" y="7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11"/>
                  </a:lnTo>
                  <a:lnTo>
                    <a:pt x="88" y="11"/>
                  </a:lnTo>
                  <a:lnTo>
                    <a:pt x="88" y="12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90" y="16"/>
                  </a:lnTo>
                  <a:lnTo>
                    <a:pt x="90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4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7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6"/>
                  </a:lnTo>
                  <a:lnTo>
                    <a:pt x="79" y="18"/>
                  </a:lnTo>
                  <a:lnTo>
                    <a:pt x="74" y="20"/>
                  </a:lnTo>
                  <a:lnTo>
                    <a:pt x="70" y="21"/>
                  </a:lnTo>
                  <a:lnTo>
                    <a:pt x="70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1"/>
                  </a:lnTo>
                  <a:lnTo>
                    <a:pt x="63" y="21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1" y="18"/>
                  </a:lnTo>
                  <a:lnTo>
                    <a:pt x="56" y="16"/>
                  </a:lnTo>
                  <a:lnTo>
                    <a:pt x="54" y="16"/>
                  </a:lnTo>
                  <a:lnTo>
                    <a:pt x="52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9" y="16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5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1" y="18"/>
                  </a:lnTo>
                  <a:lnTo>
                    <a:pt x="41" y="16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1" y="12"/>
                  </a:lnTo>
                  <a:lnTo>
                    <a:pt x="20" y="20"/>
                  </a:lnTo>
                  <a:lnTo>
                    <a:pt x="9" y="25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39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9"/>
                  </a:lnTo>
                  <a:lnTo>
                    <a:pt x="13" y="59"/>
                  </a:lnTo>
                  <a:lnTo>
                    <a:pt x="13" y="61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20" y="59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5" y="58"/>
                  </a:lnTo>
                  <a:lnTo>
                    <a:pt x="29" y="56"/>
                  </a:lnTo>
                  <a:lnTo>
                    <a:pt x="31" y="56"/>
                  </a:lnTo>
                  <a:lnTo>
                    <a:pt x="31" y="58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61"/>
                  </a:lnTo>
                  <a:lnTo>
                    <a:pt x="34" y="61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6" y="65"/>
                  </a:lnTo>
                  <a:lnTo>
                    <a:pt x="34" y="67"/>
                  </a:lnTo>
                  <a:lnTo>
                    <a:pt x="36" y="68"/>
                  </a:lnTo>
                  <a:lnTo>
                    <a:pt x="36" y="74"/>
                  </a:lnTo>
                  <a:lnTo>
                    <a:pt x="36" y="76"/>
                  </a:lnTo>
                  <a:lnTo>
                    <a:pt x="38" y="76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5" y="79"/>
                  </a:lnTo>
                  <a:lnTo>
                    <a:pt x="45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90"/>
                  </a:lnTo>
                  <a:lnTo>
                    <a:pt x="56" y="92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3" y="90"/>
                  </a:lnTo>
                  <a:lnTo>
                    <a:pt x="65" y="90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9" y="92"/>
                  </a:lnTo>
                  <a:lnTo>
                    <a:pt x="70" y="92"/>
                  </a:lnTo>
                  <a:lnTo>
                    <a:pt x="72" y="90"/>
                  </a:lnTo>
                  <a:lnTo>
                    <a:pt x="74" y="90"/>
                  </a:lnTo>
                  <a:lnTo>
                    <a:pt x="74" y="92"/>
                  </a:lnTo>
                  <a:lnTo>
                    <a:pt x="76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5"/>
                  </a:lnTo>
                  <a:lnTo>
                    <a:pt x="83" y="97"/>
                  </a:lnTo>
                  <a:lnTo>
                    <a:pt x="83" y="97"/>
                  </a:lnTo>
                  <a:lnTo>
                    <a:pt x="83" y="97"/>
                  </a:lnTo>
                  <a:lnTo>
                    <a:pt x="83" y="97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3"/>
                  </a:lnTo>
                  <a:lnTo>
                    <a:pt x="79" y="106"/>
                  </a:lnTo>
                  <a:lnTo>
                    <a:pt x="79" y="108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5" y="112"/>
                  </a:lnTo>
                  <a:lnTo>
                    <a:pt x="85" y="114"/>
                  </a:lnTo>
                  <a:lnTo>
                    <a:pt x="83" y="114"/>
                  </a:lnTo>
                  <a:lnTo>
                    <a:pt x="81" y="114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79" y="115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81" y="119"/>
                  </a:lnTo>
                  <a:lnTo>
                    <a:pt x="81" y="119"/>
                  </a:lnTo>
                  <a:lnTo>
                    <a:pt x="79" y="119"/>
                  </a:lnTo>
                  <a:lnTo>
                    <a:pt x="79" y="119"/>
                  </a:lnTo>
                  <a:lnTo>
                    <a:pt x="83" y="121"/>
                  </a:lnTo>
                  <a:lnTo>
                    <a:pt x="83" y="121"/>
                  </a:lnTo>
                  <a:lnTo>
                    <a:pt x="85" y="121"/>
                  </a:lnTo>
                  <a:lnTo>
                    <a:pt x="87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7" y="123"/>
                  </a:lnTo>
                  <a:lnTo>
                    <a:pt x="105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7"/>
                  </a:lnTo>
                  <a:lnTo>
                    <a:pt x="106" y="115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6" y="114"/>
                  </a:lnTo>
                  <a:lnTo>
                    <a:pt x="106" y="112"/>
                  </a:lnTo>
                  <a:lnTo>
                    <a:pt x="108" y="112"/>
                  </a:lnTo>
                  <a:lnTo>
                    <a:pt x="108" y="112"/>
                  </a:lnTo>
                  <a:lnTo>
                    <a:pt x="114" y="106"/>
                  </a:lnTo>
                  <a:lnTo>
                    <a:pt x="114" y="105"/>
                  </a:lnTo>
                  <a:lnTo>
                    <a:pt x="114" y="106"/>
                  </a:lnTo>
                  <a:lnTo>
                    <a:pt x="116" y="106"/>
                  </a:lnTo>
                  <a:lnTo>
                    <a:pt x="117" y="106"/>
                  </a:lnTo>
                  <a:lnTo>
                    <a:pt x="117" y="106"/>
                  </a:lnTo>
                  <a:lnTo>
                    <a:pt x="117" y="108"/>
                  </a:lnTo>
                  <a:lnTo>
                    <a:pt x="117" y="110"/>
                  </a:lnTo>
                  <a:lnTo>
                    <a:pt x="117" y="112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2"/>
                  </a:lnTo>
                  <a:lnTo>
                    <a:pt x="116" y="114"/>
                  </a:lnTo>
                  <a:lnTo>
                    <a:pt x="116" y="114"/>
                  </a:lnTo>
                  <a:lnTo>
                    <a:pt x="116" y="115"/>
                  </a:lnTo>
                  <a:lnTo>
                    <a:pt x="114" y="119"/>
                  </a:lnTo>
                  <a:lnTo>
                    <a:pt x="112" y="121"/>
                  </a:lnTo>
                  <a:lnTo>
                    <a:pt x="114" y="123"/>
                  </a:lnTo>
                  <a:lnTo>
                    <a:pt x="116" y="123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6"/>
                  </a:lnTo>
                  <a:lnTo>
                    <a:pt x="116" y="126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6" y="130"/>
                  </a:lnTo>
                  <a:lnTo>
                    <a:pt x="116" y="130"/>
                  </a:lnTo>
                  <a:lnTo>
                    <a:pt x="116" y="130"/>
                  </a:lnTo>
                  <a:lnTo>
                    <a:pt x="116" y="130"/>
                  </a:lnTo>
                  <a:lnTo>
                    <a:pt x="116" y="133"/>
                  </a:lnTo>
                  <a:lnTo>
                    <a:pt x="117" y="133"/>
                  </a:lnTo>
                  <a:lnTo>
                    <a:pt x="117" y="133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3" y="133"/>
                  </a:lnTo>
                  <a:lnTo>
                    <a:pt x="125" y="135"/>
                  </a:lnTo>
                  <a:lnTo>
                    <a:pt x="126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30" y="141"/>
                  </a:lnTo>
                  <a:lnTo>
                    <a:pt x="132" y="141"/>
                  </a:lnTo>
                  <a:lnTo>
                    <a:pt x="132" y="142"/>
                  </a:lnTo>
                  <a:lnTo>
                    <a:pt x="134" y="142"/>
                  </a:lnTo>
                  <a:lnTo>
                    <a:pt x="135" y="141"/>
                  </a:lnTo>
                  <a:lnTo>
                    <a:pt x="137" y="141"/>
                  </a:lnTo>
                  <a:lnTo>
                    <a:pt x="137" y="142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41" y="148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3" y="148"/>
                  </a:lnTo>
                  <a:lnTo>
                    <a:pt x="143" y="148"/>
                  </a:lnTo>
                  <a:lnTo>
                    <a:pt x="144" y="148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7"/>
                  </a:lnTo>
                  <a:lnTo>
                    <a:pt x="148" y="157"/>
                  </a:lnTo>
                  <a:lnTo>
                    <a:pt x="148" y="155"/>
                  </a:lnTo>
                  <a:lnTo>
                    <a:pt x="150" y="155"/>
                  </a:lnTo>
                  <a:lnTo>
                    <a:pt x="152" y="155"/>
                  </a:lnTo>
                  <a:lnTo>
                    <a:pt x="153" y="155"/>
                  </a:lnTo>
                  <a:lnTo>
                    <a:pt x="153" y="155"/>
                  </a:lnTo>
                  <a:lnTo>
                    <a:pt x="153" y="155"/>
                  </a:lnTo>
                  <a:lnTo>
                    <a:pt x="153" y="155"/>
                  </a:lnTo>
                  <a:lnTo>
                    <a:pt x="153" y="155"/>
                  </a:lnTo>
                  <a:lnTo>
                    <a:pt x="155" y="153"/>
                  </a:lnTo>
                  <a:lnTo>
                    <a:pt x="155" y="153"/>
                  </a:lnTo>
                  <a:lnTo>
                    <a:pt x="157" y="153"/>
                  </a:lnTo>
                  <a:lnTo>
                    <a:pt x="159" y="153"/>
                  </a:lnTo>
                  <a:lnTo>
                    <a:pt x="159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1"/>
                  </a:lnTo>
                  <a:lnTo>
                    <a:pt x="161" y="153"/>
                  </a:lnTo>
                  <a:lnTo>
                    <a:pt x="162" y="153"/>
                  </a:lnTo>
                  <a:lnTo>
                    <a:pt x="162" y="153"/>
                  </a:lnTo>
                  <a:lnTo>
                    <a:pt x="164" y="153"/>
                  </a:lnTo>
                  <a:lnTo>
                    <a:pt x="166" y="151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6" y="148"/>
                  </a:lnTo>
                  <a:lnTo>
                    <a:pt x="166" y="146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8" y="144"/>
                  </a:lnTo>
                  <a:lnTo>
                    <a:pt x="168" y="144"/>
                  </a:lnTo>
                  <a:lnTo>
                    <a:pt x="168" y="144"/>
                  </a:lnTo>
                  <a:lnTo>
                    <a:pt x="166" y="144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1"/>
                  </a:lnTo>
                  <a:lnTo>
                    <a:pt x="166" y="141"/>
                  </a:lnTo>
                  <a:lnTo>
                    <a:pt x="166" y="141"/>
                  </a:lnTo>
                  <a:lnTo>
                    <a:pt x="166" y="141"/>
                  </a:lnTo>
                  <a:lnTo>
                    <a:pt x="166" y="141"/>
                  </a:lnTo>
                  <a:lnTo>
                    <a:pt x="166" y="139"/>
                  </a:lnTo>
                  <a:lnTo>
                    <a:pt x="166" y="139"/>
                  </a:lnTo>
                  <a:lnTo>
                    <a:pt x="166" y="141"/>
                  </a:lnTo>
                  <a:lnTo>
                    <a:pt x="166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7"/>
                  </a:lnTo>
                  <a:lnTo>
                    <a:pt x="164" y="137"/>
                  </a:lnTo>
                  <a:lnTo>
                    <a:pt x="162" y="135"/>
                  </a:lnTo>
                  <a:lnTo>
                    <a:pt x="162" y="135"/>
                  </a:lnTo>
                  <a:lnTo>
                    <a:pt x="162" y="133"/>
                  </a:lnTo>
                  <a:lnTo>
                    <a:pt x="161" y="133"/>
                  </a:lnTo>
                  <a:lnTo>
                    <a:pt x="161" y="133"/>
                  </a:lnTo>
                  <a:lnTo>
                    <a:pt x="161" y="133"/>
                  </a:lnTo>
                  <a:lnTo>
                    <a:pt x="159" y="132"/>
                  </a:lnTo>
                  <a:lnTo>
                    <a:pt x="159" y="132"/>
                  </a:lnTo>
                  <a:lnTo>
                    <a:pt x="161" y="130"/>
                  </a:lnTo>
                  <a:lnTo>
                    <a:pt x="161" y="130"/>
                  </a:lnTo>
                  <a:lnTo>
                    <a:pt x="161" y="130"/>
                  </a:lnTo>
                  <a:lnTo>
                    <a:pt x="161" y="130"/>
                  </a:lnTo>
                  <a:lnTo>
                    <a:pt x="161" y="130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61" y="123"/>
                  </a:lnTo>
                  <a:lnTo>
                    <a:pt x="161" y="123"/>
                  </a:lnTo>
                  <a:lnTo>
                    <a:pt x="162" y="123"/>
                  </a:lnTo>
                  <a:lnTo>
                    <a:pt x="162" y="121"/>
                  </a:lnTo>
                  <a:lnTo>
                    <a:pt x="162" y="121"/>
                  </a:lnTo>
                  <a:lnTo>
                    <a:pt x="162" y="121"/>
                  </a:lnTo>
                  <a:lnTo>
                    <a:pt x="162" y="121"/>
                  </a:lnTo>
                  <a:lnTo>
                    <a:pt x="164" y="121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6" y="115"/>
                  </a:lnTo>
                  <a:lnTo>
                    <a:pt x="166" y="115"/>
                  </a:lnTo>
                  <a:lnTo>
                    <a:pt x="166" y="115"/>
                  </a:lnTo>
                  <a:lnTo>
                    <a:pt x="166" y="114"/>
                  </a:lnTo>
                  <a:lnTo>
                    <a:pt x="166" y="114"/>
                  </a:lnTo>
                  <a:lnTo>
                    <a:pt x="166" y="114"/>
                  </a:lnTo>
                  <a:lnTo>
                    <a:pt x="166" y="112"/>
                  </a:lnTo>
                  <a:lnTo>
                    <a:pt x="168" y="112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70" y="108"/>
                  </a:lnTo>
                  <a:lnTo>
                    <a:pt x="171" y="108"/>
                  </a:lnTo>
                  <a:lnTo>
                    <a:pt x="171" y="106"/>
                  </a:lnTo>
                  <a:lnTo>
                    <a:pt x="171" y="105"/>
                  </a:lnTo>
                  <a:lnTo>
                    <a:pt x="171" y="105"/>
                  </a:lnTo>
                  <a:lnTo>
                    <a:pt x="173" y="105"/>
                  </a:lnTo>
                  <a:lnTo>
                    <a:pt x="173" y="105"/>
                  </a:lnTo>
                  <a:lnTo>
                    <a:pt x="173" y="105"/>
                  </a:lnTo>
                  <a:lnTo>
                    <a:pt x="173" y="105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77" y="105"/>
                  </a:lnTo>
                  <a:lnTo>
                    <a:pt x="179" y="105"/>
                  </a:lnTo>
                  <a:lnTo>
                    <a:pt x="179" y="106"/>
                  </a:lnTo>
                  <a:lnTo>
                    <a:pt x="179" y="106"/>
                  </a:lnTo>
                  <a:lnTo>
                    <a:pt x="179" y="106"/>
                  </a:lnTo>
                  <a:lnTo>
                    <a:pt x="179" y="108"/>
                  </a:lnTo>
                  <a:lnTo>
                    <a:pt x="179" y="108"/>
                  </a:lnTo>
                  <a:lnTo>
                    <a:pt x="181" y="108"/>
                  </a:lnTo>
                  <a:lnTo>
                    <a:pt x="181" y="106"/>
                  </a:lnTo>
                  <a:lnTo>
                    <a:pt x="181" y="106"/>
                  </a:lnTo>
                  <a:lnTo>
                    <a:pt x="179" y="106"/>
                  </a:lnTo>
                  <a:lnTo>
                    <a:pt x="179" y="106"/>
                  </a:lnTo>
                  <a:lnTo>
                    <a:pt x="181" y="105"/>
                  </a:lnTo>
                  <a:lnTo>
                    <a:pt x="181" y="105"/>
                  </a:lnTo>
                  <a:lnTo>
                    <a:pt x="181" y="105"/>
                  </a:lnTo>
                  <a:lnTo>
                    <a:pt x="181" y="105"/>
                  </a:lnTo>
                  <a:lnTo>
                    <a:pt x="182" y="105"/>
                  </a:lnTo>
                  <a:lnTo>
                    <a:pt x="182" y="103"/>
                  </a:lnTo>
                  <a:lnTo>
                    <a:pt x="182" y="103"/>
                  </a:lnTo>
                  <a:lnTo>
                    <a:pt x="182" y="101"/>
                  </a:lnTo>
                  <a:lnTo>
                    <a:pt x="181" y="101"/>
                  </a:lnTo>
                  <a:lnTo>
                    <a:pt x="182" y="101"/>
                  </a:lnTo>
                  <a:lnTo>
                    <a:pt x="182" y="99"/>
                  </a:lnTo>
                  <a:lnTo>
                    <a:pt x="182" y="99"/>
                  </a:lnTo>
                  <a:lnTo>
                    <a:pt x="184" y="97"/>
                  </a:lnTo>
                  <a:lnTo>
                    <a:pt x="186" y="97"/>
                  </a:lnTo>
                  <a:lnTo>
                    <a:pt x="188" y="97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4"/>
                  </a:lnTo>
                  <a:lnTo>
                    <a:pt x="188" y="94"/>
                  </a:lnTo>
                  <a:lnTo>
                    <a:pt x="190" y="94"/>
                  </a:lnTo>
                  <a:lnTo>
                    <a:pt x="190" y="94"/>
                  </a:lnTo>
                  <a:lnTo>
                    <a:pt x="190" y="94"/>
                  </a:lnTo>
                  <a:lnTo>
                    <a:pt x="190" y="94"/>
                  </a:lnTo>
                  <a:lnTo>
                    <a:pt x="191" y="94"/>
                  </a:lnTo>
                  <a:lnTo>
                    <a:pt x="193" y="94"/>
                  </a:lnTo>
                  <a:lnTo>
                    <a:pt x="193" y="92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2D82FC18-5223-C969-3441-EAEBA2711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0613" y="3190876"/>
              <a:ext cx="758825" cy="660400"/>
            </a:xfrm>
            <a:custGeom>
              <a:avLst/>
              <a:gdLst>
                <a:gd name="T0" fmla="*/ 466 w 478"/>
                <a:gd name="T1" fmla="*/ 228 h 416"/>
                <a:gd name="T2" fmla="*/ 457 w 478"/>
                <a:gd name="T3" fmla="*/ 210 h 416"/>
                <a:gd name="T4" fmla="*/ 433 w 478"/>
                <a:gd name="T5" fmla="*/ 184 h 416"/>
                <a:gd name="T6" fmla="*/ 406 w 478"/>
                <a:gd name="T7" fmla="*/ 159 h 416"/>
                <a:gd name="T8" fmla="*/ 392 w 478"/>
                <a:gd name="T9" fmla="*/ 128 h 416"/>
                <a:gd name="T10" fmla="*/ 388 w 478"/>
                <a:gd name="T11" fmla="*/ 101 h 416"/>
                <a:gd name="T12" fmla="*/ 390 w 478"/>
                <a:gd name="T13" fmla="*/ 89 h 416"/>
                <a:gd name="T14" fmla="*/ 386 w 478"/>
                <a:gd name="T15" fmla="*/ 62 h 416"/>
                <a:gd name="T16" fmla="*/ 372 w 478"/>
                <a:gd name="T17" fmla="*/ 44 h 416"/>
                <a:gd name="T18" fmla="*/ 348 w 478"/>
                <a:gd name="T19" fmla="*/ 29 h 416"/>
                <a:gd name="T20" fmla="*/ 309 w 478"/>
                <a:gd name="T21" fmla="*/ 33 h 416"/>
                <a:gd name="T22" fmla="*/ 301 w 478"/>
                <a:gd name="T23" fmla="*/ 15 h 416"/>
                <a:gd name="T24" fmla="*/ 274 w 478"/>
                <a:gd name="T25" fmla="*/ 9 h 416"/>
                <a:gd name="T26" fmla="*/ 238 w 478"/>
                <a:gd name="T27" fmla="*/ 4 h 416"/>
                <a:gd name="T28" fmla="*/ 209 w 478"/>
                <a:gd name="T29" fmla="*/ 29 h 416"/>
                <a:gd name="T30" fmla="*/ 171 w 478"/>
                <a:gd name="T31" fmla="*/ 44 h 416"/>
                <a:gd name="T32" fmla="*/ 168 w 478"/>
                <a:gd name="T33" fmla="*/ 76 h 416"/>
                <a:gd name="T34" fmla="*/ 164 w 478"/>
                <a:gd name="T35" fmla="*/ 90 h 416"/>
                <a:gd name="T36" fmla="*/ 141 w 478"/>
                <a:gd name="T37" fmla="*/ 109 h 416"/>
                <a:gd name="T38" fmla="*/ 128 w 478"/>
                <a:gd name="T39" fmla="*/ 121 h 416"/>
                <a:gd name="T40" fmla="*/ 123 w 478"/>
                <a:gd name="T41" fmla="*/ 152 h 416"/>
                <a:gd name="T42" fmla="*/ 130 w 478"/>
                <a:gd name="T43" fmla="*/ 165 h 416"/>
                <a:gd name="T44" fmla="*/ 123 w 478"/>
                <a:gd name="T45" fmla="*/ 177 h 416"/>
                <a:gd name="T46" fmla="*/ 112 w 478"/>
                <a:gd name="T47" fmla="*/ 166 h 416"/>
                <a:gd name="T48" fmla="*/ 83 w 478"/>
                <a:gd name="T49" fmla="*/ 179 h 416"/>
                <a:gd name="T50" fmla="*/ 76 w 478"/>
                <a:gd name="T51" fmla="*/ 190 h 416"/>
                <a:gd name="T52" fmla="*/ 40 w 478"/>
                <a:gd name="T53" fmla="*/ 195 h 416"/>
                <a:gd name="T54" fmla="*/ 18 w 478"/>
                <a:gd name="T55" fmla="*/ 201 h 416"/>
                <a:gd name="T56" fmla="*/ 36 w 478"/>
                <a:gd name="T57" fmla="*/ 258 h 416"/>
                <a:gd name="T58" fmla="*/ 38 w 478"/>
                <a:gd name="T59" fmla="*/ 280 h 416"/>
                <a:gd name="T60" fmla="*/ 2 w 478"/>
                <a:gd name="T61" fmla="*/ 334 h 416"/>
                <a:gd name="T62" fmla="*/ 16 w 478"/>
                <a:gd name="T63" fmla="*/ 340 h 416"/>
                <a:gd name="T64" fmla="*/ 23 w 478"/>
                <a:gd name="T65" fmla="*/ 356 h 416"/>
                <a:gd name="T66" fmla="*/ 20 w 478"/>
                <a:gd name="T67" fmla="*/ 376 h 416"/>
                <a:gd name="T68" fmla="*/ 20 w 478"/>
                <a:gd name="T69" fmla="*/ 390 h 416"/>
                <a:gd name="T70" fmla="*/ 32 w 478"/>
                <a:gd name="T71" fmla="*/ 385 h 416"/>
                <a:gd name="T72" fmla="*/ 99 w 478"/>
                <a:gd name="T73" fmla="*/ 360 h 416"/>
                <a:gd name="T74" fmla="*/ 184 w 478"/>
                <a:gd name="T75" fmla="*/ 376 h 416"/>
                <a:gd name="T76" fmla="*/ 208 w 478"/>
                <a:gd name="T77" fmla="*/ 387 h 416"/>
                <a:gd name="T78" fmla="*/ 229 w 478"/>
                <a:gd name="T79" fmla="*/ 398 h 416"/>
                <a:gd name="T80" fmla="*/ 249 w 478"/>
                <a:gd name="T81" fmla="*/ 387 h 416"/>
                <a:gd name="T82" fmla="*/ 264 w 478"/>
                <a:gd name="T83" fmla="*/ 390 h 416"/>
                <a:gd name="T84" fmla="*/ 280 w 478"/>
                <a:gd name="T85" fmla="*/ 398 h 416"/>
                <a:gd name="T86" fmla="*/ 303 w 478"/>
                <a:gd name="T87" fmla="*/ 394 h 416"/>
                <a:gd name="T88" fmla="*/ 318 w 478"/>
                <a:gd name="T89" fmla="*/ 399 h 416"/>
                <a:gd name="T90" fmla="*/ 338 w 478"/>
                <a:gd name="T91" fmla="*/ 399 h 416"/>
                <a:gd name="T92" fmla="*/ 359 w 478"/>
                <a:gd name="T93" fmla="*/ 410 h 416"/>
                <a:gd name="T94" fmla="*/ 372 w 478"/>
                <a:gd name="T95" fmla="*/ 410 h 416"/>
                <a:gd name="T96" fmla="*/ 372 w 478"/>
                <a:gd name="T97" fmla="*/ 398 h 416"/>
                <a:gd name="T98" fmla="*/ 370 w 478"/>
                <a:gd name="T99" fmla="*/ 389 h 416"/>
                <a:gd name="T100" fmla="*/ 374 w 478"/>
                <a:gd name="T101" fmla="*/ 376 h 416"/>
                <a:gd name="T102" fmla="*/ 379 w 478"/>
                <a:gd name="T103" fmla="*/ 365 h 416"/>
                <a:gd name="T104" fmla="*/ 386 w 478"/>
                <a:gd name="T105" fmla="*/ 356 h 416"/>
                <a:gd name="T106" fmla="*/ 401 w 478"/>
                <a:gd name="T107" fmla="*/ 349 h 416"/>
                <a:gd name="T108" fmla="*/ 426 w 478"/>
                <a:gd name="T109" fmla="*/ 334 h 416"/>
                <a:gd name="T110" fmla="*/ 421 w 478"/>
                <a:gd name="T111" fmla="*/ 314 h 416"/>
                <a:gd name="T112" fmla="*/ 421 w 478"/>
                <a:gd name="T113" fmla="*/ 295 h 416"/>
                <a:gd name="T114" fmla="*/ 408 w 478"/>
                <a:gd name="T115" fmla="*/ 266 h 416"/>
                <a:gd name="T116" fmla="*/ 430 w 478"/>
                <a:gd name="T117" fmla="*/ 257 h 416"/>
                <a:gd name="T118" fmla="*/ 453 w 478"/>
                <a:gd name="T119" fmla="*/ 264 h 416"/>
                <a:gd name="T120" fmla="*/ 464 w 478"/>
                <a:gd name="T121" fmla="*/ 248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8" h="416">
                  <a:moveTo>
                    <a:pt x="478" y="237"/>
                  </a:moveTo>
                  <a:lnTo>
                    <a:pt x="477" y="235"/>
                  </a:lnTo>
                  <a:lnTo>
                    <a:pt x="477" y="235"/>
                  </a:lnTo>
                  <a:lnTo>
                    <a:pt x="475" y="235"/>
                  </a:lnTo>
                  <a:lnTo>
                    <a:pt x="475" y="235"/>
                  </a:lnTo>
                  <a:lnTo>
                    <a:pt x="475" y="233"/>
                  </a:lnTo>
                  <a:lnTo>
                    <a:pt x="475" y="233"/>
                  </a:lnTo>
                  <a:lnTo>
                    <a:pt x="475" y="231"/>
                  </a:lnTo>
                  <a:lnTo>
                    <a:pt x="475" y="231"/>
                  </a:lnTo>
                  <a:lnTo>
                    <a:pt x="473" y="231"/>
                  </a:lnTo>
                  <a:lnTo>
                    <a:pt x="473" y="231"/>
                  </a:lnTo>
                  <a:lnTo>
                    <a:pt x="471" y="231"/>
                  </a:lnTo>
                  <a:lnTo>
                    <a:pt x="471" y="233"/>
                  </a:lnTo>
                  <a:lnTo>
                    <a:pt x="471" y="231"/>
                  </a:lnTo>
                  <a:lnTo>
                    <a:pt x="471" y="231"/>
                  </a:lnTo>
                  <a:lnTo>
                    <a:pt x="471" y="231"/>
                  </a:lnTo>
                  <a:lnTo>
                    <a:pt x="469" y="230"/>
                  </a:lnTo>
                  <a:lnTo>
                    <a:pt x="469" y="230"/>
                  </a:lnTo>
                  <a:lnTo>
                    <a:pt x="466" y="228"/>
                  </a:lnTo>
                  <a:lnTo>
                    <a:pt x="464" y="228"/>
                  </a:lnTo>
                  <a:lnTo>
                    <a:pt x="464" y="226"/>
                  </a:lnTo>
                  <a:lnTo>
                    <a:pt x="462" y="224"/>
                  </a:lnTo>
                  <a:lnTo>
                    <a:pt x="462" y="222"/>
                  </a:lnTo>
                  <a:lnTo>
                    <a:pt x="462" y="221"/>
                  </a:lnTo>
                  <a:lnTo>
                    <a:pt x="462" y="219"/>
                  </a:lnTo>
                  <a:lnTo>
                    <a:pt x="462" y="219"/>
                  </a:lnTo>
                  <a:lnTo>
                    <a:pt x="466" y="217"/>
                  </a:lnTo>
                  <a:lnTo>
                    <a:pt x="466" y="217"/>
                  </a:lnTo>
                  <a:lnTo>
                    <a:pt x="466" y="217"/>
                  </a:lnTo>
                  <a:lnTo>
                    <a:pt x="466" y="215"/>
                  </a:lnTo>
                  <a:lnTo>
                    <a:pt x="466" y="215"/>
                  </a:lnTo>
                  <a:lnTo>
                    <a:pt x="466" y="213"/>
                  </a:lnTo>
                  <a:lnTo>
                    <a:pt x="464" y="213"/>
                  </a:lnTo>
                  <a:lnTo>
                    <a:pt x="464" y="213"/>
                  </a:lnTo>
                  <a:lnTo>
                    <a:pt x="460" y="213"/>
                  </a:lnTo>
                  <a:lnTo>
                    <a:pt x="460" y="213"/>
                  </a:lnTo>
                  <a:lnTo>
                    <a:pt x="459" y="210"/>
                  </a:lnTo>
                  <a:lnTo>
                    <a:pt x="457" y="210"/>
                  </a:lnTo>
                  <a:lnTo>
                    <a:pt x="450" y="208"/>
                  </a:lnTo>
                  <a:lnTo>
                    <a:pt x="448" y="204"/>
                  </a:lnTo>
                  <a:lnTo>
                    <a:pt x="446" y="204"/>
                  </a:lnTo>
                  <a:lnTo>
                    <a:pt x="435" y="208"/>
                  </a:lnTo>
                  <a:lnTo>
                    <a:pt x="431" y="206"/>
                  </a:lnTo>
                  <a:lnTo>
                    <a:pt x="430" y="206"/>
                  </a:lnTo>
                  <a:lnTo>
                    <a:pt x="430" y="204"/>
                  </a:lnTo>
                  <a:lnTo>
                    <a:pt x="431" y="201"/>
                  </a:lnTo>
                  <a:lnTo>
                    <a:pt x="433" y="199"/>
                  </a:lnTo>
                  <a:lnTo>
                    <a:pt x="433" y="193"/>
                  </a:lnTo>
                  <a:lnTo>
                    <a:pt x="433" y="192"/>
                  </a:lnTo>
                  <a:lnTo>
                    <a:pt x="433" y="192"/>
                  </a:lnTo>
                  <a:lnTo>
                    <a:pt x="433" y="190"/>
                  </a:lnTo>
                  <a:lnTo>
                    <a:pt x="433" y="190"/>
                  </a:lnTo>
                  <a:lnTo>
                    <a:pt x="435" y="190"/>
                  </a:lnTo>
                  <a:lnTo>
                    <a:pt x="433" y="184"/>
                  </a:lnTo>
                  <a:lnTo>
                    <a:pt x="433" y="184"/>
                  </a:lnTo>
                  <a:lnTo>
                    <a:pt x="433" y="184"/>
                  </a:lnTo>
                  <a:lnTo>
                    <a:pt x="433" y="184"/>
                  </a:lnTo>
                  <a:lnTo>
                    <a:pt x="433" y="184"/>
                  </a:lnTo>
                  <a:lnTo>
                    <a:pt x="431" y="184"/>
                  </a:lnTo>
                  <a:lnTo>
                    <a:pt x="431" y="184"/>
                  </a:lnTo>
                  <a:lnTo>
                    <a:pt x="430" y="184"/>
                  </a:lnTo>
                  <a:lnTo>
                    <a:pt x="430" y="183"/>
                  </a:lnTo>
                  <a:lnTo>
                    <a:pt x="430" y="181"/>
                  </a:lnTo>
                  <a:lnTo>
                    <a:pt x="430" y="181"/>
                  </a:lnTo>
                  <a:lnTo>
                    <a:pt x="428" y="181"/>
                  </a:lnTo>
                  <a:lnTo>
                    <a:pt x="428" y="181"/>
                  </a:lnTo>
                  <a:lnTo>
                    <a:pt x="426" y="181"/>
                  </a:lnTo>
                  <a:lnTo>
                    <a:pt x="421" y="177"/>
                  </a:lnTo>
                  <a:lnTo>
                    <a:pt x="419" y="177"/>
                  </a:lnTo>
                  <a:lnTo>
                    <a:pt x="417" y="177"/>
                  </a:lnTo>
                  <a:lnTo>
                    <a:pt x="415" y="175"/>
                  </a:lnTo>
                  <a:lnTo>
                    <a:pt x="408" y="170"/>
                  </a:lnTo>
                  <a:lnTo>
                    <a:pt x="408" y="168"/>
                  </a:lnTo>
                  <a:lnTo>
                    <a:pt x="406" y="166"/>
                  </a:lnTo>
                  <a:lnTo>
                    <a:pt x="406" y="161"/>
                  </a:lnTo>
                  <a:lnTo>
                    <a:pt x="406" y="159"/>
                  </a:lnTo>
                  <a:lnTo>
                    <a:pt x="406" y="159"/>
                  </a:lnTo>
                  <a:lnTo>
                    <a:pt x="404" y="157"/>
                  </a:lnTo>
                  <a:lnTo>
                    <a:pt x="404" y="157"/>
                  </a:lnTo>
                  <a:lnTo>
                    <a:pt x="403" y="152"/>
                  </a:lnTo>
                  <a:lnTo>
                    <a:pt x="403" y="150"/>
                  </a:lnTo>
                  <a:lnTo>
                    <a:pt x="401" y="150"/>
                  </a:lnTo>
                  <a:lnTo>
                    <a:pt x="401" y="150"/>
                  </a:lnTo>
                  <a:lnTo>
                    <a:pt x="401" y="148"/>
                  </a:lnTo>
                  <a:lnTo>
                    <a:pt x="397" y="148"/>
                  </a:lnTo>
                  <a:lnTo>
                    <a:pt x="395" y="146"/>
                  </a:lnTo>
                  <a:lnTo>
                    <a:pt x="397" y="143"/>
                  </a:lnTo>
                  <a:lnTo>
                    <a:pt x="399" y="139"/>
                  </a:lnTo>
                  <a:lnTo>
                    <a:pt x="401" y="136"/>
                  </a:lnTo>
                  <a:lnTo>
                    <a:pt x="399" y="134"/>
                  </a:lnTo>
                  <a:lnTo>
                    <a:pt x="397" y="132"/>
                  </a:lnTo>
                  <a:lnTo>
                    <a:pt x="394" y="130"/>
                  </a:lnTo>
                  <a:lnTo>
                    <a:pt x="392" y="132"/>
                  </a:lnTo>
                  <a:lnTo>
                    <a:pt x="392" y="130"/>
                  </a:lnTo>
                  <a:lnTo>
                    <a:pt x="392" y="128"/>
                  </a:lnTo>
                  <a:lnTo>
                    <a:pt x="383" y="123"/>
                  </a:lnTo>
                  <a:lnTo>
                    <a:pt x="381" y="121"/>
                  </a:lnTo>
                  <a:lnTo>
                    <a:pt x="381" y="121"/>
                  </a:lnTo>
                  <a:lnTo>
                    <a:pt x="381" y="119"/>
                  </a:lnTo>
                  <a:lnTo>
                    <a:pt x="381" y="118"/>
                  </a:lnTo>
                  <a:lnTo>
                    <a:pt x="381" y="116"/>
                  </a:lnTo>
                  <a:lnTo>
                    <a:pt x="383" y="114"/>
                  </a:lnTo>
                  <a:lnTo>
                    <a:pt x="383" y="114"/>
                  </a:lnTo>
                  <a:lnTo>
                    <a:pt x="383" y="110"/>
                  </a:lnTo>
                  <a:lnTo>
                    <a:pt x="383" y="110"/>
                  </a:lnTo>
                  <a:lnTo>
                    <a:pt x="383" y="109"/>
                  </a:lnTo>
                  <a:lnTo>
                    <a:pt x="385" y="109"/>
                  </a:lnTo>
                  <a:lnTo>
                    <a:pt x="386" y="107"/>
                  </a:lnTo>
                  <a:lnTo>
                    <a:pt x="388" y="107"/>
                  </a:lnTo>
                  <a:lnTo>
                    <a:pt x="388" y="105"/>
                  </a:lnTo>
                  <a:lnTo>
                    <a:pt x="388" y="103"/>
                  </a:lnTo>
                  <a:lnTo>
                    <a:pt x="388" y="103"/>
                  </a:lnTo>
                  <a:lnTo>
                    <a:pt x="388" y="101"/>
                  </a:lnTo>
                  <a:lnTo>
                    <a:pt x="388" y="101"/>
                  </a:lnTo>
                  <a:lnTo>
                    <a:pt x="388" y="101"/>
                  </a:lnTo>
                  <a:lnTo>
                    <a:pt x="392" y="101"/>
                  </a:lnTo>
                  <a:lnTo>
                    <a:pt x="392" y="101"/>
                  </a:lnTo>
                  <a:lnTo>
                    <a:pt x="392" y="100"/>
                  </a:lnTo>
                  <a:lnTo>
                    <a:pt x="392" y="98"/>
                  </a:lnTo>
                  <a:lnTo>
                    <a:pt x="392" y="96"/>
                  </a:lnTo>
                  <a:lnTo>
                    <a:pt x="390" y="94"/>
                  </a:lnTo>
                  <a:lnTo>
                    <a:pt x="390" y="94"/>
                  </a:lnTo>
                  <a:lnTo>
                    <a:pt x="390" y="94"/>
                  </a:lnTo>
                  <a:lnTo>
                    <a:pt x="392" y="92"/>
                  </a:lnTo>
                  <a:lnTo>
                    <a:pt x="392" y="92"/>
                  </a:lnTo>
                  <a:lnTo>
                    <a:pt x="392" y="90"/>
                  </a:lnTo>
                  <a:lnTo>
                    <a:pt x="392" y="90"/>
                  </a:lnTo>
                  <a:lnTo>
                    <a:pt x="390" y="90"/>
                  </a:lnTo>
                  <a:lnTo>
                    <a:pt x="390" y="90"/>
                  </a:lnTo>
                  <a:lnTo>
                    <a:pt x="390" y="90"/>
                  </a:lnTo>
                  <a:lnTo>
                    <a:pt x="390" y="90"/>
                  </a:lnTo>
                  <a:lnTo>
                    <a:pt x="390" y="90"/>
                  </a:lnTo>
                  <a:lnTo>
                    <a:pt x="390" y="89"/>
                  </a:lnTo>
                  <a:lnTo>
                    <a:pt x="390" y="89"/>
                  </a:lnTo>
                  <a:lnTo>
                    <a:pt x="390" y="87"/>
                  </a:lnTo>
                  <a:lnTo>
                    <a:pt x="386" y="85"/>
                  </a:lnTo>
                  <a:lnTo>
                    <a:pt x="386" y="85"/>
                  </a:lnTo>
                  <a:lnTo>
                    <a:pt x="386" y="81"/>
                  </a:lnTo>
                  <a:lnTo>
                    <a:pt x="385" y="81"/>
                  </a:lnTo>
                  <a:lnTo>
                    <a:pt x="383" y="80"/>
                  </a:lnTo>
                  <a:lnTo>
                    <a:pt x="383" y="80"/>
                  </a:lnTo>
                  <a:lnTo>
                    <a:pt x="381" y="78"/>
                  </a:lnTo>
                  <a:lnTo>
                    <a:pt x="383" y="76"/>
                  </a:lnTo>
                  <a:lnTo>
                    <a:pt x="383" y="74"/>
                  </a:lnTo>
                  <a:lnTo>
                    <a:pt x="385" y="72"/>
                  </a:lnTo>
                  <a:lnTo>
                    <a:pt x="388" y="71"/>
                  </a:lnTo>
                  <a:lnTo>
                    <a:pt x="388" y="69"/>
                  </a:lnTo>
                  <a:lnTo>
                    <a:pt x="388" y="67"/>
                  </a:lnTo>
                  <a:lnTo>
                    <a:pt x="388" y="65"/>
                  </a:lnTo>
                  <a:lnTo>
                    <a:pt x="386" y="65"/>
                  </a:lnTo>
                  <a:lnTo>
                    <a:pt x="386" y="63"/>
                  </a:lnTo>
                  <a:lnTo>
                    <a:pt x="386" y="62"/>
                  </a:lnTo>
                  <a:lnTo>
                    <a:pt x="388" y="62"/>
                  </a:lnTo>
                  <a:lnTo>
                    <a:pt x="388" y="60"/>
                  </a:lnTo>
                  <a:lnTo>
                    <a:pt x="388" y="60"/>
                  </a:lnTo>
                  <a:lnTo>
                    <a:pt x="386" y="60"/>
                  </a:lnTo>
                  <a:lnTo>
                    <a:pt x="388" y="56"/>
                  </a:lnTo>
                  <a:lnTo>
                    <a:pt x="388" y="53"/>
                  </a:lnTo>
                  <a:lnTo>
                    <a:pt x="388" y="53"/>
                  </a:lnTo>
                  <a:lnTo>
                    <a:pt x="386" y="51"/>
                  </a:lnTo>
                  <a:lnTo>
                    <a:pt x="385" y="49"/>
                  </a:lnTo>
                  <a:lnTo>
                    <a:pt x="383" y="51"/>
                  </a:lnTo>
                  <a:lnTo>
                    <a:pt x="381" y="51"/>
                  </a:lnTo>
                  <a:lnTo>
                    <a:pt x="379" y="51"/>
                  </a:lnTo>
                  <a:lnTo>
                    <a:pt x="377" y="47"/>
                  </a:lnTo>
                  <a:lnTo>
                    <a:pt x="377" y="47"/>
                  </a:lnTo>
                  <a:lnTo>
                    <a:pt x="377" y="45"/>
                  </a:lnTo>
                  <a:lnTo>
                    <a:pt x="376" y="45"/>
                  </a:lnTo>
                  <a:lnTo>
                    <a:pt x="374" y="45"/>
                  </a:lnTo>
                  <a:lnTo>
                    <a:pt x="374" y="45"/>
                  </a:lnTo>
                  <a:lnTo>
                    <a:pt x="372" y="44"/>
                  </a:lnTo>
                  <a:lnTo>
                    <a:pt x="372" y="44"/>
                  </a:lnTo>
                  <a:lnTo>
                    <a:pt x="372" y="42"/>
                  </a:lnTo>
                  <a:lnTo>
                    <a:pt x="372" y="42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70" y="38"/>
                  </a:lnTo>
                  <a:lnTo>
                    <a:pt x="366" y="36"/>
                  </a:lnTo>
                  <a:lnTo>
                    <a:pt x="365" y="36"/>
                  </a:lnTo>
                  <a:lnTo>
                    <a:pt x="366" y="34"/>
                  </a:lnTo>
                  <a:lnTo>
                    <a:pt x="366" y="34"/>
                  </a:lnTo>
                  <a:lnTo>
                    <a:pt x="366" y="33"/>
                  </a:lnTo>
                  <a:lnTo>
                    <a:pt x="365" y="33"/>
                  </a:lnTo>
                  <a:lnTo>
                    <a:pt x="356" y="29"/>
                  </a:lnTo>
                  <a:lnTo>
                    <a:pt x="354" y="29"/>
                  </a:lnTo>
                  <a:lnTo>
                    <a:pt x="352" y="27"/>
                  </a:lnTo>
                  <a:lnTo>
                    <a:pt x="352" y="27"/>
                  </a:lnTo>
                  <a:lnTo>
                    <a:pt x="350" y="27"/>
                  </a:lnTo>
                  <a:lnTo>
                    <a:pt x="348" y="29"/>
                  </a:lnTo>
                  <a:lnTo>
                    <a:pt x="347" y="31"/>
                  </a:lnTo>
                  <a:lnTo>
                    <a:pt x="341" y="29"/>
                  </a:lnTo>
                  <a:lnTo>
                    <a:pt x="339" y="27"/>
                  </a:lnTo>
                  <a:lnTo>
                    <a:pt x="338" y="29"/>
                  </a:lnTo>
                  <a:lnTo>
                    <a:pt x="336" y="29"/>
                  </a:lnTo>
                  <a:lnTo>
                    <a:pt x="334" y="31"/>
                  </a:lnTo>
                  <a:lnTo>
                    <a:pt x="332" y="34"/>
                  </a:lnTo>
                  <a:lnTo>
                    <a:pt x="330" y="36"/>
                  </a:lnTo>
                  <a:lnTo>
                    <a:pt x="327" y="34"/>
                  </a:lnTo>
                  <a:lnTo>
                    <a:pt x="327" y="34"/>
                  </a:lnTo>
                  <a:lnTo>
                    <a:pt x="321" y="38"/>
                  </a:lnTo>
                  <a:lnTo>
                    <a:pt x="318" y="42"/>
                  </a:lnTo>
                  <a:lnTo>
                    <a:pt x="316" y="44"/>
                  </a:lnTo>
                  <a:lnTo>
                    <a:pt x="316" y="42"/>
                  </a:lnTo>
                  <a:lnTo>
                    <a:pt x="312" y="38"/>
                  </a:lnTo>
                  <a:lnTo>
                    <a:pt x="310" y="36"/>
                  </a:lnTo>
                  <a:lnTo>
                    <a:pt x="309" y="34"/>
                  </a:lnTo>
                  <a:lnTo>
                    <a:pt x="309" y="33"/>
                  </a:lnTo>
                  <a:lnTo>
                    <a:pt x="309" y="33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2" y="24"/>
                  </a:lnTo>
                  <a:lnTo>
                    <a:pt x="312" y="24"/>
                  </a:lnTo>
                  <a:lnTo>
                    <a:pt x="312" y="24"/>
                  </a:lnTo>
                  <a:lnTo>
                    <a:pt x="312" y="24"/>
                  </a:lnTo>
                  <a:lnTo>
                    <a:pt x="314" y="24"/>
                  </a:lnTo>
                  <a:lnTo>
                    <a:pt x="314" y="24"/>
                  </a:lnTo>
                  <a:lnTo>
                    <a:pt x="314" y="24"/>
                  </a:lnTo>
                  <a:lnTo>
                    <a:pt x="314" y="24"/>
                  </a:lnTo>
                  <a:lnTo>
                    <a:pt x="314" y="22"/>
                  </a:lnTo>
                  <a:lnTo>
                    <a:pt x="314" y="22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0" y="18"/>
                  </a:lnTo>
                  <a:lnTo>
                    <a:pt x="303" y="16"/>
                  </a:lnTo>
                  <a:lnTo>
                    <a:pt x="301" y="15"/>
                  </a:lnTo>
                  <a:lnTo>
                    <a:pt x="300" y="13"/>
                  </a:lnTo>
                  <a:lnTo>
                    <a:pt x="296" y="13"/>
                  </a:lnTo>
                  <a:lnTo>
                    <a:pt x="294" y="13"/>
                  </a:lnTo>
                  <a:lnTo>
                    <a:pt x="291" y="13"/>
                  </a:lnTo>
                  <a:lnTo>
                    <a:pt x="289" y="15"/>
                  </a:lnTo>
                  <a:lnTo>
                    <a:pt x="289" y="15"/>
                  </a:lnTo>
                  <a:lnTo>
                    <a:pt x="289" y="15"/>
                  </a:lnTo>
                  <a:lnTo>
                    <a:pt x="289" y="15"/>
                  </a:lnTo>
                  <a:lnTo>
                    <a:pt x="285" y="16"/>
                  </a:lnTo>
                  <a:lnTo>
                    <a:pt x="283" y="18"/>
                  </a:lnTo>
                  <a:lnTo>
                    <a:pt x="283" y="20"/>
                  </a:lnTo>
                  <a:lnTo>
                    <a:pt x="282" y="20"/>
                  </a:lnTo>
                  <a:lnTo>
                    <a:pt x="278" y="20"/>
                  </a:lnTo>
                  <a:lnTo>
                    <a:pt x="278" y="18"/>
                  </a:lnTo>
                  <a:lnTo>
                    <a:pt x="276" y="16"/>
                  </a:lnTo>
                  <a:lnTo>
                    <a:pt x="276" y="15"/>
                  </a:lnTo>
                  <a:lnTo>
                    <a:pt x="276" y="13"/>
                  </a:lnTo>
                  <a:lnTo>
                    <a:pt x="276" y="11"/>
                  </a:lnTo>
                  <a:lnTo>
                    <a:pt x="274" y="9"/>
                  </a:lnTo>
                  <a:lnTo>
                    <a:pt x="273" y="7"/>
                  </a:lnTo>
                  <a:lnTo>
                    <a:pt x="273" y="7"/>
                  </a:lnTo>
                  <a:lnTo>
                    <a:pt x="271" y="6"/>
                  </a:lnTo>
                  <a:lnTo>
                    <a:pt x="269" y="6"/>
                  </a:lnTo>
                  <a:lnTo>
                    <a:pt x="262" y="7"/>
                  </a:lnTo>
                  <a:lnTo>
                    <a:pt x="260" y="7"/>
                  </a:lnTo>
                  <a:lnTo>
                    <a:pt x="258" y="9"/>
                  </a:lnTo>
                  <a:lnTo>
                    <a:pt x="258" y="11"/>
                  </a:lnTo>
                  <a:lnTo>
                    <a:pt x="256" y="11"/>
                  </a:lnTo>
                  <a:lnTo>
                    <a:pt x="255" y="9"/>
                  </a:lnTo>
                  <a:lnTo>
                    <a:pt x="255" y="7"/>
                  </a:lnTo>
                  <a:lnTo>
                    <a:pt x="251" y="4"/>
                  </a:lnTo>
                  <a:lnTo>
                    <a:pt x="249" y="2"/>
                  </a:lnTo>
                  <a:lnTo>
                    <a:pt x="247" y="0"/>
                  </a:lnTo>
                  <a:lnTo>
                    <a:pt x="245" y="2"/>
                  </a:lnTo>
                  <a:lnTo>
                    <a:pt x="244" y="2"/>
                  </a:lnTo>
                  <a:lnTo>
                    <a:pt x="244" y="4"/>
                  </a:lnTo>
                  <a:lnTo>
                    <a:pt x="240" y="4"/>
                  </a:lnTo>
                  <a:lnTo>
                    <a:pt x="238" y="4"/>
                  </a:lnTo>
                  <a:lnTo>
                    <a:pt x="238" y="6"/>
                  </a:lnTo>
                  <a:lnTo>
                    <a:pt x="238" y="6"/>
                  </a:lnTo>
                  <a:lnTo>
                    <a:pt x="236" y="7"/>
                  </a:lnTo>
                  <a:lnTo>
                    <a:pt x="236" y="7"/>
                  </a:lnTo>
                  <a:lnTo>
                    <a:pt x="236" y="9"/>
                  </a:lnTo>
                  <a:lnTo>
                    <a:pt x="233" y="11"/>
                  </a:lnTo>
                  <a:lnTo>
                    <a:pt x="231" y="13"/>
                  </a:lnTo>
                  <a:lnTo>
                    <a:pt x="231" y="15"/>
                  </a:lnTo>
                  <a:lnTo>
                    <a:pt x="229" y="18"/>
                  </a:lnTo>
                  <a:lnTo>
                    <a:pt x="224" y="22"/>
                  </a:lnTo>
                  <a:lnTo>
                    <a:pt x="222" y="25"/>
                  </a:lnTo>
                  <a:lnTo>
                    <a:pt x="222" y="29"/>
                  </a:lnTo>
                  <a:lnTo>
                    <a:pt x="222" y="31"/>
                  </a:lnTo>
                  <a:lnTo>
                    <a:pt x="222" y="33"/>
                  </a:lnTo>
                  <a:lnTo>
                    <a:pt x="220" y="33"/>
                  </a:lnTo>
                  <a:lnTo>
                    <a:pt x="213" y="33"/>
                  </a:lnTo>
                  <a:lnTo>
                    <a:pt x="213" y="33"/>
                  </a:lnTo>
                  <a:lnTo>
                    <a:pt x="211" y="31"/>
                  </a:lnTo>
                  <a:lnTo>
                    <a:pt x="209" y="29"/>
                  </a:lnTo>
                  <a:lnTo>
                    <a:pt x="208" y="31"/>
                  </a:lnTo>
                  <a:lnTo>
                    <a:pt x="206" y="33"/>
                  </a:lnTo>
                  <a:lnTo>
                    <a:pt x="206" y="33"/>
                  </a:lnTo>
                  <a:lnTo>
                    <a:pt x="204" y="33"/>
                  </a:lnTo>
                  <a:lnTo>
                    <a:pt x="200" y="31"/>
                  </a:lnTo>
                  <a:lnTo>
                    <a:pt x="199" y="29"/>
                  </a:lnTo>
                  <a:lnTo>
                    <a:pt x="197" y="29"/>
                  </a:lnTo>
                  <a:lnTo>
                    <a:pt x="191" y="29"/>
                  </a:lnTo>
                  <a:lnTo>
                    <a:pt x="191" y="31"/>
                  </a:lnTo>
                  <a:lnTo>
                    <a:pt x="190" y="31"/>
                  </a:lnTo>
                  <a:lnTo>
                    <a:pt x="188" y="34"/>
                  </a:lnTo>
                  <a:lnTo>
                    <a:pt x="184" y="40"/>
                  </a:lnTo>
                  <a:lnTo>
                    <a:pt x="182" y="40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5" y="42"/>
                  </a:lnTo>
                  <a:lnTo>
                    <a:pt x="173" y="42"/>
                  </a:lnTo>
                  <a:lnTo>
                    <a:pt x="173" y="42"/>
                  </a:lnTo>
                  <a:lnTo>
                    <a:pt x="171" y="44"/>
                  </a:lnTo>
                  <a:lnTo>
                    <a:pt x="171" y="47"/>
                  </a:lnTo>
                  <a:lnTo>
                    <a:pt x="171" y="49"/>
                  </a:lnTo>
                  <a:lnTo>
                    <a:pt x="171" y="51"/>
                  </a:lnTo>
                  <a:lnTo>
                    <a:pt x="171" y="53"/>
                  </a:lnTo>
                  <a:lnTo>
                    <a:pt x="171" y="54"/>
                  </a:lnTo>
                  <a:lnTo>
                    <a:pt x="170" y="56"/>
                  </a:lnTo>
                  <a:lnTo>
                    <a:pt x="168" y="58"/>
                  </a:lnTo>
                  <a:lnTo>
                    <a:pt x="168" y="60"/>
                  </a:lnTo>
                  <a:lnTo>
                    <a:pt x="170" y="62"/>
                  </a:lnTo>
                  <a:lnTo>
                    <a:pt x="170" y="62"/>
                  </a:lnTo>
                  <a:lnTo>
                    <a:pt x="168" y="63"/>
                  </a:lnTo>
                  <a:lnTo>
                    <a:pt x="166" y="65"/>
                  </a:lnTo>
                  <a:lnTo>
                    <a:pt x="166" y="69"/>
                  </a:lnTo>
                  <a:lnTo>
                    <a:pt x="166" y="69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8" y="76"/>
                  </a:lnTo>
                  <a:lnTo>
                    <a:pt x="170" y="76"/>
                  </a:lnTo>
                  <a:lnTo>
                    <a:pt x="171" y="74"/>
                  </a:lnTo>
                  <a:lnTo>
                    <a:pt x="180" y="76"/>
                  </a:lnTo>
                  <a:lnTo>
                    <a:pt x="182" y="78"/>
                  </a:lnTo>
                  <a:lnTo>
                    <a:pt x="182" y="80"/>
                  </a:lnTo>
                  <a:lnTo>
                    <a:pt x="180" y="80"/>
                  </a:lnTo>
                  <a:lnTo>
                    <a:pt x="180" y="81"/>
                  </a:lnTo>
                  <a:lnTo>
                    <a:pt x="179" y="81"/>
                  </a:lnTo>
                  <a:lnTo>
                    <a:pt x="177" y="81"/>
                  </a:lnTo>
                  <a:lnTo>
                    <a:pt x="177" y="83"/>
                  </a:lnTo>
                  <a:lnTo>
                    <a:pt x="175" y="83"/>
                  </a:lnTo>
                  <a:lnTo>
                    <a:pt x="173" y="85"/>
                  </a:lnTo>
                  <a:lnTo>
                    <a:pt x="173" y="85"/>
                  </a:lnTo>
                  <a:lnTo>
                    <a:pt x="173" y="89"/>
                  </a:lnTo>
                  <a:lnTo>
                    <a:pt x="173" y="90"/>
                  </a:lnTo>
                  <a:lnTo>
                    <a:pt x="171" y="92"/>
                  </a:lnTo>
                  <a:lnTo>
                    <a:pt x="171" y="92"/>
                  </a:lnTo>
                  <a:lnTo>
                    <a:pt x="166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2" y="92"/>
                  </a:lnTo>
                  <a:lnTo>
                    <a:pt x="162" y="92"/>
                  </a:lnTo>
                  <a:lnTo>
                    <a:pt x="157" y="90"/>
                  </a:lnTo>
                  <a:lnTo>
                    <a:pt x="155" y="90"/>
                  </a:lnTo>
                  <a:lnTo>
                    <a:pt x="153" y="92"/>
                  </a:lnTo>
                  <a:lnTo>
                    <a:pt x="153" y="94"/>
                  </a:lnTo>
                  <a:lnTo>
                    <a:pt x="153" y="96"/>
                  </a:lnTo>
                  <a:lnTo>
                    <a:pt x="153" y="98"/>
                  </a:lnTo>
                  <a:lnTo>
                    <a:pt x="153" y="98"/>
                  </a:lnTo>
                  <a:lnTo>
                    <a:pt x="152" y="101"/>
                  </a:lnTo>
                  <a:lnTo>
                    <a:pt x="150" y="103"/>
                  </a:lnTo>
                  <a:lnTo>
                    <a:pt x="150" y="105"/>
                  </a:lnTo>
                  <a:lnTo>
                    <a:pt x="148" y="105"/>
                  </a:lnTo>
                  <a:lnTo>
                    <a:pt x="146" y="107"/>
                  </a:lnTo>
                  <a:lnTo>
                    <a:pt x="141" y="109"/>
                  </a:lnTo>
                  <a:lnTo>
                    <a:pt x="141" y="109"/>
                  </a:lnTo>
                  <a:lnTo>
                    <a:pt x="139" y="107"/>
                  </a:lnTo>
                  <a:lnTo>
                    <a:pt x="137" y="107"/>
                  </a:lnTo>
                  <a:lnTo>
                    <a:pt x="135" y="109"/>
                  </a:lnTo>
                  <a:lnTo>
                    <a:pt x="135" y="109"/>
                  </a:lnTo>
                  <a:lnTo>
                    <a:pt x="135" y="109"/>
                  </a:lnTo>
                  <a:lnTo>
                    <a:pt x="135" y="110"/>
                  </a:lnTo>
                  <a:lnTo>
                    <a:pt x="134" y="110"/>
                  </a:lnTo>
                  <a:lnTo>
                    <a:pt x="134" y="112"/>
                  </a:lnTo>
                  <a:lnTo>
                    <a:pt x="132" y="112"/>
                  </a:lnTo>
                  <a:lnTo>
                    <a:pt x="132" y="114"/>
                  </a:lnTo>
                  <a:lnTo>
                    <a:pt x="130" y="116"/>
                  </a:lnTo>
                  <a:lnTo>
                    <a:pt x="130" y="116"/>
                  </a:lnTo>
                  <a:lnTo>
                    <a:pt x="132" y="118"/>
                  </a:lnTo>
                  <a:lnTo>
                    <a:pt x="132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28" y="121"/>
                  </a:lnTo>
                  <a:lnTo>
                    <a:pt x="128" y="121"/>
                  </a:lnTo>
                  <a:lnTo>
                    <a:pt x="128" y="123"/>
                  </a:lnTo>
                  <a:lnTo>
                    <a:pt x="128" y="127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6" y="132"/>
                  </a:lnTo>
                  <a:lnTo>
                    <a:pt x="128" y="134"/>
                  </a:lnTo>
                  <a:lnTo>
                    <a:pt x="128" y="137"/>
                  </a:lnTo>
                  <a:lnTo>
                    <a:pt x="130" y="139"/>
                  </a:lnTo>
                  <a:lnTo>
                    <a:pt x="128" y="139"/>
                  </a:lnTo>
                  <a:lnTo>
                    <a:pt x="128" y="141"/>
                  </a:lnTo>
                  <a:lnTo>
                    <a:pt x="126" y="143"/>
                  </a:lnTo>
                  <a:lnTo>
                    <a:pt x="124" y="145"/>
                  </a:lnTo>
                  <a:lnTo>
                    <a:pt x="123" y="145"/>
                  </a:lnTo>
                  <a:lnTo>
                    <a:pt x="123" y="146"/>
                  </a:lnTo>
                  <a:lnTo>
                    <a:pt x="123" y="150"/>
                  </a:lnTo>
                  <a:lnTo>
                    <a:pt x="123" y="152"/>
                  </a:lnTo>
                  <a:lnTo>
                    <a:pt x="123" y="152"/>
                  </a:lnTo>
                  <a:lnTo>
                    <a:pt x="121" y="154"/>
                  </a:lnTo>
                  <a:lnTo>
                    <a:pt x="119" y="157"/>
                  </a:lnTo>
                  <a:lnTo>
                    <a:pt x="119" y="159"/>
                  </a:lnTo>
                  <a:lnTo>
                    <a:pt x="119" y="161"/>
                  </a:lnTo>
                  <a:lnTo>
                    <a:pt x="119" y="163"/>
                  </a:lnTo>
                  <a:lnTo>
                    <a:pt x="119" y="163"/>
                  </a:lnTo>
                  <a:lnTo>
                    <a:pt x="123" y="163"/>
                  </a:lnTo>
                  <a:lnTo>
                    <a:pt x="124" y="161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3"/>
                  </a:lnTo>
                  <a:lnTo>
                    <a:pt x="126" y="163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28" y="165"/>
                  </a:lnTo>
                  <a:lnTo>
                    <a:pt x="130" y="165"/>
                  </a:lnTo>
                  <a:lnTo>
                    <a:pt x="130" y="166"/>
                  </a:lnTo>
                  <a:lnTo>
                    <a:pt x="130" y="166"/>
                  </a:lnTo>
                  <a:lnTo>
                    <a:pt x="130" y="168"/>
                  </a:lnTo>
                  <a:lnTo>
                    <a:pt x="130" y="168"/>
                  </a:lnTo>
                  <a:lnTo>
                    <a:pt x="132" y="168"/>
                  </a:lnTo>
                  <a:lnTo>
                    <a:pt x="132" y="168"/>
                  </a:lnTo>
                  <a:lnTo>
                    <a:pt x="132" y="168"/>
                  </a:lnTo>
                  <a:lnTo>
                    <a:pt x="132" y="168"/>
                  </a:lnTo>
                  <a:lnTo>
                    <a:pt x="130" y="170"/>
                  </a:lnTo>
                  <a:lnTo>
                    <a:pt x="130" y="170"/>
                  </a:lnTo>
                  <a:lnTo>
                    <a:pt x="130" y="174"/>
                  </a:lnTo>
                  <a:lnTo>
                    <a:pt x="130" y="175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6" y="175"/>
                  </a:lnTo>
                  <a:lnTo>
                    <a:pt x="126" y="177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3" y="177"/>
                  </a:lnTo>
                  <a:lnTo>
                    <a:pt x="119" y="177"/>
                  </a:lnTo>
                  <a:lnTo>
                    <a:pt x="117" y="177"/>
                  </a:lnTo>
                  <a:lnTo>
                    <a:pt x="117" y="175"/>
                  </a:lnTo>
                  <a:lnTo>
                    <a:pt x="115" y="174"/>
                  </a:lnTo>
                  <a:lnTo>
                    <a:pt x="117" y="174"/>
                  </a:lnTo>
                  <a:lnTo>
                    <a:pt x="117" y="174"/>
                  </a:lnTo>
                  <a:lnTo>
                    <a:pt x="119" y="172"/>
                  </a:lnTo>
                  <a:lnTo>
                    <a:pt x="117" y="172"/>
                  </a:lnTo>
                  <a:lnTo>
                    <a:pt x="117" y="170"/>
                  </a:lnTo>
                  <a:lnTo>
                    <a:pt x="117" y="170"/>
                  </a:lnTo>
                  <a:lnTo>
                    <a:pt x="117" y="170"/>
                  </a:lnTo>
                  <a:lnTo>
                    <a:pt x="119" y="170"/>
                  </a:lnTo>
                  <a:lnTo>
                    <a:pt x="119" y="168"/>
                  </a:lnTo>
                  <a:lnTo>
                    <a:pt x="115" y="165"/>
                  </a:lnTo>
                  <a:lnTo>
                    <a:pt x="115" y="165"/>
                  </a:lnTo>
                  <a:lnTo>
                    <a:pt x="115" y="163"/>
                  </a:lnTo>
                  <a:lnTo>
                    <a:pt x="115" y="163"/>
                  </a:lnTo>
                  <a:lnTo>
                    <a:pt x="114" y="165"/>
                  </a:lnTo>
                  <a:lnTo>
                    <a:pt x="112" y="166"/>
                  </a:lnTo>
                  <a:lnTo>
                    <a:pt x="110" y="168"/>
                  </a:lnTo>
                  <a:lnTo>
                    <a:pt x="106" y="168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1" y="168"/>
                  </a:lnTo>
                  <a:lnTo>
                    <a:pt x="101" y="172"/>
                  </a:lnTo>
                  <a:lnTo>
                    <a:pt x="99" y="174"/>
                  </a:lnTo>
                  <a:lnTo>
                    <a:pt x="97" y="175"/>
                  </a:lnTo>
                  <a:lnTo>
                    <a:pt x="96" y="177"/>
                  </a:lnTo>
                  <a:lnTo>
                    <a:pt x="94" y="177"/>
                  </a:lnTo>
                  <a:lnTo>
                    <a:pt x="88" y="177"/>
                  </a:lnTo>
                  <a:lnTo>
                    <a:pt x="87" y="175"/>
                  </a:lnTo>
                  <a:lnTo>
                    <a:pt x="85" y="175"/>
                  </a:lnTo>
                  <a:lnTo>
                    <a:pt x="85" y="177"/>
                  </a:lnTo>
                  <a:lnTo>
                    <a:pt x="83" y="177"/>
                  </a:lnTo>
                  <a:lnTo>
                    <a:pt x="83" y="177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3"/>
                  </a:lnTo>
                  <a:lnTo>
                    <a:pt x="81" y="184"/>
                  </a:lnTo>
                  <a:lnTo>
                    <a:pt x="83" y="186"/>
                  </a:lnTo>
                  <a:lnTo>
                    <a:pt x="83" y="186"/>
                  </a:lnTo>
                  <a:lnTo>
                    <a:pt x="83" y="190"/>
                  </a:lnTo>
                  <a:lnTo>
                    <a:pt x="83" y="190"/>
                  </a:lnTo>
                  <a:lnTo>
                    <a:pt x="83" y="190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78" y="192"/>
                  </a:lnTo>
                  <a:lnTo>
                    <a:pt x="78" y="192"/>
                  </a:lnTo>
                  <a:lnTo>
                    <a:pt x="76" y="192"/>
                  </a:lnTo>
                  <a:lnTo>
                    <a:pt x="76" y="190"/>
                  </a:lnTo>
                  <a:lnTo>
                    <a:pt x="76" y="190"/>
                  </a:lnTo>
                  <a:lnTo>
                    <a:pt x="76" y="190"/>
                  </a:lnTo>
                  <a:lnTo>
                    <a:pt x="76" y="190"/>
                  </a:lnTo>
                  <a:lnTo>
                    <a:pt x="74" y="190"/>
                  </a:lnTo>
                  <a:lnTo>
                    <a:pt x="70" y="192"/>
                  </a:lnTo>
                  <a:lnTo>
                    <a:pt x="69" y="192"/>
                  </a:lnTo>
                  <a:lnTo>
                    <a:pt x="63" y="197"/>
                  </a:lnTo>
                  <a:lnTo>
                    <a:pt x="61" y="199"/>
                  </a:lnTo>
                  <a:lnTo>
                    <a:pt x="59" y="199"/>
                  </a:lnTo>
                  <a:lnTo>
                    <a:pt x="58" y="197"/>
                  </a:lnTo>
                  <a:lnTo>
                    <a:pt x="56" y="197"/>
                  </a:lnTo>
                  <a:lnTo>
                    <a:pt x="54" y="197"/>
                  </a:lnTo>
                  <a:lnTo>
                    <a:pt x="54" y="197"/>
                  </a:lnTo>
                  <a:lnTo>
                    <a:pt x="52" y="195"/>
                  </a:lnTo>
                  <a:lnTo>
                    <a:pt x="52" y="193"/>
                  </a:lnTo>
                  <a:lnTo>
                    <a:pt x="50" y="192"/>
                  </a:lnTo>
                  <a:lnTo>
                    <a:pt x="49" y="193"/>
                  </a:lnTo>
                  <a:lnTo>
                    <a:pt x="45" y="193"/>
                  </a:lnTo>
                  <a:lnTo>
                    <a:pt x="43" y="195"/>
                  </a:lnTo>
                  <a:lnTo>
                    <a:pt x="41" y="195"/>
                  </a:lnTo>
                  <a:lnTo>
                    <a:pt x="40" y="195"/>
                  </a:lnTo>
                  <a:lnTo>
                    <a:pt x="38" y="193"/>
                  </a:lnTo>
                  <a:lnTo>
                    <a:pt x="38" y="193"/>
                  </a:lnTo>
                  <a:lnTo>
                    <a:pt x="36" y="193"/>
                  </a:lnTo>
                  <a:lnTo>
                    <a:pt x="32" y="195"/>
                  </a:lnTo>
                  <a:lnTo>
                    <a:pt x="32" y="195"/>
                  </a:lnTo>
                  <a:lnTo>
                    <a:pt x="32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29" y="195"/>
                  </a:lnTo>
                  <a:lnTo>
                    <a:pt x="27" y="197"/>
                  </a:lnTo>
                  <a:lnTo>
                    <a:pt x="23" y="197"/>
                  </a:lnTo>
                  <a:lnTo>
                    <a:pt x="23" y="197"/>
                  </a:lnTo>
                  <a:lnTo>
                    <a:pt x="22" y="197"/>
                  </a:lnTo>
                  <a:lnTo>
                    <a:pt x="18" y="195"/>
                  </a:lnTo>
                  <a:lnTo>
                    <a:pt x="16" y="193"/>
                  </a:lnTo>
                  <a:lnTo>
                    <a:pt x="16" y="197"/>
                  </a:lnTo>
                  <a:lnTo>
                    <a:pt x="16" y="199"/>
                  </a:lnTo>
                  <a:lnTo>
                    <a:pt x="18" y="201"/>
                  </a:lnTo>
                  <a:lnTo>
                    <a:pt x="18" y="202"/>
                  </a:lnTo>
                  <a:lnTo>
                    <a:pt x="18" y="208"/>
                  </a:lnTo>
                  <a:lnTo>
                    <a:pt x="18" y="208"/>
                  </a:lnTo>
                  <a:lnTo>
                    <a:pt x="20" y="210"/>
                  </a:lnTo>
                  <a:lnTo>
                    <a:pt x="20" y="210"/>
                  </a:lnTo>
                  <a:lnTo>
                    <a:pt x="20" y="210"/>
                  </a:lnTo>
                  <a:lnTo>
                    <a:pt x="20" y="215"/>
                  </a:lnTo>
                  <a:lnTo>
                    <a:pt x="22" y="222"/>
                  </a:lnTo>
                  <a:lnTo>
                    <a:pt x="25" y="235"/>
                  </a:lnTo>
                  <a:lnTo>
                    <a:pt x="27" y="240"/>
                  </a:lnTo>
                  <a:lnTo>
                    <a:pt x="29" y="242"/>
                  </a:lnTo>
                  <a:lnTo>
                    <a:pt x="31" y="249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2" y="255"/>
                  </a:lnTo>
                  <a:lnTo>
                    <a:pt x="34" y="257"/>
                  </a:lnTo>
                  <a:lnTo>
                    <a:pt x="34" y="257"/>
                  </a:lnTo>
                  <a:lnTo>
                    <a:pt x="34" y="258"/>
                  </a:lnTo>
                  <a:lnTo>
                    <a:pt x="36" y="258"/>
                  </a:lnTo>
                  <a:lnTo>
                    <a:pt x="36" y="260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4" y="266"/>
                  </a:lnTo>
                  <a:lnTo>
                    <a:pt x="34" y="268"/>
                  </a:lnTo>
                  <a:lnTo>
                    <a:pt x="34" y="269"/>
                  </a:lnTo>
                  <a:lnTo>
                    <a:pt x="36" y="271"/>
                  </a:lnTo>
                  <a:lnTo>
                    <a:pt x="38" y="271"/>
                  </a:lnTo>
                  <a:lnTo>
                    <a:pt x="38" y="273"/>
                  </a:lnTo>
                  <a:lnTo>
                    <a:pt x="38" y="273"/>
                  </a:lnTo>
                  <a:lnTo>
                    <a:pt x="38" y="275"/>
                  </a:lnTo>
                  <a:lnTo>
                    <a:pt x="38" y="277"/>
                  </a:lnTo>
                  <a:lnTo>
                    <a:pt x="38" y="277"/>
                  </a:lnTo>
                  <a:lnTo>
                    <a:pt x="38" y="277"/>
                  </a:lnTo>
                  <a:lnTo>
                    <a:pt x="36" y="278"/>
                  </a:lnTo>
                  <a:lnTo>
                    <a:pt x="36" y="278"/>
                  </a:lnTo>
                  <a:lnTo>
                    <a:pt x="36" y="280"/>
                  </a:lnTo>
                  <a:lnTo>
                    <a:pt x="38" y="280"/>
                  </a:lnTo>
                  <a:lnTo>
                    <a:pt x="38" y="280"/>
                  </a:lnTo>
                  <a:lnTo>
                    <a:pt x="38" y="282"/>
                  </a:lnTo>
                  <a:lnTo>
                    <a:pt x="38" y="291"/>
                  </a:lnTo>
                  <a:lnTo>
                    <a:pt x="38" y="295"/>
                  </a:lnTo>
                  <a:lnTo>
                    <a:pt x="38" y="298"/>
                  </a:lnTo>
                  <a:lnTo>
                    <a:pt x="36" y="300"/>
                  </a:lnTo>
                  <a:lnTo>
                    <a:pt x="29" y="305"/>
                  </a:lnTo>
                  <a:lnTo>
                    <a:pt x="20" y="307"/>
                  </a:lnTo>
                  <a:lnTo>
                    <a:pt x="16" y="309"/>
                  </a:lnTo>
                  <a:lnTo>
                    <a:pt x="11" y="313"/>
                  </a:lnTo>
                  <a:lnTo>
                    <a:pt x="5" y="322"/>
                  </a:lnTo>
                  <a:lnTo>
                    <a:pt x="3" y="325"/>
                  </a:lnTo>
                  <a:lnTo>
                    <a:pt x="2" y="327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2" y="333"/>
                  </a:lnTo>
                  <a:lnTo>
                    <a:pt x="2" y="333"/>
                  </a:lnTo>
                  <a:lnTo>
                    <a:pt x="2" y="334"/>
                  </a:lnTo>
                  <a:lnTo>
                    <a:pt x="2" y="334"/>
                  </a:lnTo>
                  <a:lnTo>
                    <a:pt x="2" y="336"/>
                  </a:lnTo>
                  <a:lnTo>
                    <a:pt x="5" y="336"/>
                  </a:lnTo>
                  <a:lnTo>
                    <a:pt x="7" y="336"/>
                  </a:lnTo>
                  <a:lnTo>
                    <a:pt x="7" y="338"/>
                  </a:lnTo>
                  <a:lnTo>
                    <a:pt x="11" y="338"/>
                  </a:lnTo>
                  <a:lnTo>
                    <a:pt x="11" y="338"/>
                  </a:lnTo>
                  <a:lnTo>
                    <a:pt x="11" y="340"/>
                  </a:lnTo>
                  <a:lnTo>
                    <a:pt x="11" y="340"/>
                  </a:lnTo>
                  <a:lnTo>
                    <a:pt x="11" y="340"/>
                  </a:lnTo>
                  <a:lnTo>
                    <a:pt x="13" y="340"/>
                  </a:lnTo>
                  <a:lnTo>
                    <a:pt x="13" y="340"/>
                  </a:lnTo>
                  <a:lnTo>
                    <a:pt x="13" y="340"/>
                  </a:lnTo>
                  <a:lnTo>
                    <a:pt x="14" y="340"/>
                  </a:lnTo>
                  <a:lnTo>
                    <a:pt x="14" y="340"/>
                  </a:lnTo>
                  <a:lnTo>
                    <a:pt x="14" y="340"/>
                  </a:lnTo>
                  <a:lnTo>
                    <a:pt x="14" y="340"/>
                  </a:lnTo>
                  <a:lnTo>
                    <a:pt x="14" y="342"/>
                  </a:lnTo>
                  <a:lnTo>
                    <a:pt x="16" y="340"/>
                  </a:lnTo>
                  <a:lnTo>
                    <a:pt x="16" y="340"/>
                  </a:lnTo>
                  <a:lnTo>
                    <a:pt x="16" y="342"/>
                  </a:lnTo>
                  <a:lnTo>
                    <a:pt x="16" y="342"/>
                  </a:lnTo>
                  <a:lnTo>
                    <a:pt x="18" y="345"/>
                  </a:lnTo>
                  <a:lnTo>
                    <a:pt x="18" y="345"/>
                  </a:lnTo>
                  <a:lnTo>
                    <a:pt x="20" y="345"/>
                  </a:lnTo>
                  <a:lnTo>
                    <a:pt x="22" y="345"/>
                  </a:lnTo>
                  <a:lnTo>
                    <a:pt x="22" y="347"/>
                  </a:lnTo>
                  <a:lnTo>
                    <a:pt x="22" y="347"/>
                  </a:lnTo>
                  <a:lnTo>
                    <a:pt x="22" y="347"/>
                  </a:lnTo>
                  <a:lnTo>
                    <a:pt x="23" y="347"/>
                  </a:lnTo>
                  <a:lnTo>
                    <a:pt x="23" y="349"/>
                  </a:lnTo>
                  <a:lnTo>
                    <a:pt x="23" y="349"/>
                  </a:lnTo>
                  <a:lnTo>
                    <a:pt x="23" y="351"/>
                  </a:lnTo>
                  <a:lnTo>
                    <a:pt x="23" y="351"/>
                  </a:lnTo>
                  <a:lnTo>
                    <a:pt x="25" y="354"/>
                  </a:lnTo>
                  <a:lnTo>
                    <a:pt x="25" y="356"/>
                  </a:lnTo>
                  <a:lnTo>
                    <a:pt x="25" y="356"/>
                  </a:lnTo>
                  <a:lnTo>
                    <a:pt x="23" y="356"/>
                  </a:lnTo>
                  <a:lnTo>
                    <a:pt x="23" y="360"/>
                  </a:lnTo>
                  <a:lnTo>
                    <a:pt x="23" y="361"/>
                  </a:lnTo>
                  <a:lnTo>
                    <a:pt x="23" y="363"/>
                  </a:lnTo>
                  <a:lnTo>
                    <a:pt x="22" y="365"/>
                  </a:lnTo>
                  <a:lnTo>
                    <a:pt x="23" y="365"/>
                  </a:lnTo>
                  <a:lnTo>
                    <a:pt x="23" y="365"/>
                  </a:lnTo>
                  <a:lnTo>
                    <a:pt x="23" y="365"/>
                  </a:lnTo>
                  <a:lnTo>
                    <a:pt x="23" y="365"/>
                  </a:lnTo>
                  <a:lnTo>
                    <a:pt x="22" y="365"/>
                  </a:lnTo>
                  <a:lnTo>
                    <a:pt x="22" y="367"/>
                  </a:lnTo>
                  <a:lnTo>
                    <a:pt x="22" y="367"/>
                  </a:lnTo>
                  <a:lnTo>
                    <a:pt x="22" y="369"/>
                  </a:lnTo>
                  <a:lnTo>
                    <a:pt x="23" y="370"/>
                  </a:lnTo>
                  <a:lnTo>
                    <a:pt x="23" y="372"/>
                  </a:lnTo>
                  <a:lnTo>
                    <a:pt x="22" y="372"/>
                  </a:lnTo>
                  <a:lnTo>
                    <a:pt x="20" y="374"/>
                  </a:lnTo>
                  <a:lnTo>
                    <a:pt x="20" y="374"/>
                  </a:lnTo>
                  <a:lnTo>
                    <a:pt x="20" y="376"/>
                  </a:lnTo>
                  <a:lnTo>
                    <a:pt x="20" y="376"/>
                  </a:lnTo>
                  <a:lnTo>
                    <a:pt x="20" y="378"/>
                  </a:lnTo>
                  <a:lnTo>
                    <a:pt x="20" y="378"/>
                  </a:lnTo>
                  <a:lnTo>
                    <a:pt x="20" y="380"/>
                  </a:lnTo>
                  <a:lnTo>
                    <a:pt x="20" y="380"/>
                  </a:lnTo>
                  <a:lnTo>
                    <a:pt x="20" y="380"/>
                  </a:lnTo>
                  <a:lnTo>
                    <a:pt x="20" y="380"/>
                  </a:lnTo>
                  <a:lnTo>
                    <a:pt x="20" y="380"/>
                  </a:lnTo>
                  <a:lnTo>
                    <a:pt x="20" y="381"/>
                  </a:lnTo>
                  <a:lnTo>
                    <a:pt x="20" y="381"/>
                  </a:lnTo>
                  <a:lnTo>
                    <a:pt x="20" y="381"/>
                  </a:lnTo>
                  <a:lnTo>
                    <a:pt x="18" y="383"/>
                  </a:lnTo>
                  <a:lnTo>
                    <a:pt x="18" y="383"/>
                  </a:lnTo>
                  <a:lnTo>
                    <a:pt x="18" y="383"/>
                  </a:lnTo>
                  <a:lnTo>
                    <a:pt x="18" y="383"/>
                  </a:lnTo>
                  <a:lnTo>
                    <a:pt x="20" y="385"/>
                  </a:lnTo>
                  <a:lnTo>
                    <a:pt x="18" y="387"/>
                  </a:lnTo>
                  <a:lnTo>
                    <a:pt x="18" y="389"/>
                  </a:lnTo>
                  <a:lnTo>
                    <a:pt x="20" y="389"/>
                  </a:lnTo>
                  <a:lnTo>
                    <a:pt x="20" y="390"/>
                  </a:lnTo>
                  <a:lnTo>
                    <a:pt x="20" y="390"/>
                  </a:lnTo>
                  <a:lnTo>
                    <a:pt x="20" y="390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392"/>
                  </a:lnTo>
                  <a:lnTo>
                    <a:pt x="22" y="394"/>
                  </a:lnTo>
                  <a:lnTo>
                    <a:pt x="22" y="394"/>
                  </a:lnTo>
                  <a:lnTo>
                    <a:pt x="23" y="394"/>
                  </a:lnTo>
                  <a:lnTo>
                    <a:pt x="23" y="392"/>
                  </a:lnTo>
                  <a:lnTo>
                    <a:pt x="23" y="392"/>
                  </a:lnTo>
                  <a:lnTo>
                    <a:pt x="22" y="389"/>
                  </a:lnTo>
                  <a:lnTo>
                    <a:pt x="22" y="387"/>
                  </a:lnTo>
                  <a:lnTo>
                    <a:pt x="22" y="387"/>
                  </a:lnTo>
                  <a:lnTo>
                    <a:pt x="22" y="385"/>
                  </a:lnTo>
                  <a:lnTo>
                    <a:pt x="23" y="385"/>
                  </a:lnTo>
                  <a:lnTo>
                    <a:pt x="23" y="385"/>
                  </a:lnTo>
                  <a:lnTo>
                    <a:pt x="29" y="383"/>
                  </a:lnTo>
                  <a:lnTo>
                    <a:pt x="29" y="383"/>
                  </a:lnTo>
                  <a:lnTo>
                    <a:pt x="32" y="385"/>
                  </a:lnTo>
                  <a:lnTo>
                    <a:pt x="34" y="385"/>
                  </a:lnTo>
                  <a:lnTo>
                    <a:pt x="36" y="385"/>
                  </a:lnTo>
                  <a:lnTo>
                    <a:pt x="38" y="387"/>
                  </a:lnTo>
                  <a:lnTo>
                    <a:pt x="40" y="389"/>
                  </a:lnTo>
                  <a:lnTo>
                    <a:pt x="41" y="389"/>
                  </a:lnTo>
                  <a:lnTo>
                    <a:pt x="49" y="381"/>
                  </a:lnTo>
                  <a:lnTo>
                    <a:pt x="54" y="378"/>
                  </a:lnTo>
                  <a:lnTo>
                    <a:pt x="56" y="376"/>
                  </a:lnTo>
                  <a:lnTo>
                    <a:pt x="56" y="370"/>
                  </a:lnTo>
                  <a:lnTo>
                    <a:pt x="58" y="369"/>
                  </a:lnTo>
                  <a:lnTo>
                    <a:pt x="59" y="367"/>
                  </a:lnTo>
                  <a:lnTo>
                    <a:pt x="59" y="365"/>
                  </a:lnTo>
                  <a:lnTo>
                    <a:pt x="61" y="365"/>
                  </a:lnTo>
                  <a:lnTo>
                    <a:pt x="74" y="363"/>
                  </a:lnTo>
                  <a:lnTo>
                    <a:pt x="78" y="365"/>
                  </a:lnTo>
                  <a:lnTo>
                    <a:pt x="78" y="365"/>
                  </a:lnTo>
                  <a:lnTo>
                    <a:pt x="92" y="361"/>
                  </a:lnTo>
                  <a:lnTo>
                    <a:pt x="96" y="360"/>
                  </a:lnTo>
                  <a:lnTo>
                    <a:pt x="99" y="360"/>
                  </a:lnTo>
                  <a:lnTo>
                    <a:pt x="101" y="360"/>
                  </a:lnTo>
                  <a:lnTo>
                    <a:pt x="110" y="361"/>
                  </a:lnTo>
                  <a:lnTo>
                    <a:pt x="119" y="361"/>
                  </a:lnTo>
                  <a:lnTo>
                    <a:pt x="126" y="361"/>
                  </a:lnTo>
                  <a:lnTo>
                    <a:pt x="130" y="361"/>
                  </a:lnTo>
                  <a:lnTo>
                    <a:pt x="141" y="363"/>
                  </a:lnTo>
                  <a:lnTo>
                    <a:pt x="144" y="363"/>
                  </a:lnTo>
                  <a:lnTo>
                    <a:pt x="146" y="363"/>
                  </a:lnTo>
                  <a:lnTo>
                    <a:pt x="150" y="365"/>
                  </a:lnTo>
                  <a:lnTo>
                    <a:pt x="150" y="367"/>
                  </a:lnTo>
                  <a:lnTo>
                    <a:pt x="162" y="367"/>
                  </a:lnTo>
                  <a:lnTo>
                    <a:pt x="162" y="367"/>
                  </a:lnTo>
                  <a:lnTo>
                    <a:pt x="162" y="369"/>
                  </a:lnTo>
                  <a:lnTo>
                    <a:pt x="162" y="369"/>
                  </a:lnTo>
                  <a:lnTo>
                    <a:pt x="162" y="369"/>
                  </a:lnTo>
                  <a:lnTo>
                    <a:pt x="164" y="370"/>
                  </a:lnTo>
                  <a:lnTo>
                    <a:pt x="164" y="370"/>
                  </a:lnTo>
                  <a:lnTo>
                    <a:pt x="175" y="370"/>
                  </a:lnTo>
                  <a:lnTo>
                    <a:pt x="184" y="376"/>
                  </a:lnTo>
                  <a:lnTo>
                    <a:pt x="188" y="376"/>
                  </a:lnTo>
                  <a:lnTo>
                    <a:pt x="193" y="374"/>
                  </a:lnTo>
                  <a:lnTo>
                    <a:pt x="197" y="374"/>
                  </a:lnTo>
                  <a:lnTo>
                    <a:pt x="199" y="374"/>
                  </a:lnTo>
                  <a:lnTo>
                    <a:pt x="200" y="376"/>
                  </a:lnTo>
                  <a:lnTo>
                    <a:pt x="200" y="376"/>
                  </a:lnTo>
                  <a:lnTo>
                    <a:pt x="200" y="378"/>
                  </a:lnTo>
                  <a:lnTo>
                    <a:pt x="200" y="380"/>
                  </a:lnTo>
                  <a:lnTo>
                    <a:pt x="202" y="381"/>
                  </a:lnTo>
                  <a:lnTo>
                    <a:pt x="202" y="383"/>
                  </a:lnTo>
                  <a:lnTo>
                    <a:pt x="202" y="383"/>
                  </a:lnTo>
                  <a:lnTo>
                    <a:pt x="204" y="383"/>
                  </a:lnTo>
                  <a:lnTo>
                    <a:pt x="206" y="383"/>
                  </a:lnTo>
                  <a:lnTo>
                    <a:pt x="206" y="385"/>
                  </a:lnTo>
                  <a:lnTo>
                    <a:pt x="204" y="387"/>
                  </a:lnTo>
                  <a:lnTo>
                    <a:pt x="204" y="387"/>
                  </a:lnTo>
                  <a:lnTo>
                    <a:pt x="206" y="389"/>
                  </a:lnTo>
                  <a:lnTo>
                    <a:pt x="206" y="389"/>
                  </a:lnTo>
                  <a:lnTo>
                    <a:pt x="208" y="387"/>
                  </a:lnTo>
                  <a:lnTo>
                    <a:pt x="211" y="389"/>
                  </a:lnTo>
                  <a:lnTo>
                    <a:pt x="213" y="389"/>
                  </a:lnTo>
                  <a:lnTo>
                    <a:pt x="213" y="387"/>
                  </a:lnTo>
                  <a:lnTo>
                    <a:pt x="215" y="385"/>
                  </a:lnTo>
                  <a:lnTo>
                    <a:pt x="217" y="385"/>
                  </a:lnTo>
                  <a:lnTo>
                    <a:pt x="217" y="385"/>
                  </a:lnTo>
                  <a:lnTo>
                    <a:pt x="217" y="385"/>
                  </a:lnTo>
                  <a:lnTo>
                    <a:pt x="222" y="387"/>
                  </a:lnTo>
                  <a:lnTo>
                    <a:pt x="226" y="387"/>
                  </a:lnTo>
                  <a:lnTo>
                    <a:pt x="226" y="389"/>
                  </a:lnTo>
                  <a:lnTo>
                    <a:pt x="227" y="390"/>
                  </a:lnTo>
                  <a:lnTo>
                    <a:pt x="227" y="392"/>
                  </a:lnTo>
                  <a:lnTo>
                    <a:pt x="226" y="396"/>
                  </a:lnTo>
                  <a:lnTo>
                    <a:pt x="226" y="396"/>
                  </a:lnTo>
                  <a:lnTo>
                    <a:pt x="226" y="396"/>
                  </a:lnTo>
                  <a:lnTo>
                    <a:pt x="226" y="398"/>
                  </a:lnTo>
                  <a:lnTo>
                    <a:pt x="227" y="398"/>
                  </a:lnTo>
                  <a:lnTo>
                    <a:pt x="227" y="398"/>
                  </a:lnTo>
                  <a:lnTo>
                    <a:pt x="229" y="398"/>
                  </a:lnTo>
                  <a:lnTo>
                    <a:pt x="229" y="398"/>
                  </a:lnTo>
                  <a:lnTo>
                    <a:pt x="231" y="394"/>
                  </a:lnTo>
                  <a:lnTo>
                    <a:pt x="231" y="394"/>
                  </a:lnTo>
                  <a:lnTo>
                    <a:pt x="231" y="392"/>
                  </a:lnTo>
                  <a:lnTo>
                    <a:pt x="231" y="392"/>
                  </a:lnTo>
                  <a:lnTo>
                    <a:pt x="231" y="390"/>
                  </a:lnTo>
                  <a:lnTo>
                    <a:pt x="231" y="390"/>
                  </a:lnTo>
                  <a:lnTo>
                    <a:pt x="231" y="389"/>
                  </a:lnTo>
                  <a:lnTo>
                    <a:pt x="233" y="387"/>
                  </a:lnTo>
                  <a:lnTo>
                    <a:pt x="233" y="387"/>
                  </a:lnTo>
                  <a:lnTo>
                    <a:pt x="235" y="387"/>
                  </a:lnTo>
                  <a:lnTo>
                    <a:pt x="236" y="387"/>
                  </a:lnTo>
                  <a:lnTo>
                    <a:pt x="238" y="390"/>
                  </a:lnTo>
                  <a:lnTo>
                    <a:pt x="240" y="390"/>
                  </a:lnTo>
                  <a:lnTo>
                    <a:pt x="240" y="390"/>
                  </a:lnTo>
                  <a:lnTo>
                    <a:pt x="245" y="390"/>
                  </a:lnTo>
                  <a:lnTo>
                    <a:pt x="247" y="390"/>
                  </a:lnTo>
                  <a:lnTo>
                    <a:pt x="247" y="389"/>
                  </a:lnTo>
                  <a:lnTo>
                    <a:pt x="249" y="387"/>
                  </a:lnTo>
                  <a:lnTo>
                    <a:pt x="251" y="385"/>
                  </a:lnTo>
                  <a:lnTo>
                    <a:pt x="251" y="383"/>
                  </a:lnTo>
                  <a:lnTo>
                    <a:pt x="253" y="383"/>
                  </a:lnTo>
                  <a:lnTo>
                    <a:pt x="253" y="383"/>
                  </a:lnTo>
                  <a:lnTo>
                    <a:pt x="255" y="383"/>
                  </a:lnTo>
                  <a:lnTo>
                    <a:pt x="255" y="385"/>
                  </a:lnTo>
                  <a:lnTo>
                    <a:pt x="255" y="385"/>
                  </a:lnTo>
                  <a:lnTo>
                    <a:pt x="255" y="387"/>
                  </a:lnTo>
                  <a:lnTo>
                    <a:pt x="255" y="387"/>
                  </a:lnTo>
                  <a:lnTo>
                    <a:pt x="255" y="387"/>
                  </a:lnTo>
                  <a:lnTo>
                    <a:pt x="256" y="389"/>
                  </a:lnTo>
                  <a:lnTo>
                    <a:pt x="258" y="389"/>
                  </a:lnTo>
                  <a:lnTo>
                    <a:pt x="258" y="390"/>
                  </a:lnTo>
                  <a:lnTo>
                    <a:pt x="258" y="392"/>
                  </a:lnTo>
                  <a:lnTo>
                    <a:pt x="258" y="392"/>
                  </a:lnTo>
                  <a:lnTo>
                    <a:pt x="260" y="394"/>
                  </a:lnTo>
                  <a:lnTo>
                    <a:pt x="260" y="392"/>
                  </a:lnTo>
                  <a:lnTo>
                    <a:pt x="262" y="392"/>
                  </a:lnTo>
                  <a:lnTo>
                    <a:pt x="264" y="390"/>
                  </a:lnTo>
                  <a:lnTo>
                    <a:pt x="265" y="389"/>
                  </a:lnTo>
                  <a:lnTo>
                    <a:pt x="267" y="389"/>
                  </a:lnTo>
                  <a:lnTo>
                    <a:pt x="271" y="390"/>
                  </a:lnTo>
                  <a:lnTo>
                    <a:pt x="273" y="390"/>
                  </a:lnTo>
                  <a:lnTo>
                    <a:pt x="273" y="392"/>
                  </a:lnTo>
                  <a:lnTo>
                    <a:pt x="273" y="394"/>
                  </a:lnTo>
                  <a:lnTo>
                    <a:pt x="273" y="398"/>
                  </a:lnTo>
                  <a:lnTo>
                    <a:pt x="274" y="399"/>
                  </a:lnTo>
                  <a:lnTo>
                    <a:pt x="274" y="399"/>
                  </a:lnTo>
                  <a:lnTo>
                    <a:pt x="274" y="401"/>
                  </a:lnTo>
                  <a:lnTo>
                    <a:pt x="276" y="399"/>
                  </a:lnTo>
                  <a:lnTo>
                    <a:pt x="276" y="399"/>
                  </a:lnTo>
                  <a:lnTo>
                    <a:pt x="278" y="399"/>
                  </a:lnTo>
                  <a:lnTo>
                    <a:pt x="278" y="401"/>
                  </a:lnTo>
                  <a:lnTo>
                    <a:pt x="278" y="403"/>
                  </a:lnTo>
                  <a:lnTo>
                    <a:pt x="278" y="403"/>
                  </a:lnTo>
                  <a:lnTo>
                    <a:pt x="280" y="401"/>
                  </a:lnTo>
                  <a:lnTo>
                    <a:pt x="280" y="401"/>
                  </a:lnTo>
                  <a:lnTo>
                    <a:pt x="280" y="398"/>
                  </a:lnTo>
                  <a:lnTo>
                    <a:pt x="280" y="396"/>
                  </a:lnTo>
                  <a:lnTo>
                    <a:pt x="280" y="394"/>
                  </a:lnTo>
                  <a:lnTo>
                    <a:pt x="282" y="392"/>
                  </a:lnTo>
                  <a:lnTo>
                    <a:pt x="283" y="392"/>
                  </a:lnTo>
                  <a:lnTo>
                    <a:pt x="285" y="390"/>
                  </a:lnTo>
                  <a:lnTo>
                    <a:pt x="287" y="390"/>
                  </a:lnTo>
                  <a:lnTo>
                    <a:pt x="289" y="390"/>
                  </a:lnTo>
                  <a:lnTo>
                    <a:pt x="291" y="390"/>
                  </a:lnTo>
                  <a:lnTo>
                    <a:pt x="292" y="389"/>
                  </a:lnTo>
                  <a:lnTo>
                    <a:pt x="292" y="387"/>
                  </a:lnTo>
                  <a:lnTo>
                    <a:pt x="294" y="385"/>
                  </a:lnTo>
                  <a:lnTo>
                    <a:pt x="294" y="385"/>
                  </a:lnTo>
                  <a:lnTo>
                    <a:pt x="296" y="385"/>
                  </a:lnTo>
                  <a:lnTo>
                    <a:pt x="298" y="385"/>
                  </a:lnTo>
                  <a:lnTo>
                    <a:pt x="300" y="387"/>
                  </a:lnTo>
                  <a:lnTo>
                    <a:pt x="300" y="387"/>
                  </a:lnTo>
                  <a:lnTo>
                    <a:pt x="301" y="390"/>
                  </a:lnTo>
                  <a:lnTo>
                    <a:pt x="303" y="392"/>
                  </a:lnTo>
                  <a:lnTo>
                    <a:pt x="303" y="394"/>
                  </a:lnTo>
                  <a:lnTo>
                    <a:pt x="303" y="396"/>
                  </a:lnTo>
                  <a:lnTo>
                    <a:pt x="303" y="398"/>
                  </a:lnTo>
                  <a:lnTo>
                    <a:pt x="303" y="399"/>
                  </a:lnTo>
                  <a:lnTo>
                    <a:pt x="305" y="399"/>
                  </a:lnTo>
                  <a:lnTo>
                    <a:pt x="305" y="401"/>
                  </a:lnTo>
                  <a:lnTo>
                    <a:pt x="305" y="401"/>
                  </a:lnTo>
                  <a:lnTo>
                    <a:pt x="307" y="403"/>
                  </a:lnTo>
                  <a:lnTo>
                    <a:pt x="307" y="405"/>
                  </a:lnTo>
                  <a:lnTo>
                    <a:pt x="309" y="407"/>
                  </a:lnTo>
                  <a:lnTo>
                    <a:pt x="309" y="405"/>
                  </a:lnTo>
                  <a:lnTo>
                    <a:pt x="310" y="405"/>
                  </a:lnTo>
                  <a:lnTo>
                    <a:pt x="310" y="403"/>
                  </a:lnTo>
                  <a:lnTo>
                    <a:pt x="312" y="403"/>
                  </a:lnTo>
                  <a:lnTo>
                    <a:pt x="314" y="405"/>
                  </a:lnTo>
                  <a:lnTo>
                    <a:pt x="316" y="405"/>
                  </a:lnTo>
                  <a:lnTo>
                    <a:pt x="316" y="403"/>
                  </a:lnTo>
                  <a:lnTo>
                    <a:pt x="316" y="401"/>
                  </a:lnTo>
                  <a:lnTo>
                    <a:pt x="318" y="399"/>
                  </a:lnTo>
                  <a:lnTo>
                    <a:pt x="318" y="399"/>
                  </a:lnTo>
                  <a:lnTo>
                    <a:pt x="320" y="399"/>
                  </a:lnTo>
                  <a:lnTo>
                    <a:pt x="320" y="399"/>
                  </a:lnTo>
                  <a:lnTo>
                    <a:pt x="321" y="398"/>
                  </a:lnTo>
                  <a:lnTo>
                    <a:pt x="321" y="398"/>
                  </a:lnTo>
                  <a:lnTo>
                    <a:pt x="323" y="396"/>
                  </a:lnTo>
                  <a:lnTo>
                    <a:pt x="323" y="396"/>
                  </a:lnTo>
                  <a:lnTo>
                    <a:pt x="325" y="396"/>
                  </a:lnTo>
                  <a:lnTo>
                    <a:pt x="327" y="396"/>
                  </a:lnTo>
                  <a:lnTo>
                    <a:pt x="327" y="396"/>
                  </a:lnTo>
                  <a:lnTo>
                    <a:pt x="329" y="398"/>
                  </a:lnTo>
                  <a:lnTo>
                    <a:pt x="329" y="399"/>
                  </a:lnTo>
                  <a:lnTo>
                    <a:pt x="329" y="399"/>
                  </a:lnTo>
                  <a:lnTo>
                    <a:pt x="334" y="401"/>
                  </a:lnTo>
                  <a:lnTo>
                    <a:pt x="334" y="401"/>
                  </a:lnTo>
                  <a:lnTo>
                    <a:pt x="334" y="399"/>
                  </a:lnTo>
                  <a:lnTo>
                    <a:pt x="336" y="398"/>
                  </a:lnTo>
                  <a:lnTo>
                    <a:pt x="336" y="398"/>
                  </a:lnTo>
                  <a:lnTo>
                    <a:pt x="338" y="398"/>
                  </a:lnTo>
                  <a:lnTo>
                    <a:pt x="338" y="399"/>
                  </a:lnTo>
                  <a:lnTo>
                    <a:pt x="338" y="399"/>
                  </a:lnTo>
                  <a:lnTo>
                    <a:pt x="341" y="398"/>
                  </a:lnTo>
                  <a:lnTo>
                    <a:pt x="343" y="396"/>
                  </a:lnTo>
                  <a:lnTo>
                    <a:pt x="350" y="396"/>
                  </a:lnTo>
                  <a:lnTo>
                    <a:pt x="350" y="398"/>
                  </a:lnTo>
                  <a:lnTo>
                    <a:pt x="352" y="398"/>
                  </a:lnTo>
                  <a:lnTo>
                    <a:pt x="354" y="401"/>
                  </a:lnTo>
                  <a:lnTo>
                    <a:pt x="356" y="401"/>
                  </a:lnTo>
                  <a:lnTo>
                    <a:pt x="357" y="403"/>
                  </a:lnTo>
                  <a:lnTo>
                    <a:pt x="357" y="403"/>
                  </a:lnTo>
                  <a:lnTo>
                    <a:pt x="357" y="403"/>
                  </a:lnTo>
                  <a:lnTo>
                    <a:pt x="359" y="405"/>
                  </a:lnTo>
                  <a:lnTo>
                    <a:pt x="359" y="405"/>
                  </a:lnTo>
                  <a:lnTo>
                    <a:pt x="359" y="405"/>
                  </a:lnTo>
                  <a:lnTo>
                    <a:pt x="359" y="407"/>
                  </a:lnTo>
                  <a:lnTo>
                    <a:pt x="357" y="408"/>
                  </a:lnTo>
                  <a:lnTo>
                    <a:pt x="357" y="408"/>
                  </a:lnTo>
                  <a:lnTo>
                    <a:pt x="357" y="408"/>
                  </a:lnTo>
                  <a:lnTo>
                    <a:pt x="359" y="410"/>
                  </a:lnTo>
                  <a:lnTo>
                    <a:pt x="361" y="412"/>
                  </a:lnTo>
                  <a:lnTo>
                    <a:pt x="361" y="412"/>
                  </a:lnTo>
                  <a:lnTo>
                    <a:pt x="363" y="412"/>
                  </a:lnTo>
                  <a:lnTo>
                    <a:pt x="363" y="412"/>
                  </a:lnTo>
                  <a:lnTo>
                    <a:pt x="365" y="412"/>
                  </a:lnTo>
                  <a:lnTo>
                    <a:pt x="365" y="414"/>
                  </a:lnTo>
                  <a:lnTo>
                    <a:pt x="366" y="414"/>
                  </a:lnTo>
                  <a:lnTo>
                    <a:pt x="366" y="414"/>
                  </a:lnTo>
                  <a:lnTo>
                    <a:pt x="368" y="414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68" y="416"/>
                  </a:lnTo>
                  <a:lnTo>
                    <a:pt x="370" y="416"/>
                  </a:lnTo>
                  <a:lnTo>
                    <a:pt x="370" y="416"/>
                  </a:lnTo>
                  <a:lnTo>
                    <a:pt x="370" y="416"/>
                  </a:lnTo>
                  <a:lnTo>
                    <a:pt x="370" y="414"/>
                  </a:lnTo>
                  <a:lnTo>
                    <a:pt x="370" y="414"/>
                  </a:lnTo>
                  <a:lnTo>
                    <a:pt x="370" y="412"/>
                  </a:lnTo>
                  <a:lnTo>
                    <a:pt x="372" y="410"/>
                  </a:lnTo>
                  <a:lnTo>
                    <a:pt x="372" y="410"/>
                  </a:lnTo>
                  <a:lnTo>
                    <a:pt x="374" y="408"/>
                  </a:lnTo>
                  <a:lnTo>
                    <a:pt x="374" y="407"/>
                  </a:lnTo>
                  <a:lnTo>
                    <a:pt x="374" y="407"/>
                  </a:lnTo>
                  <a:lnTo>
                    <a:pt x="374" y="405"/>
                  </a:lnTo>
                  <a:lnTo>
                    <a:pt x="374" y="405"/>
                  </a:lnTo>
                  <a:lnTo>
                    <a:pt x="374" y="405"/>
                  </a:lnTo>
                  <a:lnTo>
                    <a:pt x="374" y="403"/>
                  </a:lnTo>
                  <a:lnTo>
                    <a:pt x="374" y="401"/>
                  </a:lnTo>
                  <a:lnTo>
                    <a:pt x="372" y="401"/>
                  </a:lnTo>
                  <a:lnTo>
                    <a:pt x="372" y="401"/>
                  </a:lnTo>
                  <a:lnTo>
                    <a:pt x="372" y="401"/>
                  </a:lnTo>
                  <a:lnTo>
                    <a:pt x="372" y="399"/>
                  </a:lnTo>
                  <a:lnTo>
                    <a:pt x="372" y="399"/>
                  </a:lnTo>
                  <a:lnTo>
                    <a:pt x="372" y="398"/>
                  </a:lnTo>
                  <a:lnTo>
                    <a:pt x="372" y="398"/>
                  </a:lnTo>
                  <a:lnTo>
                    <a:pt x="374" y="398"/>
                  </a:lnTo>
                  <a:lnTo>
                    <a:pt x="374" y="398"/>
                  </a:lnTo>
                  <a:lnTo>
                    <a:pt x="372" y="398"/>
                  </a:lnTo>
                  <a:lnTo>
                    <a:pt x="372" y="398"/>
                  </a:lnTo>
                  <a:lnTo>
                    <a:pt x="372" y="396"/>
                  </a:lnTo>
                  <a:lnTo>
                    <a:pt x="372" y="396"/>
                  </a:lnTo>
                  <a:lnTo>
                    <a:pt x="372" y="396"/>
                  </a:lnTo>
                  <a:lnTo>
                    <a:pt x="372" y="394"/>
                  </a:lnTo>
                  <a:lnTo>
                    <a:pt x="370" y="394"/>
                  </a:lnTo>
                  <a:lnTo>
                    <a:pt x="370" y="394"/>
                  </a:lnTo>
                  <a:lnTo>
                    <a:pt x="370" y="392"/>
                  </a:lnTo>
                  <a:lnTo>
                    <a:pt x="370" y="392"/>
                  </a:lnTo>
                  <a:lnTo>
                    <a:pt x="372" y="392"/>
                  </a:lnTo>
                  <a:lnTo>
                    <a:pt x="370" y="392"/>
                  </a:lnTo>
                  <a:lnTo>
                    <a:pt x="368" y="390"/>
                  </a:lnTo>
                  <a:lnTo>
                    <a:pt x="368" y="390"/>
                  </a:lnTo>
                  <a:lnTo>
                    <a:pt x="368" y="390"/>
                  </a:lnTo>
                  <a:lnTo>
                    <a:pt x="368" y="389"/>
                  </a:lnTo>
                  <a:lnTo>
                    <a:pt x="368" y="389"/>
                  </a:lnTo>
                  <a:lnTo>
                    <a:pt x="368" y="389"/>
                  </a:lnTo>
                  <a:lnTo>
                    <a:pt x="370" y="389"/>
                  </a:lnTo>
                  <a:lnTo>
                    <a:pt x="370" y="389"/>
                  </a:lnTo>
                  <a:lnTo>
                    <a:pt x="368" y="389"/>
                  </a:lnTo>
                  <a:lnTo>
                    <a:pt x="368" y="387"/>
                  </a:lnTo>
                  <a:lnTo>
                    <a:pt x="368" y="387"/>
                  </a:lnTo>
                  <a:lnTo>
                    <a:pt x="370" y="385"/>
                  </a:lnTo>
                  <a:lnTo>
                    <a:pt x="370" y="385"/>
                  </a:lnTo>
                  <a:lnTo>
                    <a:pt x="370" y="385"/>
                  </a:lnTo>
                  <a:lnTo>
                    <a:pt x="370" y="385"/>
                  </a:lnTo>
                  <a:lnTo>
                    <a:pt x="370" y="383"/>
                  </a:lnTo>
                  <a:lnTo>
                    <a:pt x="370" y="383"/>
                  </a:lnTo>
                  <a:lnTo>
                    <a:pt x="370" y="383"/>
                  </a:lnTo>
                  <a:lnTo>
                    <a:pt x="370" y="381"/>
                  </a:lnTo>
                  <a:lnTo>
                    <a:pt x="370" y="380"/>
                  </a:lnTo>
                  <a:lnTo>
                    <a:pt x="370" y="380"/>
                  </a:lnTo>
                  <a:lnTo>
                    <a:pt x="372" y="380"/>
                  </a:lnTo>
                  <a:lnTo>
                    <a:pt x="372" y="380"/>
                  </a:lnTo>
                  <a:lnTo>
                    <a:pt x="374" y="378"/>
                  </a:lnTo>
                  <a:lnTo>
                    <a:pt x="374" y="378"/>
                  </a:lnTo>
                  <a:lnTo>
                    <a:pt x="374" y="378"/>
                  </a:lnTo>
                  <a:lnTo>
                    <a:pt x="374" y="376"/>
                  </a:lnTo>
                  <a:lnTo>
                    <a:pt x="374" y="376"/>
                  </a:lnTo>
                  <a:lnTo>
                    <a:pt x="374" y="374"/>
                  </a:lnTo>
                  <a:lnTo>
                    <a:pt x="374" y="374"/>
                  </a:lnTo>
                  <a:lnTo>
                    <a:pt x="374" y="374"/>
                  </a:lnTo>
                  <a:lnTo>
                    <a:pt x="374" y="374"/>
                  </a:lnTo>
                  <a:lnTo>
                    <a:pt x="376" y="372"/>
                  </a:lnTo>
                  <a:lnTo>
                    <a:pt x="376" y="372"/>
                  </a:lnTo>
                  <a:lnTo>
                    <a:pt x="376" y="370"/>
                  </a:lnTo>
                  <a:lnTo>
                    <a:pt x="376" y="370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7" y="367"/>
                  </a:lnTo>
                  <a:lnTo>
                    <a:pt x="377" y="367"/>
                  </a:lnTo>
                  <a:lnTo>
                    <a:pt x="377" y="367"/>
                  </a:lnTo>
                  <a:lnTo>
                    <a:pt x="377" y="367"/>
                  </a:lnTo>
                  <a:lnTo>
                    <a:pt x="377" y="365"/>
                  </a:lnTo>
                  <a:lnTo>
                    <a:pt x="379" y="365"/>
                  </a:lnTo>
                  <a:lnTo>
                    <a:pt x="379" y="365"/>
                  </a:lnTo>
                  <a:lnTo>
                    <a:pt x="379" y="363"/>
                  </a:lnTo>
                  <a:lnTo>
                    <a:pt x="379" y="363"/>
                  </a:lnTo>
                  <a:lnTo>
                    <a:pt x="379" y="363"/>
                  </a:lnTo>
                  <a:lnTo>
                    <a:pt x="381" y="363"/>
                  </a:lnTo>
                  <a:lnTo>
                    <a:pt x="381" y="363"/>
                  </a:lnTo>
                  <a:lnTo>
                    <a:pt x="383" y="363"/>
                  </a:lnTo>
                  <a:lnTo>
                    <a:pt x="383" y="361"/>
                  </a:lnTo>
                  <a:lnTo>
                    <a:pt x="383" y="361"/>
                  </a:lnTo>
                  <a:lnTo>
                    <a:pt x="383" y="360"/>
                  </a:lnTo>
                  <a:lnTo>
                    <a:pt x="383" y="360"/>
                  </a:lnTo>
                  <a:lnTo>
                    <a:pt x="383" y="360"/>
                  </a:lnTo>
                  <a:lnTo>
                    <a:pt x="383" y="360"/>
                  </a:lnTo>
                  <a:lnTo>
                    <a:pt x="385" y="360"/>
                  </a:lnTo>
                  <a:lnTo>
                    <a:pt x="385" y="358"/>
                  </a:lnTo>
                  <a:lnTo>
                    <a:pt x="386" y="358"/>
                  </a:lnTo>
                  <a:lnTo>
                    <a:pt x="386" y="358"/>
                  </a:lnTo>
                  <a:lnTo>
                    <a:pt x="386" y="356"/>
                  </a:lnTo>
                  <a:lnTo>
                    <a:pt x="386" y="356"/>
                  </a:lnTo>
                  <a:lnTo>
                    <a:pt x="386" y="356"/>
                  </a:lnTo>
                  <a:lnTo>
                    <a:pt x="386" y="356"/>
                  </a:lnTo>
                  <a:lnTo>
                    <a:pt x="386" y="354"/>
                  </a:lnTo>
                  <a:lnTo>
                    <a:pt x="386" y="354"/>
                  </a:lnTo>
                  <a:lnTo>
                    <a:pt x="388" y="354"/>
                  </a:lnTo>
                  <a:lnTo>
                    <a:pt x="388" y="356"/>
                  </a:lnTo>
                  <a:lnTo>
                    <a:pt x="390" y="356"/>
                  </a:lnTo>
                  <a:lnTo>
                    <a:pt x="390" y="354"/>
                  </a:lnTo>
                  <a:lnTo>
                    <a:pt x="390" y="352"/>
                  </a:lnTo>
                  <a:lnTo>
                    <a:pt x="388" y="352"/>
                  </a:lnTo>
                  <a:lnTo>
                    <a:pt x="388" y="352"/>
                  </a:lnTo>
                  <a:lnTo>
                    <a:pt x="388" y="352"/>
                  </a:lnTo>
                  <a:lnTo>
                    <a:pt x="388" y="352"/>
                  </a:lnTo>
                  <a:lnTo>
                    <a:pt x="388" y="351"/>
                  </a:lnTo>
                  <a:lnTo>
                    <a:pt x="388" y="351"/>
                  </a:lnTo>
                  <a:lnTo>
                    <a:pt x="388" y="349"/>
                  </a:lnTo>
                  <a:lnTo>
                    <a:pt x="390" y="349"/>
                  </a:lnTo>
                  <a:lnTo>
                    <a:pt x="397" y="349"/>
                  </a:lnTo>
                  <a:lnTo>
                    <a:pt x="399" y="349"/>
                  </a:lnTo>
                  <a:lnTo>
                    <a:pt x="401" y="349"/>
                  </a:lnTo>
                  <a:lnTo>
                    <a:pt x="403" y="351"/>
                  </a:lnTo>
                  <a:lnTo>
                    <a:pt x="404" y="352"/>
                  </a:lnTo>
                  <a:lnTo>
                    <a:pt x="404" y="351"/>
                  </a:lnTo>
                  <a:lnTo>
                    <a:pt x="406" y="351"/>
                  </a:lnTo>
                  <a:lnTo>
                    <a:pt x="406" y="349"/>
                  </a:lnTo>
                  <a:lnTo>
                    <a:pt x="408" y="347"/>
                  </a:lnTo>
                  <a:lnTo>
                    <a:pt x="412" y="345"/>
                  </a:lnTo>
                  <a:lnTo>
                    <a:pt x="415" y="345"/>
                  </a:lnTo>
                  <a:lnTo>
                    <a:pt x="424" y="347"/>
                  </a:lnTo>
                  <a:lnTo>
                    <a:pt x="430" y="347"/>
                  </a:lnTo>
                  <a:lnTo>
                    <a:pt x="430" y="343"/>
                  </a:lnTo>
                  <a:lnTo>
                    <a:pt x="430" y="343"/>
                  </a:lnTo>
                  <a:lnTo>
                    <a:pt x="430" y="342"/>
                  </a:lnTo>
                  <a:lnTo>
                    <a:pt x="428" y="340"/>
                  </a:lnTo>
                  <a:lnTo>
                    <a:pt x="426" y="340"/>
                  </a:lnTo>
                  <a:lnTo>
                    <a:pt x="426" y="338"/>
                  </a:lnTo>
                  <a:lnTo>
                    <a:pt x="426" y="338"/>
                  </a:lnTo>
                  <a:lnTo>
                    <a:pt x="426" y="336"/>
                  </a:lnTo>
                  <a:lnTo>
                    <a:pt x="426" y="334"/>
                  </a:lnTo>
                  <a:lnTo>
                    <a:pt x="428" y="334"/>
                  </a:lnTo>
                  <a:lnTo>
                    <a:pt x="426" y="334"/>
                  </a:lnTo>
                  <a:lnTo>
                    <a:pt x="424" y="334"/>
                  </a:lnTo>
                  <a:lnTo>
                    <a:pt x="424" y="333"/>
                  </a:lnTo>
                  <a:lnTo>
                    <a:pt x="422" y="333"/>
                  </a:lnTo>
                  <a:lnTo>
                    <a:pt x="422" y="333"/>
                  </a:lnTo>
                  <a:lnTo>
                    <a:pt x="421" y="329"/>
                  </a:lnTo>
                  <a:lnTo>
                    <a:pt x="421" y="329"/>
                  </a:lnTo>
                  <a:lnTo>
                    <a:pt x="422" y="329"/>
                  </a:lnTo>
                  <a:lnTo>
                    <a:pt x="422" y="327"/>
                  </a:lnTo>
                  <a:lnTo>
                    <a:pt x="422" y="325"/>
                  </a:lnTo>
                  <a:lnTo>
                    <a:pt x="422" y="325"/>
                  </a:lnTo>
                  <a:lnTo>
                    <a:pt x="422" y="324"/>
                  </a:lnTo>
                  <a:lnTo>
                    <a:pt x="422" y="324"/>
                  </a:lnTo>
                  <a:lnTo>
                    <a:pt x="421" y="322"/>
                  </a:lnTo>
                  <a:lnTo>
                    <a:pt x="421" y="320"/>
                  </a:lnTo>
                  <a:lnTo>
                    <a:pt x="422" y="318"/>
                  </a:lnTo>
                  <a:lnTo>
                    <a:pt x="421" y="316"/>
                  </a:lnTo>
                  <a:lnTo>
                    <a:pt x="421" y="314"/>
                  </a:lnTo>
                  <a:lnTo>
                    <a:pt x="419" y="314"/>
                  </a:lnTo>
                  <a:lnTo>
                    <a:pt x="419" y="313"/>
                  </a:lnTo>
                  <a:lnTo>
                    <a:pt x="421" y="313"/>
                  </a:lnTo>
                  <a:lnTo>
                    <a:pt x="421" y="313"/>
                  </a:lnTo>
                  <a:lnTo>
                    <a:pt x="421" y="311"/>
                  </a:lnTo>
                  <a:lnTo>
                    <a:pt x="421" y="311"/>
                  </a:lnTo>
                  <a:lnTo>
                    <a:pt x="421" y="311"/>
                  </a:lnTo>
                  <a:lnTo>
                    <a:pt x="422" y="311"/>
                  </a:lnTo>
                  <a:lnTo>
                    <a:pt x="422" y="311"/>
                  </a:lnTo>
                  <a:lnTo>
                    <a:pt x="424" y="311"/>
                  </a:lnTo>
                  <a:lnTo>
                    <a:pt x="422" y="309"/>
                  </a:lnTo>
                  <a:lnTo>
                    <a:pt x="421" y="307"/>
                  </a:lnTo>
                  <a:lnTo>
                    <a:pt x="421" y="307"/>
                  </a:lnTo>
                  <a:lnTo>
                    <a:pt x="419" y="304"/>
                  </a:lnTo>
                  <a:lnTo>
                    <a:pt x="417" y="300"/>
                  </a:lnTo>
                  <a:lnTo>
                    <a:pt x="415" y="298"/>
                  </a:lnTo>
                  <a:lnTo>
                    <a:pt x="415" y="298"/>
                  </a:lnTo>
                  <a:lnTo>
                    <a:pt x="419" y="296"/>
                  </a:lnTo>
                  <a:lnTo>
                    <a:pt x="421" y="295"/>
                  </a:lnTo>
                  <a:lnTo>
                    <a:pt x="421" y="293"/>
                  </a:lnTo>
                  <a:lnTo>
                    <a:pt x="421" y="291"/>
                  </a:lnTo>
                  <a:lnTo>
                    <a:pt x="419" y="289"/>
                  </a:lnTo>
                  <a:lnTo>
                    <a:pt x="419" y="289"/>
                  </a:lnTo>
                  <a:lnTo>
                    <a:pt x="419" y="289"/>
                  </a:lnTo>
                  <a:lnTo>
                    <a:pt x="417" y="287"/>
                  </a:lnTo>
                  <a:lnTo>
                    <a:pt x="417" y="286"/>
                  </a:lnTo>
                  <a:lnTo>
                    <a:pt x="417" y="286"/>
                  </a:lnTo>
                  <a:lnTo>
                    <a:pt x="415" y="286"/>
                  </a:lnTo>
                  <a:lnTo>
                    <a:pt x="415" y="284"/>
                  </a:lnTo>
                  <a:lnTo>
                    <a:pt x="413" y="284"/>
                  </a:lnTo>
                  <a:lnTo>
                    <a:pt x="412" y="282"/>
                  </a:lnTo>
                  <a:lnTo>
                    <a:pt x="410" y="280"/>
                  </a:lnTo>
                  <a:lnTo>
                    <a:pt x="410" y="277"/>
                  </a:lnTo>
                  <a:lnTo>
                    <a:pt x="408" y="275"/>
                  </a:lnTo>
                  <a:lnTo>
                    <a:pt x="404" y="271"/>
                  </a:lnTo>
                  <a:lnTo>
                    <a:pt x="406" y="271"/>
                  </a:lnTo>
                  <a:lnTo>
                    <a:pt x="408" y="266"/>
                  </a:lnTo>
                  <a:lnTo>
                    <a:pt x="408" y="266"/>
                  </a:lnTo>
                  <a:lnTo>
                    <a:pt x="410" y="266"/>
                  </a:lnTo>
                  <a:lnTo>
                    <a:pt x="410" y="266"/>
                  </a:lnTo>
                  <a:lnTo>
                    <a:pt x="410" y="264"/>
                  </a:lnTo>
                  <a:lnTo>
                    <a:pt x="410" y="264"/>
                  </a:lnTo>
                  <a:lnTo>
                    <a:pt x="410" y="262"/>
                  </a:lnTo>
                  <a:lnTo>
                    <a:pt x="410" y="262"/>
                  </a:lnTo>
                  <a:lnTo>
                    <a:pt x="410" y="262"/>
                  </a:lnTo>
                  <a:lnTo>
                    <a:pt x="412" y="258"/>
                  </a:lnTo>
                  <a:lnTo>
                    <a:pt x="413" y="257"/>
                  </a:lnTo>
                  <a:lnTo>
                    <a:pt x="415" y="257"/>
                  </a:lnTo>
                  <a:lnTo>
                    <a:pt x="417" y="257"/>
                  </a:lnTo>
                  <a:lnTo>
                    <a:pt x="419" y="257"/>
                  </a:lnTo>
                  <a:lnTo>
                    <a:pt x="421" y="255"/>
                  </a:lnTo>
                  <a:lnTo>
                    <a:pt x="422" y="255"/>
                  </a:lnTo>
                  <a:lnTo>
                    <a:pt x="422" y="255"/>
                  </a:lnTo>
                  <a:lnTo>
                    <a:pt x="426" y="257"/>
                  </a:lnTo>
                  <a:lnTo>
                    <a:pt x="426" y="257"/>
                  </a:lnTo>
                  <a:lnTo>
                    <a:pt x="430" y="257"/>
                  </a:lnTo>
                  <a:lnTo>
                    <a:pt x="430" y="257"/>
                  </a:lnTo>
                  <a:lnTo>
                    <a:pt x="431" y="258"/>
                  </a:lnTo>
                  <a:lnTo>
                    <a:pt x="431" y="262"/>
                  </a:lnTo>
                  <a:lnTo>
                    <a:pt x="431" y="264"/>
                  </a:lnTo>
                  <a:lnTo>
                    <a:pt x="433" y="264"/>
                  </a:lnTo>
                  <a:lnTo>
                    <a:pt x="435" y="264"/>
                  </a:lnTo>
                  <a:lnTo>
                    <a:pt x="435" y="264"/>
                  </a:lnTo>
                  <a:lnTo>
                    <a:pt x="437" y="266"/>
                  </a:lnTo>
                  <a:lnTo>
                    <a:pt x="439" y="266"/>
                  </a:lnTo>
                  <a:lnTo>
                    <a:pt x="441" y="266"/>
                  </a:lnTo>
                  <a:lnTo>
                    <a:pt x="441" y="264"/>
                  </a:lnTo>
                  <a:lnTo>
                    <a:pt x="442" y="264"/>
                  </a:lnTo>
                  <a:lnTo>
                    <a:pt x="446" y="266"/>
                  </a:lnTo>
                  <a:lnTo>
                    <a:pt x="448" y="266"/>
                  </a:lnTo>
                  <a:lnTo>
                    <a:pt x="448" y="266"/>
                  </a:lnTo>
                  <a:lnTo>
                    <a:pt x="450" y="264"/>
                  </a:lnTo>
                  <a:lnTo>
                    <a:pt x="451" y="264"/>
                  </a:lnTo>
                  <a:lnTo>
                    <a:pt x="451" y="264"/>
                  </a:lnTo>
                  <a:lnTo>
                    <a:pt x="451" y="264"/>
                  </a:lnTo>
                  <a:lnTo>
                    <a:pt x="453" y="264"/>
                  </a:lnTo>
                  <a:lnTo>
                    <a:pt x="453" y="264"/>
                  </a:lnTo>
                  <a:lnTo>
                    <a:pt x="453" y="264"/>
                  </a:lnTo>
                  <a:lnTo>
                    <a:pt x="453" y="264"/>
                  </a:lnTo>
                  <a:lnTo>
                    <a:pt x="453" y="264"/>
                  </a:lnTo>
                  <a:lnTo>
                    <a:pt x="453" y="262"/>
                  </a:lnTo>
                  <a:lnTo>
                    <a:pt x="453" y="262"/>
                  </a:lnTo>
                  <a:lnTo>
                    <a:pt x="455" y="262"/>
                  </a:lnTo>
                  <a:lnTo>
                    <a:pt x="457" y="260"/>
                  </a:lnTo>
                  <a:lnTo>
                    <a:pt x="459" y="258"/>
                  </a:lnTo>
                  <a:lnTo>
                    <a:pt x="460" y="258"/>
                  </a:lnTo>
                  <a:lnTo>
                    <a:pt x="462" y="257"/>
                  </a:lnTo>
                  <a:lnTo>
                    <a:pt x="462" y="257"/>
                  </a:lnTo>
                  <a:lnTo>
                    <a:pt x="464" y="255"/>
                  </a:lnTo>
                  <a:lnTo>
                    <a:pt x="466" y="253"/>
                  </a:lnTo>
                  <a:lnTo>
                    <a:pt x="466" y="251"/>
                  </a:lnTo>
                  <a:lnTo>
                    <a:pt x="466" y="249"/>
                  </a:lnTo>
                  <a:lnTo>
                    <a:pt x="466" y="249"/>
                  </a:lnTo>
                  <a:lnTo>
                    <a:pt x="464" y="249"/>
                  </a:lnTo>
                  <a:lnTo>
                    <a:pt x="464" y="248"/>
                  </a:lnTo>
                  <a:lnTo>
                    <a:pt x="466" y="248"/>
                  </a:lnTo>
                  <a:lnTo>
                    <a:pt x="468" y="248"/>
                  </a:lnTo>
                  <a:lnTo>
                    <a:pt x="469" y="248"/>
                  </a:lnTo>
                  <a:lnTo>
                    <a:pt x="471" y="248"/>
                  </a:lnTo>
                  <a:lnTo>
                    <a:pt x="471" y="248"/>
                  </a:lnTo>
                  <a:lnTo>
                    <a:pt x="471" y="248"/>
                  </a:lnTo>
                  <a:lnTo>
                    <a:pt x="471" y="246"/>
                  </a:lnTo>
                  <a:lnTo>
                    <a:pt x="471" y="246"/>
                  </a:lnTo>
                  <a:lnTo>
                    <a:pt x="475" y="246"/>
                  </a:lnTo>
                  <a:lnTo>
                    <a:pt x="475" y="246"/>
                  </a:lnTo>
                  <a:lnTo>
                    <a:pt x="477" y="246"/>
                  </a:lnTo>
                  <a:lnTo>
                    <a:pt x="477" y="246"/>
                  </a:lnTo>
                  <a:lnTo>
                    <a:pt x="478" y="244"/>
                  </a:lnTo>
                  <a:lnTo>
                    <a:pt x="477" y="242"/>
                  </a:lnTo>
                  <a:lnTo>
                    <a:pt x="478" y="237"/>
                  </a:lnTo>
                  <a:lnTo>
                    <a:pt x="478" y="237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6" name="Freeform 165">
              <a:extLst>
                <a:ext uri="{FF2B5EF4-FFF2-40B4-BE49-F238E27FC236}">
                  <a16:creationId xmlns:a16="http://schemas.microsoft.com/office/drawing/2014/main" id="{BEA6423C-D0BC-A571-3F00-08A3D20A58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28288" y="4932363"/>
              <a:ext cx="463550" cy="363538"/>
            </a:xfrm>
            <a:custGeom>
              <a:avLst/>
              <a:gdLst>
                <a:gd name="T0" fmla="*/ 54 w 292"/>
                <a:gd name="T1" fmla="*/ 169 h 229"/>
                <a:gd name="T2" fmla="*/ 48 w 292"/>
                <a:gd name="T3" fmla="*/ 153 h 229"/>
                <a:gd name="T4" fmla="*/ 27 w 292"/>
                <a:gd name="T5" fmla="*/ 155 h 229"/>
                <a:gd name="T6" fmla="*/ 14 w 292"/>
                <a:gd name="T7" fmla="*/ 140 h 229"/>
                <a:gd name="T8" fmla="*/ 1 w 292"/>
                <a:gd name="T9" fmla="*/ 150 h 229"/>
                <a:gd name="T10" fmla="*/ 10 w 292"/>
                <a:gd name="T11" fmla="*/ 162 h 229"/>
                <a:gd name="T12" fmla="*/ 18 w 292"/>
                <a:gd name="T13" fmla="*/ 175 h 229"/>
                <a:gd name="T14" fmla="*/ 28 w 292"/>
                <a:gd name="T15" fmla="*/ 180 h 229"/>
                <a:gd name="T16" fmla="*/ 32 w 292"/>
                <a:gd name="T17" fmla="*/ 189 h 229"/>
                <a:gd name="T18" fmla="*/ 66 w 292"/>
                <a:gd name="T19" fmla="*/ 198 h 229"/>
                <a:gd name="T20" fmla="*/ 292 w 292"/>
                <a:gd name="T21" fmla="*/ 104 h 229"/>
                <a:gd name="T22" fmla="*/ 281 w 292"/>
                <a:gd name="T23" fmla="*/ 97 h 229"/>
                <a:gd name="T24" fmla="*/ 10 w 292"/>
                <a:gd name="T25" fmla="*/ 54 h 229"/>
                <a:gd name="T26" fmla="*/ 272 w 292"/>
                <a:gd name="T27" fmla="*/ 92 h 229"/>
                <a:gd name="T28" fmla="*/ 251 w 292"/>
                <a:gd name="T29" fmla="*/ 88 h 229"/>
                <a:gd name="T30" fmla="*/ 236 w 292"/>
                <a:gd name="T31" fmla="*/ 79 h 229"/>
                <a:gd name="T32" fmla="*/ 222 w 292"/>
                <a:gd name="T33" fmla="*/ 56 h 229"/>
                <a:gd name="T34" fmla="*/ 211 w 292"/>
                <a:gd name="T35" fmla="*/ 30 h 229"/>
                <a:gd name="T36" fmla="*/ 187 w 292"/>
                <a:gd name="T37" fmla="*/ 7 h 229"/>
                <a:gd name="T38" fmla="*/ 159 w 292"/>
                <a:gd name="T39" fmla="*/ 36 h 229"/>
                <a:gd name="T40" fmla="*/ 146 w 292"/>
                <a:gd name="T41" fmla="*/ 45 h 229"/>
                <a:gd name="T42" fmla="*/ 122 w 292"/>
                <a:gd name="T43" fmla="*/ 34 h 229"/>
                <a:gd name="T44" fmla="*/ 115 w 292"/>
                <a:gd name="T45" fmla="*/ 21 h 229"/>
                <a:gd name="T46" fmla="*/ 103 w 292"/>
                <a:gd name="T47" fmla="*/ 10 h 229"/>
                <a:gd name="T48" fmla="*/ 88 w 292"/>
                <a:gd name="T49" fmla="*/ 7 h 229"/>
                <a:gd name="T50" fmla="*/ 72 w 292"/>
                <a:gd name="T51" fmla="*/ 9 h 229"/>
                <a:gd name="T52" fmla="*/ 77 w 292"/>
                <a:gd name="T53" fmla="*/ 27 h 229"/>
                <a:gd name="T54" fmla="*/ 95 w 292"/>
                <a:gd name="T55" fmla="*/ 41 h 229"/>
                <a:gd name="T56" fmla="*/ 90 w 292"/>
                <a:gd name="T57" fmla="*/ 54 h 229"/>
                <a:gd name="T58" fmla="*/ 72 w 292"/>
                <a:gd name="T59" fmla="*/ 47 h 229"/>
                <a:gd name="T60" fmla="*/ 48 w 292"/>
                <a:gd name="T61" fmla="*/ 38 h 229"/>
                <a:gd name="T62" fmla="*/ 16 w 292"/>
                <a:gd name="T63" fmla="*/ 36 h 229"/>
                <a:gd name="T64" fmla="*/ 16 w 292"/>
                <a:gd name="T65" fmla="*/ 56 h 229"/>
                <a:gd name="T66" fmla="*/ 32 w 292"/>
                <a:gd name="T67" fmla="*/ 59 h 229"/>
                <a:gd name="T68" fmla="*/ 32 w 292"/>
                <a:gd name="T69" fmla="*/ 77 h 229"/>
                <a:gd name="T70" fmla="*/ 38 w 292"/>
                <a:gd name="T71" fmla="*/ 95 h 229"/>
                <a:gd name="T72" fmla="*/ 59 w 292"/>
                <a:gd name="T73" fmla="*/ 115 h 229"/>
                <a:gd name="T74" fmla="*/ 48 w 292"/>
                <a:gd name="T75" fmla="*/ 130 h 229"/>
                <a:gd name="T76" fmla="*/ 70 w 292"/>
                <a:gd name="T77" fmla="*/ 151 h 229"/>
                <a:gd name="T78" fmla="*/ 86 w 292"/>
                <a:gd name="T79" fmla="*/ 157 h 229"/>
                <a:gd name="T80" fmla="*/ 86 w 292"/>
                <a:gd name="T81" fmla="*/ 169 h 229"/>
                <a:gd name="T82" fmla="*/ 81 w 292"/>
                <a:gd name="T83" fmla="*/ 177 h 229"/>
                <a:gd name="T84" fmla="*/ 86 w 292"/>
                <a:gd name="T85" fmla="*/ 196 h 229"/>
                <a:gd name="T86" fmla="*/ 101 w 292"/>
                <a:gd name="T87" fmla="*/ 184 h 229"/>
                <a:gd name="T88" fmla="*/ 113 w 292"/>
                <a:gd name="T89" fmla="*/ 177 h 229"/>
                <a:gd name="T90" fmla="*/ 139 w 292"/>
                <a:gd name="T91" fmla="*/ 157 h 229"/>
                <a:gd name="T92" fmla="*/ 160 w 292"/>
                <a:gd name="T93" fmla="*/ 144 h 229"/>
                <a:gd name="T94" fmla="*/ 168 w 292"/>
                <a:gd name="T95" fmla="*/ 178 h 229"/>
                <a:gd name="T96" fmla="*/ 173 w 292"/>
                <a:gd name="T97" fmla="*/ 191 h 229"/>
                <a:gd name="T98" fmla="*/ 173 w 292"/>
                <a:gd name="T99" fmla="*/ 211 h 229"/>
                <a:gd name="T100" fmla="*/ 189 w 292"/>
                <a:gd name="T101" fmla="*/ 224 h 229"/>
                <a:gd name="T102" fmla="*/ 204 w 292"/>
                <a:gd name="T103" fmla="*/ 202 h 229"/>
                <a:gd name="T104" fmla="*/ 207 w 292"/>
                <a:gd name="T105" fmla="*/ 182 h 229"/>
                <a:gd name="T106" fmla="*/ 216 w 292"/>
                <a:gd name="T107" fmla="*/ 182 h 229"/>
                <a:gd name="T108" fmla="*/ 222 w 292"/>
                <a:gd name="T109" fmla="*/ 187 h 229"/>
                <a:gd name="T110" fmla="*/ 231 w 292"/>
                <a:gd name="T111" fmla="*/ 171 h 229"/>
                <a:gd name="T112" fmla="*/ 231 w 292"/>
                <a:gd name="T113" fmla="*/ 164 h 229"/>
                <a:gd name="T114" fmla="*/ 233 w 292"/>
                <a:gd name="T115" fmla="*/ 144 h 229"/>
                <a:gd name="T116" fmla="*/ 233 w 292"/>
                <a:gd name="T117" fmla="*/ 135 h 229"/>
                <a:gd name="T118" fmla="*/ 234 w 292"/>
                <a:gd name="T119" fmla="*/ 124 h 229"/>
                <a:gd name="T120" fmla="*/ 247 w 292"/>
                <a:gd name="T121" fmla="*/ 108 h 229"/>
                <a:gd name="T122" fmla="*/ 263 w 292"/>
                <a:gd name="T123" fmla="*/ 103 h 229"/>
                <a:gd name="T124" fmla="*/ 281 w 292"/>
                <a:gd name="T125" fmla="*/ 10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2" h="229">
                  <a:moveTo>
                    <a:pt x="63" y="186"/>
                  </a:moveTo>
                  <a:lnTo>
                    <a:pt x="61" y="184"/>
                  </a:lnTo>
                  <a:lnTo>
                    <a:pt x="59" y="182"/>
                  </a:lnTo>
                  <a:lnTo>
                    <a:pt x="59" y="180"/>
                  </a:lnTo>
                  <a:lnTo>
                    <a:pt x="59" y="178"/>
                  </a:lnTo>
                  <a:lnTo>
                    <a:pt x="59" y="177"/>
                  </a:lnTo>
                  <a:lnTo>
                    <a:pt x="59" y="175"/>
                  </a:lnTo>
                  <a:lnTo>
                    <a:pt x="61" y="175"/>
                  </a:lnTo>
                  <a:lnTo>
                    <a:pt x="61" y="175"/>
                  </a:lnTo>
                  <a:lnTo>
                    <a:pt x="61" y="173"/>
                  </a:lnTo>
                  <a:lnTo>
                    <a:pt x="59" y="173"/>
                  </a:lnTo>
                  <a:lnTo>
                    <a:pt x="59" y="171"/>
                  </a:lnTo>
                  <a:lnTo>
                    <a:pt x="56" y="171"/>
                  </a:lnTo>
                  <a:lnTo>
                    <a:pt x="56" y="169"/>
                  </a:lnTo>
                  <a:lnTo>
                    <a:pt x="54" y="169"/>
                  </a:lnTo>
                  <a:lnTo>
                    <a:pt x="54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6"/>
                  </a:lnTo>
                  <a:lnTo>
                    <a:pt x="48" y="166"/>
                  </a:lnTo>
                  <a:lnTo>
                    <a:pt x="48" y="164"/>
                  </a:lnTo>
                  <a:lnTo>
                    <a:pt x="50" y="162"/>
                  </a:lnTo>
                  <a:lnTo>
                    <a:pt x="50" y="160"/>
                  </a:lnTo>
                  <a:lnTo>
                    <a:pt x="50" y="159"/>
                  </a:lnTo>
                  <a:lnTo>
                    <a:pt x="50" y="159"/>
                  </a:lnTo>
                  <a:lnTo>
                    <a:pt x="50" y="157"/>
                  </a:lnTo>
                  <a:lnTo>
                    <a:pt x="50" y="155"/>
                  </a:lnTo>
                  <a:lnTo>
                    <a:pt x="50" y="155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7" y="153"/>
                  </a:lnTo>
                  <a:lnTo>
                    <a:pt x="47" y="153"/>
                  </a:lnTo>
                  <a:lnTo>
                    <a:pt x="39" y="155"/>
                  </a:lnTo>
                  <a:lnTo>
                    <a:pt x="39" y="155"/>
                  </a:lnTo>
                  <a:lnTo>
                    <a:pt x="36" y="157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2" y="159"/>
                  </a:lnTo>
                  <a:lnTo>
                    <a:pt x="32" y="159"/>
                  </a:lnTo>
                  <a:lnTo>
                    <a:pt x="32" y="159"/>
                  </a:lnTo>
                  <a:lnTo>
                    <a:pt x="30" y="157"/>
                  </a:lnTo>
                  <a:lnTo>
                    <a:pt x="30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5" y="153"/>
                  </a:lnTo>
                  <a:lnTo>
                    <a:pt x="25" y="151"/>
                  </a:lnTo>
                  <a:lnTo>
                    <a:pt x="23" y="151"/>
                  </a:lnTo>
                  <a:lnTo>
                    <a:pt x="23" y="151"/>
                  </a:lnTo>
                  <a:lnTo>
                    <a:pt x="21" y="153"/>
                  </a:lnTo>
                  <a:lnTo>
                    <a:pt x="19" y="153"/>
                  </a:lnTo>
                  <a:lnTo>
                    <a:pt x="18" y="153"/>
                  </a:lnTo>
                  <a:lnTo>
                    <a:pt x="18" y="151"/>
                  </a:lnTo>
                  <a:lnTo>
                    <a:pt x="19" y="150"/>
                  </a:lnTo>
                  <a:lnTo>
                    <a:pt x="19" y="148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0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7" y="142"/>
                  </a:lnTo>
                  <a:lnTo>
                    <a:pt x="5" y="144"/>
                  </a:lnTo>
                  <a:lnTo>
                    <a:pt x="3" y="142"/>
                  </a:lnTo>
                  <a:lnTo>
                    <a:pt x="1" y="144"/>
                  </a:lnTo>
                  <a:lnTo>
                    <a:pt x="0" y="144"/>
                  </a:lnTo>
                  <a:lnTo>
                    <a:pt x="0" y="146"/>
                  </a:lnTo>
                  <a:lnTo>
                    <a:pt x="1" y="148"/>
                  </a:lnTo>
                  <a:lnTo>
                    <a:pt x="1" y="148"/>
                  </a:lnTo>
                  <a:lnTo>
                    <a:pt x="1" y="148"/>
                  </a:lnTo>
                  <a:lnTo>
                    <a:pt x="1" y="150"/>
                  </a:lnTo>
                  <a:lnTo>
                    <a:pt x="1" y="150"/>
                  </a:lnTo>
                  <a:lnTo>
                    <a:pt x="3" y="150"/>
                  </a:lnTo>
                  <a:lnTo>
                    <a:pt x="5" y="150"/>
                  </a:lnTo>
                  <a:lnTo>
                    <a:pt x="5" y="150"/>
                  </a:lnTo>
                  <a:lnTo>
                    <a:pt x="3" y="150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7" y="159"/>
                  </a:lnTo>
                  <a:lnTo>
                    <a:pt x="9" y="159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9" y="162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12" y="162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4" y="164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4" y="168"/>
                  </a:lnTo>
                  <a:lnTo>
                    <a:pt x="16" y="168"/>
                  </a:lnTo>
                  <a:lnTo>
                    <a:pt x="16" y="168"/>
                  </a:lnTo>
                  <a:lnTo>
                    <a:pt x="16" y="169"/>
                  </a:lnTo>
                  <a:lnTo>
                    <a:pt x="18" y="171"/>
                  </a:lnTo>
                  <a:lnTo>
                    <a:pt x="18" y="171"/>
                  </a:lnTo>
                  <a:lnTo>
                    <a:pt x="18" y="171"/>
                  </a:lnTo>
                  <a:lnTo>
                    <a:pt x="18" y="175"/>
                  </a:lnTo>
                  <a:lnTo>
                    <a:pt x="18" y="177"/>
                  </a:lnTo>
                  <a:lnTo>
                    <a:pt x="19" y="175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8" y="178"/>
                  </a:lnTo>
                  <a:lnTo>
                    <a:pt x="28" y="178"/>
                  </a:lnTo>
                  <a:lnTo>
                    <a:pt x="28" y="180"/>
                  </a:lnTo>
                  <a:lnTo>
                    <a:pt x="28" y="180"/>
                  </a:lnTo>
                  <a:lnTo>
                    <a:pt x="28" y="182"/>
                  </a:lnTo>
                  <a:lnTo>
                    <a:pt x="28" y="182"/>
                  </a:lnTo>
                  <a:lnTo>
                    <a:pt x="28" y="182"/>
                  </a:lnTo>
                  <a:lnTo>
                    <a:pt x="30" y="182"/>
                  </a:lnTo>
                  <a:lnTo>
                    <a:pt x="30" y="182"/>
                  </a:lnTo>
                  <a:lnTo>
                    <a:pt x="30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2" y="186"/>
                  </a:lnTo>
                  <a:lnTo>
                    <a:pt x="32" y="186"/>
                  </a:lnTo>
                  <a:lnTo>
                    <a:pt x="32" y="187"/>
                  </a:lnTo>
                  <a:lnTo>
                    <a:pt x="32" y="187"/>
                  </a:lnTo>
                  <a:lnTo>
                    <a:pt x="32" y="187"/>
                  </a:lnTo>
                  <a:lnTo>
                    <a:pt x="32" y="189"/>
                  </a:lnTo>
                  <a:lnTo>
                    <a:pt x="32" y="189"/>
                  </a:lnTo>
                  <a:lnTo>
                    <a:pt x="34" y="189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8" y="191"/>
                  </a:lnTo>
                  <a:lnTo>
                    <a:pt x="38" y="191"/>
                  </a:lnTo>
                  <a:lnTo>
                    <a:pt x="38" y="191"/>
                  </a:lnTo>
                  <a:lnTo>
                    <a:pt x="39" y="191"/>
                  </a:lnTo>
                  <a:lnTo>
                    <a:pt x="43" y="193"/>
                  </a:lnTo>
                  <a:lnTo>
                    <a:pt x="47" y="193"/>
                  </a:lnTo>
                  <a:lnTo>
                    <a:pt x="50" y="193"/>
                  </a:lnTo>
                  <a:lnTo>
                    <a:pt x="50" y="195"/>
                  </a:lnTo>
                  <a:lnTo>
                    <a:pt x="61" y="196"/>
                  </a:lnTo>
                  <a:lnTo>
                    <a:pt x="65" y="198"/>
                  </a:lnTo>
                  <a:lnTo>
                    <a:pt x="66" y="198"/>
                  </a:lnTo>
                  <a:lnTo>
                    <a:pt x="68" y="198"/>
                  </a:lnTo>
                  <a:lnTo>
                    <a:pt x="65" y="193"/>
                  </a:lnTo>
                  <a:lnTo>
                    <a:pt x="63" y="186"/>
                  </a:lnTo>
                  <a:close/>
                  <a:moveTo>
                    <a:pt x="292" y="104"/>
                  </a:moveTo>
                  <a:lnTo>
                    <a:pt x="292" y="103"/>
                  </a:lnTo>
                  <a:lnTo>
                    <a:pt x="290" y="103"/>
                  </a:lnTo>
                  <a:lnTo>
                    <a:pt x="290" y="103"/>
                  </a:lnTo>
                  <a:lnTo>
                    <a:pt x="290" y="103"/>
                  </a:lnTo>
                  <a:lnTo>
                    <a:pt x="289" y="103"/>
                  </a:lnTo>
                  <a:lnTo>
                    <a:pt x="289" y="104"/>
                  </a:lnTo>
                  <a:lnTo>
                    <a:pt x="290" y="104"/>
                  </a:lnTo>
                  <a:lnTo>
                    <a:pt x="290" y="106"/>
                  </a:lnTo>
                  <a:lnTo>
                    <a:pt x="290" y="104"/>
                  </a:lnTo>
                  <a:lnTo>
                    <a:pt x="292" y="106"/>
                  </a:lnTo>
                  <a:lnTo>
                    <a:pt x="292" y="104"/>
                  </a:lnTo>
                  <a:lnTo>
                    <a:pt x="292" y="104"/>
                  </a:lnTo>
                  <a:close/>
                  <a:moveTo>
                    <a:pt x="279" y="97"/>
                  </a:moveTo>
                  <a:lnTo>
                    <a:pt x="279" y="95"/>
                  </a:lnTo>
                  <a:lnTo>
                    <a:pt x="279" y="95"/>
                  </a:lnTo>
                  <a:lnTo>
                    <a:pt x="279" y="94"/>
                  </a:lnTo>
                  <a:lnTo>
                    <a:pt x="279" y="94"/>
                  </a:lnTo>
                  <a:lnTo>
                    <a:pt x="278" y="94"/>
                  </a:lnTo>
                  <a:lnTo>
                    <a:pt x="278" y="94"/>
                  </a:lnTo>
                  <a:lnTo>
                    <a:pt x="278" y="95"/>
                  </a:lnTo>
                  <a:lnTo>
                    <a:pt x="279" y="97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81" y="99"/>
                  </a:lnTo>
                  <a:lnTo>
                    <a:pt x="281" y="99"/>
                  </a:lnTo>
                  <a:lnTo>
                    <a:pt x="281" y="97"/>
                  </a:lnTo>
                  <a:lnTo>
                    <a:pt x="279" y="97"/>
                  </a:lnTo>
                  <a:close/>
                  <a:moveTo>
                    <a:pt x="21" y="61"/>
                  </a:moveTo>
                  <a:lnTo>
                    <a:pt x="21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61"/>
                  </a:lnTo>
                  <a:lnTo>
                    <a:pt x="21" y="61"/>
                  </a:lnTo>
                  <a:lnTo>
                    <a:pt x="21" y="61"/>
                  </a:lnTo>
                  <a:close/>
                  <a:moveTo>
                    <a:pt x="10" y="57"/>
                  </a:moveTo>
                  <a:lnTo>
                    <a:pt x="12" y="57"/>
                  </a:lnTo>
                  <a:lnTo>
                    <a:pt x="12" y="56"/>
                  </a:lnTo>
                  <a:lnTo>
                    <a:pt x="12" y="54"/>
                  </a:lnTo>
                  <a:lnTo>
                    <a:pt x="10" y="54"/>
                  </a:lnTo>
                  <a:lnTo>
                    <a:pt x="9" y="54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0" y="57"/>
                  </a:lnTo>
                  <a:close/>
                  <a:moveTo>
                    <a:pt x="279" y="106"/>
                  </a:moveTo>
                  <a:lnTo>
                    <a:pt x="279" y="106"/>
                  </a:lnTo>
                  <a:lnTo>
                    <a:pt x="279" y="101"/>
                  </a:lnTo>
                  <a:lnTo>
                    <a:pt x="279" y="99"/>
                  </a:lnTo>
                  <a:lnTo>
                    <a:pt x="278" y="99"/>
                  </a:lnTo>
                  <a:lnTo>
                    <a:pt x="278" y="97"/>
                  </a:lnTo>
                  <a:lnTo>
                    <a:pt x="276" y="97"/>
                  </a:lnTo>
                  <a:lnTo>
                    <a:pt x="274" y="97"/>
                  </a:lnTo>
                  <a:lnTo>
                    <a:pt x="274" y="95"/>
                  </a:lnTo>
                  <a:lnTo>
                    <a:pt x="274" y="94"/>
                  </a:lnTo>
                  <a:lnTo>
                    <a:pt x="272" y="92"/>
                  </a:lnTo>
                  <a:lnTo>
                    <a:pt x="272" y="92"/>
                  </a:lnTo>
                  <a:lnTo>
                    <a:pt x="267" y="92"/>
                  </a:lnTo>
                  <a:lnTo>
                    <a:pt x="267" y="90"/>
                  </a:lnTo>
                  <a:lnTo>
                    <a:pt x="265" y="90"/>
                  </a:lnTo>
                  <a:lnTo>
                    <a:pt x="265" y="88"/>
                  </a:lnTo>
                  <a:lnTo>
                    <a:pt x="265" y="88"/>
                  </a:lnTo>
                  <a:lnTo>
                    <a:pt x="265" y="88"/>
                  </a:lnTo>
                  <a:lnTo>
                    <a:pt x="263" y="86"/>
                  </a:lnTo>
                  <a:lnTo>
                    <a:pt x="263" y="86"/>
                  </a:lnTo>
                  <a:lnTo>
                    <a:pt x="258" y="86"/>
                  </a:lnTo>
                  <a:lnTo>
                    <a:pt x="256" y="86"/>
                  </a:lnTo>
                  <a:lnTo>
                    <a:pt x="254" y="88"/>
                  </a:lnTo>
                  <a:lnTo>
                    <a:pt x="252" y="88"/>
                  </a:lnTo>
                  <a:lnTo>
                    <a:pt x="252" y="88"/>
                  </a:lnTo>
                  <a:lnTo>
                    <a:pt x="251" y="88"/>
                  </a:lnTo>
                  <a:lnTo>
                    <a:pt x="247" y="86"/>
                  </a:lnTo>
                  <a:lnTo>
                    <a:pt x="247" y="86"/>
                  </a:lnTo>
                  <a:lnTo>
                    <a:pt x="245" y="85"/>
                  </a:lnTo>
                  <a:lnTo>
                    <a:pt x="243" y="85"/>
                  </a:lnTo>
                  <a:lnTo>
                    <a:pt x="243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40" y="83"/>
                  </a:lnTo>
                  <a:lnTo>
                    <a:pt x="238" y="83"/>
                  </a:lnTo>
                  <a:lnTo>
                    <a:pt x="238" y="81"/>
                  </a:lnTo>
                  <a:lnTo>
                    <a:pt x="238" y="81"/>
                  </a:lnTo>
                  <a:lnTo>
                    <a:pt x="238" y="81"/>
                  </a:lnTo>
                  <a:lnTo>
                    <a:pt x="236" y="81"/>
                  </a:lnTo>
                  <a:lnTo>
                    <a:pt x="236" y="79"/>
                  </a:lnTo>
                  <a:lnTo>
                    <a:pt x="236" y="79"/>
                  </a:lnTo>
                  <a:lnTo>
                    <a:pt x="236" y="79"/>
                  </a:lnTo>
                  <a:lnTo>
                    <a:pt x="236" y="77"/>
                  </a:lnTo>
                  <a:lnTo>
                    <a:pt x="238" y="75"/>
                  </a:lnTo>
                  <a:lnTo>
                    <a:pt x="238" y="74"/>
                  </a:lnTo>
                  <a:lnTo>
                    <a:pt x="238" y="72"/>
                  </a:lnTo>
                  <a:lnTo>
                    <a:pt x="236" y="72"/>
                  </a:lnTo>
                  <a:lnTo>
                    <a:pt x="236" y="72"/>
                  </a:lnTo>
                  <a:lnTo>
                    <a:pt x="234" y="70"/>
                  </a:lnTo>
                  <a:lnTo>
                    <a:pt x="234" y="70"/>
                  </a:lnTo>
                  <a:lnTo>
                    <a:pt x="231" y="68"/>
                  </a:lnTo>
                  <a:lnTo>
                    <a:pt x="231" y="68"/>
                  </a:lnTo>
                  <a:lnTo>
                    <a:pt x="229" y="66"/>
                  </a:lnTo>
                  <a:lnTo>
                    <a:pt x="229" y="66"/>
                  </a:lnTo>
                  <a:lnTo>
                    <a:pt x="224" y="59"/>
                  </a:lnTo>
                  <a:lnTo>
                    <a:pt x="222" y="56"/>
                  </a:lnTo>
                  <a:lnTo>
                    <a:pt x="220" y="50"/>
                  </a:lnTo>
                  <a:lnTo>
                    <a:pt x="220" y="50"/>
                  </a:lnTo>
                  <a:lnTo>
                    <a:pt x="220" y="50"/>
                  </a:lnTo>
                  <a:lnTo>
                    <a:pt x="218" y="48"/>
                  </a:lnTo>
                  <a:lnTo>
                    <a:pt x="218" y="43"/>
                  </a:lnTo>
                  <a:lnTo>
                    <a:pt x="218" y="41"/>
                  </a:lnTo>
                  <a:lnTo>
                    <a:pt x="218" y="39"/>
                  </a:lnTo>
                  <a:lnTo>
                    <a:pt x="216" y="39"/>
                  </a:lnTo>
                  <a:lnTo>
                    <a:pt x="214" y="36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13" y="30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09" y="29"/>
                  </a:lnTo>
                  <a:lnTo>
                    <a:pt x="209" y="27"/>
                  </a:lnTo>
                  <a:lnTo>
                    <a:pt x="207" y="27"/>
                  </a:lnTo>
                  <a:lnTo>
                    <a:pt x="207" y="25"/>
                  </a:lnTo>
                  <a:lnTo>
                    <a:pt x="205" y="25"/>
                  </a:lnTo>
                  <a:lnTo>
                    <a:pt x="204" y="21"/>
                  </a:lnTo>
                  <a:lnTo>
                    <a:pt x="200" y="16"/>
                  </a:lnTo>
                  <a:lnTo>
                    <a:pt x="200" y="16"/>
                  </a:lnTo>
                  <a:lnTo>
                    <a:pt x="200" y="14"/>
                  </a:lnTo>
                  <a:lnTo>
                    <a:pt x="198" y="12"/>
                  </a:lnTo>
                  <a:lnTo>
                    <a:pt x="195" y="7"/>
                  </a:lnTo>
                  <a:lnTo>
                    <a:pt x="193" y="5"/>
                  </a:lnTo>
                  <a:lnTo>
                    <a:pt x="191" y="3"/>
                  </a:lnTo>
                  <a:lnTo>
                    <a:pt x="189" y="3"/>
                  </a:lnTo>
                  <a:lnTo>
                    <a:pt x="187" y="7"/>
                  </a:lnTo>
                  <a:lnTo>
                    <a:pt x="184" y="12"/>
                  </a:lnTo>
                  <a:lnTo>
                    <a:pt x="184" y="12"/>
                  </a:lnTo>
                  <a:lnTo>
                    <a:pt x="182" y="18"/>
                  </a:lnTo>
                  <a:lnTo>
                    <a:pt x="180" y="19"/>
                  </a:lnTo>
                  <a:lnTo>
                    <a:pt x="180" y="21"/>
                  </a:lnTo>
                  <a:lnTo>
                    <a:pt x="175" y="23"/>
                  </a:lnTo>
                  <a:lnTo>
                    <a:pt x="173" y="27"/>
                  </a:lnTo>
                  <a:lnTo>
                    <a:pt x="171" y="27"/>
                  </a:lnTo>
                  <a:lnTo>
                    <a:pt x="166" y="29"/>
                  </a:lnTo>
                  <a:lnTo>
                    <a:pt x="164" y="29"/>
                  </a:lnTo>
                  <a:lnTo>
                    <a:pt x="162" y="30"/>
                  </a:lnTo>
                  <a:lnTo>
                    <a:pt x="160" y="36"/>
                  </a:lnTo>
                  <a:lnTo>
                    <a:pt x="160" y="36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9" y="38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3"/>
                  </a:lnTo>
                  <a:lnTo>
                    <a:pt x="157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3" y="47"/>
                  </a:lnTo>
                  <a:lnTo>
                    <a:pt x="151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6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39" y="47"/>
                  </a:lnTo>
                  <a:lnTo>
                    <a:pt x="139" y="47"/>
                  </a:lnTo>
                  <a:lnTo>
                    <a:pt x="137" y="45"/>
                  </a:lnTo>
                  <a:lnTo>
                    <a:pt x="137" y="43"/>
                  </a:lnTo>
                  <a:lnTo>
                    <a:pt x="135" y="43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28" y="41"/>
                  </a:lnTo>
                  <a:lnTo>
                    <a:pt x="124" y="39"/>
                  </a:lnTo>
                  <a:lnTo>
                    <a:pt x="124" y="38"/>
                  </a:lnTo>
                  <a:lnTo>
                    <a:pt x="122" y="38"/>
                  </a:lnTo>
                  <a:lnTo>
                    <a:pt x="122" y="34"/>
                  </a:lnTo>
                  <a:lnTo>
                    <a:pt x="122" y="32"/>
                  </a:lnTo>
                  <a:lnTo>
                    <a:pt x="122" y="30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7" y="21"/>
                  </a:lnTo>
                  <a:lnTo>
                    <a:pt x="117" y="21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1"/>
                  </a:lnTo>
                  <a:lnTo>
                    <a:pt x="112" y="19"/>
                  </a:lnTo>
                  <a:lnTo>
                    <a:pt x="110" y="18"/>
                  </a:lnTo>
                  <a:lnTo>
                    <a:pt x="108" y="16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4" y="10"/>
                  </a:lnTo>
                  <a:lnTo>
                    <a:pt x="103" y="10"/>
                  </a:lnTo>
                  <a:lnTo>
                    <a:pt x="99" y="9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5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2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88" y="7"/>
                  </a:lnTo>
                  <a:lnTo>
                    <a:pt x="88" y="5"/>
                  </a:lnTo>
                  <a:lnTo>
                    <a:pt x="88" y="3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4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1" y="3"/>
                  </a:lnTo>
                  <a:lnTo>
                    <a:pt x="79" y="5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0" y="10"/>
                  </a:lnTo>
                  <a:lnTo>
                    <a:pt x="70" y="12"/>
                  </a:lnTo>
                  <a:lnTo>
                    <a:pt x="70" y="16"/>
                  </a:lnTo>
                  <a:lnTo>
                    <a:pt x="70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9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7" y="27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81" y="29"/>
                  </a:lnTo>
                  <a:lnTo>
                    <a:pt x="83" y="30"/>
                  </a:lnTo>
                  <a:lnTo>
                    <a:pt x="88" y="34"/>
                  </a:lnTo>
                  <a:lnTo>
                    <a:pt x="90" y="3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5" y="41"/>
                  </a:lnTo>
                  <a:lnTo>
                    <a:pt x="95" y="41"/>
                  </a:lnTo>
                  <a:lnTo>
                    <a:pt x="95" y="41"/>
                  </a:lnTo>
                  <a:lnTo>
                    <a:pt x="95" y="41"/>
                  </a:lnTo>
                  <a:lnTo>
                    <a:pt x="95" y="41"/>
                  </a:lnTo>
                  <a:lnTo>
                    <a:pt x="95" y="43"/>
                  </a:lnTo>
                  <a:lnTo>
                    <a:pt x="95" y="43"/>
                  </a:lnTo>
                  <a:lnTo>
                    <a:pt x="95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7"/>
                  </a:lnTo>
                  <a:lnTo>
                    <a:pt x="92" y="50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3" y="54"/>
                  </a:lnTo>
                  <a:lnTo>
                    <a:pt x="81" y="54"/>
                  </a:lnTo>
                  <a:lnTo>
                    <a:pt x="79" y="52"/>
                  </a:lnTo>
                  <a:lnTo>
                    <a:pt x="77" y="52"/>
                  </a:lnTo>
                  <a:lnTo>
                    <a:pt x="75" y="48"/>
                  </a:lnTo>
                  <a:lnTo>
                    <a:pt x="74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6" y="47"/>
                  </a:lnTo>
                  <a:lnTo>
                    <a:pt x="65" y="47"/>
                  </a:lnTo>
                  <a:lnTo>
                    <a:pt x="65" y="48"/>
                  </a:lnTo>
                  <a:lnTo>
                    <a:pt x="63" y="48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2" y="45"/>
                  </a:lnTo>
                  <a:lnTo>
                    <a:pt x="50" y="45"/>
                  </a:lnTo>
                  <a:lnTo>
                    <a:pt x="48" y="43"/>
                  </a:lnTo>
                  <a:lnTo>
                    <a:pt x="47" y="41"/>
                  </a:lnTo>
                  <a:lnTo>
                    <a:pt x="45" y="39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7" y="38"/>
                  </a:lnTo>
                  <a:lnTo>
                    <a:pt x="43" y="36"/>
                  </a:lnTo>
                  <a:lnTo>
                    <a:pt x="36" y="34"/>
                  </a:lnTo>
                  <a:lnTo>
                    <a:pt x="36" y="32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0" y="32"/>
                  </a:lnTo>
                  <a:lnTo>
                    <a:pt x="30" y="30"/>
                  </a:lnTo>
                  <a:lnTo>
                    <a:pt x="27" y="30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3" y="30"/>
                  </a:lnTo>
                  <a:lnTo>
                    <a:pt x="16" y="36"/>
                  </a:lnTo>
                  <a:lnTo>
                    <a:pt x="10" y="39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7"/>
                  </a:lnTo>
                  <a:lnTo>
                    <a:pt x="14" y="47"/>
                  </a:lnTo>
                  <a:lnTo>
                    <a:pt x="16" y="47"/>
                  </a:lnTo>
                  <a:lnTo>
                    <a:pt x="18" y="47"/>
                  </a:lnTo>
                  <a:lnTo>
                    <a:pt x="19" y="48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19" y="52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21" y="57"/>
                  </a:lnTo>
                  <a:lnTo>
                    <a:pt x="21" y="59"/>
                  </a:lnTo>
                  <a:lnTo>
                    <a:pt x="25" y="59"/>
                  </a:lnTo>
                  <a:lnTo>
                    <a:pt x="27" y="59"/>
                  </a:lnTo>
                  <a:lnTo>
                    <a:pt x="28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2" y="57"/>
                  </a:lnTo>
                  <a:lnTo>
                    <a:pt x="32" y="59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6" y="65"/>
                  </a:lnTo>
                  <a:lnTo>
                    <a:pt x="38" y="66"/>
                  </a:lnTo>
                  <a:lnTo>
                    <a:pt x="38" y="68"/>
                  </a:lnTo>
                  <a:lnTo>
                    <a:pt x="39" y="68"/>
                  </a:lnTo>
                  <a:lnTo>
                    <a:pt x="39" y="68"/>
                  </a:lnTo>
                  <a:lnTo>
                    <a:pt x="41" y="68"/>
                  </a:lnTo>
                  <a:lnTo>
                    <a:pt x="41" y="70"/>
                  </a:lnTo>
                  <a:lnTo>
                    <a:pt x="39" y="72"/>
                  </a:lnTo>
                  <a:lnTo>
                    <a:pt x="39" y="74"/>
                  </a:lnTo>
                  <a:lnTo>
                    <a:pt x="34" y="75"/>
                  </a:lnTo>
                  <a:lnTo>
                    <a:pt x="32" y="77"/>
                  </a:lnTo>
                  <a:lnTo>
                    <a:pt x="30" y="79"/>
                  </a:lnTo>
                  <a:lnTo>
                    <a:pt x="30" y="81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30" y="85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2"/>
                  </a:lnTo>
                  <a:lnTo>
                    <a:pt x="36" y="92"/>
                  </a:lnTo>
                  <a:lnTo>
                    <a:pt x="36" y="94"/>
                  </a:lnTo>
                  <a:lnTo>
                    <a:pt x="38" y="95"/>
                  </a:lnTo>
                  <a:lnTo>
                    <a:pt x="39" y="99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4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9" y="108"/>
                  </a:lnTo>
                  <a:lnTo>
                    <a:pt x="59" y="110"/>
                  </a:lnTo>
                  <a:lnTo>
                    <a:pt x="59" y="112"/>
                  </a:lnTo>
                  <a:lnTo>
                    <a:pt x="59" y="112"/>
                  </a:lnTo>
                  <a:lnTo>
                    <a:pt x="59" y="112"/>
                  </a:lnTo>
                  <a:lnTo>
                    <a:pt x="59" y="115"/>
                  </a:lnTo>
                  <a:lnTo>
                    <a:pt x="59" y="117"/>
                  </a:lnTo>
                  <a:lnTo>
                    <a:pt x="57" y="119"/>
                  </a:lnTo>
                  <a:lnTo>
                    <a:pt x="56" y="119"/>
                  </a:lnTo>
                  <a:lnTo>
                    <a:pt x="56" y="121"/>
                  </a:lnTo>
                  <a:lnTo>
                    <a:pt x="56" y="122"/>
                  </a:lnTo>
                  <a:lnTo>
                    <a:pt x="56" y="124"/>
                  </a:lnTo>
                  <a:lnTo>
                    <a:pt x="54" y="124"/>
                  </a:lnTo>
                  <a:lnTo>
                    <a:pt x="52" y="124"/>
                  </a:lnTo>
                  <a:lnTo>
                    <a:pt x="43" y="122"/>
                  </a:lnTo>
                  <a:lnTo>
                    <a:pt x="39" y="126"/>
                  </a:lnTo>
                  <a:lnTo>
                    <a:pt x="39" y="126"/>
                  </a:lnTo>
                  <a:lnTo>
                    <a:pt x="39" y="126"/>
                  </a:lnTo>
                  <a:lnTo>
                    <a:pt x="41" y="128"/>
                  </a:lnTo>
                  <a:lnTo>
                    <a:pt x="47" y="128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54" y="137"/>
                  </a:lnTo>
                  <a:lnTo>
                    <a:pt x="56" y="139"/>
                  </a:lnTo>
                  <a:lnTo>
                    <a:pt x="57" y="139"/>
                  </a:lnTo>
                  <a:lnTo>
                    <a:pt x="59" y="140"/>
                  </a:lnTo>
                  <a:lnTo>
                    <a:pt x="61" y="140"/>
                  </a:lnTo>
                  <a:lnTo>
                    <a:pt x="63" y="146"/>
                  </a:lnTo>
                  <a:lnTo>
                    <a:pt x="65" y="146"/>
                  </a:lnTo>
                  <a:lnTo>
                    <a:pt x="66" y="148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0" y="151"/>
                  </a:lnTo>
                  <a:lnTo>
                    <a:pt x="70" y="151"/>
                  </a:lnTo>
                  <a:lnTo>
                    <a:pt x="72" y="151"/>
                  </a:lnTo>
                  <a:lnTo>
                    <a:pt x="74" y="151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79" y="150"/>
                  </a:lnTo>
                  <a:lnTo>
                    <a:pt x="81" y="151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84" y="153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88" y="155"/>
                  </a:lnTo>
                  <a:lnTo>
                    <a:pt x="86" y="155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6" y="159"/>
                  </a:lnTo>
                  <a:lnTo>
                    <a:pt x="86" y="159"/>
                  </a:lnTo>
                  <a:lnTo>
                    <a:pt x="86" y="159"/>
                  </a:lnTo>
                  <a:lnTo>
                    <a:pt x="86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1" y="160"/>
                  </a:lnTo>
                  <a:lnTo>
                    <a:pt x="79" y="162"/>
                  </a:lnTo>
                  <a:lnTo>
                    <a:pt x="79" y="164"/>
                  </a:lnTo>
                  <a:lnTo>
                    <a:pt x="79" y="166"/>
                  </a:lnTo>
                  <a:lnTo>
                    <a:pt x="81" y="166"/>
                  </a:lnTo>
                  <a:lnTo>
                    <a:pt x="84" y="168"/>
                  </a:lnTo>
                  <a:lnTo>
                    <a:pt x="86" y="169"/>
                  </a:lnTo>
                  <a:lnTo>
                    <a:pt x="86" y="169"/>
                  </a:lnTo>
                  <a:lnTo>
                    <a:pt x="86" y="171"/>
                  </a:lnTo>
                  <a:lnTo>
                    <a:pt x="86" y="171"/>
                  </a:lnTo>
                  <a:lnTo>
                    <a:pt x="88" y="173"/>
                  </a:lnTo>
                  <a:lnTo>
                    <a:pt x="90" y="175"/>
                  </a:lnTo>
                  <a:lnTo>
                    <a:pt x="90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0" y="177"/>
                  </a:lnTo>
                  <a:lnTo>
                    <a:pt x="90" y="177"/>
                  </a:lnTo>
                  <a:lnTo>
                    <a:pt x="88" y="178"/>
                  </a:lnTo>
                  <a:lnTo>
                    <a:pt x="86" y="178"/>
                  </a:lnTo>
                  <a:lnTo>
                    <a:pt x="84" y="177"/>
                  </a:lnTo>
                  <a:lnTo>
                    <a:pt x="83" y="177"/>
                  </a:lnTo>
                  <a:lnTo>
                    <a:pt x="81" y="177"/>
                  </a:lnTo>
                  <a:lnTo>
                    <a:pt x="81" y="178"/>
                  </a:lnTo>
                  <a:lnTo>
                    <a:pt x="83" y="180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6" y="184"/>
                  </a:lnTo>
                  <a:lnTo>
                    <a:pt x="86" y="186"/>
                  </a:lnTo>
                  <a:lnTo>
                    <a:pt x="86" y="187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3"/>
                  </a:lnTo>
                  <a:lnTo>
                    <a:pt x="84" y="193"/>
                  </a:lnTo>
                  <a:lnTo>
                    <a:pt x="86" y="196"/>
                  </a:lnTo>
                  <a:lnTo>
                    <a:pt x="88" y="196"/>
                  </a:lnTo>
                  <a:lnTo>
                    <a:pt x="88" y="196"/>
                  </a:lnTo>
                  <a:lnTo>
                    <a:pt x="90" y="196"/>
                  </a:lnTo>
                  <a:lnTo>
                    <a:pt x="90" y="195"/>
                  </a:lnTo>
                  <a:lnTo>
                    <a:pt x="92" y="195"/>
                  </a:lnTo>
                  <a:lnTo>
                    <a:pt x="92" y="195"/>
                  </a:lnTo>
                  <a:lnTo>
                    <a:pt x="93" y="191"/>
                  </a:lnTo>
                  <a:lnTo>
                    <a:pt x="93" y="189"/>
                  </a:lnTo>
                  <a:lnTo>
                    <a:pt x="95" y="189"/>
                  </a:lnTo>
                  <a:lnTo>
                    <a:pt x="97" y="187"/>
                  </a:lnTo>
                  <a:lnTo>
                    <a:pt x="99" y="187"/>
                  </a:lnTo>
                  <a:lnTo>
                    <a:pt x="99" y="186"/>
                  </a:lnTo>
                  <a:lnTo>
                    <a:pt x="99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2"/>
                  </a:lnTo>
                  <a:lnTo>
                    <a:pt x="103" y="180"/>
                  </a:lnTo>
                  <a:lnTo>
                    <a:pt x="104" y="180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6" y="178"/>
                  </a:lnTo>
                  <a:lnTo>
                    <a:pt x="108" y="178"/>
                  </a:lnTo>
                  <a:lnTo>
                    <a:pt x="108" y="180"/>
                  </a:lnTo>
                  <a:lnTo>
                    <a:pt x="108" y="178"/>
                  </a:lnTo>
                  <a:lnTo>
                    <a:pt x="112" y="178"/>
                  </a:lnTo>
                  <a:lnTo>
                    <a:pt x="112" y="177"/>
                  </a:lnTo>
                  <a:lnTo>
                    <a:pt x="113" y="177"/>
                  </a:lnTo>
                  <a:lnTo>
                    <a:pt x="113" y="177"/>
                  </a:lnTo>
                  <a:lnTo>
                    <a:pt x="113" y="173"/>
                  </a:lnTo>
                  <a:lnTo>
                    <a:pt x="115" y="171"/>
                  </a:lnTo>
                  <a:lnTo>
                    <a:pt x="115" y="169"/>
                  </a:lnTo>
                  <a:lnTo>
                    <a:pt x="115" y="169"/>
                  </a:lnTo>
                  <a:lnTo>
                    <a:pt x="119" y="168"/>
                  </a:lnTo>
                  <a:lnTo>
                    <a:pt x="124" y="166"/>
                  </a:lnTo>
                  <a:lnTo>
                    <a:pt x="124" y="166"/>
                  </a:lnTo>
                  <a:lnTo>
                    <a:pt x="126" y="166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30" y="160"/>
                  </a:lnTo>
                  <a:lnTo>
                    <a:pt x="131" y="159"/>
                  </a:lnTo>
                  <a:lnTo>
                    <a:pt x="133" y="159"/>
                  </a:lnTo>
                  <a:lnTo>
                    <a:pt x="137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40" y="153"/>
                  </a:lnTo>
                  <a:lnTo>
                    <a:pt x="142" y="153"/>
                  </a:lnTo>
                  <a:lnTo>
                    <a:pt x="148" y="150"/>
                  </a:lnTo>
                  <a:lnTo>
                    <a:pt x="151" y="148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3" y="146"/>
                  </a:lnTo>
                  <a:lnTo>
                    <a:pt x="157" y="146"/>
                  </a:lnTo>
                  <a:lnTo>
                    <a:pt x="159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0" y="144"/>
                  </a:lnTo>
                  <a:lnTo>
                    <a:pt x="160" y="144"/>
                  </a:lnTo>
                  <a:lnTo>
                    <a:pt x="164" y="148"/>
                  </a:lnTo>
                  <a:lnTo>
                    <a:pt x="171" y="159"/>
                  </a:lnTo>
                  <a:lnTo>
                    <a:pt x="175" y="160"/>
                  </a:lnTo>
                  <a:lnTo>
                    <a:pt x="177" y="162"/>
                  </a:lnTo>
                  <a:lnTo>
                    <a:pt x="178" y="166"/>
                  </a:lnTo>
                  <a:lnTo>
                    <a:pt x="177" y="166"/>
                  </a:lnTo>
                  <a:lnTo>
                    <a:pt x="177" y="166"/>
                  </a:lnTo>
                  <a:lnTo>
                    <a:pt x="173" y="168"/>
                  </a:lnTo>
                  <a:lnTo>
                    <a:pt x="171" y="168"/>
                  </a:lnTo>
                  <a:lnTo>
                    <a:pt x="169" y="169"/>
                  </a:lnTo>
                  <a:lnTo>
                    <a:pt x="168" y="171"/>
                  </a:lnTo>
                  <a:lnTo>
                    <a:pt x="166" y="173"/>
                  </a:lnTo>
                  <a:lnTo>
                    <a:pt x="166" y="175"/>
                  </a:lnTo>
                  <a:lnTo>
                    <a:pt x="168" y="177"/>
                  </a:lnTo>
                  <a:lnTo>
                    <a:pt x="168" y="178"/>
                  </a:lnTo>
                  <a:lnTo>
                    <a:pt x="171" y="180"/>
                  </a:lnTo>
                  <a:lnTo>
                    <a:pt x="173" y="182"/>
                  </a:lnTo>
                  <a:lnTo>
                    <a:pt x="175" y="182"/>
                  </a:lnTo>
                  <a:lnTo>
                    <a:pt x="177" y="186"/>
                  </a:lnTo>
                  <a:lnTo>
                    <a:pt x="177" y="187"/>
                  </a:lnTo>
                  <a:lnTo>
                    <a:pt x="177" y="187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3" y="191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5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0" y="198"/>
                  </a:lnTo>
                  <a:lnTo>
                    <a:pt x="162" y="200"/>
                  </a:lnTo>
                  <a:lnTo>
                    <a:pt x="166" y="204"/>
                  </a:lnTo>
                  <a:lnTo>
                    <a:pt x="171" y="207"/>
                  </a:lnTo>
                  <a:lnTo>
                    <a:pt x="173" y="207"/>
                  </a:lnTo>
                  <a:lnTo>
                    <a:pt x="173" y="207"/>
                  </a:lnTo>
                  <a:lnTo>
                    <a:pt x="173" y="209"/>
                  </a:lnTo>
                  <a:lnTo>
                    <a:pt x="173" y="211"/>
                  </a:lnTo>
                  <a:lnTo>
                    <a:pt x="173" y="211"/>
                  </a:lnTo>
                  <a:lnTo>
                    <a:pt x="175" y="213"/>
                  </a:lnTo>
                  <a:lnTo>
                    <a:pt x="175" y="215"/>
                  </a:lnTo>
                  <a:lnTo>
                    <a:pt x="177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6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6" y="220"/>
                  </a:lnTo>
                  <a:lnTo>
                    <a:pt x="186" y="222"/>
                  </a:lnTo>
                  <a:lnTo>
                    <a:pt x="187" y="222"/>
                  </a:lnTo>
                  <a:lnTo>
                    <a:pt x="187" y="224"/>
                  </a:lnTo>
                  <a:lnTo>
                    <a:pt x="189" y="224"/>
                  </a:lnTo>
                  <a:lnTo>
                    <a:pt x="189" y="227"/>
                  </a:lnTo>
                  <a:lnTo>
                    <a:pt x="191" y="229"/>
                  </a:lnTo>
                  <a:lnTo>
                    <a:pt x="191" y="229"/>
                  </a:lnTo>
                  <a:lnTo>
                    <a:pt x="195" y="229"/>
                  </a:lnTo>
                  <a:lnTo>
                    <a:pt x="195" y="227"/>
                  </a:lnTo>
                  <a:lnTo>
                    <a:pt x="196" y="227"/>
                  </a:lnTo>
                  <a:lnTo>
                    <a:pt x="198" y="227"/>
                  </a:lnTo>
                  <a:lnTo>
                    <a:pt x="198" y="225"/>
                  </a:lnTo>
                  <a:lnTo>
                    <a:pt x="200" y="225"/>
                  </a:lnTo>
                  <a:lnTo>
                    <a:pt x="202" y="225"/>
                  </a:lnTo>
                  <a:lnTo>
                    <a:pt x="205" y="225"/>
                  </a:lnTo>
                  <a:lnTo>
                    <a:pt x="205" y="225"/>
                  </a:lnTo>
                  <a:lnTo>
                    <a:pt x="204" y="215"/>
                  </a:lnTo>
                  <a:lnTo>
                    <a:pt x="204" y="206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02" y="200"/>
                  </a:lnTo>
                  <a:lnTo>
                    <a:pt x="202" y="198"/>
                  </a:lnTo>
                  <a:lnTo>
                    <a:pt x="204" y="198"/>
                  </a:lnTo>
                  <a:lnTo>
                    <a:pt x="205" y="196"/>
                  </a:lnTo>
                  <a:lnTo>
                    <a:pt x="205" y="196"/>
                  </a:lnTo>
                  <a:lnTo>
                    <a:pt x="207" y="195"/>
                  </a:lnTo>
                  <a:lnTo>
                    <a:pt x="207" y="193"/>
                  </a:lnTo>
                  <a:lnTo>
                    <a:pt x="209" y="189"/>
                  </a:lnTo>
                  <a:lnTo>
                    <a:pt x="209" y="187"/>
                  </a:lnTo>
                  <a:lnTo>
                    <a:pt x="207" y="186"/>
                  </a:lnTo>
                  <a:lnTo>
                    <a:pt x="207" y="184"/>
                  </a:lnTo>
                  <a:lnTo>
                    <a:pt x="207" y="182"/>
                  </a:lnTo>
                  <a:lnTo>
                    <a:pt x="207" y="182"/>
                  </a:lnTo>
                  <a:lnTo>
                    <a:pt x="207" y="182"/>
                  </a:lnTo>
                  <a:lnTo>
                    <a:pt x="209" y="182"/>
                  </a:lnTo>
                  <a:lnTo>
                    <a:pt x="209" y="180"/>
                  </a:lnTo>
                  <a:lnTo>
                    <a:pt x="209" y="180"/>
                  </a:lnTo>
                  <a:lnTo>
                    <a:pt x="209" y="180"/>
                  </a:lnTo>
                  <a:lnTo>
                    <a:pt x="209" y="178"/>
                  </a:lnTo>
                  <a:lnTo>
                    <a:pt x="209" y="178"/>
                  </a:lnTo>
                  <a:lnTo>
                    <a:pt x="209" y="178"/>
                  </a:lnTo>
                  <a:lnTo>
                    <a:pt x="211" y="178"/>
                  </a:lnTo>
                  <a:lnTo>
                    <a:pt x="213" y="177"/>
                  </a:lnTo>
                  <a:lnTo>
                    <a:pt x="213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6" y="182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6"/>
                  </a:lnTo>
                  <a:lnTo>
                    <a:pt x="218" y="187"/>
                  </a:lnTo>
                  <a:lnTo>
                    <a:pt x="218" y="187"/>
                  </a:lnTo>
                  <a:lnTo>
                    <a:pt x="216" y="187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91"/>
                  </a:lnTo>
                  <a:lnTo>
                    <a:pt x="214" y="191"/>
                  </a:lnTo>
                  <a:lnTo>
                    <a:pt x="216" y="191"/>
                  </a:lnTo>
                  <a:lnTo>
                    <a:pt x="220" y="189"/>
                  </a:lnTo>
                  <a:lnTo>
                    <a:pt x="222" y="187"/>
                  </a:lnTo>
                  <a:lnTo>
                    <a:pt x="222" y="186"/>
                  </a:lnTo>
                  <a:lnTo>
                    <a:pt x="222" y="184"/>
                  </a:lnTo>
                  <a:lnTo>
                    <a:pt x="222" y="182"/>
                  </a:lnTo>
                  <a:lnTo>
                    <a:pt x="222" y="180"/>
                  </a:lnTo>
                  <a:lnTo>
                    <a:pt x="224" y="180"/>
                  </a:lnTo>
                  <a:lnTo>
                    <a:pt x="224" y="178"/>
                  </a:lnTo>
                  <a:lnTo>
                    <a:pt x="224" y="171"/>
                  </a:lnTo>
                  <a:lnTo>
                    <a:pt x="224" y="169"/>
                  </a:lnTo>
                  <a:lnTo>
                    <a:pt x="225" y="168"/>
                  </a:lnTo>
                  <a:lnTo>
                    <a:pt x="227" y="168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69"/>
                  </a:lnTo>
                  <a:lnTo>
                    <a:pt x="231" y="169"/>
                  </a:lnTo>
                  <a:lnTo>
                    <a:pt x="229" y="168"/>
                  </a:lnTo>
                  <a:lnTo>
                    <a:pt x="229" y="168"/>
                  </a:lnTo>
                  <a:lnTo>
                    <a:pt x="229" y="168"/>
                  </a:lnTo>
                  <a:lnTo>
                    <a:pt x="231" y="168"/>
                  </a:lnTo>
                  <a:lnTo>
                    <a:pt x="231" y="168"/>
                  </a:lnTo>
                  <a:lnTo>
                    <a:pt x="231" y="168"/>
                  </a:lnTo>
                  <a:lnTo>
                    <a:pt x="231" y="169"/>
                  </a:lnTo>
                  <a:lnTo>
                    <a:pt x="231" y="168"/>
                  </a:lnTo>
                  <a:lnTo>
                    <a:pt x="231" y="168"/>
                  </a:lnTo>
                  <a:lnTo>
                    <a:pt x="231" y="166"/>
                  </a:lnTo>
                  <a:lnTo>
                    <a:pt x="231" y="166"/>
                  </a:lnTo>
                  <a:lnTo>
                    <a:pt x="231" y="164"/>
                  </a:lnTo>
                  <a:lnTo>
                    <a:pt x="231" y="164"/>
                  </a:lnTo>
                  <a:lnTo>
                    <a:pt x="231" y="164"/>
                  </a:lnTo>
                  <a:lnTo>
                    <a:pt x="225" y="159"/>
                  </a:lnTo>
                  <a:lnTo>
                    <a:pt x="225" y="159"/>
                  </a:lnTo>
                  <a:lnTo>
                    <a:pt x="225" y="157"/>
                  </a:lnTo>
                  <a:lnTo>
                    <a:pt x="225" y="155"/>
                  </a:lnTo>
                  <a:lnTo>
                    <a:pt x="225" y="153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0"/>
                  </a:lnTo>
                  <a:lnTo>
                    <a:pt x="227" y="148"/>
                  </a:lnTo>
                  <a:lnTo>
                    <a:pt x="229" y="146"/>
                  </a:lnTo>
                  <a:lnTo>
                    <a:pt x="231" y="146"/>
                  </a:lnTo>
                  <a:lnTo>
                    <a:pt x="231" y="144"/>
                  </a:lnTo>
                  <a:lnTo>
                    <a:pt x="233" y="144"/>
                  </a:lnTo>
                  <a:lnTo>
                    <a:pt x="233" y="144"/>
                  </a:lnTo>
                  <a:lnTo>
                    <a:pt x="231" y="142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1" y="139"/>
                  </a:lnTo>
                  <a:lnTo>
                    <a:pt x="231" y="139"/>
                  </a:lnTo>
                  <a:lnTo>
                    <a:pt x="231" y="139"/>
                  </a:lnTo>
                  <a:lnTo>
                    <a:pt x="233" y="137"/>
                  </a:lnTo>
                  <a:lnTo>
                    <a:pt x="233" y="137"/>
                  </a:lnTo>
                  <a:lnTo>
                    <a:pt x="233" y="137"/>
                  </a:lnTo>
                  <a:lnTo>
                    <a:pt x="233" y="137"/>
                  </a:lnTo>
                  <a:lnTo>
                    <a:pt x="233" y="137"/>
                  </a:lnTo>
                  <a:lnTo>
                    <a:pt x="233" y="135"/>
                  </a:lnTo>
                  <a:lnTo>
                    <a:pt x="233" y="135"/>
                  </a:lnTo>
                  <a:lnTo>
                    <a:pt x="233" y="135"/>
                  </a:lnTo>
                  <a:lnTo>
                    <a:pt x="233" y="135"/>
                  </a:lnTo>
                  <a:lnTo>
                    <a:pt x="233" y="133"/>
                  </a:lnTo>
                  <a:lnTo>
                    <a:pt x="233" y="133"/>
                  </a:lnTo>
                  <a:lnTo>
                    <a:pt x="233" y="133"/>
                  </a:lnTo>
                  <a:lnTo>
                    <a:pt x="233" y="131"/>
                  </a:lnTo>
                  <a:lnTo>
                    <a:pt x="233" y="130"/>
                  </a:lnTo>
                  <a:lnTo>
                    <a:pt x="233" y="130"/>
                  </a:lnTo>
                  <a:lnTo>
                    <a:pt x="233" y="128"/>
                  </a:lnTo>
                  <a:lnTo>
                    <a:pt x="233" y="128"/>
                  </a:lnTo>
                  <a:lnTo>
                    <a:pt x="233" y="128"/>
                  </a:lnTo>
                  <a:lnTo>
                    <a:pt x="234" y="128"/>
                  </a:lnTo>
                  <a:lnTo>
                    <a:pt x="234" y="126"/>
                  </a:lnTo>
                  <a:lnTo>
                    <a:pt x="234" y="126"/>
                  </a:lnTo>
                  <a:lnTo>
                    <a:pt x="236" y="126"/>
                  </a:lnTo>
                  <a:lnTo>
                    <a:pt x="234" y="124"/>
                  </a:lnTo>
                  <a:lnTo>
                    <a:pt x="234" y="124"/>
                  </a:lnTo>
                  <a:lnTo>
                    <a:pt x="234" y="124"/>
                  </a:lnTo>
                  <a:lnTo>
                    <a:pt x="234" y="124"/>
                  </a:lnTo>
                  <a:lnTo>
                    <a:pt x="233" y="122"/>
                  </a:lnTo>
                  <a:lnTo>
                    <a:pt x="233" y="121"/>
                  </a:lnTo>
                  <a:lnTo>
                    <a:pt x="233" y="121"/>
                  </a:lnTo>
                  <a:lnTo>
                    <a:pt x="236" y="119"/>
                  </a:lnTo>
                  <a:lnTo>
                    <a:pt x="236" y="119"/>
                  </a:lnTo>
                  <a:lnTo>
                    <a:pt x="236" y="117"/>
                  </a:lnTo>
                  <a:lnTo>
                    <a:pt x="236" y="115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3" y="110"/>
                  </a:lnTo>
                  <a:lnTo>
                    <a:pt x="247" y="108"/>
                  </a:lnTo>
                  <a:lnTo>
                    <a:pt x="251" y="106"/>
                  </a:lnTo>
                  <a:lnTo>
                    <a:pt x="252" y="106"/>
                  </a:lnTo>
                  <a:lnTo>
                    <a:pt x="254" y="104"/>
                  </a:lnTo>
                  <a:lnTo>
                    <a:pt x="252" y="103"/>
                  </a:lnTo>
                  <a:lnTo>
                    <a:pt x="254" y="101"/>
                  </a:lnTo>
                  <a:lnTo>
                    <a:pt x="256" y="101"/>
                  </a:lnTo>
                  <a:lnTo>
                    <a:pt x="258" y="101"/>
                  </a:lnTo>
                  <a:lnTo>
                    <a:pt x="258" y="103"/>
                  </a:lnTo>
                  <a:lnTo>
                    <a:pt x="260" y="103"/>
                  </a:lnTo>
                  <a:lnTo>
                    <a:pt x="260" y="103"/>
                  </a:lnTo>
                  <a:lnTo>
                    <a:pt x="260" y="103"/>
                  </a:lnTo>
                  <a:lnTo>
                    <a:pt x="260" y="104"/>
                  </a:lnTo>
                  <a:lnTo>
                    <a:pt x="261" y="104"/>
                  </a:lnTo>
                  <a:lnTo>
                    <a:pt x="263" y="103"/>
                  </a:lnTo>
                  <a:lnTo>
                    <a:pt x="263" y="103"/>
                  </a:lnTo>
                  <a:lnTo>
                    <a:pt x="265" y="103"/>
                  </a:lnTo>
                  <a:lnTo>
                    <a:pt x="267" y="103"/>
                  </a:lnTo>
                  <a:lnTo>
                    <a:pt x="267" y="101"/>
                  </a:lnTo>
                  <a:lnTo>
                    <a:pt x="267" y="101"/>
                  </a:lnTo>
                  <a:lnTo>
                    <a:pt x="269" y="101"/>
                  </a:lnTo>
                  <a:lnTo>
                    <a:pt x="270" y="103"/>
                  </a:lnTo>
                  <a:lnTo>
                    <a:pt x="272" y="103"/>
                  </a:lnTo>
                  <a:lnTo>
                    <a:pt x="274" y="103"/>
                  </a:lnTo>
                  <a:lnTo>
                    <a:pt x="274" y="104"/>
                  </a:lnTo>
                  <a:lnTo>
                    <a:pt x="278" y="106"/>
                  </a:lnTo>
                  <a:lnTo>
                    <a:pt x="278" y="106"/>
                  </a:lnTo>
                  <a:lnTo>
                    <a:pt x="279" y="108"/>
                  </a:lnTo>
                  <a:lnTo>
                    <a:pt x="281" y="110"/>
                  </a:lnTo>
                  <a:lnTo>
                    <a:pt x="281" y="110"/>
                  </a:lnTo>
                  <a:lnTo>
                    <a:pt x="281" y="108"/>
                  </a:lnTo>
                  <a:lnTo>
                    <a:pt x="279" y="106"/>
                  </a:lnTo>
                  <a:close/>
                  <a:moveTo>
                    <a:pt x="38" y="85"/>
                  </a:moveTo>
                  <a:lnTo>
                    <a:pt x="36" y="86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1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9" y="83"/>
                  </a:lnTo>
                  <a:lnTo>
                    <a:pt x="38" y="85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585DCE9E-6AAE-E4E8-A9D5-E51B62F92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6350" y="4125913"/>
              <a:ext cx="604838" cy="309563"/>
            </a:xfrm>
            <a:custGeom>
              <a:avLst/>
              <a:gdLst>
                <a:gd name="T0" fmla="*/ 372 w 381"/>
                <a:gd name="T1" fmla="*/ 63 h 195"/>
                <a:gd name="T2" fmla="*/ 369 w 381"/>
                <a:gd name="T3" fmla="*/ 52 h 195"/>
                <a:gd name="T4" fmla="*/ 370 w 381"/>
                <a:gd name="T5" fmla="*/ 38 h 195"/>
                <a:gd name="T6" fmla="*/ 358 w 381"/>
                <a:gd name="T7" fmla="*/ 22 h 195"/>
                <a:gd name="T8" fmla="*/ 342 w 381"/>
                <a:gd name="T9" fmla="*/ 22 h 195"/>
                <a:gd name="T10" fmla="*/ 316 w 381"/>
                <a:gd name="T11" fmla="*/ 13 h 195"/>
                <a:gd name="T12" fmla="*/ 293 w 381"/>
                <a:gd name="T13" fmla="*/ 4 h 195"/>
                <a:gd name="T14" fmla="*/ 277 w 381"/>
                <a:gd name="T15" fmla="*/ 2 h 195"/>
                <a:gd name="T16" fmla="*/ 271 w 381"/>
                <a:gd name="T17" fmla="*/ 20 h 195"/>
                <a:gd name="T18" fmla="*/ 257 w 381"/>
                <a:gd name="T19" fmla="*/ 33 h 195"/>
                <a:gd name="T20" fmla="*/ 242 w 381"/>
                <a:gd name="T21" fmla="*/ 34 h 195"/>
                <a:gd name="T22" fmla="*/ 226 w 381"/>
                <a:gd name="T23" fmla="*/ 27 h 195"/>
                <a:gd name="T24" fmla="*/ 215 w 381"/>
                <a:gd name="T25" fmla="*/ 25 h 195"/>
                <a:gd name="T26" fmla="*/ 206 w 381"/>
                <a:gd name="T27" fmla="*/ 34 h 195"/>
                <a:gd name="T28" fmla="*/ 195 w 381"/>
                <a:gd name="T29" fmla="*/ 45 h 195"/>
                <a:gd name="T30" fmla="*/ 163 w 381"/>
                <a:gd name="T31" fmla="*/ 67 h 195"/>
                <a:gd name="T32" fmla="*/ 170 w 381"/>
                <a:gd name="T33" fmla="*/ 81 h 195"/>
                <a:gd name="T34" fmla="*/ 174 w 381"/>
                <a:gd name="T35" fmla="*/ 98 h 195"/>
                <a:gd name="T36" fmla="*/ 175 w 381"/>
                <a:gd name="T37" fmla="*/ 110 h 195"/>
                <a:gd name="T38" fmla="*/ 166 w 381"/>
                <a:gd name="T39" fmla="*/ 112 h 195"/>
                <a:gd name="T40" fmla="*/ 152 w 381"/>
                <a:gd name="T41" fmla="*/ 103 h 195"/>
                <a:gd name="T42" fmla="*/ 136 w 381"/>
                <a:gd name="T43" fmla="*/ 99 h 195"/>
                <a:gd name="T44" fmla="*/ 134 w 381"/>
                <a:gd name="T45" fmla="*/ 103 h 195"/>
                <a:gd name="T46" fmla="*/ 101 w 381"/>
                <a:gd name="T47" fmla="*/ 112 h 195"/>
                <a:gd name="T48" fmla="*/ 85 w 381"/>
                <a:gd name="T49" fmla="*/ 121 h 195"/>
                <a:gd name="T50" fmla="*/ 69 w 381"/>
                <a:gd name="T51" fmla="*/ 112 h 195"/>
                <a:gd name="T52" fmla="*/ 47 w 381"/>
                <a:gd name="T53" fmla="*/ 110 h 195"/>
                <a:gd name="T54" fmla="*/ 45 w 381"/>
                <a:gd name="T55" fmla="*/ 116 h 195"/>
                <a:gd name="T56" fmla="*/ 31 w 381"/>
                <a:gd name="T57" fmla="*/ 130 h 195"/>
                <a:gd name="T58" fmla="*/ 29 w 381"/>
                <a:gd name="T59" fmla="*/ 125 h 195"/>
                <a:gd name="T60" fmla="*/ 24 w 381"/>
                <a:gd name="T61" fmla="*/ 114 h 195"/>
                <a:gd name="T62" fmla="*/ 13 w 381"/>
                <a:gd name="T63" fmla="*/ 107 h 195"/>
                <a:gd name="T64" fmla="*/ 4 w 381"/>
                <a:gd name="T65" fmla="*/ 125 h 195"/>
                <a:gd name="T66" fmla="*/ 2 w 381"/>
                <a:gd name="T67" fmla="*/ 146 h 195"/>
                <a:gd name="T68" fmla="*/ 27 w 381"/>
                <a:gd name="T69" fmla="*/ 161 h 195"/>
                <a:gd name="T70" fmla="*/ 42 w 381"/>
                <a:gd name="T71" fmla="*/ 152 h 195"/>
                <a:gd name="T72" fmla="*/ 62 w 381"/>
                <a:gd name="T73" fmla="*/ 164 h 195"/>
                <a:gd name="T74" fmla="*/ 73 w 381"/>
                <a:gd name="T75" fmla="*/ 168 h 195"/>
                <a:gd name="T76" fmla="*/ 91 w 381"/>
                <a:gd name="T77" fmla="*/ 152 h 195"/>
                <a:gd name="T78" fmla="*/ 101 w 381"/>
                <a:gd name="T79" fmla="*/ 152 h 195"/>
                <a:gd name="T80" fmla="*/ 125 w 381"/>
                <a:gd name="T81" fmla="*/ 148 h 195"/>
                <a:gd name="T82" fmla="*/ 132 w 381"/>
                <a:gd name="T83" fmla="*/ 157 h 195"/>
                <a:gd name="T84" fmla="*/ 141 w 381"/>
                <a:gd name="T85" fmla="*/ 168 h 195"/>
                <a:gd name="T86" fmla="*/ 161 w 381"/>
                <a:gd name="T87" fmla="*/ 177 h 195"/>
                <a:gd name="T88" fmla="*/ 208 w 381"/>
                <a:gd name="T89" fmla="*/ 186 h 195"/>
                <a:gd name="T90" fmla="*/ 242 w 381"/>
                <a:gd name="T91" fmla="*/ 192 h 195"/>
                <a:gd name="T92" fmla="*/ 255 w 381"/>
                <a:gd name="T93" fmla="*/ 192 h 195"/>
                <a:gd name="T94" fmla="*/ 264 w 381"/>
                <a:gd name="T95" fmla="*/ 184 h 195"/>
                <a:gd name="T96" fmla="*/ 284 w 381"/>
                <a:gd name="T97" fmla="*/ 177 h 195"/>
                <a:gd name="T98" fmla="*/ 305 w 381"/>
                <a:gd name="T99" fmla="*/ 173 h 195"/>
                <a:gd name="T100" fmla="*/ 325 w 381"/>
                <a:gd name="T101" fmla="*/ 175 h 195"/>
                <a:gd name="T102" fmla="*/ 329 w 381"/>
                <a:gd name="T103" fmla="*/ 161 h 195"/>
                <a:gd name="T104" fmla="*/ 343 w 381"/>
                <a:gd name="T105" fmla="*/ 150 h 195"/>
                <a:gd name="T106" fmla="*/ 349 w 381"/>
                <a:gd name="T107" fmla="*/ 146 h 195"/>
                <a:gd name="T108" fmla="*/ 345 w 381"/>
                <a:gd name="T109" fmla="*/ 137 h 195"/>
                <a:gd name="T110" fmla="*/ 345 w 381"/>
                <a:gd name="T111" fmla="*/ 125 h 195"/>
                <a:gd name="T112" fmla="*/ 356 w 381"/>
                <a:gd name="T113" fmla="*/ 107 h 195"/>
                <a:gd name="T114" fmla="*/ 351 w 381"/>
                <a:gd name="T115" fmla="*/ 98 h 195"/>
                <a:gd name="T116" fmla="*/ 369 w 381"/>
                <a:gd name="T117" fmla="*/ 101 h 195"/>
                <a:gd name="T118" fmla="*/ 378 w 381"/>
                <a:gd name="T119" fmla="*/ 8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1" h="195">
                  <a:moveTo>
                    <a:pt x="381" y="76"/>
                  </a:moveTo>
                  <a:lnTo>
                    <a:pt x="381" y="76"/>
                  </a:lnTo>
                  <a:lnTo>
                    <a:pt x="380" y="74"/>
                  </a:lnTo>
                  <a:lnTo>
                    <a:pt x="378" y="74"/>
                  </a:lnTo>
                  <a:lnTo>
                    <a:pt x="378" y="72"/>
                  </a:lnTo>
                  <a:lnTo>
                    <a:pt x="378" y="72"/>
                  </a:lnTo>
                  <a:lnTo>
                    <a:pt x="378" y="72"/>
                  </a:lnTo>
                  <a:lnTo>
                    <a:pt x="378" y="70"/>
                  </a:lnTo>
                  <a:lnTo>
                    <a:pt x="378" y="70"/>
                  </a:lnTo>
                  <a:lnTo>
                    <a:pt x="378" y="69"/>
                  </a:lnTo>
                  <a:lnTo>
                    <a:pt x="378" y="69"/>
                  </a:lnTo>
                  <a:lnTo>
                    <a:pt x="378" y="69"/>
                  </a:lnTo>
                  <a:lnTo>
                    <a:pt x="376" y="67"/>
                  </a:lnTo>
                  <a:lnTo>
                    <a:pt x="376" y="67"/>
                  </a:lnTo>
                  <a:lnTo>
                    <a:pt x="376" y="67"/>
                  </a:lnTo>
                  <a:lnTo>
                    <a:pt x="374" y="67"/>
                  </a:lnTo>
                  <a:lnTo>
                    <a:pt x="374" y="65"/>
                  </a:lnTo>
                  <a:lnTo>
                    <a:pt x="372" y="63"/>
                  </a:lnTo>
                  <a:lnTo>
                    <a:pt x="372" y="61"/>
                  </a:lnTo>
                  <a:lnTo>
                    <a:pt x="372" y="61"/>
                  </a:lnTo>
                  <a:lnTo>
                    <a:pt x="372" y="58"/>
                  </a:lnTo>
                  <a:lnTo>
                    <a:pt x="372" y="58"/>
                  </a:lnTo>
                  <a:lnTo>
                    <a:pt x="372" y="56"/>
                  </a:lnTo>
                  <a:lnTo>
                    <a:pt x="372" y="56"/>
                  </a:lnTo>
                  <a:lnTo>
                    <a:pt x="372" y="56"/>
                  </a:lnTo>
                  <a:lnTo>
                    <a:pt x="372" y="56"/>
                  </a:lnTo>
                  <a:lnTo>
                    <a:pt x="370" y="56"/>
                  </a:lnTo>
                  <a:lnTo>
                    <a:pt x="370" y="56"/>
                  </a:lnTo>
                  <a:lnTo>
                    <a:pt x="370" y="54"/>
                  </a:lnTo>
                  <a:lnTo>
                    <a:pt x="370" y="54"/>
                  </a:lnTo>
                  <a:lnTo>
                    <a:pt x="370" y="54"/>
                  </a:lnTo>
                  <a:lnTo>
                    <a:pt x="370" y="54"/>
                  </a:lnTo>
                  <a:lnTo>
                    <a:pt x="369" y="54"/>
                  </a:lnTo>
                  <a:lnTo>
                    <a:pt x="369" y="52"/>
                  </a:lnTo>
                  <a:lnTo>
                    <a:pt x="369" y="52"/>
                  </a:lnTo>
                  <a:lnTo>
                    <a:pt x="369" y="52"/>
                  </a:lnTo>
                  <a:lnTo>
                    <a:pt x="369" y="52"/>
                  </a:lnTo>
                  <a:lnTo>
                    <a:pt x="370" y="52"/>
                  </a:lnTo>
                  <a:lnTo>
                    <a:pt x="369" y="51"/>
                  </a:lnTo>
                  <a:lnTo>
                    <a:pt x="369" y="51"/>
                  </a:lnTo>
                  <a:lnTo>
                    <a:pt x="369" y="51"/>
                  </a:lnTo>
                  <a:lnTo>
                    <a:pt x="369" y="51"/>
                  </a:lnTo>
                  <a:lnTo>
                    <a:pt x="367" y="51"/>
                  </a:lnTo>
                  <a:lnTo>
                    <a:pt x="367" y="51"/>
                  </a:lnTo>
                  <a:lnTo>
                    <a:pt x="367" y="49"/>
                  </a:lnTo>
                  <a:lnTo>
                    <a:pt x="367" y="49"/>
                  </a:lnTo>
                  <a:lnTo>
                    <a:pt x="367" y="49"/>
                  </a:lnTo>
                  <a:lnTo>
                    <a:pt x="367" y="49"/>
                  </a:lnTo>
                  <a:lnTo>
                    <a:pt x="367" y="47"/>
                  </a:lnTo>
                  <a:lnTo>
                    <a:pt x="367" y="43"/>
                  </a:lnTo>
                  <a:lnTo>
                    <a:pt x="367" y="42"/>
                  </a:lnTo>
                  <a:lnTo>
                    <a:pt x="369" y="42"/>
                  </a:lnTo>
                  <a:lnTo>
                    <a:pt x="369" y="40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34"/>
                  </a:lnTo>
                  <a:lnTo>
                    <a:pt x="372" y="31"/>
                  </a:lnTo>
                  <a:lnTo>
                    <a:pt x="370" y="29"/>
                  </a:lnTo>
                  <a:lnTo>
                    <a:pt x="369" y="24"/>
                  </a:lnTo>
                  <a:lnTo>
                    <a:pt x="369" y="24"/>
                  </a:lnTo>
                  <a:lnTo>
                    <a:pt x="367" y="24"/>
                  </a:lnTo>
                  <a:lnTo>
                    <a:pt x="365" y="24"/>
                  </a:lnTo>
                  <a:lnTo>
                    <a:pt x="365" y="24"/>
                  </a:lnTo>
                  <a:lnTo>
                    <a:pt x="363" y="24"/>
                  </a:lnTo>
                  <a:lnTo>
                    <a:pt x="361" y="22"/>
                  </a:lnTo>
                  <a:lnTo>
                    <a:pt x="361" y="22"/>
                  </a:lnTo>
                  <a:lnTo>
                    <a:pt x="360" y="22"/>
                  </a:lnTo>
                  <a:lnTo>
                    <a:pt x="358" y="22"/>
                  </a:lnTo>
                  <a:lnTo>
                    <a:pt x="358" y="22"/>
                  </a:lnTo>
                  <a:lnTo>
                    <a:pt x="358" y="20"/>
                  </a:lnTo>
                  <a:lnTo>
                    <a:pt x="356" y="20"/>
                  </a:lnTo>
                  <a:lnTo>
                    <a:pt x="356" y="18"/>
                  </a:lnTo>
                  <a:lnTo>
                    <a:pt x="356" y="18"/>
                  </a:lnTo>
                  <a:lnTo>
                    <a:pt x="354" y="18"/>
                  </a:lnTo>
                  <a:lnTo>
                    <a:pt x="352" y="16"/>
                  </a:lnTo>
                  <a:lnTo>
                    <a:pt x="351" y="16"/>
                  </a:lnTo>
                  <a:lnTo>
                    <a:pt x="351" y="16"/>
                  </a:lnTo>
                  <a:lnTo>
                    <a:pt x="351" y="16"/>
                  </a:lnTo>
                  <a:lnTo>
                    <a:pt x="349" y="16"/>
                  </a:lnTo>
                  <a:lnTo>
                    <a:pt x="349" y="16"/>
                  </a:lnTo>
                  <a:lnTo>
                    <a:pt x="347" y="16"/>
                  </a:lnTo>
                  <a:lnTo>
                    <a:pt x="345" y="16"/>
                  </a:lnTo>
                  <a:lnTo>
                    <a:pt x="343" y="22"/>
                  </a:lnTo>
                  <a:lnTo>
                    <a:pt x="343" y="22"/>
                  </a:lnTo>
                  <a:lnTo>
                    <a:pt x="342" y="22"/>
                  </a:lnTo>
                  <a:lnTo>
                    <a:pt x="342" y="22"/>
                  </a:lnTo>
                  <a:lnTo>
                    <a:pt x="342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33" y="20"/>
                  </a:lnTo>
                  <a:lnTo>
                    <a:pt x="329" y="22"/>
                  </a:lnTo>
                  <a:lnTo>
                    <a:pt x="325" y="20"/>
                  </a:lnTo>
                  <a:lnTo>
                    <a:pt x="320" y="16"/>
                  </a:lnTo>
                  <a:lnTo>
                    <a:pt x="320" y="16"/>
                  </a:lnTo>
                  <a:lnTo>
                    <a:pt x="320" y="14"/>
                  </a:lnTo>
                  <a:lnTo>
                    <a:pt x="320" y="14"/>
                  </a:lnTo>
                  <a:lnTo>
                    <a:pt x="320" y="14"/>
                  </a:lnTo>
                  <a:lnTo>
                    <a:pt x="320" y="14"/>
                  </a:lnTo>
                  <a:lnTo>
                    <a:pt x="320" y="14"/>
                  </a:lnTo>
                  <a:lnTo>
                    <a:pt x="318" y="14"/>
                  </a:lnTo>
                  <a:lnTo>
                    <a:pt x="318" y="14"/>
                  </a:lnTo>
                  <a:lnTo>
                    <a:pt x="318" y="13"/>
                  </a:lnTo>
                  <a:lnTo>
                    <a:pt x="318" y="13"/>
                  </a:lnTo>
                  <a:lnTo>
                    <a:pt x="318" y="13"/>
                  </a:lnTo>
                  <a:lnTo>
                    <a:pt x="316" y="13"/>
                  </a:lnTo>
                  <a:lnTo>
                    <a:pt x="316" y="13"/>
                  </a:lnTo>
                  <a:lnTo>
                    <a:pt x="316" y="13"/>
                  </a:lnTo>
                  <a:lnTo>
                    <a:pt x="316" y="13"/>
                  </a:lnTo>
                  <a:lnTo>
                    <a:pt x="316" y="11"/>
                  </a:lnTo>
                  <a:lnTo>
                    <a:pt x="314" y="11"/>
                  </a:lnTo>
                  <a:lnTo>
                    <a:pt x="314" y="11"/>
                  </a:lnTo>
                  <a:lnTo>
                    <a:pt x="313" y="11"/>
                  </a:lnTo>
                  <a:lnTo>
                    <a:pt x="311" y="13"/>
                  </a:lnTo>
                  <a:lnTo>
                    <a:pt x="311" y="13"/>
                  </a:lnTo>
                  <a:lnTo>
                    <a:pt x="309" y="13"/>
                  </a:lnTo>
                  <a:lnTo>
                    <a:pt x="309" y="13"/>
                  </a:lnTo>
                  <a:lnTo>
                    <a:pt x="304" y="9"/>
                  </a:lnTo>
                  <a:lnTo>
                    <a:pt x="302" y="9"/>
                  </a:lnTo>
                  <a:lnTo>
                    <a:pt x="300" y="9"/>
                  </a:lnTo>
                  <a:lnTo>
                    <a:pt x="298" y="5"/>
                  </a:lnTo>
                  <a:lnTo>
                    <a:pt x="296" y="5"/>
                  </a:lnTo>
                  <a:lnTo>
                    <a:pt x="295" y="5"/>
                  </a:lnTo>
                  <a:lnTo>
                    <a:pt x="293" y="4"/>
                  </a:lnTo>
                  <a:lnTo>
                    <a:pt x="291" y="4"/>
                  </a:lnTo>
                  <a:lnTo>
                    <a:pt x="289" y="4"/>
                  </a:lnTo>
                  <a:lnTo>
                    <a:pt x="289" y="4"/>
                  </a:lnTo>
                  <a:lnTo>
                    <a:pt x="287" y="2"/>
                  </a:lnTo>
                  <a:lnTo>
                    <a:pt x="287" y="2"/>
                  </a:lnTo>
                  <a:lnTo>
                    <a:pt x="287" y="2"/>
                  </a:lnTo>
                  <a:lnTo>
                    <a:pt x="287" y="2"/>
                  </a:lnTo>
                  <a:lnTo>
                    <a:pt x="287" y="4"/>
                  </a:lnTo>
                  <a:lnTo>
                    <a:pt x="287" y="4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2" y="5"/>
                  </a:lnTo>
                  <a:lnTo>
                    <a:pt x="282" y="5"/>
                  </a:lnTo>
                  <a:lnTo>
                    <a:pt x="282" y="5"/>
                  </a:lnTo>
                  <a:lnTo>
                    <a:pt x="282" y="4"/>
                  </a:lnTo>
                  <a:lnTo>
                    <a:pt x="282" y="4"/>
                  </a:lnTo>
                  <a:lnTo>
                    <a:pt x="280" y="2"/>
                  </a:lnTo>
                  <a:lnTo>
                    <a:pt x="277" y="2"/>
                  </a:lnTo>
                  <a:lnTo>
                    <a:pt x="275" y="0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73" y="4"/>
                  </a:lnTo>
                  <a:lnTo>
                    <a:pt x="273" y="5"/>
                  </a:lnTo>
                  <a:lnTo>
                    <a:pt x="273" y="7"/>
                  </a:lnTo>
                  <a:lnTo>
                    <a:pt x="273" y="11"/>
                  </a:lnTo>
                  <a:lnTo>
                    <a:pt x="271" y="14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6"/>
                  </a:lnTo>
                  <a:lnTo>
                    <a:pt x="271" y="18"/>
                  </a:lnTo>
                  <a:lnTo>
                    <a:pt x="271" y="18"/>
                  </a:lnTo>
                  <a:lnTo>
                    <a:pt x="271" y="18"/>
                  </a:lnTo>
                  <a:lnTo>
                    <a:pt x="271" y="20"/>
                  </a:lnTo>
                  <a:lnTo>
                    <a:pt x="269" y="20"/>
                  </a:lnTo>
                  <a:lnTo>
                    <a:pt x="268" y="18"/>
                  </a:lnTo>
                  <a:lnTo>
                    <a:pt x="266" y="18"/>
                  </a:lnTo>
                  <a:lnTo>
                    <a:pt x="264" y="18"/>
                  </a:lnTo>
                  <a:lnTo>
                    <a:pt x="264" y="20"/>
                  </a:lnTo>
                  <a:lnTo>
                    <a:pt x="264" y="20"/>
                  </a:lnTo>
                  <a:lnTo>
                    <a:pt x="264" y="22"/>
                  </a:lnTo>
                  <a:lnTo>
                    <a:pt x="262" y="22"/>
                  </a:lnTo>
                  <a:lnTo>
                    <a:pt x="260" y="25"/>
                  </a:lnTo>
                  <a:lnTo>
                    <a:pt x="259" y="25"/>
                  </a:lnTo>
                  <a:lnTo>
                    <a:pt x="259" y="29"/>
                  </a:lnTo>
                  <a:lnTo>
                    <a:pt x="259" y="31"/>
                  </a:lnTo>
                  <a:lnTo>
                    <a:pt x="259" y="33"/>
                  </a:lnTo>
                  <a:lnTo>
                    <a:pt x="259" y="33"/>
                  </a:lnTo>
                  <a:lnTo>
                    <a:pt x="259" y="34"/>
                  </a:lnTo>
                  <a:lnTo>
                    <a:pt x="257" y="34"/>
                  </a:lnTo>
                  <a:lnTo>
                    <a:pt x="257" y="33"/>
                  </a:lnTo>
                  <a:lnTo>
                    <a:pt x="257" y="33"/>
                  </a:lnTo>
                  <a:lnTo>
                    <a:pt x="257" y="31"/>
                  </a:lnTo>
                  <a:lnTo>
                    <a:pt x="255" y="31"/>
                  </a:lnTo>
                  <a:lnTo>
                    <a:pt x="255" y="33"/>
                  </a:lnTo>
                  <a:lnTo>
                    <a:pt x="255" y="33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3" y="31"/>
                  </a:lnTo>
                  <a:lnTo>
                    <a:pt x="253" y="31"/>
                  </a:lnTo>
                  <a:lnTo>
                    <a:pt x="251" y="31"/>
                  </a:lnTo>
                  <a:lnTo>
                    <a:pt x="251" y="31"/>
                  </a:lnTo>
                  <a:lnTo>
                    <a:pt x="249" y="31"/>
                  </a:lnTo>
                  <a:lnTo>
                    <a:pt x="248" y="31"/>
                  </a:lnTo>
                  <a:lnTo>
                    <a:pt x="248" y="29"/>
                  </a:lnTo>
                  <a:lnTo>
                    <a:pt x="246" y="29"/>
                  </a:lnTo>
                  <a:lnTo>
                    <a:pt x="246" y="33"/>
                  </a:lnTo>
                  <a:lnTo>
                    <a:pt x="244" y="33"/>
                  </a:lnTo>
                  <a:lnTo>
                    <a:pt x="242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5" y="33"/>
                  </a:lnTo>
                  <a:lnTo>
                    <a:pt x="228" y="33"/>
                  </a:lnTo>
                  <a:lnTo>
                    <a:pt x="226" y="31"/>
                  </a:lnTo>
                  <a:lnTo>
                    <a:pt x="226" y="31"/>
                  </a:lnTo>
                  <a:lnTo>
                    <a:pt x="224" y="31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4" y="27"/>
                  </a:lnTo>
                  <a:lnTo>
                    <a:pt x="224" y="25"/>
                  </a:lnTo>
                  <a:lnTo>
                    <a:pt x="224" y="25"/>
                  </a:lnTo>
                  <a:lnTo>
                    <a:pt x="224" y="24"/>
                  </a:lnTo>
                  <a:lnTo>
                    <a:pt x="222" y="24"/>
                  </a:lnTo>
                  <a:lnTo>
                    <a:pt x="221" y="22"/>
                  </a:lnTo>
                  <a:lnTo>
                    <a:pt x="219" y="22"/>
                  </a:lnTo>
                  <a:lnTo>
                    <a:pt x="217" y="20"/>
                  </a:lnTo>
                  <a:lnTo>
                    <a:pt x="217" y="20"/>
                  </a:lnTo>
                  <a:lnTo>
                    <a:pt x="215" y="20"/>
                  </a:lnTo>
                  <a:lnTo>
                    <a:pt x="213" y="22"/>
                  </a:lnTo>
                  <a:lnTo>
                    <a:pt x="213" y="24"/>
                  </a:lnTo>
                  <a:lnTo>
                    <a:pt x="213" y="24"/>
                  </a:lnTo>
                  <a:lnTo>
                    <a:pt x="213" y="24"/>
                  </a:lnTo>
                  <a:lnTo>
                    <a:pt x="215" y="24"/>
                  </a:lnTo>
                  <a:lnTo>
                    <a:pt x="215" y="25"/>
                  </a:lnTo>
                  <a:lnTo>
                    <a:pt x="215" y="25"/>
                  </a:lnTo>
                  <a:lnTo>
                    <a:pt x="213" y="25"/>
                  </a:lnTo>
                  <a:lnTo>
                    <a:pt x="215" y="29"/>
                  </a:lnTo>
                  <a:lnTo>
                    <a:pt x="215" y="29"/>
                  </a:lnTo>
                  <a:lnTo>
                    <a:pt x="213" y="31"/>
                  </a:lnTo>
                  <a:lnTo>
                    <a:pt x="213" y="33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2" y="34"/>
                  </a:lnTo>
                  <a:lnTo>
                    <a:pt x="212" y="34"/>
                  </a:lnTo>
                  <a:lnTo>
                    <a:pt x="212" y="34"/>
                  </a:lnTo>
                  <a:lnTo>
                    <a:pt x="212" y="34"/>
                  </a:lnTo>
                  <a:lnTo>
                    <a:pt x="210" y="36"/>
                  </a:lnTo>
                  <a:lnTo>
                    <a:pt x="210" y="38"/>
                  </a:lnTo>
                  <a:lnTo>
                    <a:pt x="210" y="38"/>
                  </a:lnTo>
                  <a:lnTo>
                    <a:pt x="208" y="36"/>
                  </a:lnTo>
                  <a:lnTo>
                    <a:pt x="206" y="36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1" y="33"/>
                  </a:lnTo>
                  <a:lnTo>
                    <a:pt x="199" y="33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5" y="34"/>
                  </a:lnTo>
                  <a:lnTo>
                    <a:pt x="195" y="34"/>
                  </a:lnTo>
                  <a:lnTo>
                    <a:pt x="197" y="36"/>
                  </a:lnTo>
                  <a:lnTo>
                    <a:pt x="197" y="36"/>
                  </a:lnTo>
                  <a:lnTo>
                    <a:pt x="197" y="38"/>
                  </a:lnTo>
                  <a:lnTo>
                    <a:pt x="197" y="38"/>
                  </a:lnTo>
                  <a:lnTo>
                    <a:pt x="197" y="38"/>
                  </a:lnTo>
                  <a:lnTo>
                    <a:pt x="197" y="40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3"/>
                  </a:lnTo>
                  <a:lnTo>
                    <a:pt x="195" y="45"/>
                  </a:lnTo>
                  <a:lnTo>
                    <a:pt x="195" y="45"/>
                  </a:lnTo>
                  <a:lnTo>
                    <a:pt x="195" y="45"/>
                  </a:lnTo>
                  <a:lnTo>
                    <a:pt x="195" y="45"/>
                  </a:lnTo>
                  <a:lnTo>
                    <a:pt x="195" y="47"/>
                  </a:lnTo>
                  <a:lnTo>
                    <a:pt x="194" y="49"/>
                  </a:lnTo>
                  <a:lnTo>
                    <a:pt x="190" y="52"/>
                  </a:lnTo>
                  <a:lnTo>
                    <a:pt x="188" y="54"/>
                  </a:lnTo>
                  <a:lnTo>
                    <a:pt x="181" y="54"/>
                  </a:lnTo>
                  <a:lnTo>
                    <a:pt x="175" y="58"/>
                  </a:lnTo>
                  <a:lnTo>
                    <a:pt x="175" y="58"/>
                  </a:lnTo>
                  <a:lnTo>
                    <a:pt x="174" y="60"/>
                  </a:lnTo>
                  <a:lnTo>
                    <a:pt x="172" y="60"/>
                  </a:lnTo>
                  <a:lnTo>
                    <a:pt x="170" y="61"/>
                  </a:lnTo>
                  <a:lnTo>
                    <a:pt x="170" y="61"/>
                  </a:lnTo>
                  <a:lnTo>
                    <a:pt x="168" y="61"/>
                  </a:lnTo>
                  <a:lnTo>
                    <a:pt x="166" y="61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5" y="65"/>
                  </a:lnTo>
                  <a:lnTo>
                    <a:pt x="163" y="67"/>
                  </a:lnTo>
                  <a:lnTo>
                    <a:pt x="163" y="67"/>
                  </a:lnTo>
                  <a:lnTo>
                    <a:pt x="163" y="67"/>
                  </a:lnTo>
                  <a:lnTo>
                    <a:pt x="163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1" y="69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3" y="72"/>
                  </a:lnTo>
                  <a:lnTo>
                    <a:pt x="166" y="76"/>
                  </a:lnTo>
                  <a:lnTo>
                    <a:pt x="166" y="78"/>
                  </a:lnTo>
                  <a:lnTo>
                    <a:pt x="166" y="78"/>
                  </a:lnTo>
                  <a:lnTo>
                    <a:pt x="166" y="78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68" y="80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70" y="83"/>
                  </a:lnTo>
                  <a:lnTo>
                    <a:pt x="172" y="87"/>
                  </a:lnTo>
                  <a:lnTo>
                    <a:pt x="174" y="89"/>
                  </a:lnTo>
                  <a:lnTo>
                    <a:pt x="174" y="89"/>
                  </a:lnTo>
                  <a:lnTo>
                    <a:pt x="170" y="94"/>
                  </a:lnTo>
                  <a:lnTo>
                    <a:pt x="170" y="94"/>
                  </a:lnTo>
                  <a:lnTo>
                    <a:pt x="170" y="94"/>
                  </a:lnTo>
                  <a:lnTo>
                    <a:pt x="170" y="94"/>
                  </a:lnTo>
                  <a:lnTo>
                    <a:pt x="170" y="96"/>
                  </a:lnTo>
                  <a:lnTo>
                    <a:pt x="170" y="96"/>
                  </a:lnTo>
                  <a:lnTo>
                    <a:pt x="170" y="96"/>
                  </a:lnTo>
                  <a:lnTo>
                    <a:pt x="170" y="96"/>
                  </a:lnTo>
                  <a:lnTo>
                    <a:pt x="168" y="98"/>
                  </a:lnTo>
                  <a:lnTo>
                    <a:pt x="170" y="98"/>
                  </a:lnTo>
                  <a:lnTo>
                    <a:pt x="172" y="99"/>
                  </a:lnTo>
                  <a:lnTo>
                    <a:pt x="174" y="99"/>
                  </a:lnTo>
                  <a:lnTo>
                    <a:pt x="174" y="98"/>
                  </a:lnTo>
                  <a:lnTo>
                    <a:pt x="175" y="98"/>
                  </a:lnTo>
                  <a:lnTo>
                    <a:pt x="175" y="99"/>
                  </a:lnTo>
                  <a:lnTo>
                    <a:pt x="175" y="99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103"/>
                  </a:lnTo>
                  <a:lnTo>
                    <a:pt x="177" y="105"/>
                  </a:lnTo>
                  <a:lnTo>
                    <a:pt x="177" y="105"/>
                  </a:lnTo>
                  <a:lnTo>
                    <a:pt x="177" y="105"/>
                  </a:lnTo>
                  <a:lnTo>
                    <a:pt x="177" y="107"/>
                  </a:lnTo>
                  <a:lnTo>
                    <a:pt x="177" y="107"/>
                  </a:lnTo>
                  <a:lnTo>
                    <a:pt x="175" y="108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5" y="110"/>
                  </a:lnTo>
                  <a:lnTo>
                    <a:pt x="175" y="110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2" y="116"/>
                  </a:lnTo>
                  <a:lnTo>
                    <a:pt x="172" y="116"/>
                  </a:lnTo>
                  <a:lnTo>
                    <a:pt x="172" y="116"/>
                  </a:lnTo>
                  <a:lnTo>
                    <a:pt x="172" y="116"/>
                  </a:lnTo>
                  <a:lnTo>
                    <a:pt x="170" y="116"/>
                  </a:lnTo>
                  <a:lnTo>
                    <a:pt x="168" y="114"/>
                  </a:lnTo>
                  <a:lnTo>
                    <a:pt x="166" y="112"/>
                  </a:lnTo>
                  <a:lnTo>
                    <a:pt x="165" y="110"/>
                  </a:lnTo>
                  <a:lnTo>
                    <a:pt x="165" y="110"/>
                  </a:lnTo>
                  <a:lnTo>
                    <a:pt x="165" y="110"/>
                  </a:lnTo>
                  <a:lnTo>
                    <a:pt x="163" y="110"/>
                  </a:lnTo>
                  <a:lnTo>
                    <a:pt x="163" y="108"/>
                  </a:lnTo>
                  <a:lnTo>
                    <a:pt x="163" y="107"/>
                  </a:lnTo>
                  <a:lnTo>
                    <a:pt x="165" y="105"/>
                  </a:lnTo>
                  <a:lnTo>
                    <a:pt x="165" y="105"/>
                  </a:lnTo>
                  <a:lnTo>
                    <a:pt x="163" y="103"/>
                  </a:lnTo>
                  <a:lnTo>
                    <a:pt x="161" y="103"/>
                  </a:lnTo>
                  <a:lnTo>
                    <a:pt x="163" y="101"/>
                  </a:lnTo>
                  <a:lnTo>
                    <a:pt x="161" y="101"/>
                  </a:lnTo>
                  <a:lnTo>
                    <a:pt x="159" y="101"/>
                  </a:lnTo>
                  <a:lnTo>
                    <a:pt x="157" y="101"/>
                  </a:lnTo>
                  <a:lnTo>
                    <a:pt x="156" y="101"/>
                  </a:lnTo>
                  <a:lnTo>
                    <a:pt x="154" y="101"/>
                  </a:lnTo>
                  <a:lnTo>
                    <a:pt x="152" y="103"/>
                  </a:lnTo>
                  <a:lnTo>
                    <a:pt x="152" y="103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47" y="103"/>
                  </a:lnTo>
                  <a:lnTo>
                    <a:pt x="147" y="103"/>
                  </a:lnTo>
                  <a:lnTo>
                    <a:pt x="147" y="101"/>
                  </a:lnTo>
                  <a:lnTo>
                    <a:pt x="145" y="99"/>
                  </a:lnTo>
                  <a:lnTo>
                    <a:pt x="145" y="99"/>
                  </a:lnTo>
                  <a:lnTo>
                    <a:pt x="145" y="99"/>
                  </a:lnTo>
                  <a:lnTo>
                    <a:pt x="143" y="99"/>
                  </a:lnTo>
                  <a:lnTo>
                    <a:pt x="141" y="101"/>
                  </a:lnTo>
                  <a:lnTo>
                    <a:pt x="139" y="99"/>
                  </a:lnTo>
                  <a:lnTo>
                    <a:pt x="138" y="99"/>
                  </a:lnTo>
                  <a:lnTo>
                    <a:pt x="136" y="101"/>
                  </a:lnTo>
                  <a:lnTo>
                    <a:pt x="136" y="101"/>
                  </a:lnTo>
                  <a:lnTo>
                    <a:pt x="136" y="99"/>
                  </a:lnTo>
                  <a:lnTo>
                    <a:pt x="136" y="99"/>
                  </a:lnTo>
                  <a:lnTo>
                    <a:pt x="136" y="99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4" y="98"/>
                  </a:lnTo>
                  <a:lnTo>
                    <a:pt x="132" y="99"/>
                  </a:lnTo>
                  <a:lnTo>
                    <a:pt x="132" y="99"/>
                  </a:lnTo>
                  <a:lnTo>
                    <a:pt x="134" y="99"/>
                  </a:lnTo>
                  <a:lnTo>
                    <a:pt x="134" y="99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3"/>
                  </a:lnTo>
                  <a:lnTo>
                    <a:pt x="134" y="103"/>
                  </a:lnTo>
                  <a:lnTo>
                    <a:pt x="134" y="105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21" y="105"/>
                  </a:lnTo>
                  <a:lnTo>
                    <a:pt x="116" y="107"/>
                  </a:lnTo>
                  <a:lnTo>
                    <a:pt x="116" y="107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2" y="108"/>
                  </a:lnTo>
                  <a:lnTo>
                    <a:pt x="109" y="108"/>
                  </a:lnTo>
                  <a:lnTo>
                    <a:pt x="107" y="107"/>
                  </a:lnTo>
                  <a:lnTo>
                    <a:pt x="105" y="107"/>
                  </a:lnTo>
                  <a:lnTo>
                    <a:pt x="105" y="107"/>
                  </a:lnTo>
                  <a:lnTo>
                    <a:pt x="103" y="108"/>
                  </a:lnTo>
                  <a:lnTo>
                    <a:pt x="103" y="110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1" y="112"/>
                  </a:lnTo>
                  <a:lnTo>
                    <a:pt x="100" y="114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96" y="114"/>
                  </a:lnTo>
                  <a:lnTo>
                    <a:pt x="94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1" y="117"/>
                  </a:lnTo>
                  <a:lnTo>
                    <a:pt x="89" y="119"/>
                  </a:lnTo>
                  <a:lnTo>
                    <a:pt x="89" y="119"/>
                  </a:lnTo>
                  <a:lnTo>
                    <a:pt x="87" y="121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5" y="121"/>
                  </a:lnTo>
                  <a:lnTo>
                    <a:pt x="85" y="119"/>
                  </a:lnTo>
                  <a:lnTo>
                    <a:pt x="83" y="119"/>
                  </a:lnTo>
                  <a:lnTo>
                    <a:pt x="82" y="119"/>
                  </a:lnTo>
                  <a:lnTo>
                    <a:pt x="80" y="121"/>
                  </a:lnTo>
                  <a:lnTo>
                    <a:pt x="78" y="123"/>
                  </a:lnTo>
                  <a:lnTo>
                    <a:pt x="73" y="121"/>
                  </a:lnTo>
                  <a:lnTo>
                    <a:pt x="73" y="121"/>
                  </a:lnTo>
                  <a:lnTo>
                    <a:pt x="73" y="121"/>
                  </a:lnTo>
                  <a:lnTo>
                    <a:pt x="73" y="121"/>
                  </a:lnTo>
                  <a:lnTo>
                    <a:pt x="73" y="121"/>
                  </a:lnTo>
                  <a:lnTo>
                    <a:pt x="73" y="119"/>
                  </a:lnTo>
                  <a:lnTo>
                    <a:pt x="73" y="119"/>
                  </a:lnTo>
                  <a:lnTo>
                    <a:pt x="73" y="119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7" y="114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3" y="112"/>
                  </a:lnTo>
                  <a:lnTo>
                    <a:pt x="62" y="112"/>
                  </a:lnTo>
                  <a:lnTo>
                    <a:pt x="62" y="112"/>
                  </a:lnTo>
                  <a:lnTo>
                    <a:pt x="62" y="112"/>
                  </a:lnTo>
                  <a:lnTo>
                    <a:pt x="62" y="112"/>
                  </a:lnTo>
                  <a:lnTo>
                    <a:pt x="62" y="112"/>
                  </a:lnTo>
                  <a:lnTo>
                    <a:pt x="54" y="108"/>
                  </a:lnTo>
                  <a:lnTo>
                    <a:pt x="53" y="108"/>
                  </a:lnTo>
                  <a:lnTo>
                    <a:pt x="53" y="110"/>
                  </a:lnTo>
                  <a:lnTo>
                    <a:pt x="51" y="112"/>
                  </a:lnTo>
                  <a:lnTo>
                    <a:pt x="51" y="112"/>
                  </a:lnTo>
                  <a:lnTo>
                    <a:pt x="51" y="112"/>
                  </a:lnTo>
                  <a:lnTo>
                    <a:pt x="47" y="112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2"/>
                  </a:lnTo>
                  <a:lnTo>
                    <a:pt x="45" y="114"/>
                  </a:lnTo>
                  <a:lnTo>
                    <a:pt x="45" y="116"/>
                  </a:lnTo>
                  <a:lnTo>
                    <a:pt x="45" y="116"/>
                  </a:lnTo>
                  <a:lnTo>
                    <a:pt x="45" y="116"/>
                  </a:lnTo>
                  <a:lnTo>
                    <a:pt x="47" y="117"/>
                  </a:lnTo>
                  <a:lnTo>
                    <a:pt x="47" y="119"/>
                  </a:lnTo>
                  <a:lnTo>
                    <a:pt x="45" y="119"/>
                  </a:lnTo>
                  <a:lnTo>
                    <a:pt x="45" y="121"/>
                  </a:lnTo>
                  <a:lnTo>
                    <a:pt x="44" y="123"/>
                  </a:lnTo>
                  <a:lnTo>
                    <a:pt x="44" y="123"/>
                  </a:lnTo>
                  <a:lnTo>
                    <a:pt x="44" y="123"/>
                  </a:lnTo>
                  <a:lnTo>
                    <a:pt x="42" y="123"/>
                  </a:lnTo>
                  <a:lnTo>
                    <a:pt x="42" y="125"/>
                  </a:lnTo>
                  <a:lnTo>
                    <a:pt x="42" y="126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31" y="130"/>
                  </a:lnTo>
                  <a:lnTo>
                    <a:pt x="31" y="130"/>
                  </a:lnTo>
                  <a:lnTo>
                    <a:pt x="33" y="130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6"/>
                  </a:lnTo>
                  <a:lnTo>
                    <a:pt x="35" y="125"/>
                  </a:lnTo>
                  <a:lnTo>
                    <a:pt x="35" y="123"/>
                  </a:lnTo>
                  <a:lnTo>
                    <a:pt x="33" y="123"/>
                  </a:lnTo>
                  <a:lnTo>
                    <a:pt x="31" y="123"/>
                  </a:lnTo>
                  <a:lnTo>
                    <a:pt x="31" y="125"/>
                  </a:lnTo>
                  <a:lnTo>
                    <a:pt x="31" y="125"/>
                  </a:lnTo>
                  <a:lnTo>
                    <a:pt x="31" y="125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29" y="125"/>
                  </a:lnTo>
                  <a:lnTo>
                    <a:pt x="29" y="125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6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2" y="114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0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18" y="112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7" y="112"/>
                  </a:lnTo>
                  <a:lnTo>
                    <a:pt x="15" y="112"/>
                  </a:lnTo>
                  <a:lnTo>
                    <a:pt x="15" y="110"/>
                  </a:lnTo>
                  <a:lnTo>
                    <a:pt x="15" y="110"/>
                  </a:lnTo>
                  <a:lnTo>
                    <a:pt x="15" y="108"/>
                  </a:lnTo>
                  <a:lnTo>
                    <a:pt x="15" y="108"/>
                  </a:lnTo>
                  <a:lnTo>
                    <a:pt x="13" y="108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9" y="110"/>
                  </a:lnTo>
                  <a:lnTo>
                    <a:pt x="9" y="112"/>
                  </a:lnTo>
                  <a:lnTo>
                    <a:pt x="8" y="112"/>
                  </a:lnTo>
                  <a:lnTo>
                    <a:pt x="4" y="112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4"/>
                  </a:lnTo>
                  <a:lnTo>
                    <a:pt x="4" y="116"/>
                  </a:lnTo>
                  <a:lnTo>
                    <a:pt x="6" y="116"/>
                  </a:lnTo>
                  <a:lnTo>
                    <a:pt x="6" y="117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2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2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7"/>
                  </a:lnTo>
                  <a:lnTo>
                    <a:pt x="2" y="137"/>
                  </a:lnTo>
                  <a:lnTo>
                    <a:pt x="2" y="139"/>
                  </a:lnTo>
                  <a:lnTo>
                    <a:pt x="2" y="139"/>
                  </a:lnTo>
                  <a:lnTo>
                    <a:pt x="4" y="141"/>
                  </a:lnTo>
                  <a:lnTo>
                    <a:pt x="4" y="143"/>
                  </a:lnTo>
                  <a:lnTo>
                    <a:pt x="4" y="145"/>
                  </a:lnTo>
                  <a:lnTo>
                    <a:pt x="2" y="146"/>
                  </a:lnTo>
                  <a:lnTo>
                    <a:pt x="4" y="146"/>
                  </a:lnTo>
                  <a:lnTo>
                    <a:pt x="6" y="146"/>
                  </a:lnTo>
                  <a:lnTo>
                    <a:pt x="8" y="146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7" y="154"/>
                  </a:lnTo>
                  <a:lnTo>
                    <a:pt x="17" y="154"/>
                  </a:lnTo>
                  <a:lnTo>
                    <a:pt x="17" y="155"/>
                  </a:lnTo>
                  <a:lnTo>
                    <a:pt x="18" y="155"/>
                  </a:lnTo>
                  <a:lnTo>
                    <a:pt x="18" y="157"/>
                  </a:lnTo>
                  <a:lnTo>
                    <a:pt x="24" y="159"/>
                  </a:lnTo>
                  <a:lnTo>
                    <a:pt x="26" y="161"/>
                  </a:lnTo>
                  <a:lnTo>
                    <a:pt x="27" y="161"/>
                  </a:lnTo>
                  <a:lnTo>
                    <a:pt x="29" y="163"/>
                  </a:lnTo>
                  <a:lnTo>
                    <a:pt x="31" y="163"/>
                  </a:lnTo>
                  <a:lnTo>
                    <a:pt x="31" y="163"/>
                  </a:lnTo>
                  <a:lnTo>
                    <a:pt x="31" y="161"/>
                  </a:lnTo>
                  <a:lnTo>
                    <a:pt x="35" y="161"/>
                  </a:lnTo>
                  <a:lnTo>
                    <a:pt x="35" y="159"/>
                  </a:lnTo>
                  <a:lnTo>
                    <a:pt x="35" y="159"/>
                  </a:lnTo>
                  <a:lnTo>
                    <a:pt x="35" y="159"/>
                  </a:lnTo>
                  <a:lnTo>
                    <a:pt x="35" y="157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8" y="157"/>
                  </a:lnTo>
                  <a:lnTo>
                    <a:pt x="38" y="157"/>
                  </a:lnTo>
                  <a:lnTo>
                    <a:pt x="38" y="155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5" y="154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7" y="157"/>
                  </a:lnTo>
                  <a:lnTo>
                    <a:pt x="47" y="159"/>
                  </a:lnTo>
                  <a:lnTo>
                    <a:pt x="47" y="161"/>
                  </a:lnTo>
                  <a:lnTo>
                    <a:pt x="49" y="163"/>
                  </a:lnTo>
                  <a:lnTo>
                    <a:pt x="51" y="163"/>
                  </a:lnTo>
                  <a:lnTo>
                    <a:pt x="56" y="161"/>
                  </a:lnTo>
                  <a:lnTo>
                    <a:pt x="56" y="161"/>
                  </a:lnTo>
                  <a:lnTo>
                    <a:pt x="56" y="161"/>
                  </a:lnTo>
                  <a:lnTo>
                    <a:pt x="62" y="163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0" y="164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5" y="166"/>
                  </a:lnTo>
                  <a:lnTo>
                    <a:pt x="65" y="166"/>
                  </a:lnTo>
                  <a:lnTo>
                    <a:pt x="65" y="166"/>
                  </a:lnTo>
                  <a:lnTo>
                    <a:pt x="67" y="168"/>
                  </a:lnTo>
                  <a:lnTo>
                    <a:pt x="67" y="168"/>
                  </a:lnTo>
                  <a:lnTo>
                    <a:pt x="67" y="168"/>
                  </a:lnTo>
                  <a:lnTo>
                    <a:pt x="69" y="168"/>
                  </a:lnTo>
                  <a:lnTo>
                    <a:pt x="71" y="168"/>
                  </a:lnTo>
                  <a:lnTo>
                    <a:pt x="73" y="168"/>
                  </a:lnTo>
                  <a:lnTo>
                    <a:pt x="73" y="168"/>
                  </a:lnTo>
                  <a:lnTo>
                    <a:pt x="74" y="168"/>
                  </a:lnTo>
                  <a:lnTo>
                    <a:pt x="74" y="166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3"/>
                  </a:lnTo>
                  <a:lnTo>
                    <a:pt x="76" y="163"/>
                  </a:lnTo>
                  <a:lnTo>
                    <a:pt x="78" y="161"/>
                  </a:lnTo>
                  <a:lnTo>
                    <a:pt x="78" y="157"/>
                  </a:lnTo>
                  <a:lnTo>
                    <a:pt x="78" y="157"/>
                  </a:lnTo>
                  <a:lnTo>
                    <a:pt x="82" y="154"/>
                  </a:lnTo>
                  <a:lnTo>
                    <a:pt x="83" y="154"/>
                  </a:lnTo>
                  <a:lnTo>
                    <a:pt x="87" y="152"/>
                  </a:lnTo>
                  <a:lnTo>
                    <a:pt x="89" y="152"/>
                  </a:lnTo>
                  <a:lnTo>
                    <a:pt x="91" y="152"/>
                  </a:lnTo>
                  <a:lnTo>
                    <a:pt x="92" y="154"/>
                  </a:lnTo>
                  <a:lnTo>
                    <a:pt x="94" y="154"/>
                  </a:lnTo>
                  <a:lnTo>
                    <a:pt x="96" y="152"/>
                  </a:lnTo>
                  <a:lnTo>
                    <a:pt x="96" y="152"/>
                  </a:lnTo>
                  <a:lnTo>
                    <a:pt x="96" y="150"/>
                  </a:lnTo>
                  <a:lnTo>
                    <a:pt x="98" y="150"/>
                  </a:lnTo>
                  <a:lnTo>
                    <a:pt x="98" y="150"/>
                  </a:lnTo>
                  <a:lnTo>
                    <a:pt x="98" y="150"/>
                  </a:lnTo>
                  <a:lnTo>
                    <a:pt x="100" y="150"/>
                  </a:lnTo>
                  <a:lnTo>
                    <a:pt x="100" y="150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1" y="152"/>
                  </a:lnTo>
                  <a:lnTo>
                    <a:pt x="101" y="152"/>
                  </a:lnTo>
                  <a:lnTo>
                    <a:pt x="101" y="152"/>
                  </a:lnTo>
                  <a:lnTo>
                    <a:pt x="101" y="152"/>
                  </a:lnTo>
                  <a:lnTo>
                    <a:pt x="101" y="152"/>
                  </a:lnTo>
                  <a:lnTo>
                    <a:pt x="103" y="150"/>
                  </a:lnTo>
                  <a:lnTo>
                    <a:pt x="103" y="150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9" y="152"/>
                  </a:lnTo>
                  <a:lnTo>
                    <a:pt x="110" y="152"/>
                  </a:lnTo>
                  <a:lnTo>
                    <a:pt x="110" y="154"/>
                  </a:lnTo>
                  <a:lnTo>
                    <a:pt x="110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8" y="150"/>
                  </a:lnTo>
                  <a:lnTo>
                    <a:pt x="119" y="148"/>
                  </a:lnTo>
                  <a:lnTo>
                    <a:pt x="121" y="148"/>
                  </a:lnTo>
                  <a:lnTo>
                    <a:pt x="125" y="148"/>
                  </a:lnTo>
                  <a:lnTo>
                    <a:pt x="130" y="145"/>
                  </a:lnTo>
                  <a:lnTo>
                    <a:pt x="130" y="145"/>
                  </a:lnTo>
                  <a:lnTo>
                    <a:pt x="134" y="145"/>
                  </a:lnTo>
                  <a:lnTo>
                    <a:pt x="134" y="145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4" y="148"/>
                  </a:lnTo>
                  <a:lnTo>
                    <a:pt x="130" y="150"/>
                  </a:lnTo>
                  <a:lnTo>
                    <a:pt x="130" y="152"/>
                  </a:lnTo>
                  <a:lnTo>
                    <a:pt x="130" y="152"/>
                  </a:lnTo>
                  <a:lnTo>
                    <a:pt x="130" y="154"/>
                  </a:lnTo>
                  <a:lnTo>
                    <a:pt x="130" y="154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34" y="159"/>
                  </a:lnTo>
                  <a:lnTo>
                    <a:pt x="134" y="159"/>
                  </a:lnTo>
                  <a:lnTo>
                    <a:pt x="134" y="159"/>
                  </a:lnTo>
                  <a:lnTo>
                    <a:pt x="134" y="159"/>
                  </a:lnTo>
                  <a:lnTo>
                    <a:pt x="136" y="159"/>
                  </a:lnTo>
                  <a:lnTo>
                    <a:pt x="138" y="161"/>
                  </a:lnTo>
                  <a:lnTo>
                    <a:pt x="138" y="163"/>
                  </a:lnTo>
                  <a:lnTo>
                    <a:pt x="138" y="163"/>
                  </a:lnTo>
                  <a:lnTo>
                    <a:pt x="138" y="163"/>
                  </a:lnTo>
                  <a:lnTo>
                    <a:pt x="138" y="164"/>
                  </a:lnTo>
                  <a:lnTo>
                    <a:pt x="138" y="164"/>
                  </a:lnTo>
                  <a:lnTo>
                    <a:pt x="138" y="166"/>
                  </a:lnTo>
                  <a:lnTo>
                    <a:pt x="138" y="166"/>
                  </a:lnTo>
                  <a:lnTo>
                    <a:pt x="138" y="166"/>
                  </a:lnTo>
                  <a:lnTo>
                    <a:pt x="138" y="166"/>
                  </a:lnTo>
                  <a:lnTo>
                    <a:pt x="139" y="166"/>
                  </a:lnTo>
                  <a:lnTo>
                    <a:pt x="141" y="168"/>
                  </a:lnTo>
                  <a:lnTo>
                    <a:pt x="141" y="168"/>
                  </a:lnTo>
                  <a:lnTo>
                    <a:pt x="141" y="170"/>
                  </a:lnTo>
                  <a:lnTo>
                    <a:pt x="143" y="172"/>
                  </a:lnTo>
                  <a:lnTo>
                    <a:pt x="145" y="173"/>
                  </a:lnTo>
                  <a:lnTo>
                    <a:pt x="147" y="173"/>
                  </a:lnTo>
                  <a:lnTo>
                    <a:pt x="148" y="173"/>
                  </a:lnTo>
                  <a:lnTo>
                    <a:pt x="148" y="175"/>
                  </a:lnTo>
                  <a:lnTo>
                    <a:pt x="150" y="175"/>
                  </a:lnTo>
                  <a:lnTo>
                    <a:pt x="152" y="175"/>
                  </a:lnTo>
                  <a:lnTo>
                    <a:pt x="152" y="175"/>
                  </a:lnTo>
                  <a:lnTo>
                    <a:pt x="156" y="175"/>
                  </a:lnTo>
                  <a:lnTo>
                    <a:pt x="157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9" y="177"/>
                  </a:lnTo>
                  <a:lnTo>
                    <a:pt x="159" y="177"/>
                  </a:lnTo>
                  <a:lnTo>
                    <a:pt x="159" y="177"/>
                  </a:lnTo>
                  <a:lnTo>
                    <a:pt x="161" y="177"/>
                  </a:lnTo>
                  <a:lnTo>
                    <a:pt x="161" y="177"/>
                  </a:lnTo>
                  <a:lnTo>
                    <a:pt x="161" y="177"/>
                  </a:lnTo>
                  <a:lnTo>
                    <a:pt x="163" y="177"/>
                  </a:lnTo>
                  <a:lnTo>
                    <a:pt x="166" y="179"/>
                  </a:lnTo>
                  <a:lnTo>
                    <a:pt x="177" y="181"/>
                  </a:lnTo>
                  <a:lnTo>
                    <a:pt x="181" y="181"/>
                  </a:lnTo>
                  <a:lnTo>
                    <a:pt x="184" y="182"/>
                  </a:lnTo>
                  <a:lnTo>
                    <a:pt x="186" y="182"/>
                  </a:lnTo>
                  <a:lnTo>
                    <a:pt x="188" y="182"/>
                  </a:lnTo>
                  <a:lnTo>
                    <a:pt x="194" y="182"/>
                  </a:lnTo>
                  <a:lnTo>
                    <a:pt x="195" y="182"/>
                  </a:lnTo>
                  <a:lnTo>
                    <a:pt x="197" y="182"/>
                  </a:lnTo>
                  <a:lnTo>
                    <a:pt x="199" y="182"/>
                  </a:lnTo>
                  <a:lnTo>
                    <a:pt x="199" y="184"/>
                  </a:lnTo>
                  <a:lnTo>
                    <a:pt x="199" y="184"/>
                  </a:lnTo>
                  <a:lnTo>
                    <a:pt x="201" y="184"/>
                  </a:lnTo>
                  <a:lnTo>
                    <a:pt x="208" y="186"/>
                  </a:lnTo>
                  <a:lnTo>
                    <a:pt x="208" y="186"/>
                  </a:lnTo>
                  <a:lnTo>
                    <a:pt x="210" y="186"/>
                  </a:lnTo>
                  <a:lnTo>
                    <a:pt x="210" y="186"/>
                  </a:lnTo>
                  <a:lnTo>
                    <a:pt x="213" y="186"/>
                  </a:lnTo>
                  <a:lnTo>
                    <a:pt x="213" y="186"/>
                  </a:lnTo>
                  <a:lnTo>
                    <a:pt x="217" y="186"/>
                  </a:lnTo>
                  <a:lnTo>
                    <a:pt x="219" y="186"/>
                  </a:lnTo>
                  <a:lnTo>
                    <a:pt x="222" y="188"/>
                  </a:lnTo>
                  <a:lnTo>
                    <a:pt x="224" y="188"/>
                  </a:lnTo>
                  <a:lnTo>
                    <a:pt x="224" y="188"/>
                  </a:lnTo>
                  <a:lnTo>
                    <a:pt x="226" y="188"/>
                  </a:lnTo>
                  <a:lnTo>
                    <a:pt x="226" y="188"/>
                  </a:lnTo>
                  <a:lnTo>
                    <a:pt x="228" y="188"/>
                  </a:lnTo>
                  <a:lnTo>
                    <a:pt x="228" y="190"/>
                  </a:lnTo>
                  <a:lnTo>
                    <a:pt x="231" y="192"/>
                  </a:lnTo>
                  <a:lnTo>
                    <a:pt x="231" y="192"/>
                  </a:lnTo>
                  <a:lnTo>
                    <a:pt x="231" y="192"/>
                  </a:lnTo>
                  <a:lnTo>
                    <a:pt x="237" y="192"/>
                  </a:lnTo>
                  <a:lnTo>
                    <a:pt x="242" y="192"/>
                  </a:lnTo>
                  <a:lnTo>
                    <a:pt x="244" y="192"/>
                  </a:lnTo>
                  <a:lnTo>
                    <a:pt x="244" y="192"/>
                  </a:lnTo>
                  <a:lnTo>
                    <a:pt x="244" y="192"/>
                  </a:lnTo>
                  <a:lnTo>
                    <a:pt x="244" y="192"/>
                  </a:lnTo>
                  <a:lnTo>
                    <a:pt x="246" y="193"/>
                  </a:lnTo>
                  <a:lnTo>
                    <a:pt x="246" y="193"/>
                  </a:lnTo>
                  <a:lnTo>
                    <a:pt x="246" y="193"/>
                  </a:lnTo>
                  <a:lnTo>
                    <a:pt x="248" y="193"/>
                  </a:lnTo>
                  <a:lnTo>
                    <a:pt x="249" y="193"/>
                  </a:lnTo>
                  <a:lnTo>
                    <a:pt x="249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3" y="195"/>
                  </a:lnTo>
                  <a:lnTo>
                    <a:pt x="253" y="195"/>
                  </a:lnTo>
                  <a:lnTo>
                    <a:pt x="253" y="193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5" y="192"/>
                  </a:lnTo>
                  <a:lnTo>
                    <a:pt x="255" y="192"/>
                  </a:lnTo>
                  <a:lnTo>
                    <a:pt x="257" y="192"/>
                  </a:lnTo>
                  <a:lnTo>
                    <a:pt x="257" y="190"/>
                  </a:lnTo>
                  <a:lnTo>
                    <a:pt x="257" y="190"/>
                  </a:lnTo>
                  <a:lnTo>
                    <a:pt x="259" y="190"/>
                  </a:lnTo>
                  <a:lnTo>
                    <a:pt x="259" y="190"/>
                  </a:lnTo>
                  <a:lnTo>
                    <a:pt x="259" y="190"/>
                  </a:lnTo>
                  <a:lnTo>
                    <a:pt x="259" y="188"/>
                  </a:lnTo>
                  <a:lnTo>
                    <a:pt x="259" y="188"/>
                  </a:lnTo>
                  <a:lnTo>
                    <a:pt x="260" y="188"/>
                  </a:lnTo>
                  <a:lnTo>
                    <a:pt x="260" y="188"/>
                  </a:lnTo>
                  <a:lnTo>
                    <a:pt x="260" y="188"/>
                  </a:lnTo>
                  <a:lnTo>
                    <a:pt x="262" y="188"/>
                  </a:lnTo>
                  <a:lnTo>
                    <a:pt x="264" y="186"/>
                  </a:lnTo>
                  <a:lnTo>
                    <a:pt x="264" y="186"/>
                  </a:lnTo>
                  <a:lnTo>
                    <a:pt x="264" y="186"/>
                  </a:lnTo>
                  <a:lnTo>
                    <a:pt x="264" y="184"/>
                  </a:lnTo>
                  <a:lnTo>
                    <a:pt x="266" y="182"/>
                  </a:lnTo>
                  <a:lnTo>
                    <a:pt x="266" y="182"/>
                  </a:lnTo>
                  <a:lnTo>
                    <a:pt x="266" y="181"/>
                  </a:lnTo>
                  <a:lnTo>
                    <a:pt x="268" y="179"/>
                  </a:lnTo>
                  <a:lnTo>
                    <a:pt x="268" y="179"/>
                  </a:lnTo>
                  <a:lnTo>
                    <a:pt x="268" y="179"/>
                  </a:lnTo>
                  <a:lnTo>
                    <a:pt x="269" y="179"/>
                  </a:lnTo>
                  <a:lnTo>
                    <a:pt x="269" y="179"/>
                  </a:lnTo>
                  <a:lnTo>
                    <a:pt x="269" y="179"/>
                  </a:lnTo>
                  <a:lnTo>
                    <a:pt x="271" y="179"/>
                  </a:lnTo>
                  <a:lnTo>
                    <a:pt x="271" y="179"/>
                  </a:lnTo>
                  <a:lnTo>
                    <a:pt x="273" y="181"/>
                  </a:lnTo>
                  <a:lnTo>
                    <a:pt x="275" y="177"/>
                  </a:lnTo>
                  <a:lnTo>
                    <a:pt x="277" y="177"/>
                  </a:lnTo>
                  <a:lnTo>
                    <a:pt x="278" y="177"/>
                  </a:lnTo>
                  <a:lnTo>
                    <a:pt x="280" y="177"/>
                  </a:lnTo>
                  <a:lnTo>
                    <a:pt x="282" y="177"/>
                  </a:lnTo>
                  <a:lnTo>
                    <a:pt x="284" y="177"/>
                  </a:lnTo>
                  <a:lnTo>
                    <a:pt x="291" y="177"/>
                  </a:lnTo>
                  <a:lnTo>
                    <a:pt x="293" y="177"/>
                  </a:lnTo>
                  <a:lnTo>
                    <a:pt x="295" y="177"/>
                  </a:lnTo>
                  <a:lnTo>
                    <a:pt x="296" y="177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8" y="179"/>
                  </a:lnTo>
                  <a:lnTo>
                    <a:pt x="300" y="177"/>
                  </a:lnTo>
                  <a:lnTo>
                    <a:pt x="300" y="177"/>
                  </a:lnTo>
                  <a:lnTo>
                    <a:pt x="300" y="177"/>
                  </a:lnTo>
                  <a:lnTo>
                    <a:pt x="300" y="177"/>
                  </a:lnTo>
                  <a:lnTo>
                    <a:pt x="300" y="177"/>
                  </a:lnTo>
                  <a:lnTo>
                    <a:pt x="300" y="175"/>
                  </a:lnTo>
                  <a:lnTo>
                    <a:pt x="302" y="175"/>
                  </a:lnTo>
                  <a:lnTo>
                    <a:pt x="302" y="173"/>
                  </a:lnTo>
                  <a:lnTo>
                    <a:pt x="304" y="173"/>
                  </a:lnTo>
                  <a:lnTo>
                    <a:pt x="304" y="175"/>
                  </a:lnTo>
                  <a:lnTo>
                    <a:pt x="305" y="173"/>
                  </a:lnTo>
                  <a:lnTo>
                    <a:pt x="305" y="173"/>
                  </a:lnTo>
                  <a:lnTo>
                    <a:pt x="305" y="173"/>
                  </a:lnTo>
                  <a:lnTo>
                    <a:pt x="305" y="173"/>
                  </a:lnTo>
                  <a:lnTo>
                    <a:pt x="305" y="172"/>
                  </a:lnTo>
                  <a:lnTo>
                    <a:pt x="305" y="172"/>
                  </a:lnTo>
                  <a:lnTo>
                    <a:pt x="307" y="172"/>
                  </a:lnTo>
                  <a:lnTo>
                    <a:pt x="311" y="172"/>
                  </a:lnTo>
                  <a:lnTo>
                    <a:pt x="313" y="172"/>
                  </a:lnTo>
                  <a:lnTo>
                    <a:pt x="313" y="172"/>
                  </a:lnTo>
                  <a:lnTo>
                    <a:pt x="314" y="172"/>
                  </a:lnTo>
                  <a:lnTo>
                    <a:pt x="316" y="172"/>
                  </a:lnTo>
                  <a:lnTo>
                    <a:pt x="318" y="172"/>
                  </a:lnTo>
                  <a:lnTo>
                    <a:pt x="322" y="173"/>
                  </a:lnTo>
                  <a:lnTo>
                    <a:pt x="324" y="173"/>
                  </a:lnTo>
                  <a:lnTo>
                    <a:pt x="324" y="173"/>
                  </a:lnTo>
                  <a:lnTo>
                    <a:pt x="325" y="175"/>
                  </a:lnTo>
                  <a:lnTo>
                    <a:pt x="325" y="175"/>
                  </a:lnTo>
                  <a:lnTo>
                    <a:pt x="325" y="175"/>
                  </a:lnTo>
                  <a:lnTo>
                    <a:pt x="325" y="173"/>
                  </a:lnTo>
                  <a:lnTo>
                    <a:pt x="324" y="172"/>
                  </a:lnTo>
                  <a:lnTo>
                    <a:pt x="324" y="172"/>
                  </a:lnTo>
                  <a:lnTo>
                    <a:pt x="324" y="170"/>
                  </a:lnTo>
                  <a:lnTo>
                    <a:pt x="324" y="168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4" y="164"/>
                  </a:lnTo>
                  <a:lnTo>
                    <a:pt x="324" y="164"/>
                  </a:lnTo>
                  <a:lnTo>
                    <a:pt x="324" y="164"/>
                  </a:lnTo>
                  <a:lnTo>
                    <a:pt x="324" y="164"/>
                  </a:lnTo>
                  <a:lnTo>
                    <a:pt x="324" y="163"/>
                  </a:lnTo>
                  <a:lnTo>
                    <a:pt x="324" y="163"/>
                  </a:lnTo>
                  <a:lnTo>
                    <a:pt x="325" y="163"/>
                  </a:lnTo>
                  <a:lnTo>
                    <a:pt x="325" y="163"/>
                  </a:lnTo>
                  <a:lnTo>
                    <a:pt x="327" y="163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31" y="159"/>
                  </a:lnTo>
                  <a:lnTo>
                    <a:pt x="333" y="157"/>
                  </a:lnTo>
                  <a:lnTo>
                    <a:pt x="333" y="157"/>
                  </a:lnTo>
                  <a:lnTo>
                    <a:pt x="334" y="155"/>
                  </a:lnTo>
                  <a:lnTo>
                    <a:pt x="334" y="155"/>
                  </a:lnTo>
                  <a:lnTo>
                    <a:pt x="336" y="155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6" y="152"/>
                  </a:lnTo>
                  <a:lnTo>
                    <a:pt x="338" y="152"/>
                  </a:lnTo>
                  <a:lnTo>
                    <a:pt x="338" y="152"/>
                  </a:lnTo>
                  <a:lnTo>
                    <a:pt x="338" y="150"/>
                  </a:lnTo>
                  <a:lnTo>
                    <a:pt x="338" y="150"/>
                  </a:lnTo>
                  <a:lnTo>
                    <a:pt x="340" y="150"/>
                  </a:lnTo>
                  <a:lnTo>
                    <a:pt x="343" y="150"/>
                  </a:lnTo>
                  <a:lnTo>
                    <a:pt x="343" y="150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7" y="152"/>
                  </a:lnTo>
                  <a:lnTo>
                    <a:pt x="347" y="152"/>
                  </a:lnTo>
                  <a:lnTo>
                    <a:pt x="349" y="150"/>
                  </a:lnTo>
                  <a:lnTo>
                    <a:pt x="349" y="150"/>
                  </a:lnTo>
                  <a:lnTo>
                    <a:pt x="347" y="150"/>
                  </a:lnTo>
                  <a:lnTo>
                    <a:pt x="347" y="148"/>
                  </a:lnTo>
                  <a:lnTo>
                    <a:pt x="345" y="148"/>
                  </a:lnTo>
                  <a:lnTo>
                    <a:pt x="347" y="148"/>
                  </a:lnTo>
                  <a:lnTo>
                    <a:pt x="349" y="148"/>
                  </a:lnTo>
                  <a:lnTo>
                    <a:pt x="349" y="146"/>
                  </a:lnTo>
                  <a:lnTo>
                    <a:pt x="349" y="146"/>
                  </a:lnTo>
                  <a:lnTo>
                    <a:pt x="349" y="146"/>
                  </a:lnTo>
                  <a:lnTo>
                    <a:pt x="349" y="146"/>
                  </a:lnTo>
                  <a:lnTo>
                    <a:pt x="347" y="146"/>
                  </a:lnTo>
                  <a:lnTo>
                    <a:pt x="347" y="145"/>
                  </a:lnTo>
                  <a:lnTo>
                    <a:pt x="347" y="143"/>
                  </a:lnTo>
                  <a:lnTo>
                    <a:pt x="349" y="143"/>
                  </a:lnTo>
                  <a:lnTo>
                    <a:pt x="349" y="141"/>
                  </a:lnTo>
                  <a:lnTo>
                    <a:pt x="351" y="141"/>
                  </a:lnTo>
                  <a:lnTo>
                    <a:pt x="349" y="139"/>
                  </a:lnTo>
                  <a:lnTo>
                    <a:pt x="349" y="139"/>
                  </a:lnTo>
                  <a:lnTo>
                    <a:pt x="347" y="141"/>
                  </a:lnTo>
                  <a:lnTo>
                    <a:pt x="345" y="139"/>
                  </a:lnTo>
                  <a:lnTo>
                    <a:pt x="345" y="139"/>
                  </a:lnTo>
                  <a:lnTo>
                    <a:pt x="347" y="139"/>
                  </a:lnTo>
                  <a:lnTo>
                    <a:pt x="347" y="137"/>
                  </a:lnTo>
                  <a:lnTo>
                    <a:pt x="345" y="137"/>
                  </a:lnTo>
                  <a:lnTo>
                    <a:pt x="345" y="137"/>
                  </a:lnTo>
                  <a:lnTo>
                    <a:pt x="345" y="137"/>
                  </a:lnTo>
                  <a:lnTo>
                    <a:pt x="345" y="137"/>
                  </a:lnTo>
                  <a:lnTo>
                    <a:pt x="345" y="136"/>
                  </a:lnTo>
                  <a:lnTo>
                    <a:pt x="345" y="134"/>
                  </a:lnTo>
                  <a:lnTo>
                    <a:pt x="345" y="134"/>
                  </a:lnTo>
                  <a:lnTo>
                    <a:pt x="345" y="132"/>
                  </a:lnTo>
                  <a:lnTo>
                    <a:pt x="347" y="132"/>
                  </a:lnTo>
                  <a:lnTo>
                    <a:pt x="347" y="132"/>
                  </a:lnTo>
                  <a:lnTo>
                    <a:pt x="349" y="130"/>
                  </a:lnTo>
                  <a:lnTo>
                    <a:pt x="347" y="128"/>
                  </a:lnTo>
                  <a:lnTo>
                    <a:pt x="347" y="126"/>
                  </a:lnTo>
                  <a:lnTo>
                    <a:pt x="345" y="126"/>
                  </a:lnTo>
                  <a:lnTo>
                    <a:pt x="345" y="126"/>
                  </a:lnTo>
                  <a:lnTo>
                    <a:pt x="345" y="125"/>
                  </a:lnTo>
                  <a:lnTo>
                    <a:pt x="345" y="125"/>
                  </a:lnTo>
                  <a:lnTo>
                    <a:pt x="345" y="125"/>
                  </a:lnTo>
                  <a:lnTo>
                    <a:pt x="345" y="125"/>
                  </a:lnTo>
                  <a:lnTo>
                    <a:pt x="345" y="125"/>
                  </a:lnTo>
                  <a:lnTo>
                    <a:pt x="345" y="125"/>
                  </a:lnTo>
                  <a:lnTo>
                    <a:pt x="345" y="121"/>
                  </a:lnTo>
                  <a:lnTo>
                    <a:pt x="347" y="121"/>
                  </a:lnTo>
                  <a:lnTo>
                    <a:pt x="347" y="121"/>
                  </a:lnTo>
                  <a:lnTo>
                    <a:pt x="347" y="121"/>
                  </a:lnTo>
                  <a:lnTo>
                    <a:pt x="349" y="121"/>
                  </a:lnTo>
                  <a:lnTo>
                    <a:pt x="354" y="119"/>
                  </a:lnTo>
                  <a:lnTo>
                    <a:pt x="356" y="117"/>
                  </a:lnTo>
                  <a:lnTo>
                    <a:pt x="356" y="117"/>
                  </a:lnTo>
                  <a:lnTo>
                    <a:pt x="356" y="114"/>
                  </a:lnTo>
                  <a:lnTo>
                    <a:pt x="356" y="114"/>
                  </a:lnTo>
                  <a:lnTo>
                    <a:pt x="358" y="114"/>
                  </a:lnTo>
                  <a:lnTo>
                    <a:pt x="358" y="112"/>
                  </a:lnTo>
                  <a:lnTo>
                    <a:pt x="358" y="110"/>
                  </a:lnTo>
                  <a:lnTo>
                    <a:pt x="358" y="110"/>
                  </a:lnTo>
                  <a:lnTo>
                    <a:pt x="358" y="110"/>
                  </a:lnTo>
                  <a:lnTo>
                    <a:pt x="356" y="108"/>
                  </a:lnTo>
                  <a:lnTo>
                    <a:pt x="358" y="108"/>
                  </a:lnTo>
                  <a:lnTo>
                    <a:pt x="356" y="107"/>
                  </a:lnTo>
                  <a:lnTo>
                    <a:pt x="356" y="105"/>
                  </a:lnTo>
                  <a:lnTo>
                    <a:pt x="354" y="105"/>
                  </a:lnTo>
                  <a:lnTo>
                    <a:pt x="352" y="105"/>
                  </a:lnTo>
                  <a:lnTo>
                    <a:pt x="351" y="103"/>
                  </a:lnTo>
                  <a:lnTo>
                    <a:pt x="349" y="103"/>
                  </a:lnTo>
                  <a:lnTo>
                    <a:pt x="345" y="103"/>
                  </a:lnTo>
                  <a:lnTo>
                    <a:pt x="345" y="101"/>
                  </a:lnTo>
                  <a:lnTo>
                    <a:pt x="345" y="101"/>
                  </a:lnTo>
                  <a:lnTo>
                    <a:pt x="345" y="99"/>
                  </a:lnTo>
                  <a:lnTo>
                    <a:pt x="347" y="99"/>
                  </a:lnTo>
                  <a:lnTo>
                    <a:pt x="347" y="99"/>
                  </a:lnTo>
                  <a:lnTo>
                    <a:pt x="347" y="101"/>
                  </a:lnTo>
                  <a:lnTo>
                    <a:pt x="347" y="101"/>
                  </a:lnTo>
                  <a:lnTo>
                    <a:pt x="347" y="99"/>
                  </a:lnTo>
                  <a:lnTo>
                    <a:pt x="347" y="99"/>
                  </a:lnTo>
                  <a:lnTo>
                    <a:pt x="351" y="99"/>
                  </a:lnTo>
                  <a:lnTo>
                    <a:pt x="351" y="98"/>
                  </a:lnTo>
                  <a:lnTo>
                    <a:pt x="351" y="98"/>
                  </a:lnTo>
                  <a:lnTo>
                    <a:pt x="351" y="96"/>
                  </a:lnTo>
                  <a:lnTo>
                    <a:pt x="351" y="96"/>
                  </a:lnTo>
                  <a:lnTo>
                    <a:pt x="352" y="96"/>
                  </a:lnTo>
                  <a:lnTo>
                    <a:pt x="354" y="96"/>
                  </a:lnTo>
                  <a:lnTo>
                    <a:pt x="360" y="98"/>
                  </a:lnTo>
                  <a:lnTo>
                    <a:pt x="360" y="98"/>
                  </a:lnTo>
                  <a:lnTo>
                    <a:pt x="360" y="98"/>
                  </a:lnTo>
                  <a:lnTo>
                    <a:pt x="360" y="99"/>
                  </a:lnTo>
                  <a:lnTo>
                    <a:pt x="360" y="99"/>
                  </a:lnTo>
                  <a:lnTo>
                    <a:pt x="361" y="99"/>
                  </a:lnTo>
                  <a:lnTo>
                    <a:pt x="361" y="101"/>
                  </a:lnTo>
                  <a:lnTo>
                    <a:pt x="363" y="101"/>
                  </a:lnTo>
                  <a:lnTo>
                    <a:pt x="365" y="101"/>
                  </a:lnTo>
                  <a:lnTo>
                    <a:pt x="365" y="99"/>
                  </a:lnTo>
                  <a:lnTo>
                    <a:pt x="367" y="99"/>
                  </a:lnTo>
                  <a:lnTo>
                    <a:pt x="367" y="98"/>
                  </a:lnTo>
                  <a:lnTo>
                    <a:pt x="367" y="99"/>
                  </a:lnTo>
                  <a:lnTo>
                    <a:pt x="369" y="101"/>
                  </a:lnTo>
                  <a:lnTo>
                    <a:pt x="374" y="99"/>
                  </a:lnTo>
                  <a:lnTo>
                    <a:pt x="378" y="99"/>
                  </a:lnTo>
                  <a:lnTo>
                    <a:pt x="378" y="98"/>
                  </a:lnTo>
                  <a:lnTo>
                    <a:pt x="378" y="98"/>
                  </a:lnTo>
                  <a:lnTo>
                    <a:pt x="378" y="98"/>
                  </a:lnTo>
                  <a:lnTo>
                    <a:pt x="378" y="98"/>
                  </a:lnTo>
                  <a:lnTo>
                    <a:pt x="376" y="94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78" y="90"/>
                  </a:lnTo>
                  <a:lnTo>
                    <a:pt x="376" y="90"/>
                  </a:lnTo>
                  <a:lnTo>
                    <a:pt x="376" y="89"/>
                  </a:lnTo>
                  <a:lnTo>
                    <a:pt x="376" y="89"/>
                  </a:lnTo>
                  <a:lnTo>
                    <a:pt x="374" y="89"/>
                  </a:lnTo>
                  <a:lnTo>
                    <a:pt x="374" y="89"/>
                  </a:lnTo>
                  <a:lnTo>
                    <a:pt x="374" y="87"/>
                  </a:lnTo>
                  <a:lnTo>
                    <a:pt x="376" y="87"/>
                  </a:lnTo>
                  <a:lnTo>
                    <a:pt x="378" y="87"/>
                  </a:lnTo>
                  <a:lnTo>
                    <a:pt x="378" y="85"/>
                  </a:lnTo>
                  <a:lnTo>
                    <a:pt x="378" y="85"/>
                  </a:lnTo>
                  <a:lnTo>
                    <a:pt x="378" y="83"/>
                  </a:lnTo>
                  <a:lnTo>
                    <a:pt x="380" y="83"/>
                  </a:lnTo>
                  <a:lnTo>
                    <a:pt x="378" y="83"/>
                  </a:lnTo>
                  <a:lnTo>
                    <a:pt x="378" y="83"/>
                  </a:lnTo>
                  <a:lnTo>
                    <a:pt x="378" y="81"/>
                  </a:lnTo>
                  <a:lnTo>
                    <a:pt x="378" y="81"/>
                  </a:lnTo>
                  <a:lnTo>
                    <a:pt x="378" y="81"/>
                  </a:lnTo>
                  <a:lnTo>
                    <a:pt x="378" y="81"/>
                  </a:lnTo>
                  <a:lnTo>
                    <a:pt x="380" y="81"/>
                  </a:lnTo>
                  <a:lnTo>
                    <a:pt x="380" y="81"/>
                  </a:lnTo>
                  <a:lnTo>
                    <a:pt x="380" y="80"/>
                  </a:lnTo>
                  <a:lnTo>
                    <a:pt x="380" y="80"/>
                  </a:lnTo>
                  <a:lnTo>
                    <a:pt x="378" y="80"/>
                  </a:lnTo>
                  <a:lnTo>
                    <a:pt x="381" y="76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8" name="Freeform 167">
              <a:extLst>
                <a:ext uri="{FF2B5EF4-FFF2-40B4-BE49-F238E27FC236}">
                  <a16:creationId xmlns:a16="http://schemas.microsoft.com/office/drawing/2014/main" id="{242B7F73-0037-7473-C192-63E1C0ED43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21925" y="4994276"/>
              <a:ext cx="252413" cy="252413"/>
            </a:xfrm>
            <a:custGeom>
              <a:avLst/>
              <a:gdLst>
                <a:gd name="T0" fmla="*/ 101 w 159"/>
                <a:gd name="T1" fmla="*/ 46 h 159"/>
                <a:gd name="T2" fmla="*/ 159 w 159"/>
                <a:gd name="T3" fmla="*/ 136 h 159"/>
                <a:gd name="T4" fmla="*/ 153 w 159"/>
                <a:gd name="T5" fmla="*/ 130 h 159"/>
                <a:gd name="T6" fmla="*/ 148 w 159"/>
                <a:gd name="T7" fmla="*/ 121 h 159"/>
                <a:gd name="T8" fmla="*/ 153 w 159"/>
                <a:gd name="T9" fmla="*/ 118 h 159"/>
                <a:gd name="T10" fmla="*/ 151 w 159"/>
                <a:gd name="T11" fmla="*/ 114 h 159"/>
                <a:gd name="T12" fmla="*/ 141 w 159"/>
                <a:gd name="T13" fmla="*/ 112 h 159"/>
                <a:gd name="T14" fmla="*/ 132 w 159"/>
                <a:gd name="T15" fmla="*/ 107 h 159"/>
                <a:gd name="T16" fmla="*/ 119 w 159"/>
                <a:gd name="T17" fmla="*/ 96 h 159"/>
                <a:gd name="T18" fmla="*/ 106 w 159"/>
                <a:gd name="T19" fmla="*/ 87 h 159"/>
                <a:gd name="T20" fmla="*/ 123 w 159"/>
                <a:gd name="T21" fmla="*/ 82 h 159"/>
                <a:gd name="T22" fmla="*/ 126 w 159"/>
                <a:gd name="T23" fmla="*/ 73 h 159"/>
                <a:gd name="T24" fmla="*/ 123 w 159"/>
                <a:gd name="T25" fmla="*/ 69 h 159"/>
                <a:gd name="T26" fmla="*/ 103 w 159"/>
                <a:gd name="T27" fmla="*/ 53 h 159"/>
                <a:gd name="T28" fmla="*/ 99 w 159"/>
                <a:gd name="T29" fmla="*/ 47 h 159"/>
                <a:gd name="T30" fmla="*/ 101 w 159"/>
                <a:gd name="T31" fmla="*/ 36 h 159"/>
                <a:gd name="T32" fmla="*/ 105 w 159"/>
                <a:gd name="T33" fmla="*/ 29 h 159"/>
                <a:gd name="T34" fmla="*/ 99 w 159"/>
                <a:gd name="T35" fmla="*/ 20 h 159"/>
                <a:gd name="T36" fmla="*/ 88 w 159"/>
                <a:gd name="T37" fmla="*/ 20 h 159"/>
                <a:gd name="T38" fmla="*/ 83 w 159"/>
                <a:gd name="T39" fmla="*/ 17 h 159"/>
                <a:gd name="T40" fmla="*/ 88 w 159"/>
                <a:gd name="T41" fmla="*/ 11 h 159"/>
                <a:gd name="T42" fmla="*/ 79 w 159"/>
                <a:gd name="T43" fmla="*/ 6 h 159"/>
                <a:gd name="T44" fmla="*/ 68 w 159"/>
                <a:gd name="T45" fmla="*/ 4 h 159"/>
                <a:gd name="T46" fmla="*/ 61 w 159"/>
                <a:gd name="T47" fmla="*/ 6 h 159"/>
                <a:gd name="T48" fmla="*/ 54 w 159"/>
                <a:gd name="T49" fmla="*/ 8 h 159"/>
                <a:gd name="T50" fmla="*/ 50 w 159"/>
                <a:gd name="T51" fmla="*/ 8 h 159"/>
                <a:gd name="T52" fmla="*/ 43 w 159"/>
                <a:gd name="T53" fmla="*/ 8 h 159"/>
                <a:gd name="T54" fmla="*/ 36 w 159"/>
                <a:gd name="T55" fmla="*/ 6 h 159"/>
                <a:gd name="T56" fmla="*/ 30 w 159"/>
                <a:gd name="T57" fmla="*/ 8 h 159"/>
                <a:gd name="T58" fmla="*/ 20 w 159"/>
                <a:gd name="T59" fmla="*/ 11 h 159"/>
                <a:gd name="T60" fmla="*/ 2 w 159"/>
                <a:gd name="T61" fmla="*/ 13 h 159"/>
                <a:gd name="T62" fmla="*/ 3 w 159"/>
                <a:gd name="T63" fmla="*/ 20 h 159"/>
                <a:gd name="T64" fmla="*/ 11 w 159"/>
                <a:gd name="T65" fmla="*/ 29 h 159"/>
                <a:gd name="T66" fmla="*/ 12 w 159"/>
                <a:gd name="T67" fmla="*/ 44 h 159"/>
                <a:gd name="T68" fmla="*/ 11 w 159"/>
                <a:gd name="T69" fmla="*/ 51 h 159"/>
                <a:gd name="T70" fmla="*/ 7 w 159"/>
                <a:gd name="T71" fmla="*/ 53 h 159"/>
                <a:gd name="T72" fmla="*/ 9 w 159"/>
                <a:gd name="T73" fmla="*/ 62 h 159"/>
                <a:gd name="T74" fmla="*/ 12 w 159"/>
                <a:gd name="T75" fmla="*/ 71 h 159"/>
                <a:gd name="T76" fmla="*/ 11 w 159"/>
                <a:gd name="T77" fmla="*/ 76 h 159"/>
                <a:gd name="T78" fmla="*/ 32 w 159"/>
                <a:gd name="T79" fmla="*/ 83 h 159"/>
                <a:gd name="T80" fmla="*/ 38 w 159"/>
                <a:gd name="T81" fmla="*/ 83 h 159"/>
                <a:gd name="T82" fmla="*/ 56 w 159"/>
                <a:gd name="T83" fmla="*/ 92 h 159"/>
                <a:gd name="T84" fmla="*/ 58 w 159"/>
                <a:gd name="T85" fmla="*/ 96 h 159"/>
                <a:gd name="T86" fmla="*/ 63 w 159"/>
                <a:gd name="T87" fmla="*/ 100 h 159"/>
                <a:gd name="T88" fmla="*/ 72 w 159"/>
                <a:gd name="T89" fmla="*/ 105 h 159"/>
                <a:gd name="T90" fmla="*/ 81 w 159"/>
                <a:gd name="T91" fmla="*/ 101 h 159"/>
                <a:gd name="T92" fmla="*/ 86 w 159"/>
                <a:gd name="T93" fmla="*/ 114 h 159"/>
                <a:gd name="T94" fmla="*/ 94 w 159"/>
                <a:gd name="T95" fmla="*/ 116 h 159"/>
                <a:gd name="T96" fmla="*/ 101 w 159"/>
                <a:gd name="T97" fmla="*/ 120 h 159"/>
                <a:gd name="T98" fmla="*/ 114 w 159"/>
                <a:gd name="T99" fmla="*/ 114 h 159"/>
                <a:gd name="T100" fmla="*/ 117 w 159"/>
                <a:gd name="T101" fmla="*/ 120 h 159"/>
                <a:gd name="T102" fmla="*/ 119 w 159"/>
                <a:gd name="T103" fmla="*/ 129 h 159"/>
                <a:gd name="T104" fmla="*/ 128 w 159"/>
                <a:gd name="T105" fmla="*/ 134 h 159"/>
                <a:gd name="T106" fmla="*/ 126 w 159"/>
                <a:gd name="T107" fmla="*/ 143 h 159"/>
                <a:gd name="T108" fmla="*/ 141 w 159"/>
                <a:gd name="T109" fmla="*/ 156 h 159"/>
                <a:gd name="T110" fmla="*/ 153 w 159"/>
                <a:gd name="T111" fmla="*/ 157 h 159"/>
                <a:gd name="T112" fmla="*/ 151 w 159"/>
                <a:gd name="T113" fmla="*/ 150 h 159"/>
                <a:gd name="T114" fmla="*/ 150 w 159"/>
                <a:gd name="T115" fmla="*/ 141 h 159"/>
                <a:gd name="T116" fmla="*/ 157 w 159"/>
                <a:gd name="T117" fmla="*/ 138 h 159"/>
                <a:gd name="T118" fmla="*/ 76 w 159"/>
                <a:gd name="T119" fmla="*/ 17 h 159"/>
                <a:gd name="T120" fmla="*/ 86 w 159"/>
                <a:gd name="T121" fmla="*/ 22 h 159"/>
                <a:gd name="T122" fmla="*/ 88 w 159"/>
                <a:gd name="T123" fmla="*/ 2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9" h="159">
                  <a:moveTo>
                    <a:pt x="105" y="42"/>
                  </a:moveTo>
                  <a:lnTo>
                    <a:pt x="103" y="42"/>
                  </a:lnTo>
                  <a:lnTo>
                    <a:pt x="103" y="44"/>
                  </a:lnTo>
                  <a:lnTo>
                    <a:pt x="103" y="44"/>
                  </a:lnTo>
                  <a:lnTo>
                    <a:pt x="101" y="44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5" y="46"/>
                  </a:lnTo>
                  <a:lnTo>
                    <a:pt x="106" y="44"/>
                  </a:lnTo>
                  <a:lnTo>
                    <a:pt x="105" y="44"/>
                  </a:lnTo>
                  <a:lnTo>
                    <a:pt x="105" y="42"/>
                  </a:lnTo>
                  <a:close/>
                  <a:moveTo>
                    <a:pt x="159" y="136"/>
                  </a:moveTo>
                  <a:lnTo>
                    <a:pt x="159" y="136"/>
                  </a:lnTo>
                  <a:lnTo>
                    <a:pt x="157" y="136"/>
                  </a:lnTo>
                  <a:lnTo>
                    <a:pt x="157" y="136"/>
                  </a:lnTo>
                  <a:lnTo>
                    <a:pt x="155" y="13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1" y="129"/>
                  </a:lnTo>
                  <a:lnTo>
                    <a:pt x="148" y="127"/>
                  </a:lnTo>
                  <a:lnTo>
                    <a:pt x="146" y="127"/>
                  </a:lnTo>
                  <a:lnTo>
                    <a:pt x="146" y="125"/>
                  </a:lnTo>
                  <a:lnTo>
                    <a:pt x="146" y="123"/>
                  </a:lnTo>
                  <a:lnTo>
                    <a:pt x="148" y="121"/>
                  </a:lnTo>
                  <a:lnTo>
                    <a:pt x="151" y="121"/>
                  </a:lnTo>
                  <a:lnTo>
                    <a:pt x="151" y="121"/>
                  </a:lnTo>
                  <a:lnTo>
                    <a:pt x="153" y="121"/>
                  </a:lnTo>
                  <a:lnTo>
                    <a:pt x="153" y="120"/>
                  </a:lnTo>
                  <a:lnTo>
                    <a:pt x="153" y="120"/>
                  </a:lnTo>
                  <a:lnTo>
                    <a:pt x="153" y="120"/>
                  </a:lnTo>
                  <a:lnTo>
                    <a:pt x="153" y="118"/>
                  </a:lnTo>
                  <a:lnTo>
                    <a:pt x="153" y="118"/>
                  </a:lnTo>
                  <a:lnTo>
                    <a:pt x="153" y="116"/>
                  </a:lnTo>
                  <a:lnTo>
                    <a:pt x="155" y="116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51" y="114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48" y="112"/>
                  </a:lnTo>
                  <a:lnTo>
                    <a:pt x="146" y="111"/>
                  </a:lnTo>
                  <a:lnTo>
                    <a:pt x="144" y="111"/>
                  </a:lnTo>
                  <a:lnTo>
                    <a:pt x="144" y="111"/>
                  </a:lnTo>
                  <a:lnTo>
                    <a:pt x="141" y="112"/>
                  </a:lnTo>
                  <a:lnTo>
                    <a:pt x="139" y="112"/>
                  </a:lnTo>
                  <a:lnTo>
                    <a:pt x="137" y="112"/>
                  </a:lnTo>
                  <a:lnTo>
                    <a:pt x="137" y="112"/>
                  </a:lnTo>
                  <a:lnTo>
                    <a:pt x="135" y="109"/>
                  </a:lnTo>
                  <a:lnTo>
                    <a:pt x="135" y="109"/>
                  </a:lnTo>
                  <a:lnTo>
                    <a:pt x="133" y="109"/>
                  </a:lnTo>
                  <a:lnTo>
                    <a:pt x="132" y="107"/>
                  </a:lnTo>
                  <a:lnTo>
                    <a:pt x="130" y="107"/>
                  </a:lnTo>
                  <a:lnTo>
                    <a:pt x="128" y="101"/>
                  </a:lnTo>
                  <a:lnTo>
                    <a:pt x="126" y="101"/>
                  </a:lnTo>
                  <a:lnTo>
                    <a:pt x="124" y="100"/>
                  </a:lnTo>
                  <a:lnTo>
                    <a:pt x="123" y="100"/>
                  </a:lnTo>
                  <a:lnTo>
                    <a:pt x="121" y="98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1"/>
                  </a:lnTo>
                  <a:lnTo>
                    <a:pt x="115" y="91"/>
                  </a:lnTo>
                  <a:lnTo>
                    <a:pt x="114" y="89"/>
                  </a:lnTo>
                  <a:lnTo>
                    <a:pt x="108" y="89"/>
                  </a:lnTo>
                  <a:lnTo>
                    <a:pt x="106" y="87"/>
                  </a:lnTo>
                  <a:lnTo>
                    <a:pt x="106" y="87"/>
                  </a:lnTo>
                  <a:lnTo>
                    <a:pt x="106" y="87"/>
                  </a:lnTo>
                  <a:lnTo>
                    <a:pt x="110" y="83"/>
                  </a:lnTo>
                  <a:lnTo>
                    <a:pt x="119" y="85"/>
                  </a:lnTo>
                  <a:lnTo>
                    <a:pt x="121" y="85"/>
                  </a:lnTo>
                  <a:lnTo>
                    <a:pt x="123" y="85"/>
                  </a:lnTo>
                  <a:lnTo>
                    <a:pt x="123" y="83"/>
                  </a:lnTo>
                  <a:lnTo>
                    <a:pt x="123" y="82"/>
                  </a:lnTo>
                  <a:lnTo>
                    <a:pt x="123" y="80"/>
                  </a:lnTo>
                  <a:lnTo>
                    <a:pt x="124" y="80"/>
                  </a:lnTo>
                  <a:lnTo>
                    <a:pt x="126" y="78"/>
                  </a:lnTo>
                  <a:lnTo>
                    <a:pt x="126" y="76"/>
                  </a:lnTo>
                  <a:lnTo>
                    <a:pt x="126" y="73"/>
                  </a:lnTo>
                  <a:lnTo>
                    <a:pt x="126" y="73"/>
                  </a:lnTo>
                  <a:lnTo>
                    <a:pt x="126" y="73"/>
                  </a:lnTo>
                  <a:lnTo>
                    <a:pt x="126" y="71"/>
                  </a:lnTo>
                  <a:lnTo>
                    <a:pt x="126" y="69"/>
                  </a:lnTo>
                  <a:lnTo>
                    <a:pt x="124" y="69"/>
                  </a:lnTo>
                  <a:lnTo>
                    <a:pt x="124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1" y="69"/>
                  </a:lnTo>
                  <a:lnTo>
                    <a:pt x="119" y="67"/>
                  </a:lnTo>
                  <a:lnTo>
                    <a:pt x="119" y="67"/>
                  </a:lnTo>
                  <a:lnTo>
                    <a:pt x="106" y="60"/>
                  </a:lnTo>
                  <a:lnTo>
                    <a:pt x="105" y="56"/>
                  </a:lnTo>
                  <a:lnTo>
                    <a:pt x="103" y="55"/>
                  </a:lnTo>
                  <a:lnTo>
                    <a:pt x="103" y="53"/>
                  </a:lnTo>
                  <a:lnTo>
                    <a:pt x="101" y="53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7" y="46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7" y="42"/>
                  </a:lnTo>
                  <a:lnTo>
                    <a:pt x="97" y="40"/>
                  </a:lnTo>
                  <a:lnTo>
                    <a:pt x="99" y="38"/>
                  </a:lnTo>
                  <a:lnTo>
                    <a:pt x="101" y="36"/>
                  </a:lnTo>
                  <a:lnTo>
                    <a:pt x="106" y="35"/>
                  </a:lnTo>
                  <a:lnTo>
                    <a:pt x="106" y="33"/>
                  </a:lnTo>
                  <a:lnTo>
                    <a:pt x="108" y="31"/>
                  </a:lnTo>
                  <a:lnTo>
                    <a:pt x="108" y="29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5" y="29"/>
                  </a:lnTo>
                  <a:lnTo>
                    <a:pt x="105" y="27"/>
                  </a:lnTo>
                  <a:lnTo>
                    <a:pt x="103" y="26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99" y="24"/>
                  </a:lnTo>
                  <a:lnTo>
                    <a:pt x="99" y="22"/>
                  </a:lnTo>
                  <a:lnTo>
                    <a:pt x="99" y="20"/>
                  </a:lnTo>
                  <a:lnTo>
                    <a:pt x="99" y="18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5" y="20"/>
                  </a:lnTo>
                  <a:lnTo>
                    <a:pt x="94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1" y="17"/>
                  </a:lnTo>
                  <a:lnTo>
                    <a:pt x="81" y="15"/>
                  </a:lnTo>
                  <a:lnTo>
                    <a:pt x="81" y="13"/>
                  </a:lnTo>
                  <a:lnTo>
                    <a:pt x="86" y="13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6" y="9"/>
                  </a:lnTo>
                  <a:lnTo>
                    <a:pt x="85" y="8"/>
                  </a:lnTo>
                  <a:lnTo>
                    <a:pt x="83" y="8"/>
                  </a:lnTo>
                  <a:lnTo>
                    <a:pt x="81" y="8"/>
                  </a:lnTo>
                  <a:lnTo>
                    <a:pt x="79" y="8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7" y="0"/>
                  </a:lnTo>
                  <a:lnTo>
                    <a:pt x="77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4" y="2"/>
                  </a:lnTo>
                  <a:lnTo>
                    <a:pt x="68" y="2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68" y="8"/>
                  </a:lnTo>
                  <a:lnTo>
                    <a:pt x="61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6" y="9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4" y="9"/>
                  </a:lnTo>
                  <a:lnTo>
                    <a:pt x="32" y="9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9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5" y="9"/>
                  </a:lnTo>
                  <a:lnTo>
                    <a:pt x="21" y="9"/>
                  </a:lnTo>
                  <a:lnTo>
                    <a:pt x="20" y="11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5" y="22"/>
                  </a:lnTo>
                  <a:lnTo>
                    <a:pt x="9" y="22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4" y="35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6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11" y="51"/>
                  </a:lnTo>
                  <a:lnTo>
                    <a:pt x="9" y="53"/>
                  </a:lnTo>
                  <a:lnTo>
                    <a:pt x="7" y="53"/>
                  </a:lnTo>
                  <a:lnTo>
                    <a:pt x="5" y="55"/>
                  </a:lnTo>
                  <a:lnTo>
                    <a:pt x="5" y="56"/>
                  </a:lnTo>
                  <a:lnTo>
                    <a:pt x="7" y="56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60"/>
                  </a:lnTo>
                  <a:lnTo>
                    <a:pt x="9" y="62"/>
                  </a:lnTo>
                  <a:lnTo>
                    <a:pt x="7" y="62"/>
                  </a:lnTo>
                  <a:lnTo>
                    <a:pt x="7" y="64"/>
                  </a:lnTo>
                  <a:lnTo>
                    <a:pt x="9" y="64"/>
                  </a:lnTo>
                  <a:lnTo>
                    <a:pt x="9" y="65"/>
                  </a:lnTo>
                  <a:lnTo>
                    <a:pt x="12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1" y="71"/>
                  </a:lnTo>
                  <a:lnTo>
                    <a:pt x="12" y="73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8"/>
                  </a:lnTo>
                  <a:lnTo>
                    <a:pt x="14" y="80"/>
                  </a:lnTo>
                  <a:lnTo>
                    <a:pt x="18" y="82"/>
                  </a:lnTo>
                  <a:lnTo>
                    <a:pt x="23" y="85"/>
                  </a:lnTo>
                  <a:lnTo>
                    <a:pt x="29" y="85"/>
                  </a:lnTo>
                  <a:lnTo>
                    <a:pt x="30" y="85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4" y="83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6" y="85"/>
                  </a:lnTo>
                  <a:lnTo>
                    <a:pt x="36" y="83"/>
                  </a:lnTo>
                  <a:lnTo>
                    <a:pt x="38" y="83"/>
                  </a:lnTo>
                  <a:lnTo>
                    <a:pt x="41" y="83"/>
                  </a:lnTo>
                  <a:lnTo>
                    <a:pt x="43" y="83"/>
                  </a:lnTo>
                  <a:lnTo>
                    <a:pt x="45" y="83"/>
                  </a:lnTo>
                  <a:lnTo>
                    <a:pt x="47" y="85"/>
                  </a:lnTo>
                  <a:lnTo>
                    <a:pt x="50" y="87"/>
                  </a:lnTo>
                  <a:lnTo>
                    <a:pt x="54" y="91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9" y="98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7" y="103"/>
                  </a:lnTo>
                  <a:lnTo>
                    <a:pt x="67" y="105"/>
                  </a:lnTo>
                  <a:lnTo>
                    <a:pt x="68" y="105"/>
                  </a:lnTo>
                  <a:lnTo>
                    <a:pt x="70" y="103"/>
                  </a:lnTo>
                  <a:lnTo>
                    <a:pt x="72" y="105"/>
                  </a:lnTo>
                  <a:lnTo>
                    <a:pt x="74" y="103"/>
                  </a:lnTo>
                  <a:lnTo>
                    <a:pt x="76" y="103"/>
                  </a:lnTo>
                  <a:lnTo>
                    <a:pt x="76" y="103"/>
                  </a:lnTo>
                  <a:lnTo>
                    <a:pt x="77" y="101"/>
                  </a:lnTo>
                  <a:lnTo>
                    <a:pt x="79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5" y="107"/>
                  </a:lnTo>
                  <a:lnTo>
                    <a:pt x="85" y="107"/>
                  </a:lnTo>
                  <a:lnTo>
                    <a:pt x="86" y="109"/>
                  </a:lnTo>
                  <a:lnTo>
                    <a:pt x="86" y="111"/>
                  </a:lnTo>
                  <a:lnTo>
                    <a:pt x="85" y="112"/>
                  </a:lnTo>
                  <a:lnTo>
                    <a:pt x="85" y="114"/>
                  </a:lnTo>
                  <a:lnTo>
                    <a:pt x="86" y="114"/>
                  </a:lnTo>
                  <a:lnTo>
                    <a:pt x="88" y="114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2" y="112"/>
                  </a:lnTo>
                  <a:lnTo>
                    <a:pt x="92" y="114"/>
                  </a:lnTo>
                  <a:lnTo>
                    <a:pt x="94" y="116"/>
                  </a:lnTo>
                  <a:lnTo>
                    <a:pt x="94" y="116"/>
                  </a:lnTo>
                  <a:lnTo>
                    <a:pt x="94" y="116"/>
                  </a:lnTo>
                  <a:lnTo>
                    <a:pt x="97" y="116"/>
                  </a:lnTo>
                  <a:lnTo>
                    <a:pt x="97" y="118"/>
                  </a:lnTo>
                  <a:lnTo>
                    <a:pt x="99" y="120"/>
                  </a:lnTo>
                  <a:lnTo>
                    <a:pt x="99" y="120"/>
                  </a:lnTo>
                  <a:lnTo>
                    <a:pt x="99" y="120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103" y="118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5" y="114"/>
                  </a:lnTo>
                  <a:lnTo>
                    <a:pt x="115" y="114"/>
                  </a:lnTo>
                  <a:lnTo>
                    <a:pt x="117" y="116"/>
                  </a:lnTo>
                  <a:lnTo>
                    <a:pt x="117" y="116"/>
                  </a:lnTo>
                  <a:lnTo>
                    <a:pt x="117" y="118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1"/>
                  </a:lnTo>
                  <a:lnTo>
                    <a:pt x="117" y="123"/>
                  </a:lnTo>
                  <a:lnTo>
                    <a:pt x="115" y="125"/>
                  </a:lnTo>
                  <a:lnTo>
                    <a:pt x="115" y="127"/>
                  </a:lnTo>
                  <a:lnTo>
                    <a:pt x="115" y="127"/>
                  </a:lnTo>
                  <a:lnTo>
                    <a:pt x="115" y="129"/>
                  </a:lnTo>
                  <a:lnTo>
                    <a:pt x="119" y="129"/>
                  </a:lnTo>
                  <a:lnTo>
                    <a:pt x="121" y="129"/>
                  </a:lnTo>
                  <a:lnTo>
                    <a:pt x="121" y="130"/>
                  </a:lnTo>
                  <a:lnTo>
                    <a:pt x="123" y="130"/>
                  </a:lnTo>
                  <a:lnTo>
                    <a:pt x="123" y="132"/>
                  </a:lnTo>
                  <a:lnTo>
                    <a:pt x="126" y="132"/>
                  </a:lnTo>
                  <a:lnTo>
                    <a:pt x="126" y="134"/>
                  </a:lnTo>
                  <a:lnTo>
                    <a:pt x="128" y="134"/>
                  </a:lnTo>
                  <a:lnTo>
                    <a:pt x="128" y="136"/>
                  </a:lnTo>
                  <a:lnTo>
                    <a:pt x="128" y="136"/>
                  </a:lnTo>
                  <a:lnTo>
                    <a:pt x="126" y="136"/>
                  </a:lnTo>
                  <a:lnTo>
                    <a:pt x="126" y="138"/>
                  </a:lnTo>
                  <a:lnTo>
                    <a:pt x="126" y="139"/>
                  </a:lnTo>
                  <a:lnTo>
                    <a:pt x="126" y="141"/>
                  </a:lnTo>
                  <a:lnTo>
                    <a:pt x="126" y="143"/>
                  </a:lnTo>
                  <a:lnTo>
                    <a:pt x="128" y="145"/>
                  </a:lnTo>
                  <a:lnTo>
                    <a:pt x="130" y="147"/>
                  </a:lnTo>
                  <a:lnTo>
                    <a:pt x="132" y="154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41" y="156"/>
                  </a:lnTo>
                  <a:lnTo>
                    <a:pt x="142" y="156"/>
                  </a:lnTo>
                  <a:lnTo>
                    <a:pt x="142" y="156"/>
                  </a:lnTo>
                  <a:lnTo>
                    <a:pt x="144" y="156"/>
                  </a:lnTo>
                  <a:lnTo>
                    <a:pt x="146" y="156"/>
                  </a:lnTo>
                  <a:lnTo>
                    <a:pt x="146" y="156"/>
                  </a:lnTo>
                  <a:lnTo>
                    <a:pt x="148" y="156"/>
                  </a:lnTo>
                  <a:lnTo>
                    <a:pt x="153" y="157"/>
                  </a:lnTo>
                  <a:lnTo>
                    <a:pt x="153" y="157"/>
                  </a:lnTo>
                  <a:lnTo>
                    <a:pt x="151" y="154"/>
                  </a:lnTo>
                  <a:lnTo>
                    <a:pt x="151" y="154"/>
                  </a:lnTo>
                  <a:lnTo>
                    <a:pt x="151" y="152"/>
                  </a:lnTo>
                  <a:lnTo>
                    <a:pt x="151" y="152"/>
                  </a:lnTo>
                  <a:lnTo>
                    <a:pt x="151" y="152"/>
                  </a:lnTo>
                  <a:lnTo>
                    <a:pt x="151" y="150"/>
                  </a:lnTo>
                  <a:lnTo>
                    <a:pt x="151" y="150"/>
                  </a:lnTo>
                  <a:lnTo>
                    <a:pt x="153" y="148"/>
                  </a:lnTo>
                  <a:lnTo>
                    <a:pt x="153" y="147"/>
                  </a:lnTo>
                  <a:lnTo>
                    <a:pt x="153" y="145"/>
                  </a:lnTo>
                  <a:lnTo>
                    <a:pt x="151" y="143"/>
                  </a:lnTo>
                  <a:lnTo>
                    <a:pt x="151" y="143"/>
                  </a:lnTo>
                  <a:lnTo>
                    <a:pt x="150" y="141"/>
                  </a:lnTo>
                  <a:lnTo>
                    <a:pt x="148" y="139"/>
                  </a:lnTo>
                  <a:lnTo>
                    <a:pt x="148" y="138"/>
                  </a:lnTo>
                  <a:lnTo>
                    <a:pt x="150" y="138"/>
                  </a:lnTo>
                  <a:lnTo>
                    <a:pt x="151" y="138"/>
                  </a:lnTo>
                  <a:lnTo>
                    <a:pt x="153" y="139"/>
                  </a:lnTo>
                  <a:lnTo>
                    <a:pt x="155" y="139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36"/>
                  </a:lnTo>
                  <a:lnTo>
                    <a:pt x="159" y="136"/>
                  </a:lnTo>
                  <a:close/>
                  <a:moveTo>
                    <a:pt x="79" y="18"/>
                  </a:moveTo>
                  <a:lnTo>
                    <a:pt x="77" y="18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5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79" y="17"/>
                  </a:lnTo>
                  <a:lnTo>
                    <a:pt x="79" y="18"/>
                  </a:lnTo>
                  <a:close/>
                  <a:moveTo>
                    <a:pt x="88" y="22"/>
                  </a:moveTo>
                  <a:lnTo>
                    <a:pt x="86" y="22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8" y="20"/>
                  </a:lnTo>
                  <a:lnTo>
                    <a:pt x="88" y="22"/>
                  </a:lnTo>
                  <a:lnTo>
                    <a:pt x="88" y="22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E980A788-4DAC-8E59-6B22-E808E45E5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1825" y="4851401"/>
              <a:ext cx="28575" cy="22225"/>
            </a:xfrm>
            <a:custGeom>
              <a:avLst/>
              <a:gdLst>
                <a:gd name="T0" fmla="*/ 18 w 18"/>
                <a:gd name="T1" fmla="*/ 5 h 14"/>
                <a:gd name="T2" fmla="*/ 16 w 18"/>
                <a:gd name="T3" fmla="*/ 5 h 14"/>
                <a:gd name="T4" fmla="*/ 16 w 18"/>
                <a:gd name="T5" fmla="*/ 4 h 14"/>
                <a:gd name="T6" fmla="*/ 14 w 18"/>
                <a:gd name="T7" fmla="*/ 4 h 14"/>
                <a:gd name="T8" fmla="*/ 16 w 18"/>
                <a:gd name="T9" fmla="*/ 2 h 14"/>
                <a:gd name="T10" fmla="*/ 9 w 18"/>
                <a:gd name="T11" fmla="*/ 2 h 14"/>
                <a:gd name="T12" fmla="*/ 9 w 18"/>
                <a:gd name="T13" fmla="*/ 2 h 14"/>
                <a:gd name="T14" fmla="*/ 7 w 18"/>
                <a:gd name="T15" fmla="*/ 0 h 14"/>
                <a:gd name="T16" fmla="*/ 5 w 18"/>
                <a:gd name="T17" fmla="*/ 0 h 14"/>
                <a:gd name="T18" fmla="*/ 4 w 18"/>
                <a:gd name="T19" fmla="*/ 0 h 14"/>
                <a:gd name="T20" fmla="*/ 4 w 18"/>
                <a:gd name="T21" fmla="*/ 0 h 14"/>
                <a:gd name="T22" fmla="*/ 2 w 18"/>
                <a:gd name="T23" fmla="*/ 4 h 14"/>
                <a:gd name="T24" fmla="*/ 2 w 18"/>
                <a:gd name="T25" fmla="*/ 4 h 14"/>
                <a:gd name="T26" fmla="*/ 0 w 18"/>
                <a:gd name="T27" fmla="*/ 4 h 14"/>
                <a:gd name="T28" fmla="*/ 0 w 18"/>
                <a:gd name="T29" fmla="*/ 5 h 14"/>
                <a:gd name="T30" fmla="*/ 0 w 18"/>
                <a:gd name="T31" fmla="*/ 5 h 14"/>
                <a:gd name="T32" fmla="*/ 0 w 18"/>
                <a:gd name="T33" fmla="*/ 5 h 14"/>
                <a:gd name="T34" fmla="*/ 0 w 18"/>
                <a:gd name="T35" fmla="*/ 5 h 14"/>
                <a:gd name="T36" fmla="*/ 0 w 18"/>
                <a:gd name="T37" fmla="*/ 7 h 14"/>
                <a:gd name="T38" fmla="*/ 0 w 18"/>
                <a:gd name="T39" fmla="*/ 7 h 14"/>
                <a:gd name="T40" fmla="*/ 0 w 18"/>
                <a:gd name="T41" fmla="*/ 7 h 14"/>
                <a:gd name="T42" fmla="*/ 2 w 18"/>
                <a:gd name="T43" fmla="*/ 9 h 14"/>
                <a:gd name="T44" fmla="*/ 2 w 18"/>
                <a:gd name="T45" fmla="*/ 9 h 14"/>
                <a:gd name="T46" fmla="*/ 2 w 18"/>
                <a:gd name="T47" fmla="*/ 11 h 14"/>
                <a:gd name="T48" fmla="*/ 0 w 18"/>
                <a:gd name="T49" fmla="*/ 11 h 14"/>
                <a:gd name="T50" fmla="*/ 0 w 18"/>
                <a:gd name="T51" fmla="*/ 11 h 14"/>
                <a:gd name="T52" fmla="*/ 2 w 18"/>
                <a:gd name="T53" fmla="*/ 13 h 14"/>
                <a:gd name="T54" fmla="*/ 2 w 18"/>
                <a:gd name="T55" fmla="*/ 14 h 14"/>
                <a:gd name="T56" fmla="*/ 2 w 18"/>
                <a:gd name="T57" fmla="*/ 14 h 14"/>
                <a:gd name="T58" fmla="*/ 5 w 18"/>
                <a:gd name="T59" fmla="*/ 14 h 14"/>
                <a:gd name="T60" fmla="*/ 5 w 18"/>
                <a:gd name="T61" fmla="*/ 14 h 14"/>
                <a:gd name="T62" fmla="*/ 5 w 18"/>
                <a:gd name="T63" fmla="*/ 14 h 14"/>
                <a:gd name="T64" fmla="*/ 5 w 18"/>
                <a:gd name="T65" fmla="*/ 14 h 14"/>
                <a:gd name="T66" fmla="*/ 7 w 18"/>
                <a:gd name="T67" fmla="*/ 14 h 14"/>
                <a:gd name="T68" fmla="*/ 7 w 18"/>
                <a:gd name="T69" fmla="*/ 13 h 14"/>
                <a:gd name="T70" fmla="*/ 9 w 18"/>
                <a:gd name="T71" fmla="*/ 13 h 14"/>
                <a:gd name="T72" fmla="*/ 11 w 18"/>
                <a:gd name="T73" fmla="*/ 13 h 14"/>
                <a:gd name="T74" fmla="*/ 13 w 18"/>
                <a:gd name="T75" fmla="*/ 11 h 14"/>
                <a:gd name="T76" fmla="*/ 13 w 18"/>
                <a:gd name="T77" fmla="*/ 11 h 14"/>
                <a:gd name="T78" fmla="*/ 13 w 18"/>
                <a:gd name="T79" fmla="*/ 11 h 14"/>
                <a:gd name="T80" fmla="*/ 13 w 18"/>
                <a:gd name="T81" fmla="*/ 11 h 14"/>
                <a:gd name="T82" fmla="*/ 13 w 18"/>
                <a:gd name="T83" fmla="*/ 11 h 14"/>
                <a:gd name="T84" fmla="*/ 13 w 18"/>
                <a:gd name="T85" fmla="*/ 11 h 14"/>
                <a:gd name="T86" fmla="*/ 14 w 18"/>
                <a:gd name="T87" fmla="*/ 11 h 14"/>
                <a:gd name="T88" fmla="*/ 14 w 18"/>
                <a:gd name="T89" fmla="*/ 11 h 14"/>
                <a:gd name="T90" fmla="*/ 14 w 18"/>
                <a:gd name="T91" fmla="*/ 9 h 14"/>
                <a:gd name="T92" fmla="*/ 14 w 18"/>
                <a:gd name="T93" fmla="*/ 9 h 14"/>
                <a:gd name="T94" fmla="*/ 16 w 18"/>
                <a:gd name="T95" fmla="*/ 7 h 14"/>
                <a:gd name="T96" fmla="*/ 16 w 18"/>
                <a:gd name="T97" fmla="*/ 5 h 14"/>
                <a:gd name="T98" fmla="*/ 18 w 18"/>
                <a:gd name="T99" fmla="*/ 5 h 14"/>
                <a:gd name="T100" fmla="*/ 18 w 18"/>
                <a:gd name="T101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" h="14">
                  <a:moveTo>
                    <a:pt x="18" y="5"/>
                  </a:moveTo>
                  <a:lnTo>
                    <a:pt x="16" y="5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9" y="13"/>
                  </a:lnTo>
                  <a:lnTo>
                    <a:pt x="11" y="13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6" y="7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70" name="Freeform 169">
              <a:extLst>
                <a:ext uri="{FF2B5EF4-FFF2-40B4-BE49-F238E27FC236}">
                  <a16:creationId xmlns:a16="http://schemas.microsoft.com/office/drawing/2014/main" id="{53527B60-BB66-068E-210A-230B8C6F5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1050" y="4851401"/>
              <a:ext cx="139700" cy="315913"/>
            </a:xfrm>
            <a:custGeom>
              <a:avLst/>
              <a:gdLst>
                <a:gd name="T0" fmla="*/ 83 w 88"/>
                <a:gd name="T1" fmla="*/ 126 h 199"/>
                <a:gd name="T2" fmla="*/ 78 w 88"/>
                <a:gd name="T3" fmla="*/ 116 h 199"/>
                <a:gd name="T4" fmla="*/ 70 w 88"/>
                <a:gd name="T5" fmla="*/ 107 h 199"/>
                <a:gd name="T6" fmla="*/ 65 w 88"/>
                <a:gd name="T7" fmla="*/ 103 h 199"/>
                <a:gd name="T8" fmla="*/ 61 w 88"/>
                <a:gd name="T9" fmla="*/ 89 h 199"/>
                <a:gd name="T10" fmla="*/ 63 w 88"/>
                <a:gd name="T11" fmla="*/ 81 h 199"/>
                <a:gd name="T12" fmla="*/ 59 w 88"/>
                <a:gd name="T13" fmla="*/ 78 h 199"/>
                <a:gd name="T14" fmla="*/ 63 w 88"/>
                <a:gd name="T15" fmla="*/ 72 h 199"/>
                <a:gd name="T16" fmla="*/ 63 w 88"/>
                <a:gd name="T17" fmla="*/ 58 h 199"/>
                <a:gd name="T18" fmla="*/ 65 w 88"/>
                <a:gd name="T19" fmla="*/ 51 h 199"/>
                <a:gd name="T20" fmla="*/ 67 w 88"/>
                <a:gd name="T21" fmla="*/ 43 h 199"/>
                <a:gd name="T22" fmla="*/ 59 w 88"/>
                <a:gd name="T23" fmla="*/ 27 h 199"/>
                <a:gd name="T24" fmla="*/ 47 w 88"/>
                <a:gd name="T25" fmla="*/ 18 h 199"/>
                <a:gd name="T26" fmla="*/ 45 w 88"/>
                <a:gd name="T27" fmla="*/ 14 h 199"/>
                <a:gd name="T28" fmla="*/ 38 w 88"/>
                <a:gd name="T29" fmla="*/ 5 h 199"/>
                <a:gd name="T30" fmla="*/ 29 w 88"/>
                <a:gd name="T31" fmla="*/ 13 h 199"/>
                <a:gd name="T32" fmla="*/ 23 w 88"/>
                <a:gd name="T33" fmla="*/ 5 h 199"/>
                <a:gd name="T34" fmla="*/ 22 w 88"/>
                <a:gd name="T35" fmla="*/ 0 h 199"/>
                <a:gd name="T36" fmla="*/ 14 w 88"/>
                <a:gd name="T37" fmla="*/ 9 h 199"/>
                <a:gd name="T38" fmla="*/ 11 w 88"/>
                <a:gd name="T39" fmla="*/ 16 h 199"/>
                <a:gd name="T40" fmla="*/ 0 w 88"/>
                <a:gd name="T41" fmla="*/ 31 h 199"/>
                <a:gd name="T42" fmla="*/ 3 w 88"/>
                <a:gd name="T43" fmla="*/ 40 h 199"/>
                <a:gd name="T44" fmla="*/ 3 w 88"/>
                <a:gd name="T45" fmla="*/ 47 h 199"/>
                <a:gd name="T46" fmla="*/ 5 w 88"/>
                <a:gd name="T47" fmla="*/ 51 h 199"/>
                <a:gd name="T48" fmla="*/ 16 w 88"/>
                <a:gd name="T49" fmla="*/ 58 h 199"/>
                <a:gd name="T50" fmla="*/ 16 w 88"/>
                <a:gd name="T51" fmla="*/ 69 h 199"/>
                <a:gd name="T52" fmla="*/ 14 w 88"/>
                <a:gd name="T53" fmla="*/ 72 h 199"/>
                <a:gd name="T54" fmla="*/ 12 w 88"/>
                <a:gd name="T55" fmla="*/ 76 h 199"/>
                <a:gd name="T56" fmla="*/ 7 w 88"/>
                <a:gd name="T57" fmla="*/ 83 h 199"/>
                <a:gd name="T58" fmla="*/ 11 w 88"/>
                <a:gd name="T59" fmla="*/ 90 h 199"/>
                <a:gd name="T60" fmla="*/ 9 w 88"/>
                <a:gd name="T61" fmla="*/ 101 h 199"/>
                <a:gd name="T62" fmla="*/ 11 w 88"/>
                <a:gd name="T63" fmla="*/ 110 h 199"/>
                <a:gd name="T64" fmla="*/ 11 w 88"/>
                <a:gd name="T65" fmla="*/ 112 h 199"/>
                <a:gd name="T66" fmla="*/ 9 w 88"/>
                <a:gd name="T67" fmla="*/ 117 h 199"/>
                <a:gd name="T68" fmla="*/ 7 w 88"/>
                <a:gd name="T69" fmla="*/ 114 h 199"/>
                <a:gd name="T70" fmla="*/ 7 w 88"/>
                <a:gd name="T71" fmla="*/ 119 h 199"/>
                <a:gd name="T72" fmla="*/ 5 w 88"/>
                <a:gd name="T73" fmla="*/ 128 h 199"/>
                <a:gd name="T74" fmla="*/ 5 w 88"/>
                <a:gd name="T75" fmla="*/ 139 h 199"/>
                <a:gd name="T76" fmla="*/ 7 w 88"/>
                <a:gd name="T77" fmla="*/ 141 h 199"/>
                <a:gd name="T78" fmla="*/ 11 w 88"/>
                <a:gd name="T79" fmla="*/ 148 h 199"/>
                <a:gd name="T80" fmla="*/ 5 w 88"/>
                <a:gd name="T81" fmla="*/ 150 h 199"/>
                <a:gd name="T82" fmla="*/ 2 w 88"/>
                <a:gd name="T83" fmla="*/ 150 h 199"/>
                <a:gd name="T84" fmla="*/ 16 w 88"/>
                <a:gd name="T85" fmla="*/ 166 h 199"/>
                <a:gd name="T86" fmla="*/ 25 w 88"/>
                <a:gd name="T87" fmla="*/ 172 h 199"/>
                <a:gd name="T88" fmla="*/ 27 w 88"/>
                <a:gd name="T89" fmla="*/ 173 h 199"/>
                <a:gd name="T90" fmla="*/ 32 w 88"/>
                <a:gd name="T91" fmla="*/ 182 h 199"/>
                <a:gd name="T92" fmla="*/ 34 w 88"/>
                <a:gd name="T93" fmla="*/ 184 h 199"/>
                <a:gd name="T94" fmla="*/ 36 w 88"/>
                <a:gd name="T95" fmla="*/ 191 h 199"/>
                <a:gd name="T96" fmla="*/ 40 w 88"/>
                <a:gd name="T97" fmla="*/ 195 h 199"/>
                <a:gd name="T98" fmla="*/ 47 w 88"/>
                <a:gd name="T99" fmla="*/ 197 h 199"/>
                <a:gd name="T100" fmla="*/ 52 w 88"/>
                <a:gd name="T101" fmla="*/ 193 h 199"/>
                <a:gd name="T102" fmla="*/ 50 w 88"/>
                <a:gd name="T103" fmla="*/ 190 h 199"/>
                <a:gd name="T104" fmla="*/ 54 w 88"/>
                <a:gd name="T105" fmla="*/ 190 h 199"/>
                <a:gd name="T106" fmla="*/ 52 w 88"/>
                <a:gd name="T107" fmla="*/ 177 h 199"/>
                <a:gd name="T108" fmla="*/ 59 w 88"/>
                <a:gd name="T109" fmla="*/ 172 h 199"/>
                <a:gd name="T110" fmla="*/ 70 w 88"/>
                <a:gd name="T111" fmla="*/ 168 h 199"/>
                <a:gd name="T112" fmla="*/ 72 w 88"/>
                <a:gd name="T113" fmla="*/ 163 h 199"/>
                <a:gd name="T114" fmla="*/ 74 w 88"/>
                <a:gd name="T115" fmla="*/ 154 h 199"/>
                <a:gd name="T116" fmla="*/ 78 w 88"/>
                <a:gd name="T117" fmla="*/ 148 h 199"/>
                <a:gd name="T118" fmla="*/ 83 w 88"/>
                <a:gd name="T119" fmla="*/ 145 h 199"/>
                <a:gd name="T120" fmla="*/ 87 w 88"/>
                <a:gd name="T121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8" h="199">
                  <a:moveTo>
                    <a:pt x="88" y="134"/>
                  </a:moveTo>
                  <a:lnTo>
                    <a:pt x="88" y="132"/>
                  </a:lnTo>
                  <a:lnTo>
                    <a:pt x="87" y="130"/>
                  </a:lnTo>
                  <a:lnTo>
                    <a:pt x="87" y="128"/>
                  </a:lnTo>
                  <a:lnTo>
                    <a:pt x="85" y="128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83" y="126"/>
                  </a:lnTo>
                  <a:lnTo>
                    <a:pt x="85" y="125"/>
                  </a:lnTo>
                  <a:lnTo>
                    <a:pt x="85" y="123"/>
                  </a:lnTo>
                  <a:lnTo>
                    <a:pt x="85" y="121"/>
                  </a:lnTo>
                  <a:lnTo>
                    <a:pt x="85" y="119"/>
                  </a:lnTo>
                  <a:lnTo>
                    <a:pt x="85" y="117"/>
                  </a:lnTo>
                  <a:lnTo>
                    <a:pt x="83" y="116"/>
                  </a:lnTo>
                  <a:lnTo>
                    <a:pt x="81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6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2" y="116"/>
                  </a:lnTo>
                  <a:lnTo>
                    <a:pt x="72" y="114"/>
                  </a:lnTo>
                  <a:lnTo>
                    <a:pt x="70" y="110"/>
                  </a:lnTo>
                  <a:lnTo>
                    <a:pt x="70" y="107"/>
                  </a:lnTo>
                  <a:lnTo>
                    <a:pt x="68" y="105"/>
                  </a:lnTo>
                  <a:lnTo>
                    <a:pt x="68" y="105"/>
                  </a:lnTo>
                  <a:lnTo>
                    <a:pt x="68" y="105"/>
                  </a:lnTo>
                  <a:lnTo>
                    <a:pt x="68" y="105"/>
                  </a:lnTo>
                  <a:lnTo>
                    <a:pt x="67" y="105"/>
                  </a:lnTo>
                  <a:lnTo>
                    <a:pt x="67" y="105"/>
                  </a:lnTo>
                  <a:lnTo>
                    <a:pt x="67" y="105"/>
                  </a:lnTo>
                  <a:lnTo>
                    <a:pt x="65" y="105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5" y="101"/>
                  </a:lnTo>
                  <a:lnTo>
                    <a:pt x="63" y="99"/>
                  </a:lnTo>
                  <a:lnTo>
                    <a:pt x="61" y="96"/>
                  </a:lnTo>
                  <a:lnTo>
                    <a:pt x="61" y="94"/>
                  </a:lnTo>
                  <a:lnTo>
                    <a:pt x="61" y="90"/>
                  </a:lnTo>
                  <a:lnTo>
                    <a:pt x="61" y="89"/>
                  </a:lnTo>
                  <a:lnTo>
                    <a:pt x="61" y="89"/>
                  </a:lnTo>
                  <a:lnTo>
                    <a:pt x="61" y="89"/>
                  </a:lnTo>
                  <a:lnTo>
                    <a:pt x="61" y="89"/>
                  </a:lnTo>
                  <a:lnTo>
                    <a:pt x="61" y="87"/>
                  </a:lnTo>
                  <a:lnTo>
                    <a:pt x="63" y="87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6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61" y="74"/>
                  </a:lnTo>
                  <a:lnTo>
                    <a:pt x="61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1" y="69"/>
                  </a:lnTo>
                  <a:lnTo>
                    <a:pt x="61" y="67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1" y="60"/>
                  </a:lnTo>
                  <a:lnTo>
                    <a:pt x="63" y="60"/>
                  </a:lnTo>
                  <a:lnTo>
                    <a:pt x="63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3" y="56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7" y="49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5"/>
                  </a:lnTo>
                  <a:lnTo>
                    <a:pt x="67" y="43"/>
                  </a:lnTo>
                  <a:lnTo>
                    <a:pt x="65" y="40"/>
                  </a:lnTo>
                  <a:lnTo>
                    <a:pt x="65" y="38"/>
                  </a:lnTo>
                  <a:lnTo>
                    <a:pt x="65" y="36"/>
                  </a:lnTo>
                  <a:lnTo>
                    <a:pt x="63" y="36"/>
                  </a:lnTo>
                  <a:lnTo>
                    <a:pt x="63" y="34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4" y="22"/>
                  </a:lnTo>
                  <a:lnTo>
                    <a:pt x="52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9"/>
                  </a:lnTo>
                  <a:lnTo>
                    <a:pt x="41" y="7"/>
                  </a:lnTo>
                  <a:lnTo>
                    <a:pt x="40" y="7"/>
                  </a:lnTo>
                  <a:lnTo>
                    <a:pt x="38" y="5"/>
                  </a:lnTo>
                  <a:lnTo>
                    <a:pt x="38" y="7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32" y="9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5" y="13"/>
                  </a:lnTo>
                  <a:lnTo>
                    <a:pt x="23" y="11"/>
                  </a:lnTo>
                  <a:lnTo>
                    <a:pt x="23" y="9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6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2" y="29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34"/>
                  </a:lnTo>
                  <a:lnTo>
                    <a:pt x="3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8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2"/>
                  </a:lnTo>
                  <a:lnTo>
                    <a:pt x="3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3" y="45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5" y="51"/>
                  </a:lnTo>
                  <a:lnTo>
                    <a:pt x="5" y="52"/>
                  </a:lnTo>
                  <a:lnTo>
                    <a:pt x="5" y="54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6" y="63"/>
                  </a:lnTo>
                  <a:lnTo>
                    <a:pt x="16" y="65"/>
                  </a:lnTo>
                  <a:lnTo>
                    <a:pt x="14" y="67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8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2" y="7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8"/>
                  </a:lnTo>
                  <a:lnTo>
                    <a:pt x="11" y="80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5" y="83"/>
                  </a:lnTo>
                  <a:lnTo>
                    <a:pt x="7" y="83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11" y="90"/>
                  </a:lnTo>
                  <a:lnTo>
                    <a:pt x="11" y="90"/>
                  </a:lnTo>
                  <a:lnTo>
                    <a:pt x="11" y="90"/>
                  </a:lnTo>
                  <a:lnTo>
                    <a:pt x="12" y="92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1" y="98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12"/>
                  </a:lnTo>
                  <a:lnTo>
                    <a:pt x="11" y="114"/>
                  </a:lnTo>
                  <a:lnTo>
                    <a:pt x="9" y="114"/>
                  </a:lnTo>
                  <a:lnTo>
                    <a:pt x="9" y="114"/>
                  </a:lnTo>
                  <a:lnTo>
                    <a:pt x="9" y="116"/>
                  </a:lnTo>
                  <a:lnTo>
                    <a:pt x="9" y="116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112"/>
                  </a:lnTo>
                  <a:lnTo>
                    <a:pt x="12" y="112"/>
                  </a:lnTo>
                  <a:lnTo>
                    <a:pt x="12" y="114"/>
                  </a:lnTo>
                  <a:lnTo>
                    <a:pt x="12" y="116"/>
                  </a:lnTo>
                  <a:lnTo>
                    <a:pt x="12" y="117"/>
                  </a:lnTo>
                  <a:lnTo>
                    <a:pt x="9" y="117"/>
                  </a:lnTo>
                  <a:lnTo>
                    <a:pt x="9" y="119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9"/>
                  </a:lnTo>
                  <a:lnTo>
                    <a:pt x="7" y="119"/>
                  </a:lnTo>
                  <a:lnTo>
                    <a:pt x="7" y="117"/>
                  </a:lnTo>
                  <a:lnTo>
                    <a:pt x="9" y="116"/>
                  </a:lnTo>
                  <a:lnTo>
                    <a:pt x="7" y="114"/>
                  </a:lnTo>
                  <a:lnTo>
                    <a:pt x="9" y="114"/>
                  </a:lnTo>
                  <a:lnTo>
                    <a:pt x="7" y="114"/>
                  </a:lnTo>
                  <a:lnTo>
                    <a:pt x="7" y="116"/>
                  </a:lnTo>
                  <a:lnTo>
                    <a:pt x="5" y="116"/>
                  </a:lnTo>
                  <a:lnTo>
                    <a:pt x="5" y="116"/>
                  </a:lnTo>
                  <a:lnTo>
                    <a:pt x="5" y="117"/>
                  </a:lnTo>
                  <a:lnTo>
                    <a:pt x="7" y="117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5" y="121"/>
                  </a:lnTo>
                  <a:lnTo>
                    <a:pt x="7" y="121"/>
                  </a:lnTo>
                  <a:lnTo>
                    <a:pt x="7" y="121"/>
                  </a:lnTo>
                  <a:lnTo>
                    <a:pt x="7" y="123"/>
                  </a:lnTo>
                  <a:lnTo>
                    <a:pt x="7" y="123"/>
                  </a:lnTo>
                  <a:lnTo>
                    <a:pt x="5" y="123"/>
                  </a:lnTo>
                  <a:lnTo>
                    <a:pt x="5" y="123"/>
                  </a:lnTo>
                  <a:lnTo>
                    <a:pt x="5" y="125"/>
                  </a:lnTo>
                  <a:lnTo>
                    <a:pt x="5" y="128"/>
                  </a:lnTo>
                  <a:lnTo>
                    <a:pt x="5" y="130"/>
                  </a:lnTo>
                  <a:lnTo>
                    <a:pt x="3" y="130"/>
                  </a:lnTo>
                  <a:lnTo>
                    <a:pt x="3" y="132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5" y="137"/>
                  </a:lnTo>
                  <a:lnTo>
                    <a:pt x="7" y="137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9" y="141"/>
                  </a:lnTo>
                  <a:lnTo>
                    <a:pt x="9" y="143"/>
                  </a:lnTo>
                  <a:lnTo>
                    <a:pt x="9" y="143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7" y="143"/>
                  </a:lnTo>
                  <a:lnTo>
                    <a:pt x="7" y="141"/>
                  </a:lnTo>
                  <a:lnTo>
                    <a:pt x="5" y="141"/>
                  </a:lnTo>
                  <a:lnTo>
                    <a:pt x="5" y="141"/>
                  </a:lnTo>
                  <a:lnTo>
                    <a:pt x="5" y="143"/>
                  </a:lnTo>
                  <a:lnTo>
                    <a:pt x="7" y="145"/>
                  </a:lnTo>
                  <a:lnTo>
                    <a:pt x="9" y="146"/>
                  </a:lnTo>
                  <a:lnTo>
                    <a:pt x="11" y="146"/>
                  </a:lnTo>
                  <a:lnTo>
                    <a:pt x="11" y="148"/>
                  </a:lnTo>
                  <a:lnTo>
                    <a:pt x="11" y="154"/>
                  </a:lnTo>
                  <a:lnTo>
                    <a:pt x="9" y="154"/>
                  </a:lnTo>
                  <a:lnTo>
                    <a:pt x="9" y="154"/>
                  </a:lnTo>
                  <a:lnTo>
                    <a:pt x="7" y="154"/>
                  </a:lnTo>
                  <a:lnTo>
                    <a:pt x="7" y="154"/>
                  </a:lnTo>
                  <a:lnTo>
                    <a:pt x="7" y="154"/>
                  </a:lnTo>
                  <a:lnTo>
                    <a:pt x="7" y="152"/>
                  </a:lnTo>
                  <a:lnTo>
                    <a:pt x="5" y="150"/>
                  </a:lnTo>
                  <a:lnTo>
                    <a:pt x="5" y="150"/>
                  </a:lnTo>
                  <a:lnTo>
                    <a:pt x="3" y="148"/>
                  </a:lnTo>
                  <a:lnTo>
                    <a:pt x="3" y="148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50"/>
                  </a:lnTo>
                  <a:lnTo>
                    <a:pt x="3" y="152"/>
                  </a:lnTo>
                  <a:lnTo>
                    <a:pt x="3" y="152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7"/>
                  </a:lnTo>
                  <a:lnTo>
                    <a:pt x="11" y="163"/>
                  </a:lnTo>
                  <a:lnTo>
                    <a:pt x="12" y="163"/>
                  </a:lnTo>
                  <a:lnTo>
                    <a:pt x="14" y="164"/>
                  </a:lnTo>
                  <a:lnTo>
                    <a:pt x="16" y="166"/>
                  </a:lnTo>
                  <a:lnTo>
                    <a:pt x="20" y="168"/>
                  </a:lnTo>
                  <a:lnTo>
                    <a:pt x="22" y="168"/>
                  </a:lnTo>
                  <a:lnTo>
                    <a:pt x="23" y="168"/>
                  </a:lnTo>
                  <a:lnTo>
                    <a:pt x="23" y="168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27" y="172"/>
                  </a:lnTo>
                  <a:lnTo>
                    <a:pt x="27" y="172"/>
                  </a:lnTo>
                  <a:lnTo>
                    <a:pt x="27" y="172"/>
                  </a:lnTo>
                  <a:lnTo>
                    <a:pt x="27" y="173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31" y="173"/>
                  </a:lnTo>
                  <a:lnTo>
                    <a:pt x="31" y="175"/>
                  </a:lnTo>
                  <a:lnTo>
                    <a:pt x="32" y="179"/>
                  </a:lnTo>
                  <a:lnTo>
                    <a:pt x="34" y="181"/>
                  </a:lnTo>
                  <a:lnTo>
                    <a:pt x="32" y="181"/>
                  </a:lnTo>
                  <a:lnTo>
                    <a:pt x="32" y="181"/>
                  </a:lnTo>
                  <a:lnTo>
                    <a:pt x="32" y="182"/>
                  </a:lnTo>
                  <a:lnTo>
                    <a:pt x="32" y="182"/>
                  </a:lnTo>
                  <a:lnTo>
                    <a:pt x="32" y="182"/>
                  </a:lnTo>
                  <a:lnTo>
                    <a:pt x="32" y="182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8" y="184"/>
                  </a:lnTo>
                  <a:lnTo>
                    <a:pt x="38" y="186"/>
                  </a:lnTo>
                  <a:lnTo>
                    <a:pt x="38" y="186"/>
                  </a:lnTo>
                  <a:lnTo>
                    <a:pt x="36" y="190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7"/>
                  </a:lnTo>
                  <a:lnTo>
                    <a:pt x="36" y="197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8" y="195"/>
                  </a:lnTo>
                  <a:lnTo>
                    <a:pt x="40" y="195"/>
                  </a:lnTo>
                  <a:lnTo>
                    <a:pt x="41" y="197"/>
                  </a:lnTo>
                  <a:lnTo>
                    <a:pt x="43" y="197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7" y="199"/>
                  </a:lnTo>
                  <a:lnTo>
                    <a:pt x="47" y="199"/>
                  </a:lnTo>
                  <a:lnTo>
                    <a:pt x="47" y="199"/>
                  </a:lnTo>
                  <a:lnTo>
                    <a:pt x="47" y="199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9" y="197"/>
                  </a:lnTo>
                  <a:lnTo>
                    <a:pt x="49" y="197"/>
                  </a:lnTo>
                  <a:lnTo>
                    <a:pt x="49" y="199"/>
                  </a:lnTo>
                  <a:lnTo>
                    <a:pt x="49" y="197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52" y="193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50" y="190"/>
                  </a:lnTo>
                  <a:lnTo>
                    <a:pt x="50" y="190"/>
                  </a:lnTo>
                  <a:lnTo>
                    <a:pt x="50" y="190"/>
                  </a:lnTo>
                  <a:lnTo>
                    <a:pt x="50" y="190"/>
                  </a:lnTo>
                  <a:lnTo>
                    <a:pt x="50" y="190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4" y="190"/>
                  </a:lnTo>
                  <a:lnTo>
                    <a:pt x="54" y="190"/>
                  </a:lnTo>
                  <a:lnTo>
                    <a:pt x="56" y="190"/>
                  </a:lnTo>
                  <a:lnTo>
                    <a:pt x="56" y="190"/>
                  </a:lnTo>
                  <a:lnTo>
                    <a:pt x="56" y="188"/>
                  </a:lnTo>
                  <a:lnTo>
                    <a:pt x="56" y="186"/>
                  </a:lnTo>
                  <a:lnTo>
                    <a:pt x="54" y="182"/>
                  </a:lnTo>
                  <a:lnTo>
                    <a:pt x="52" y="182"/>
                  </a:lnTo>
                  <a:lnTo>
                    <a:pt x="52" y="181"/>
                  </a:lnTo>
                  <a:lnTo>
                    <a:pt x="52" y="177"/>
                  </a:lnTo>
                  <a:lnTo>
                    <a:pt x="52" y="177"/>
                  </a:lnTo>
                  <a:lnTo>
                    <a:pt x="52" y="177"/>
                  </a:lnTo>
                  <a:lnTo>
                    <a:pt x="54" y="177"/>
                  </a:lnTo>
                  <a:lnTo>
                    <a:pt x="56" y="177"/>
                  </a:lnTo>
                  <a:lnTo>
                    <a:pt x="56" y="175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8" y="172"/>
                  </a:lnTo>
                  <a:lnTo>
                    <a:pt x="58" y="172"/>
                  </a:lnTo>
                  <a:lnTo>
                    <a:pt x="59" y="172"/>
                  </a:lnTo>
                  <a:lnTo>
                    <a:pt x="61" y="172"/>
                  </a:lnTo>
                  <a:lnTo>
                    <a:pt x="61" y="172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70"/>
                  </a:lnTo>
                  <a:lnTo>
                    <a:pt x="68" y="170"/>
                  </a:lnTo>
                  <a:lnTo>
                    <a:pt x="68" y="170"/>
                  </a:lnTo>
                  <a:lnTo>
                    <a:pt x="68" y="170"/>
                  </a:lnTo>
                  <a:lnTo>
                    <a:pt x="70" y="168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4"/>
                  </a:lnTo>
                  <a:lnTo>
                    <a:pt x="70" y="164"/>
                  </a:lnTo>
                  <a:lnTo>
                    <a:pt x="70" y="164"/>
                  </a:lnTo>
                  <a:lnTo>
                    <a:pt x="70" y="164"/>
                  </a:lnTo>
                  <a:lnTo>
                    <a:pt x="70" y="163"/>
                  </a:lnTo>
                  <a:lnTo>
                    <a:pt x="72" y="163"/>
                  </a:lnTo>
                  <a:lnTo>
                    <a:pt x="72" y="161"/>
                  </a:lnTo>
                  <a:lnTo>
                    <a:pt x="72" y="159"/>
                  </a:lnTo>
                  <a:lnTo>
                    <a:pt x="72" y="157"/>
                  </a:lnTo>
                  <a:lnTo>
                    <a:pt x="72" y="157"/>
                  </a:lnTo>
                  <a:lnTo>
                    <a:pt x="72" y="157"/>
                  </a:lnTo>
                  <a:lnTo>
                    <a:pt x="72" y="157"/>
                  </a:lnTo>
                  <a:lnTo>
                    <a:pt x="74" y="155"/>
                  </a:lnTo>
                  <a:lnTo>
                    <a:pt x="74" y="155"/>
                  </a:lnTo>
                  <a:lnTo>
                    <a:pt x="74" y="154"/>
                  </a:lnTo>
                  <a:lnTo>
                    <a:pt x="74" y="154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6" y="150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8" y="148"/>
                  </a:lnTo>
                  <a:lnTo>
                    <a:pt x="78" y="146"/>
                  </a:lnTo>
                  <a:lnTo>
                    <a:pt x="78" y="146"/>
                  </a:lnTo>
                  <a:lnTo>
                    <a:pt x="78" y="146"/>
                  </a:lnTo>
                  <a:lnTo>
                    <a:pt x="79" y="145"/>
                  </a:lnTo>
                  <a:lnTo>
                    <a:pt x="79" y="145"/>
                  </a:lnTo>
                  <a:lnTo>
                    <a:pt x="81" y="146"/>
                  </a:lnTo>
                  <a:lnTo>
                    <a:pt x="83" y="146"/>
                  </a:lnTo>
                  <a:lnTo>
                    <a:pt x="83" y="145"/>
                  </a:lnTo>
                  <a:lnTo>
                    <a:pt x="83" y="145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5" y="143"/>
                  </a:lnTo>
                  <a:lnTo>
                    <a:pt x="85" y="143"/>
                  </a:lnTo>
                  <a:lnTo>
                    <a:pt x="85" y="143"/>
                  </a:lnTo>
                  <a:lnTo>
                    <a:pt x="85" y="141"/>
                  </a:lnTo>
                  <a:lnTo>
                    <a:pt x="87" y="141"/>
                  </a:lnTo>
                  <a:lnTo>
                    <a:pt x="87" y="141"/>
                  </a:lnTo>
                  <a:lnTo>
                    <a:pt x="87" y="141"/>
                  </a:lnTo>
                  <a:lnTo>
                    <a:pt x="87" y="141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7"/>
                  </a:lnTo>
                  <a:lnTo>
                    <a:pt x="88" y="136"/>
                  </a:lnTo>
                  <a:lnTo>
                    <a:pt x="88" y="134"/>
                  </a:lnTo>
                  <a:lnTo>
                    <a:pt x="88" y="134"/>
                  </a:lnTo>
                  <a:close/>
                </a:path>
              </a:pathLst>
            </a:custGeom>
            <a:grpFill/>
            <a:ln w="317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1" rIns="91440" bIns="45721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4676013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E928BD-8D8D-2423-52DF-2933EB040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>
                <a:ea typeface="Roboto Light"/>
                <a:cs typeface="Roboto Medium"/>
              </a:rPr>
              <a:t>Before</a:t>
            </a:r>
            <a:r>
              <a:rPr lang="et-EE" dirty="0">
                <a:ea typeface="Roboto Light"/>
                <a:cs typeface="Roboto Medium"/>
              </a:rPr>
              <a:t> 2024</a:t>
            </a:r>
            <a:endParaRPr lang="et-E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A3820F-1B85-0932-5AEE-779CA96267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t-EE" sz="2400" dirty="0" err="1">
                <a:ea typeface="Roboto Light"/>
              </a:rPr>
              <a:t>Since</a:t>
            </a:r>
            <a:r>
              <a:rPr lang="et-EE" sz="2400" dirty="0">
                <a:ea typeface="Roboto Light"/>
              </a:rPr>
              <a:t> 2018 HPV </a:t>
            </a:r>
            <a:r>
              <a:rPr lang="et-EE" sz="2400" dirty="0" err="1">
                <a:ea typeface="Roboto Light"/>
              </a:rPr>
              <a:t>vaccination</a:t>
            </a:r>
            <a:r>
              <a:rPr lang="et-EE" sz="2400" dirty="0">
                <a:ea typeface="Roboto Light"/>
              </a:rPr>
              <a:t> </a:t>
            </a:r>
            <a:r>
              <a:rPr lang="et-EE" sz="2400" dirty="0" err="1">
                <a:ea typeface="Roboto Light"/>
              </a:rPr>
              <a:t>was</a:t>
            </a:r>
            <a:r>
              <a:rPr lang="et-EE" sz="2400" dirty="0">
                <a:ea typeface="Roboto Light"/>
              </a:rPr>
              <a:t> </a:t>
            </a:r>
            <a:r>
              <a:rPr lang="et-EE" sz="2400" dirty="0" err="1">
                <a:ea typeface="Roboto Light"/>
              </a:rPr>
              <a:t>provided</a:t>
            </a:r>
            <a:r>
              <a:rPr lang="et-EE" sz="2400" dirty="0">
                <a:ea typeface="Roboto Light"/>
              </a:rPr>
              <a:t> </a:t>
            </a:r>
            <a:r>
              <a:rPr lang="et-EE" sz="2400" dirty="0" err="1">
                <a:ea typeface="Roboto Light"/>
              </a:rPr>
              <a:t>for</a:t>
            </a:r>
            <a:r>
              <a:rPr lang="et-EE" sz="2400" dirty="0">
                <a:ea typeface="Roboto Light"/>
              </a:rPr>
              <a:t> </a:t>
            </a:r>
            <a:r>
              <a:rPr lang="et-EE" sz="2400" dirty="0" err="1">
                <a:ea typeface="Roboto Light"/>
              </a:rPr>
              <a:t>girls</a:t>
            </a:r>
            <a:r>
              <a:rPr lang="et-EE" sz="2400" dirty="0">
                <a:ea typeface="Roboto Light"/>
              </a:rPr>
              <a:t> in </a:t>
            </a:r>
            <a:r>
              <a:rPr lang="et-EE" sz="2400" dirty="0" err="1">
                <a:ea typeface="Roboto Light"/>
              </a:rPr>
              <a:t>the</a:t>
            </a:r>
            <a:r>
              <a:rPr lang="et-EE" sz="2400" dirty="0">
                <a:ea typeface="Roboto Light"/>
              </a:rPr>
              <a:t> </a:t>
            </a:r>
            <a:r>
              <a:rPr lang="et-EE" sz="2400" dirty="0" err="1">
                <a:ea typeface="Roboto Light"/>
              </a:rPr>
              <a:t>ages</a:t>
            </a:r>
            <a:r>
              <a:rPr lang="et-EE" sz="2400" dirty="0">
                <a:ea typeface="Roboto Light"/>
              </a:rPr>
              <a:t> of 12 </a:t>
            </a:r>
            <a:r>
              <a:rPr lang="et-EE" sz="2400" dirty="0" err="1">
                <a:ea typeface="Roboto Light"/>
              </a:rPr>
              <a:t>to</a:t>
            </a:r>
            <a:r>
              <a:rPr lang="et-EE" sz="2400" dirty="0">
                <a:ea typeface="Roboto Light"/>
              </a:rPr>
              <a:t> 14</a:t>
            </a:r>
            <a:endParaRPr lang="et-EE" sz="2400" dirty="0"/>
          </a:p>
          <a:p>
            <a:r>
              <a:rPr lang="et-EE" sz="2400" dirty="0" err="1">
                <a:ea typeface="Roboto Light"/>
                <a:cs typeface="Roboto"/>
              </a:rPr>
              <a:t>We</a:t>
            </a:r>
            <a:r>
              <a:rPr lang="et-EE" sz="2400" dirty="0">
                <a:ea typeface="Roboto Light"/>
                <a:cs typeface="Roboto"/>
              </a:rPr>
              <a:t> </a:t>
            </a:r>
            <a:r>
              <a:rPr lang="et-EE" sz="2400" dirty="0" err="1">
                <a:ea typeface="Roboto Light"/>
                <a:cs typeface="Roboto"/>
              </a:rPr>
              <a:t>used</a:t>
            </a:r>
            <a:r>
              <a:rPr lang="et-EE" sz="2400" dirty="0">
                <a:ea typeface="Roboto Light"/>
                <a:cs typeface="Roboto"/>
              </a:rPr>
              <a:t> </a:t>
            </a:r>
            <a:r>
              <a:rPr lang="et-EE" sz="2400" dirty="0" err="1">
                <a:ea typeface="Roboto Light"/>
                <a:cs typeface="Roboto"/>
              </a:rPr>
              <a:t>two-dose</a:t>
            </a:r>
            <a:r>
              <a:rPr lang="et-EE" sz="2400" dirty="0">
                <a:ea typeface="Roboto Light"/>
                <a:cs typeface="Roboto"/>
              </a:rPr>
              <a:t> </a:t>
            </a:r>
            <a:r>
              <a:rPr lang="et-EE" sz="2400" dirty="0" err="1">
                <a:ea typeface="Roboto Light"/>
                <a:cs typeface="Roboto"/>
              </a:rPr>
              <a:t>vaccination</a:t>
            </a:r>
            <a:r>
              <a:rPr lang="et-EE" sz="2400" dirty="0">
                <a:ea typeface="Roboto Light"/>
                <a:cs typeface="Roboto"/>
              </a:rPr>
              <a:t> </a:t>
            </a:r>
            <a:r>
              <a:rPr lang="et-EE" sz="2400" dirty="0" err="1">
                <a:ea typeface="Roboto Light"/>
                <a:cs typeface="Roboto"/>
              </a:rPr>
              <a:t>with</a:t>
            </a:r>
            <a:r>
              <a:rPr lang="et-EE" sz="2400" dirty="0">
                <a:ea typeface="Roboto Light"/>
                <a:cs typeface="Roboto"/>
              </a:rPr>
              <a:t> Gardasil9</a:t>
            </a:r>
          </a:p>
        </p:txBody>
      </p:sp>
    </p:spTree>
    <p:extLst>
      <p:ext uri="{BB962C8B-B14F-4D97-AF65-F5344CB8AC3E}">
        <p14:creationId xmlns:p14="http://schemas.microsoft.com/office/powerpoint/2010/main" val="3705165896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Text Placeholder 1">
            <a:extLst>
              <a:ext uri="{FF2B5EF4-FFF2-40B4-BE49-F238E27FC236}">
                <a16:creationId xmlns:a16="http://schemas.microsoft.com/office/drawing/2014/main" id="{166D426B-F6D4-9C8C-C7BD-B8C2B70B3F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7" y="5437189"/>
            <a:ext cx="5472112" cy="800100"/>
          </a:xfrm>
        </p:spPr>
        <p:txBody>
          <a:bodyPr/>
          <a:lstStyle/>
          <a:p>
            <a:r>
              <a:rPr lang="et-EE" dirty="0"/>
              <a:t>SOURCE: https://ecis.jrc.ec.europa.eu/pdf/factsheets/cervical_cancer_en-Nov_2021.pdf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E928BD-8D8D-2423-52DF-2933EB040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2"/>
            <a:ext cx="5472113" cy="1707880"/>
          </a:xfrm>
        </p:spPr>
        <p:txBody>
          <a:bodyPr anchor="t">
            <a:normAutofit/>
          </a:bodyPr>
          <a:lstStyle/>
          <a:p>
            <a:r>
              <a:rPr lang="et-EE" dirty="0" err="1"/>
              <a:t>Why</a:t>
            </a:r>
            <a:r>
              <a:rPr lang="et-EE" dirty="0"/>
              <a:t> </a:t>
            </a:r>
            <a:r>
              <a:rPr lang="et-EE" dirty="0" err="1"/>
              <a:t>we</a:t>
            </a:r>
            <a:r>
              <a:rPr lang="et-EE" dirty="0"/>
              <a:t> </a:t>
            </a:r>
            <a:r>
              <a:rPr lang="et-EE" dirty="0" err="1"/>
              <a:t>wanted</a:t>
            </a:r>
            <a:r>
              <a:rPr lang="et-EE" dirty="0"/>
              <a:t> </a:t>
            </a:r>
            <a:r>
              <a:rPr lang="et-EE" dirty="0" err="1"/>
              <a:t>to</a:t>
            </a:r>
            <a:r>
              <a:rPr lang="et-EE" dirty="0"/>
              <a:t> </a:t>
            </a:r>
            <a:r>
              <a:rPr lang="et-EE" dirty="0" err="1"/>
              <a:t>change</a:t>
            </a:r>
            <a:r>
              <a:rPr lang="et-EE" dirty="0"/>
              <a:t> NIP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A3820F-1B85-0932-5AEE-779CA96267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2366681"/>
            <a:ext cx="5472112" cy="2877671"/>
          </a:xfrm>
        </p:spPr>
        <p:txBody>
          <a:bodyPr anchor="t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endParaRPr lang="et-EE" sz="17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700" dirty="0"/>
              <a:t>High prevalence of HPV infection and HPV related cancers </a:t>
            </a:r>
            <a:endParaRPr lang="et-EE" sz="17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700" dirty="0"/>
              <a:t>​Insufficient coverage by cervical cancer screening (43,8-63,6%)​</a:t>
            </a:r>
            <a:endParaRPr lang="et-EE" sz="17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700" dirty="0"/>
              <a:t>Late introduction of HPV vaccination into the NIP (2018)​</a:t>
            </a:r>
            <a:endParaRPr lang="et-EE" sz="17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700" dirty="0"/>
              <a:t>Insufficient HPV vaccination coverage in the target group (~60%) </a:t>
            </a:r>
            <a:endParaRPr lang="et-EE" sz="17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t-EE" sz="1700" dirty="0"/>
              <a:t>Na</a:t>
            </a:r>
            <a:r>
              <a:rPr lang="en-US" sz="1700" dirty="0" err="1"/>
              <a:t>rrow</a:t>
            </a:r>
            <a:r>
              <a:rPr lang="en-US" sz="1700" dirty="0"/>
              <a:t> target group for HPV vaccination (12-14-year-old girls) ​</a:t>
            </a:r>
          </a:p>
        </p:txBody>
      </p:sp>
      <p:pic>
        <p:nvPicPr>
          <p:cNvPr id="1028" name="Picture 4" descr="Pilt, millel on kujutatud tekst, kaart, Atlas&#10;&#10;Kirjeldus on genereeritud automaatselt">
            <a:extLst>
              <a:ext uri="{FF2B5EF4-FFF2-40B4-BE49-F238E27FC236}">
                <a16:creationId xmlns:a16="http://schemas.microsoft.com/office/drawing/2014/main" id="{1CD48B3D-278B-4680-68A8-0361E437CE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02375" y="992896"/>
            <a:ext cx="5265738" cy="4910300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05653495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E928BD-8D8D-2423-52DF-2933EB040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>
                <a:ea typeface="Roboto Light"/>
                <a:cs typeface="Roboto Medium"/>
              </a:rPr>
              <a:t>Since</a:t>
            </a:r>
            <a:r>
              <a:rPr lang="et-EE" dirty="0">
                <a:ea typeface="Roboto Light"/>
                <a:cs typeface="Roboto Medium"/>
              </a:rPr>
              <a:t> 01.02.2024</a:t>
            </a:r>
            <a:endParaRPr lang="et-EE" dirty="0">
              <a:cs typeface="Roboto Medium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A3820F-1B85-0932-5AEE-779CA96267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t-EE" dirty="0">
                <a:ea typeface="Roboto Light"/>
                <a:cs typeface="Roboto"/>
              </a:rPr>
              <a:t>The </a:t>
            </a:r>
            <a:r>
              <a:rPr lang="et-EE" dirty="0" err="1">
                <a:ea typeface="Roboto Light"/>
                <a:cs typeface="Roboto"/>
              </a:rPr>
              <a:t>main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dirty="0" err="1">
                <a:ea typeface="Roboto Light"/>
                <a:cs typeface="Roboto"/>
              </a:rPr>
              <a:t>target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dirty="0" err="1">
                <a:ea typeface="Roboto Light"/>
                <a:cs typeface="Roboto"/>
              </a:rPr>
              <a:t>group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dirty="0" err="1">
                <a:ea typeface="Roboto Light"/>
                <a:cs typeface="Roboto"/>
              </a:rPr>
              <a:t>is</a:t>
            </a:r>
            <a:r>
              <a:rPr lang="et-EE" dirty="0">
                <a:ea typeface="Roboto Light"/>
                <a:cs typeface="Roboto"/>
              </a:rPr>
              <a:t> 12-14-year-old </a:t>
            </a:r>
            <a:r>
              <a:rPr lang="et-EE" dirty="0" err="1">
                <a:ea typeface="Roboto Light"/>
                <a:cs typeface="Roboto"/>
              </a:rPr>
              <a:t>boys</a:t>
            </a:r>
            <a:r>
              <a:rPr lang="et-EE" dirty="0">
                <a:ea typeface="Roboto Light"/>
                <a:cs typeface="Roboto"/>
              </a:rPr>
              <a:t> and </a:t>
            </a:r>
            <a:r>
              <a:rPr lang="et-EE" dirty="0" err="1">
                <a:ea typeface="Roboto Light"/>
                <a:cs typeface="Roboto"/>
              </a:rPr>
              <a:t>girls</a:t>
            </a:r>
            <a:endParaRPr lang="et-EE" dirty="0" err="1">
              <a:cs typeface="Roboto"/>
            </a:endParaRPr>
          </a:p>
          <a:p>
            <a:r>
              <a:rPr lang="et-EE" dirty="0" err="1">
                <a:ea typeface="Roboto Light"/>
                <a:cs typeface="Roboto"/>
              </a:rPr>
              <a:t>Catch-up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dirty="0" err="1">
                <a:ea typeface="Roboto Light"/>
                <a:cs typeface="Roboto"/>
              </a:rPr>
              <a:t>group</a:t>
            </a:r>
            <a:r>
              <a:rPr lang="et-EE" dirty="0">
                <a:ea typeface="Roboto Light"/>
                <a:cs typeface="Roboto"/>
              </a:rPr>
              <a:t>: 15-18-year-old </a:t>
            </a:r>
            <a:r>
              <a:rPr lang="et-EE" dirty="0" err="1">
                <a:ea typeface="Roboto Light"/>
                <a:cs typeface="Roboto"/>
              </a:rPr>
              <a:t>boys</a:t>
            </a:r>
            <a:r>
              <a:rPr lang="et-EE" dirty="0">
                <a:ea typeface="Roboto Light"/>
                <a:cs typeface="Roboto"/>
              </a:rPr>
              <a:t> and </a:t>
            </a:r>
            <a:r>
              <a:rPr lang="et-EE" dirty="0" err="1">
                <a:ea typeface="Roboto Light"/>
                <a:cs typeface="Roboto"/>
              </a:rPr>
              <a:t>girls</a:t>
            </a:r>
          </a:p>
          <a:p>
            <a:r>
              <a:rPr lang="et-EE" err="1">
                <a:ea typeface="Roboto Light"/>
                <a:cs typeface="Roboto"/>
              </a:rPr>
              <a:t>One-dose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err="1">
                <a:ea typeface="Roboto Light"/>
                <a:cs typeface="Roboto"/>
              </a:rPr>
              <a:t>vaccination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err="1">
                <a:ea typeface="Roboto Light"/>
                <a:cs typeface="Roboto"/>
              </a:rPr>
              <a:t>scheme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err="1">
                <a:ea typeface="Roboto Light"/>
                <a:cs typeface="Roboto"/>
              </a:rPr>
              <a:t>for</a:t>
            </a:r>
            <a:r>
              <a:rPr lang="et-EE" dirty="0">
                <a:ea typeface="Roboto Light"/>
                <a:cs typeface="Roboto"/>
              </a:rPr>
              <a:t> 12-18-year-olds. </a:t>
            </a:r>
            <a:r>
              <a:rPr lang="et-EE" err="1">
                <a:ea typeface="Roboto Light"/>
                <a:cs typeface="Roboto"/>
              </a:rPr>
              <a:t>We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err="1">
                <a:ea typeface="Roboto Light"/>
                <a:cs typeface="Roboto"/>
              </a:rPr>
              <a:t>use</a:t>
            </a:r>
            <a:r>
              <a:rPr lang="et-EE" dirty="0">
                <a:ea typeface="Roboto Light"/>
                <a:cs typeface="Roboto"/>
              </a:rPr>
              <a:t> Gardasil9.</a:t>
            </a:r>
          </a:p>
          <a:p>
            <a:r>
              <a:rPr lang="et-EE" dirty="0" err="1">
                <a:ea typeface="Roboto Light"/>
                <a:cs typeface="Roboto"/>
              </a:rPr>
              <a:t>Two-dose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dirty="0" err="1">
                <a:ea typeface="Roboto Light"/>
                <a:cs typeface="Roboto"/>
              </a:rPr>
              <a:t>vaccination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dirty="0" err="1">
                <a:ea typeface="Roboto Light"/>
                <a:cs typeface="Roboto"/>
              </a:rPr>
              <a:t>is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dirty="0" err="1">
                <a:ea typeface="Roboto Light"/>
                <a:cs typeface="Roboto"/>
              </a:rPr>
              <a:t>recommended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dirty="0" err="1">
                <a:ea typeface="Roboto Light"/>
                <a:cs typeface="Roboto"/>
              </a:rPr>
              <a:t>for</a:t>
            </a:r>
            <a:r>
              <a:rPr lang="et-EE" dirty="0">
                <a:ea typeface="Roboto Light"/>
                <a:cs typeface="Roboto"/>
              </a:rPr>
              <a:t> 19+</a:t>
            </a:r>
          </a:p>
          <a:p>
            <a:r>
              <a:rPr lang="et-EE" err="1">
                <a:ea typeface="Roboto Light"/>
                <a:cs typeface="Roboto"/>
              </a:rPr>
              <a:t>Three-dose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err="1">
                <a:ea typeface="Roboto Light"/>
                <a:cs typeface="Roboto"/>
              </a:rPr>
              <a:t>vaccination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err="1">
                <a:ea typeface="Roboto Light"/>
                <a:cs typeface="Roboto"/>
              </a:rPr>
              <a:t>scheme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err="1">
                <a:ea typeface="Roboto Light"/>
                <a:cs typeface="Roboto"/>
              </a:rPr>
              <a:t>for</a:t>
            </a:r>
            <a:r>
              <a:rPr lang="et-EE" dirty="0">
                <a:ea typeface="Roboto Light"/>
                <a:cs typeface="Roboto"/>
              </a:rPr>
              <a:t> </a:t>
            </a:r>
            <a:r>
              <a:rPr lang="et-EE" err="1">
                <a:ea typeface="Roboto Light"/>
                <a:cs typeface="Roboto"/>
              </a:rPr>
              <a:t>immunocompromised</a:t>
            </a:r>
            <a:endParaRPr lang="et-EE" dirty="0" err="1"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28062898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ldi kohatäide 7" descr="Teenagers walking in town">
            <a:extLst>
              <a:ext uri="{FF2B5EF4-FFF2-40B4-BE49-F238E27FC236}">
                <a16:creationId xmlns:a16="http://schemas.microsoft.com/office/drawing/2014/main" id="{02D95454-F2DC-415C-AE1E-33E307D5428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86" r="20386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9903CA-9D09-13C1-272A-E00D5F101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BD6BF4-693D-9990-729F-F1E23AD3DB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30393"/>
            <a:ext cx="5111751" cy="4606896"/>
          </a:xfrm>
        </p:spPr>
        <p:txBody>
          <a:bodyPr anchor="ctr">
            <a:normAutofit/>
          </a:bodyPr>
          <a:lstStyle/>
          <a:p>
            <a:r>
              <a:rPr lang="en-US" dirty="0"/>
              <a:t>A one-dose schedule is recommended by the WHO SAGE.</a:t>
            </a:r>
          </a:p>
          <a:p>
            <a:r>
              <a:rPr lang="en-US" dirty="0"/>
              <a:t>Scientific evidence by CVT, IARC, </a:t>
            </a:r>
            <a:r>
              <a:rPr lang="en-US" dirty="0" err="1"/>
              <a:t>ect</a:t>
            </a:r>
            <a:r>
              <a:rPr lang="en-US" dirty="0"/>
              <a:t> proves the high and long-term protection offered by a single dose of HPV vaccine, which is comparable with protection offered by two or three doses.</a:t>
            </a:r>
          </a:p>
          <a:p>
            <a:r>
              <a:rPr lang="en-US" dirty="0"/>
              <a:t>The introduction of a single-dose vaccination scheme simplifies the vaccination process.</a:t>
            </a:r>
          </a:p>
          <a:p>
            <a:r>
              <a:rPr lang="en-US" dirty="0"/>
              <a:t>Countries that have moved to one-dose (UK, Ireland, Australia) have not said that the decision was based on high rates of immunization or screening.</a:t>
            </a:r>
            <a:endParaRPr lang="et-E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9B26AF-82AB-75B8-D0BD-842FBC005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/>
              <a:t>Why</a:t>
            </a:r>
            <a:r>
              <a:rPr lang="et-EE" dirty="0"/>
              <a:t> </a:t>
            </a:r>
            <a:r>
              <a:rPr lang="et-EE" dirty="0" err="1"/>
              <a:t>the</a:t>
            </a:r>
            <a:r>
              <a:rPr lang="et-EE" dirty="0"/>
              <a:t> </a:t>
            </a:r>
            <a:r>
              <a:rPr lang="et-EE" dirty="0" err="1"/>
              <a:t>change</a:t>
            </a:r>
            <a:r>
              <a:rPr lang="et-EE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17548499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lt 6">
            <a:extLst>
              <a:ext uri="{FF2B5EF4-FFF2-40B4-BE49-F238E27FC236}">
                <a16:creationId xmlns:a16="http://schemas.microsoft.com/office/drawing/2014/main" id="{4C02CE46-B493-98ED-549A-E7907F6B0A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1517" y="3981767"/>
            <a:ext cx="5108291" cy="25677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E928BD-8D8D-2423-52DF-2933EB040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/>
              <a:t>Communication</a:t>
            </a:r>
            <a:endParaRPr lang="et-E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A3820F-1B85-0932-5AEE-779CA96267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9882" y="1761923"/>
            <a:ext cx="6896424" cy="4113849"/>
          </a:xfrm>
        </p:spPr>
        <p:txBody>
          <a:bodyPr>
            <a:normAutofit/>
          </a:bodyPr>
          <a:lstStyle/>
          <a:p>
            <a:r>
              <a:rPr lang="et-EE" sz="2400" dirty="0"/>
              <a:t>Health </a:t>
            </a:r>
            <a:r>
              <a:rPr lang="et-EE" sz="2400" dirty="0" err="1"/>
              <a:t>Board</a:t>
            </a:r>
            <a:r>
              <a:rPr lang="et-EE" sz="2400" dirty="0"/>
              <a:t> </a:t>
            </a:r>
            <a:r>
              <a:rPr lang="et-EE" sz="2400" dirty="0" err="1"/>
              <a:t>updated</a:t>
            </a:r>
            <a:r>
              <a:rPr lang="et-EE" sz="2400" dirty="0"/>
              <a:t> </a:t>
            </a:r>
            <a:r>
              <a:rPr lang="et-EE" sz="2400" dirty="0" err="1"/>
              <a:t>communication</a:t>
            </a:r>
            <a:r>
              <a:rPr lang="et-EE" sz="2400" dirty="0"/>
              <a:t> </a:t>
            </a:r>
            <a:r>
              <a:rPr lang="et-EE" sz="2400" dirty="0" err="1"/>
              <a:t>materials</a:t>
            </a:r>
            <a:r>
              <a:rPr lang="et-EE" sz="2400" dirty="0"/>
              <a:t> </a:t>
            </a:r>
            <a:r>
              <a:rPr lang="et-EE" sz="2400" dirty="0" err="1"/>
              <a:t>for</a:t>
            </a:r>
            <a:r>
              <a:rPr lang="et-EE" sz="2400" dirty="0"/>
              <a:t> </a:t>
            </a:r>
            <a:r>
              <a:rPr lang="et-EE" sz="2400" dirty="0" err="1"/>
              <a:t>schools</a:t>
            </a:r>
            <a:r>
              <a:rPr lang="et-EE" sz="2400" dirty="0"/>
              <a:t> and </a:t>
            </a:r>
            <a:r>
              <a:rPr lang="et-EE" sz="2400" dirty="0" err="1"/>
              <a:t>health</a:t>
            </a:r>
            <a:r>
              <a:rPr lang="et-EE" sz="2400" dirty="0"/>
              <a:t> </a:t>
            </a:r>
            <a:r>
              <a:rPr lang="et-EE" sz="2400" dirty="0" err="1"/>
              <a:t>care</a:t>
            </a:r>
            <a:r>
              <a:rPr lang="et-EE" sz="2400" dirty="0"/>
              <a:t> </a:t>
            </a:r>
            <a:r>
              <a:rPr lang="et-EE" sz="2400" dirty="0" err="1"/>
              <a:t>professionals</a:t>
            </a:r>
            <a:endParaRPr lang="et-EE" sz="2400" dirty="0"/>
          </a:p>
          <a:p>
            <a:r>
              <a:rPr lang="et-EE" sz="2400" dirty="0" err="1"/>
              <a:t>Two</a:t>
            </a:r>
            <a:r>
              <a:rPr lang="et-EE" sz="2400" dirty="0"/>
              <a:t> </a:t>
            </a:r>
            <a:r>
              <a:rPr lang="et-EE" sz="2400" dirty="0" err="1"/>
              <a:t>training</a:t>
            </a:r>
            <a:r>
              <a:rPr lang="et-EE" sz="2400" dirty="0"/>
              <a:t> </a:t>
            </a:r>
            <a:r>
              <a:rPr lang="et-EE" sz="2400" dirty="0" err="1"/>
              <a:t>sessions</a:t>
            </a:r>
            <a:r>
              <a:rPr lang="et-EE" sz="2400" dirty="0"/>
              <a:t>: HPV </a:t>
            </a:r>
            <a:r>
              <a:rPr lang="et-EE" sz="2400" dirty="0" err="1"/>
              <a:t>immunization</a:t>
            </a:r>
            <a:r>
              <a:rPr lang="et-EE" sz="2400" dirty="0"/>
              <a:t> and </a:t>
            </a:r>
            <a:r>
              <a:rPr lang="et-EE" sz="2400" dirty="0" err="1"/>
              <a:t>how</a:t>
            </a:r>
            <a:r>
              <a:rPr lang="et-EE" sz="2400" dirty="0"/>
              <a:t> </a:t>
            </a:r>
            <a:r>
              <a:rPr lang="et-EE" sz="2400" dirty="0" err="1"/>
              <a:t>to</a:t>
            </a:r>
            <a:r>
              <a:rPr lang="et-EE" sz="2400" dirty="0"/>
              <a:t> </a:t>
            </a:r>
            <a:r>
              <a:rPr lang="et-EE" sz="2400" dirty="0" err="1"/>
              <a:t>communicate</a:t>
            </a:r>
            <a:r>
              <a:rPr lang="et-EE" sz="2400" dirty="0"/>
              <a:t> </a:t>
            </a:r>
            <a:r>
              <a:rPr lang="et-EE" sz="2400" dirty="0" err="1"/>
              <a:t>with</a:t>
            </a:r>
            <a:r>
              <a:rPr lang="et-EE" sz="2400" dirty="0"/>
              <a:t> </a:t>
            </a:r>
            <a:r>
              <a:rPr lang="et-EE" sz="2400" dirty="0" err="1"/>
              <a:t>parents</a:t>
            </a:r>
            <a:r>
              <a:rPr lang="et-EE" sz="2400" dirty="0"/>
              <a:t>/</a:t>
            </a:r>
            <a:r>
              <a:rPr lang="et-EE" sz="2400" dirty="0" err="1"/>
              <a:t>children</a:t>
            </a:r>
            <a:r>
              <a:rPr lang="et-EE" sz="2400" dirty="0"/>
              <a:t> </a:t>
            </a:r>
          </a:p>
          <a:p>
            <a:r>
              <a:rPr lang="et-EE" sz="2400" dirty="0"/>
              <a:t>HPV </a:t>
            </a:r>
            <a:r>
              <a:rPr lang="et-EE" sz="2400" dirty="0" err="1"/>
              <a:t>vaccination</a:t>
            </a:r>
            <a:r>
              <a:rPr lang="et-EE" sz="2400" dirty="0"/>
              <a:t> </a:t>
            </a:r>
            <a:r>
              <a:rPr lang="et-EE" sz="2400" dirty="0" err="1"/>
              <a:t>campaign</a:t>
            </a:r>
            <a:r>
              <a:rPr lang="et-EE" sz="2400" dirty="0"/>
              <a:t> </a:t>
            </a:r>
          </a:p>
        </p:txBody>
      </p:sp>
      <p:pic>
        <p:nvPicPr>
          <p:cNvPr id="5" name="Pilt 4">
            <a:extLst>
              <a:ext uri="{FF2B5EF4-FFF2-40B4-BE49-F238E27FC236}">
                <a16:creationId xmlns:a16="http://schemas.microsoft.com/office/drawing/2014/main" id="{01EAE920-CA77-DC0C-E43B-68FFF7B58A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0203" y="154022"/>
            <a:ext cx="2649819" cy="373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149199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>
            <a:extLst>
              <a:ext uri="{FF2B5EF4-FFF2-40B4-BE49-F238E27FC236}">
                <a16:creationId xmlns:a16="http://schemas.microsoft.com/office/drawing/2014/main" id="{EAC7E24A-FB74-D02F-880A-A8F683FB5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/>
              <a:t>Response</a:t>
            </a:r>
            <a:endParaRPr lang="en-GB" dirty="0"/>
          </a:p>
        </p:txBody>
      </p:sp>
      <p:sp>
        <p:nvSpPr>
          <p:cNvPr id="3" name="Teksti kohatäide 2">
            <a:extLst>
              <a:ext uri="{FF2B5EF4-FFF2-40B4-BE49-F238E27FC236}">
                <a16:creationId xmlns:a16="http://schemas.microsoft.com/office/drawing/2014/main" id="{6F2599B9-18A8-FFCB-4554-6235561D05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/>
              <a:t>During the spring of 2024, there was a big increase in HPV vaccination. The amount of vaccination done in the spring is equal to the amount of vaccinations in 2.5 years.</a:t>
            </a:r>
            <a:endParaRPr lang="et-EE" sz="2400" dirty="0"/>
          </a:p>
          <a:p>
            <a:pPr lvl="1"/>
            <a:r>
              <a:rPr lang="en-US" sz="2000" dirty="0"/>
              <a:t>It is expected that the biggest vaccination will happen in the first year, but we expect that the increase will also be felt in 2025.</a:t>
            </a:r>
          </a:p>
          <a:p>
            <a:r>
              <a:rPr lang="en-US" sz="2400" dirty="0"/>
              <a:t>The media took it up well with personal stories of cancer and what protection vaccine offers.</a:t>
            </a:r>
          </a:p>
          <a:p>
            <a:r>
              <a:rPr lang="en-US" sz="2400" dirty="0"/>
              <a:t>The public had no reaction to the change of dosage. We had some doubts from health care providers, but in the end the change was approved.</a:t>
            </a:r>
          </a:p>
          <a:p>
            <a:r>
              <a:rPr lang="en-US" sz="2400" dirty="0"/>
              <a:t>Confusion on how to show in data if the HPV vaccination has been finished.</a:t>
            </a:r>
          </a:p>
          <a:p>
            <a:r>
              <a:rPr lang="en-US" sz="2400" dirty="0"/>
              <a:t>Questions on if the child just turned 19 or if they are in a class of mostly 18-year-olds, then if they could also have a free vaccination.</a:t>
            </a:r>
            <a:endParaRPr lang="et-EE" sz="2400" dirty="0"/>
          </a:p>
        </p:txBody>
      </p:sp>
    </p:spTree>
    <p:extLst>
      <p:ext uri="{BB962C8B-B14F-4D97-AF65-F5344CB8AC3E}">
        <p14:creationId xmlns:p14="http://schemas.microsoft.com/office/powerpoint/2010/main" val="2169754764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A03689-C614-7F23-C999-80CB9E511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FDF184-1D3C-6BCC-B20E-F5A9B1D08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genda </a:t>
            </a:r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05D1BFA6-325D-5A74-CA63-AA44FB2CA78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949571" y="1786463"/>
          <a:ext cx="10292854" cy="319330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5460">
                  <a:extLst>
                    <a:ext uri="{9D8B030D-6E8A-4147-A177-3AD203B41FA5}">
                      <a16:colId xmlns:a16="http://schemas.microsoft.com/office/drawing/2014/main" val="4254244098"/>
                    </a:ext>
                  </a:extLst>
                </a:gridCol>
                <a:gridCol w="6062330">
                  <a:extLst>
                    <a:ext uri="{9D8B030D-6E8A-4147-A177-3AD203B41FA5}">
                      <a16:colId xmlns:a16="http://schemas.microsoft.com/office/drawing/2014/main" val="630433512"/>
                    </a:ext>
                  </a:extLst>
                </a:gridCol>
                <a:gridCol w="2925064">
                  <a:extLst>
                    <a:ext uri="{9D8B030D-6E8A-4147-A177-3AD203B41FA5}">
                      <a16:colId xmlns:a16="http://schemas.microsoft.com/office/drawing/2014/main" val="3085467301"/>
                    </a:ext>
                  </a:extLst>
                </a:gridCol>
              </a:tblGrid>
              <a:tr h="4497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5 mins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Welcome and Introduction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Priscilla Rouyer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69506097"/>
                  </a:ext>
                </a:extLst>
              </a:tr>
              <a:tr h="8615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20 mins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Overview of evidence for a one-dose schedule followed by Q/A 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Anh Ly, </a:t>
                      </a:r>
                      <a:r>
                        <a:rPr lang="en-US" sz="1800" dirty="0" err="1">
                          <a:effectLst/>
                        </a:rPr>
                        <a:t>Jaymin</a:t>
                      </a:r>
                      <a:r>
                        <a:rPr lang="en-US" sz="1800" dirty="0">
                          <a:effectLst/>
                        </a:rPr>
                        <a:t> Patel (CDC)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0098730"/>
                  </a:ext>
                </a:extLst>
              </a:tr>
              <a:tr h="4497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20 mins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Guyana’s experience, followed by Q/A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Dr. </a:t>
                      </a:r>
                      <a:r>
                        <a:rPr lang="en-US" sz="1800" dirty="0" err="1">
                          <a:effectLst/>
                        </a:rPr>
                        <a:t>Oneka</a:t>
                      </a:r>
                      <a:r>
                        <a:rPr lang="en-US" sz="1800" dirty="0">
                          <a:effectLst/>
                        </a:rPr>
                        <a:t> Scott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37711641"/>
                  </a:ext>
                </a:extLst>
              </a:tr>
              <a:tr h="4497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20 mins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effectLst/>
                        </a:rPr>
                        <a:t>Estonia’s experience, followed by Q/A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ia-</a:t>
                      </a:r>
                      <a:r>
                        <a:rPr lang="en-GB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iin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narbik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70005623"/>
                  </a:ext>
                </a:extLst>
              </a:tr>
              <a:tr h="532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20 mins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Facilitated discussion among countries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Priscilla Rouyer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41082892"/>
                  </a:ext>
                </a:extLst>
              </a:tr>
              <a:tr h="4497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5 mins</a:t>
                      </a:r>
                      <a:endParaRPr lang="en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Sharing reflections and closing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Priscilla Rouyer</a:t>
                      </a:r>
                      <a:endParaRPr lang="en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37209673"/>
                  </a:ext>
                </a:extLst>
              </a:tr>
            </a:tbl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ED845CBA-EC30-A440-F967-189221D1E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FR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Poppins" pitchFamily="2" charset="77"/>
                <a:ea typeface="Calibri" panose="020F0502020204030204" pitchFamily="34" charset="0"/>
                <a:cs typeface="Arial" panose="020B0604020202020204" pitchFamily="34" charset="0"/>
              </a:rPr>
              <a:t>	</a:t>
            </a:r>
            <a:endParaRPr kumimoji="0" lang="en-US" altLang="en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8594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>
            <a:extLst>
              <a:ext uri="{FF2B5EF4-FFF2-40B4-BE49-F238E27FC236}">
                <a16:creationId xmlns:a16="http://schemas.microsoft.com/office/drawing/2014/main" id="{B70A43EC-6A45-9109-8705-4CDDCE12B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/>
              <a:t>Fears</a:t>
            </a:r>
            <a:endParaRPr lang="en-GB" dirty="0"/>
          </a:p>
        </p:txBody>
      </p:sp>
      <p:sp>
        <p:nvSpPr>
          <p:cNvPr id="3" name="Teksti kohatäide 2">
            <a:extLst>
              <a:ext uri="{FF2B5EF4-FFF2-40B4-BE49-F238E27FC236}">
                <a16:creationId xmlns:a16="http://schemas.microsoft.com/office/drawing/2014/main" id="{D664C294-C5D1-9690-93F5-4BA05FBB95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ctr">
            <a:normAutofit/>
          </a:bodyPr>
          <a:lstStyle/>
          <a:p>
            <a:r>
              <a:rPr lang="et-EE" sz="2400" dirty="0" err="1"/>
              <a:t>Activation</a:t>
            </a:r>
            <a:r>
              <a:rPr lang="et-EE" sz="2400" dirty="0"/>
              <a:t> of </a:t>
            </a:r>
            <a:r>
              <a:rPr lang="et-EE" sz="2400" dirty="0" err="1"/>
              <a:t>antivaccers</a:t>
            </a:r>
            <a:r>
              <a:rPr lang="et-EE" sz="2400" dirty="0"/>
              <a:t> </a:t>
            </a:r>
          </a:p>
          <a:p>
            <a:r>
              <a:rPr lang="et-EE" sz="2400" dirty="0" err="1"/>
              <a:t>Distrust</a:t>
            </a:r>
            <a:r>
              <a:rPr lang="et-EE" sz="2400" dirty="0"/>
              <a:t> </a:t>
            </a:r>
            <a:r>
              <a:rPr lang="et-EE" sz="2400" dirty="0" err="1"/>
              <a:t>increasing</a:t>
            </a:r>
            <a:r>
              <a:rPr lang="et-EE" sz="2400" dirty="0"/>
              <a:t> in </a:t>
            </a:r>
            <a:r>
              <a:rPr lang="et-EE" sz="2400" dirty="0" err="1"/>
              <a:t>the</a:t>
            </a:r>
            <a:r>
              <a:rPr lang="et-EE" sz="2400" dirty="0"/>
              <a:t> </a:t>
            </a:r>
            <a:r>
              <a:rPr lang="et-EE" sz="2400" dirty="0" err="1"/>
              <a:t>public</a:t>
            </a:r>
            <a:r>
              <a:rPr lang="et-EE" sz="2400" dirty="0"/>
              <a:t> </a:t>
            </a:r>
            <a:r>
              <a:rPr lang="et-EE" sz="2400" dirty="0" err="1"/>
              <a:t>health</a:t>
            </a:r>
            <a:r>
              <a:rPr lang="et-EE" sz="2400" dirty="0"/>
              <a:t> </a:t>
            </a:r>
            <a:r>
              <a:rPr lang="et-EE" sz="2400" dirty="0" err="1"/>
              <a:t>authorities</a:t>
            </a:r>
            <a:r>
              <a:rPr lang="et-EE" sz="2400" dirty="0"/>
              <a:t> </a:t>
            </a:r>
            <a:r>
              <a:rPr lang="et-EE" sz="2400" dirty="0" err="1"/>
              <a:t>regarding</a:t>
            </a:r>
            <a:r>
              <a:rPr lang="et-EE" sz="2400" dirty="0"/>
              <a:t> </a:t>
            </a:r>
            <a:r>
              <a:rPr lang="et-EE" sz="2400" dirty="0" err="1"/>
              <a:t>the</a:t>
            </a:r>
            <a:r>
              <a:rPr lang="et-EE" sz="2400" dirty="0"/>
              <a:t> </a:t>
            </a:r>
            <a:r>
              <a:rPr lang="et-EE" sz="2400" dirty="0" err="1"/>
              <a:t>change</a:t>
            </a:r>
            <a:r>
              <a:rPr lang="et-EE" sz="2400" dirty="0"/>
              <a:t> of NIP</a:t>
            </a:r>
          </a:p>
          <a:p>
            <a:r>
              <a:rPr lang="et-EE" sz="2400" dirty="0" err="1"/>
              <a:t>Backlash</a:t>
            </a:r>
            <a:r>
              <a:rPr lang="et-EE" sz="2400" dirty="0"/>
              <a:t> </a:t>
            </a:r>
            <a:r>
              <a:rPr lang="et-EE" sz="2400" dirty="0" err="1"/>
              <a:t>from</a:t>
            </a:r>
            <a:r>
              <a:rPr lang="et-EE" sz="2400" dirty="0"/>
              <a:t> </a:t>
            </a:r>
            <a:r>
              <a:rPr lang="et-EE" sz="2400" dirty="0" err="1"/>
              <a:t>the</a:t>
            </a:r>
            <a:r>
              <a:rPr lang="et-EE" sz="2400" dirty="0"/>
              <a:t> </a:t>
            </a:r>
            <a:r>
              <a:rPr lang="et-EE" sz="2400" dirty="0" err="1"/>
              <a:t>health</a:t>
            </a:r>
            <a:r>
              <a:rPr lang="et-EE" sz="2400" dirty="0"/>
              <a:t> </a:t>
            </a:r>
            <a:r>
              <a:rPr lang="et-EE" sz="2400" dirty="0" err="1"/>
              <a:t>care</a:t>
            </a:r>
            <a:r>
              <a:rPr lang="et-EE" sz="2400" dirty="0"/>
              <a:t> </a:t>
            </a:r>
            <a:r>
              <a:rPr lang="et-EE" sz="2400" dirty="0" err="1"/>
              <a:t>providers</a:t>
            </a:r>
            <a:endParaRPr lang="et-EE" sz="2400" dirty="0"/>
          </a:p>
          <a:p>
            <a:r>
              <a:rPr lang="et-EE" sz="2400" dirty="0" err="1"/>
              <a:t>Possible</a:t>
            </a:r>
            <a:r>
              <a:rPr lang="et-EE" sz="2400" dirty="0"/>
              <a:t> </a:t>
            </a:r>
            <a:r>
              <a:rPr lang="et-EE" sz="2400" dirty="0" err="1"/>
              <a:t>problems</a:t>
            </a:r>
            <a:r>
              <a:rPr lang="et-EE" sz="2400" dirty="0"/>
              <a:t> </a:t>
            </a:r>
            <a:r>
              <a:rPr lang="et-EE" sz="2400" dirty="0" err="1"/>
              <a:t>with</a:t>
            </a:r>
            <a:r>
              <a:rPr lang="et-EE" sz="2400" dirty="0"/>
              <a:t> </a:t>
            </a:r>
            <a:r>
              <a:rPr lang="et-EE" sz="2400" dirty="0" err="1"/>
              <a:t>procurement</a:t>
            </a:r>
            <a:r>
              <a:rPr lang="et-EE" sz="2400" dirty="0"/>
              <a:t> 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116744726"/>
      </p:ext>
    </p:extLst>
  </p:cSld>
  <p:clrMapOvr>
    <a:masterClrMapping/>
  </p:clrMapOvr>
  <p:transition spd="slow">
    <p:push dir="u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ldi kohatäide 16" descr="Bandage on arm">
            <a:extLst>
              <a:ext uri="{FF2B5EF4-FFF2-40B4-BE49-F238E27FC236}">
                <a16:creationId xmlns:a16="http://schemas.microsoft.com/office/drawing/2014/main" id="{BBCE0B28-6BC2-712E-FF3D-54550397ACD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22269" r="22269"/>
          <a:stretch/>
        </p:blipFill>
        <p:spPr/>
      </p:pic>
      <p:pic>
        <p:nvPicPr>
          <p:cNvPr id="14" name="Pildi kohatäide 13" descr="Cycle with people outline">
            <a:extLst>
              <a:ext uri="{FF2B5EF4-FFF2-40B4-BE49-F238E27FC236}">
                <a16:creationId xmlns:a16="http://schemas.microsoft.com/office/drawing/2014/main" id="{691426A4-13A9-2477-DE08-8B0701A5B84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03" r="3603"/>
          <a:stretch/>
        </p:blipFill>
        <p:spPr>
          <a:xfrm>
            <a:off x="779547" y="1648928"/>
            <a:ext cx="1002885" cy="1079956"/>
          </a:xfrm>
        </p:spPr>
      </p:pic>
      <p:pic>
        <p:nvPicPr>
          <p:cNvPr id="15" name="Pildi kohatäide 14" descr="Needle outline">
            <a:extLst>
              <a:ext uri="{FF2B5EF4-FFF2-40B4-BE49-F238E27FC236}">
                <a16:creationId xmlns:a16="http://schemas.microsoft.com/office/drawing/2014/main" id="{4C74682E-6ACE-3508-725A-F0A7D81F70E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671" r="3671"/>
          <a:stretch/>
        </p:blipFill>
        <p:spPr>
          <a:xfrm>
            <a:off x="784788" y="3137973"/>
            <a:ext cx="1002885" cy="1079956"/>
          </a:xfrm>
        </p:spPr>
      </p:pic>
      <p:pic>
        <p:nvPicPr>
          <p:cNvPr id="16" name="Pildi kohatäide 15" descr="Questions outline">
            <a:extLst>
              <a:ext uri="{FF2B5EF4-FFF2-40B4-BE49-F238E27FC236}">
                <a16:creationId xmlns:a16="http://schemas.microsoft.com/office/drawing/2014/main" id="{68559494-9D3F-575E-413C-0147FDEE7208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3603" r="3603"/>
          <a:stretch/>
        </p:blipFill>
        <p:spPr>
          <a:xfrm>
            <a:off x="784788" y="4666590"/>
            <a:ext cx="1002885" cy="1079956"/>
          </a:xfrm>
        </p:spPr>
      </p:pic>
      <p:sp>
        <p:nvSpPr>
          <p:cNvPr id="6" name="Teksti kohatäide 5">
            <a:extLst>
              <a:ext uri="{FF2B5EF4-FFF2-40B4-BE49-F238E27FC236}">
                <a16:creationId xmlns:a16="http://schemas.microsoft.com/office/drawing/2014/main" id="{3189C0DD-7313-2D11-17AF-1E06F23867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170112" y="1685210"/>
            <a:ext cx="4292502" cy="1049432"/>
          </a:xfrm>
        </p:spPr>
        <p:txBody>
          <a:bodyPr>
            <a:normAutofit/>
          </a:bodyPr>
          <a:lstStyle/>
          <a:p>
            <a:r>
              <a:rPr lang="et-EE" sz="2000" dirty="0" err="1">
                <a:solidFill>
                  <a:srgbClr val="1D1856"/>
                </a:solidFill>
                <a:ea typeface="Roboto"/>
                <a:cs typeface="Roboto"/>
              </a:rPr>
              <a:t>Include</a:t>
            </a:r>
            <a:r>
              <a:rPr lang="et-EE" sz="2000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sz="2000" dirty="0" err="1">
                <a:solidFill>
                  <a:srgbClr val="1D1856"/>
                </a:solidFill>
                <a:ea typeface="Roboto"/>
                <a:cs typeface="Roboto"/>
              </a:rPr>
              <a:t>other</a:t>
            </a:r>
            <a:r>
              <a:rPr lang="et-EE" sz="2000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sz="2000" dirty="0" err="1">
                <a:solidFill>
                  <a:srgbClr val="1D1856"/>
                </a:solidFill>
                <a:ea typeface="Roboto"/>
                <a:cs typeface="Roboto"/>
              </a:rPr>
              <a:t>stakeholders</a:t>
            </a:r>
            <a:r>
              <a:rPr lang="et-EE" sz="2000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sz="2000" dirty="0" err="1">
                <a:solidFill>
                  <a:srgbClr val="1D1856"/>
                </a:solidFill>
                <a:ea typeface="Roboto"/>
                <a:cs typeface="Roboto"/>
              </a:rPr>
              <a:t>early</a:t>
            </a:r>
            <a:r>
              <a:rPr lang="et-EE" sz="2000" dirty="0">
                <a:solidFill>
                  <a:srgbClr val="1D1856"/>
                </a:solidFill>
                <a:ea typeface="Roboto"/>
                <a:cs typeface="Roboto"/>
              </a:rPr>
              <a:t> (</a:t>
            </a:r>
            <a:r>
              <a:rPr lang="et-EE" sz="2000" dirty="0" err="1">
                <a:solidFill>
                  <a:srgbClr val="1D1856"/>
                </a:solidFill>
                <a:ea typeface="+mn-lt"/>
                <a:cs typeface="+mn-lt"/>
              </a:rPr>
              <a:t>oncologist</a:t>
            </a:r>
            <a:r>
              <a:rPr lang="et-EE" sz="2000" dirty="0">
                <a:solidFill>
                  <a:srgbClr val="1D1856"/>
                </a:solidFill>
                <a:ea typeface="Roboto"/>
                <a:cs typeface="Roboto"/>
              </a:rPr>
              <a:t>, </a:t>
            </a:r>
            <a:r>
              <a:rPr lang="et-EE" sz="2000" dirty="0" err="1">
                <a:solidFill>
                  <a:srgbClr val="1D1856"/>
                </a:solidFill>
                <a:ea typeface="Roboto"/>
                <a:cs typeface="Roboto"/>
              </a:rPr>
              <a:t>gynecologist</a:t>
            </a:r>
            <a:r>
              <a:rPr lang="et-EE" sz="2000" dirty="0">
                <a:solidFill>
                  <a:srgbClr val="1D1856"/>
                </a:solidFill>
                <a:ea typeface="Roboto"/>
                <a:cs typeface="Roboto"/>
              </a:rPr>
              <a:t>, </a:t>
            </a:r>
            <a:r>
              <a:rPr lang="et-EE" sz="2000" dirty="0" err="1">
                <a:solidFill>
                  <a:srgbClr val="1D1856"/>
                </a:solidFill>
                <a:ea typeface="Roboto"/>
                <a:cs typeface="Roboto"/>
              </a:rPr>
              <a:t>colposcopy</a:t>
            </a:r>
            <a:r>
              <a:rPr lang="et-EE" sz="2000" dirty="0">
                <a:solidFill>
                  <a:srgbClr val="1D1856"/>
                </a:solidFill>
                <a:ea typeface="Roboto"/>
                <a:cs typeface="Roboto"/>
              </a:rPr>
              <a:t>)</a:t>
            </a:r>
            <a:endParaRPr lang="et-EE" sz="2000" dirty="0">
              <a:solidFill>
                <a:srgbClr val="000000"/>
              </a:solidFill>
              <a:ea typeface="Roboto"/>
              <a:cs typeface="Roboto"/>
            </a:endParaRPr>
          </a:p>
          <a:p>
            <a:endParaRPr lang="et-EE" dirty="0">
              <a:cs typeface="Roboto"/>
            </a:endParaRPr>
          </a:p>
        </p:txBody>
      </p:sp>
      <p:sp>
        <p:nvSpPr>
          <p:cNvPr id="8" name="Teksti kohatäide 7">
            <a:extLst>
              <a:ext uri="{FF2B5EF4-FFF2-40B4-BE49-F238E27FC236}">
                <a16:creationId xmlns:a16="http://schemas.microsoft.com/office/drawing/2014/main" id="{6F202BDB-CFC7-0861-DC0D-84B0763E745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70112" y="3142343"/>
            <a:ext cx="4279586" cy="1075262"/>
          </a:xfrm>
        </p:spPr>
        <p:txBody>
          <a:bodyPr>
            <a:normAutofit/>
          </a:bodyPr>
          <a:lstStyle/>
          <a:p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Try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to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prepare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the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health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care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providers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before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the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change</a:t>
            </a:r>
            <a:endParaRPr lang="et-EE">
              <a:solidFill>
                <a:srgbClr val="000000"/>
              </a:solidFill>
              <a:ea typeface="Roboto"/>
              <a:cs typeface="Roboto"/>
            </a:endParaRPr>
          </a:p>
        </p:txBody>
      </p:sp>
      <p:sp>
        <p:nvSpPr>
          <p:cNvPr id="10" name="Teksti kohatäide 9">
            <a:extLst>
              <a:ext uri="{FF2B5EF4-FFF2-40B4-BE49-F238E27FC236}">
                <a16:creationId xmlns:a16="http://schemas.microsoft.com/office/drawing/2014/main" id="{066F8121-68BA-D756-098B-4D6AD98DCC2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170112" y="4647726"/>
            <a:ext cx="4266671" cy="110109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solidFill>
                  <a:srgbClr val="1D1856"/>
                </a:solidFill>
                <a:ea typeface="Roboto"/>
                <a:cs typeface="Roboto"/>
              </a:rPr>
              <a:t>Attempt to </a:t>
            </a:r>
            <a:r>
              <a:rPr lang="et-EE" err="1">
                <a:solidFill>
                  <a:srgbClr val="1D1856"/>
                </a:solidFill>
                <a:ea typeface="Roboto"/>
                <a:cs typeface="Roboto"/>
              </a:rPr>
              <a:t>agree</a:t>
            </a:r>
            <a:r>
              <a:rPr lang="et-EE" dirty="0">
                <a:solidFill>
                  <a:srgbClr val="1D1856"/>
                </a:solidFill>
                <a:ea typeface="Roboto"/>
                <a:cs typeface="Roboto"/>
              </a:rPr>
              <a:t> on </a:t>
            </a:r>
            <a:r>
              <a:rPr lang="en-US" dirty="0">
                <a:solidFill>
                  <a:srgbClr val="1D1856"/>
                </a:solidFill>
                <a:ea typeface="Roboto"/>
                <a:cs typeface="Roboto"/>
              </a:rPr>
              <a:t>all the required opinions, even if some of details are not applicable to public health institutions.</a:t>
            </a:r>
            <a:endParaRPr lang="et-EE">
              <a:solidFill>
                <a:srgbClr val="000000"/>
              </a:solidFill>
              <a:ea typeface="Roboto"/>
              <a:cs typeface="Roboto"/>
            </a:endParaRPr>
          </a:p>
          <a:p>
            <a:endParaRPr lang="et-EE" dirty="0">
              <a:cs typeface="Roboto"/>
            </a:endParaRPr>
          </a:p>
        </p:txBody>
      </p:sp>
      <p:sp>
        <p:nvSpPr>
          <p:cNvPr id="12" name="Teksti kohatäide 11">
            <a:extLst>
              <a:ext uri="{FF2B5EF4-FFF2-40B4-BE49-F238E27FC236}">
                <a16:creationId xmlns:a16="http://schemas.microsoft.com/office/drawing/2014/main" id="{C4793B0A-A8EE-A252-68B3-40F3E441E5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BA2471-9D44-A048-7803-321A043575BB}"/>
              </a:ext>
            </a:extLst>
          </p:cNvPr>
          <p:cNvSpPr txBox="1"/>
          <p:nvPr/>
        </p:nvSpPr>
        <p:spPr>
          <a:xfrm>
            <a:off x="783899" y="402057"/>
            <a:ext cx="5067943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t-EE" sz="5000" b="0" i="0" u="none" strike="noStrike" kern="1200" cap="none" spc="0" normalizeH="0" baseline="0" noProof="0" err="1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 Medium"/>
                <a:ea typeface="Roboto Light"/>
                <a:cs typeface="+mn-cs"/>
              </a:rPr>
              <a:t>Lessons</a:t>
            </a:r>
            <a:r>
              <a:rPr kumimoji="0" lang="et-EE" sz="5000" b="0" i="0" u="none" strike="noStrike" kern="1200" cap="none" spc="0" normalizeH="0" baseline="0" noProof="0" dirty="0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 Medium"/>
                <a:ea typeface="Roboto Light"/>
                <a:cs typeface="+mn-cs"/>
              </a:rPr>
              <a:t> </a:t>
            </a:r>
            <a:r>
              <a:rPr kumimoji="0" lang="et-EE" sz="5000" b="0" i="0" u="none" strike="noStrike" kern="1200" cap="none" spc="0" normalizeH="0" baseline="0" noProof="0" err="1">
                <a:ln>
                  <a:noFill/>
                </a:ln>
                <a:solidFill>
                  <a:srgbClr val="1D1856"/>
                </a:solidFill>
                <a:effectLst/>
                <a:uLnTx/>
                <a:uFillTx/>
                <a:latin typeface="Roboto Medium"/>
                <a:ea typeface="Roboto Light"/>
                <a:cs typeface="+mn-cs"/>
              </a:rPr>
              <a:t>learned</a:t>
            </a:r>
            <a:endParaRPr kumimoji="0" lang="et-EE" sz="5000" b="0" i="0" u="none" strike="noStrike" kern="1200" cap="none" spc="0" normalizeH="0" baseline="0" noProof="0">
              <a:ln>
                <a:noFill/>
              </a:ln>
              <a:solidFill>
                <a:srgbClr val="1D1856"/>
              </a:solidFill>
              <a:effectLst/>
              <a:uLnTx/>
              <a:uFillTx/>
              <a:latin typeface="Roboto Medium"/>
              <a:ea typeface="Roboto Light"/>
              <a:cs typeface="Robo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2990739320"/>
      </p:ext>
    </p:extLst>
  </p:cSld>
  <p:clrMapOvr>
    <a:masterClrMapping/>
  </p:clrMapOvr>
  <p:transition spd="slow">
    <p:push dir="u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3903F7BD-5CF6-CC0C-1B77-DA0D7CF6974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667" b="14667"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726940 w 12192000"/>
              <a:gd name="connsiteY0" fmla="*/ 536818 h 6858000"/>
              <a:gd name="connsiteX1" fmla="*/ 726940 w 12192000"/>
              <a:gd name="connsiteY1" fmla="*/ 2396882 h 6858000"/>
              <a:gd name="connsiteX2" fmla="*/ 772659 w 12192000"/>
              <a:gd name="connsiteY2" fmla="*/ 2396882 h 6858000"/>
              <a:gd name="connsiteX3" fmla="*/ 772659 w 12192000"/>
              <a:gd name="connsiteY3" fmla="*/ 536818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5486829 h 6858000"/>
              <a:gd name="connsiteX7" fmla="*/ 10051073 w 12192000"/>
              <a:gd name="connsiteY7" fmla="*/ 5486829 h 6858000"/>
              <a:gd name="connsiteX8" fmla="*/ 9576237 w 12192000"/>
              <a:gd name="connsiteY8" fmla="*/ 5960366 h 6858000"/>
              <a:gd name="connsiteX9" fmla="*/ 10051073 w 12192000"/>
              <a:gd name="connsiteY9" fmla="*/ 6434392 h 6858000"/>
              <a:gd name="connsiteX10" fmla="*/ 12192000 w 12192000"/>
              <a:gd name="connsiteY10" fmla="*/ 6434392 h 6858000"/>
              <a:gd name="connsiteX11" fmla="*/ 12192000 w 12192000"/>
              <a:gd name="connsiteY11" fmla="*/ 6858000 h 6858000"/>
              <a:gd name="connsiteX12" fmla="*/ 0 w 12192000"/>
              <a:gd name="connsiteY12" fmla="*/ 6858000 h 6858000"/>
              <a:gd name="connsiteX0" fmla="*/ 726940 w 12192000"/>
              <a:gd name="connsiteY0" fmla="*/ 536818 h 6858000"/>
              <a:gd name="connsiteX1" fmla="*/ 726940 w 12192000"/>
              <a:gd name="connsiteY1" fmla="*/ 2396882 h 6858000"/>
              <a:gd name="connsiteX2" fmla="*/ 815729 w 12192000"/>
              <a:gd name="connsiteY2" fmla="*/ 2400195 h 6858000"/>
              <a:gd name="connsiteX3" fmla="*/ 772659 w 12192000"/>
              <a:gd name="connsiteY3" fmla="*/ 536818 h 6858000"/>
              <a:gd name="connsiteX4" fmla="*/ 726940 w 12192000"/>
              <a:gd name="connsiteY4" fmla="*/ 536818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5486829 h 6858000"/>
              <a:gd name="connsiteX8" fmla="*/ 10051073 w 12192000"/>
              <a:gd name="connsiteY8" fmla="*/ 5486829 h 6858000"/>
              <a:gd name="connsiteX9" fmla="*/ 9576237 w 12192000"/>
              <a:gd name="connsiteY9" fmla="*/ 5960366 h 6858000"/>
              <a:gd name="connsiteX10" fmla="*/ 10051073 w 12192000"/>
              <a:gd name="connsiteY10" fmla="*/ 6434392 h 6858000"/>
              <a:gd name="connsiteX11" fmla="*/ 12192000 w 12192000"/>
              <a:gd name="connsiteY11" fmla="*/ 64343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726940 w 12192000"/>
              <a:gd name="connsiteY0" fmla="*/ 536818 h 6858000"/>
              <a:gd name="connsiteX1" fmla="*/ 726940 w 12192000"/>
              <a:gd name="connsiteY1" fmla="*/ 2396882 h 6858000"/>
              <a:gd name="connsiteX2" fmla="*/ 815729 w 12192000"/>
              <a:gd name="connsiteY2" fmla="*/ 2400195 h 6858000"/>
              <a:gd name="connsiteX3" fmla="*/ 815729 w 12192000"/>
              <a:gd name="connsiteY3" fmla="*/ 536818 h 6858000"/>
              <a:gd name="connsiteX4" fmla="*/ 726940 w 12192000"/>
              <a:gd name="connsiteY4" fmla="*/ 536818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5486829 h 6858000"/>
              <a:gd name="connsiteX8" fmla="*/ 10051073 w 12192000"/>
              <a:gd name="connsiteY8" fmla="*/ 5486829 h 6858000"/>
              <a:gd name="connsiteX9" fmla="*/ 9576237 w 12192000"/>
              <a:gd name="connsiteY9" fmla="*/ 5960366 h 6858000"/>
              <a:gd name="connsiteX10" fmla="*/ 10051073 w 12192000"/>
              <a:gd name="connsiteY10" fmla="*/ 6434392 h 6858000"/>
              <a:gd name="connsiteX11" fmla="*/ 12192000 w 12192000"/>
              <a:gd name="connsiteY11" fmla="*/ 64343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726940" y="536818"/>
                </a:moveTo>
                <a:lnTo>
                  <a:pt x="726940" y="2396882"/>
                </a:lnTo>
                <a:lnTo>
                  <a:pt x="815729" y="2400195"/>
                </a:lnTo>
                <a:lnTo>
                  <a:pt x="815729" y="536818"/>
                </a:lnTo>
                <a:lnTo>
                  <a:pt x="726940" y="53681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86829"/>
                </a:lnTo>
                <a:lnTo>
                  <a:pt x="10051073" y="5486829"/>
                </a:lnTo>
                <a:cubicBezTo>
                  <a:pt x="9788909" y="5486829"/>
                  <a:pt x="9576237" y="5698919"/>
                  <a:pt x="9576237" y="5960366"/>
                </a:cubicBezTo>
                <a:cubicBezTo>
                  <a:pt x="9576237" y="6222302"/>
                  <a:pt x="9788909" y="6434392"/>
                  <a:pt x="10051073" y="6434392"/>
                </a:cubicBezTo>
                <a:lnTo>
                  <a:pt x="12192000" y="6434392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4B37DD3-EF83-1A80-F05D-0EF173A61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/>
              <a:t>Thank</a:t>
            </a:r>
            <a:r>
              <a:rPr lang="et-EE" dirty="0"/>
              <a:t> </a:t>
            </a:r>
            <a:r>
              <a:rPr lang="et-EE" dirty="0" err="1"/>
              <a:t>you</a:t>
            </a:r>
            <a:r>
              <a:rPr lang="et-EE" dirty="0"/>
              <a:t> </a:t>
            </a:r>
            <a:r>
              <a:rPr lang="et-EE" dirty="0" err="1"/>
              <a:t>for</a:t>
            </a:r>
            <a:r>
              <a:rPr lang="et-EE" dirty="0"/>
              <a:t> </a:t>
            </a:r>
            <a:r>
              <a:rPr lang="et-EE" dirty="0" err="1"/>
              <a:t>listening</a:t>
            </a:r>
            <a:r>
              <a:rPr lang="et-EE" dirty="0"/>
              <a:t>!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24B452-2EBD-AE55-56CD-50FC3DC070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t-EE" dirty="0" err="1"/>
              <a:t>Nathan</a:t>
            </a:r>
            <a:r>
              <a:rPr lang="et-EE" dirty="0"/>
              <a:t> J </a:t>
            </a:r>
            <a:r>
              <a:rPr lang="et-EE" dirty="0" err="1"/>
              <a:t>Hilton</a:t>
            </a:r>
            <a:endParaRPr lang="et-EE" dirty="0"/>
          </a:p>
        </p:txBody>
      </p:sp>
      <p:pic>
        <p:nvPicPr>
          <p:cNvPr id="8" name="Picture Placeholder 7" descr="A white dots on a black background&#10;&#10;Description automatically generated">
            <a:extLst>
              <a:ext uri="{FF2B5EF4-FFF2-40B4-BE49-F238E27FC236}">
                <a16:creationId xmlns:a16="http://schemas.microsoft.com/office/drawing/2014/main" id="{538BA707-EA40-2C52-CD85-6A64EAFBC8A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73" b="3373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19880"/>
      </p:ext>
    </p:extLst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A03689-C614-7F23-C999-80CB9E511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FDF184-1D3C-6BCC-B20E-F5A9B1D08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572" y="265671"/>
            <a:ext cx="10292856" cy="891111"/>
          </a:xfrm>
        </p:spPr>
        <p:txBody>
          <a:bodyPr>
            <a:norm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US" sz="4000" dirty="0">
                <a:effectLst/>
              </a:rPr>
              <a:t>Facilitated discussion</a:t>
            </a:r>
            <a:endParaRPr lang="en-FR" sz="4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ED845CBA-EC30-A440-F967-189221D1E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FR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Poppins" pitchFamily="2" charset="77"/>
                <a:ea typeface="Calibri" panose="020F0502020204030204" pitchFamily="34" charset="0"/>
                <a:cs typeface="Arial" panose="020B0604020202020204" pitchFamily="34" charset="0"/>
              </a:rPr>
              <a:t>	</a:t>
            </a:r>
            <a:endParaRPr kumimoji="0" lang="en-US" altLang="en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06DE01-633C-7707-A384-FF893A9CB87A}"/>
              </a:ext>
            </a:extLst>
          </p:cNvPr>
          <p:cNvSpPr txBox="1"/>
          <p:nvPr/>
        </p:nvSpPr>
        <p:spPr>
          <a:xfrm>
            <a:off x="1062681" y="1791730"/>
            <a:ext cx="1017974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What have you learned from Guyana and Estonia on their decision process, stakeholder engagement and implementation plans that you could experiment in your own countr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What experience can you contribute to the group about introducing or switching to one-dose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What questions or hesitations remain for you? </a:t>
            </a:r>
          </a:p>
        </p:txBody>
      </p:sp>
    </p:spTree>
    <p:extLst>
      <p:ext uri="{BB962C8B-B14F-4D97-AF65-F5344CB8AC3E}">
        <p14:creationId xmlns:p14="http://schemas.microsoft.com/office/powerpoint/2010/main" val="79819368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D030673-87E6-78DD-449F-62C293332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454" y="2103438"/>
            <a:ext cx="10972800" cy="1143000"/>
          </a:xfrm>
        </p:spPr>
        <p:txBody>
          <a:bodyPr/>
          <a:lstStyle/>
          <a:p>
            <a:pPr algn="ctr"/>
            <a:r>
              <a:rPr lang="en-US" sz="6000" dirty="0"/>
              <a:t>Thank you! </a:t>
            </a:r>
          </a:p>
        </p:txBody>
      </p:sp>
    </p:spTree>
    <p:extLst>
      <p:ext uri="{BB962C8B-B14F-4D97-AF65-F5344CB8AC3E}">
        <p14:creationId xmlns:p14="http://schemas.microsoft.com/office/powerpoint/2010/main" val="27439588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3BBB1E-1FC4-557B-C48A-5C5AF9C10F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199" y="3124200"/>
            <a:ext cx="7629612" cy="1447800"/>
          </a:xfrm>
        </p:spPr>
        <p:txBody>
          <a:bodyPr/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 October 9, 2024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8E095E-64D3-C92B-991D-5EC1DD54CC4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r. Oneka Scott, </a:t>
            </a:r>
          </a:p>
          <a:p>
            <a:r>
              <a:rPr lang="en-US" sz="1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aternal and Child Officer, Guyan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E7828E-BD23-E921-DB32-031B9E258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41853"/>
            <a:ext cx="11154032" cy="2300096"/>
          </a:xfrm>
        </p:spPr>
        <p:txBody>
          <a:bodyPr/>
          <a:lstStyle/>
          <a:p>
            <a:r>
              <a:rPr lang="en-US" b="1" dirty="0">
                <a:latin typeface="Cambria" panose="02040503050406030204" pitchFamily="18" charset="0"/>
                <a:ea typeface="Cambria" panose="02040503050406030204" pitchFamily="18" charset="0"/>
              </a:rPr>
              <a:t>HPV One Dose Vaccination: Evidence, lessons learned from </a:t>
            </a:r>
            <a:r>
              <a:rPr lang="en-US" b="1" u="sng" dirty="0">
                <a:latin typeface="Cambria" panose="02040503050406030204" pitchFamily="18" charset="0"/>
                <a:ea typeface="Cambria" panose="02040503050406030204" pitchFamily="18" charset="0"/>
              </a:rPr>
              <a:t>Guyana</a:t>
            </a:r>
            <a:r>
              <a:rPr lang="en-US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pic>
        <p:nvPicPr>
          <p:cNvPr id="2" name="Picture 1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6A473A8E-89B3-4A3C-BD4F-BFD231C95A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4303" y="5809171"/>
            <a:ext cx="3316255" cy="926493"/>
          </a:xfrm>
          <a:prstGeom prst="rect">
            <a:avLst/>
          </a:prstGeom>
        </p:spPr>
      </p:pic>
      <p:pic>
        <p:nvPicPr>
          <p:cNvPr id="6" name="Picture 5" descr="Flag of Guyana - Wikipedia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9659" y="2178723"/>
            <a:ext cx="847367" cy="4551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80280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Histor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HPV Vaccine Delivery </a:t>
            </a:r>
          </a:p>
        </p:txBody>
      </p:sp>
      <p:graphicFrame>
        <p:nvGraphicFramePr>
          <p:cNvPr id="6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159779"/>
              </p:ext>
            </p:extLst>
          </p:nvPr>
        </p:nvGraphicFramePr>
        <p:xfrm>
          <a:off x="949325" y="2209800"/>
          <a:ext cx="10293350" cy="30527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645419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Delivery Methods</a:t>
            </a:r>
          </a:p>
        </p:txBody>
      </p:sp>
      <p:graphicFrame>
        <p:nvGraphicFramePr>
          <p:cNvPr id="7" name="Content Placeholder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618465047"/>
              </p:ext>
            </p:extLst>
          </p:nvPr>
        </p:nvGraphicFramePr>
        <p:xfrm>
          <a:off x="839788" y="2505075"/>
          <a:ext cx="5157787" cy="36845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F67E5-730B-4B3A-9A58-41E5E3F0691E}" type="slidenum">
              <a:rPr lang="en-US" smtClean="0"/>
              <a:pPr/>
              <a:t>6</a:t>
            </a:fld>
            <a:endParaRPr lang="en-US"/>
          </a:p>
        </p:txBody>
      </p:sp>
      <p:graphicFrame>
        <p:nvGraphicFramePr>
          <p:cNvPr id="10" name="Content Placeholder 8">
            <a:extLst>
              <a:ext uri="{FF2B5EF4-FFF2-40B4-BE49-F238E27FC236}">
                <a16:creationId xmlns:a16="http://schemas.microsoft.com/office/drawing/2014/main" id="{148027FE-2041-497F-122B-435738880454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505104427"/>
              </p:ext>
            </p:extLst>
          </p:nvPr>
        </p:nvGraphicFramePr>
        <p:xfrm>
          <a:off x="6172200" y="2505075"/>
          <a:ext cx="5183188" cy="3684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8191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National coverage 9-13 boys /girls[ excludes 14-15] 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72679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39937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Accumulative regional coverage boys /girls </a:t>
            </a: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468568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99238" y="2686927"/>
            <a:ext cx="4830443" cy="3053038"/>
          </a:xfrm>
        </p:spPr>
        <p:txBody>
          <a:bodyPr>
            <a:normAutofit/>
          </a:bodyPr>
          <a:lstStyle/>
          <a:p>
            <a:pPr algn="ctr">
              <a:lnSpc>
                <a:spcPct val="200000"/>
              </a:lnSpc>
            </a:pPr>
            <a:r>
              <a:rPr lang="en-US" sz="200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otal 1</a:t>
            </a:r>
            <a:r>
              <a:rPr lang="en-US" sz="2000" baseline="3000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</a:t>
            </a:r>
            <a:r>
              <a:rPr lang="en-US" sz="200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oses – 20,403</a:t>
            </a:r>
          </a:p>
          <a:p>
            <a:pPr lvl="1" algn="ctr" fontAlgn="ctr">
              <a:lnSpc>
                <a:spcPct val="200000"/>
              </a:lnSpc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9 to 15 Years  - 8,911</a:t>
            </a:r>
          </a:p>
          <a:p>
            <a:pPr lvl="1" algn="ctr" fontAlgn="ctr">
              <a:lnSpc>
                <a:spcPct val="200000"/>
              </a:lnSpc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16 to 21 Years  - </a:t>
            </a: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2,769</a:t>
            </a: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1" algn="ctr" fontAlgn="ctr">
              <a:lnSpc>
                <a:spcPct val="200000"/>
              </a:lnSpc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22 to 45 Years – </a:t>
            </a: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8,723</a:t>
            </a: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17352" y="1893115"/>
            <a:ext cx="4780109" cy="609600"/>
          </a:xfrm>
        </p:spPr>
        <p:txBody>
          <a:bodyPr/>
          <a:lstStyle/>
          <a:p>
            <a:pPr algn="ctr"/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1</a:t>
            </a:r>
            <a:r>
              <a:rPr lang="en-US" baseline="30000" dirty="0">
                <a:latin typeface="Cambria" panose="02040503050406030204" pitchFamily="18" charset="0"/>
                <a:ea typeface="Cambria" panose="02040503050406030204" pitchFamily="18" charset="0"/>
              </a:rPr>
              <a:t>st</a:t>
            </a: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 Dose Administer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HPV Vaccine Doses Administered April to October 20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7359147" y="1863015"/>
            <a:ext cx="4247626" cy="823912"/>
          </a:xfrm>
        </p:spPr>
        <p:txBody>
          <a:bodyPr>
            <a:normAutofit fontScale="92500"/>
          </a:bodyPr>
          <a:lstStyle/>
          <a:p>
            <a:pPr algn="ctr"/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2</a:t>
            </a:r>
            <a:r>
              <a:rPr lang="en-US" baseline="30000" dirty="0">
                <a:latin typeface="Cambria" panose="02040503050406030204" pitchFamily="18" charset="0"/>
                <a:ea typeface="Cambria" panose="02040503050406030204" pitchFamily="18" charset="0"/>
              </a:rPr>
              <a:t>nd</a:t>
            </a:r>
            <a:r>
              <a:rPr lang="en-US" dirty="0">
                <a:latin typeface="Cambria" panose="02040503050406030204" pitchFamily="18" charset="0"/>
                <a:ea typeface="Cambria" panose="02040503050406030204" pitchFamily="18" charset="0"/>
              </a:rPr>
              <a:t> Dose Administere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294967295"/>
          </p:nvPr>
        </p:nvSpPr>
        <p:spPr>
          <a:xfrm>
            <a:off x="6547418" y="2502715"/>
            <a:ext cx="5183187" cy="3851275"/>
          </a:xfrm>
        </p:spPr>
        <p:txBody>
          <a:bodyPr>
            <a:normAutofit/>
          </a:bodyPr>
          <a:lstStyle/>
          <a:p>
            <a:pPr algn="ctr" fontAlgn="ctr">
              <a:lnSpc>
                <a:spcPct val="200000"/>
              </a:lnSpc>
            </a:pPr>
            <a:r>
              <a:rPr lang="en-US" sz="200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otal 2</a:t>
            </a:r>
            <a:r>
              <a:rPr lang="en-US" sz="2000" baseline="3000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d</a:t>
            </a:r>
            <a:r>
              <a:rPr lang="en-US" sz="2000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oses – 3,369</a:t>
            </a:r>
          </a:p>
          <a:p>
            <a:pPr lvl="1" algn="ctr" fontAlgn="ctr">
              <a:lnSpc>
                <a:spcPct val="200000"/>
              </a:lnSpc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9 to 15 Years  - 0</a:t>
            </a:r>
          </a:p>
          <a:p>
            <a:pPr lvl="1" algn="ctr" fontAlgn="ctr">
              <a:lnSpc>
                <a:spcPct val="200000"/>
              </a:lnSpc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16 to 21 Years  - </a:t>
            </a: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1,183</a:t>
            </a: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1" algn="ctr" fontAlgn="ctr">
              <a:lnSpc>
                <a:spcPct val="200000"/>
              </a:lnSpc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22 to 45 Years – 2,186</a:t>
            </a:r>
            <a:endParaRPr lang="en-US" sz="2000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lvl="1" fontAlgn="ctr">
              <a:lnSpc>
                <a:spcPct val="20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924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nked_Blue_2022">
  <a:themeElements>
    <a:clrScheme name="Custom 10">
      <a:dk1>
        <a:srgbClr val="313233"/>
      </a:dk1>
      <a:lt1>
        <a:srgbClr val="FFFFFF"/>
      </a:lt1>
      <a:dk2>
        <a:srgbClr val="313233"/>
      </a:dk2>
      <a:lt2>
        <a:srgbClr val="FFFFFF"/>
      </a:lt2>
      <a:accent1>
        <a:srgbClr val="1070B8"/>
      </a:accent1>
      <a:accent2>
        <a:srgbClr val="13A89E"/>
      </a:accent2>
      <a:accent3>
        <a:srgbClr val="50AED6"/>
      </a:accent3>
      <a:accent4>
        <a:srgbClr val="39A962"/>
      </a:accent4>
      <a:accent5>
        <a:srgbClr val="666666"/>
      </a:accent5>
      <a:accent6>
        <a:srgbClr val="EF5B03"/>
      </a:accent6>
      <a:hlink>
        <a:srgbClr val="1070B8"/>
      </a:hlink>
      <a:folHlink>
        <a:srgbClr val="13A89E"/>
      </a:folHlink>
    </a:clrScheme>
    <a:fontScheme name="Custom 1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4D PowerPoint Template" id="{5A079F09-AB7A-4D69-B352-EE37D95DFAFE}" vid="{9382E6BB-BF34-47B1-947A-7B9073643827}"/>
    </a:ext>
  </a:extLst>
</a:theme>
</file>

<file path=ppt/theme/theme2.xml><?xml version="1.0" encoding="utf-8"?>
<a:theme xmlns:a="http://schemas.openxmlformats.org/drawingml/2006/main" name="SoM">
  <a:themeElements>
    <a:clrScheme name="SoM">
      <a:dk1>
        <a:srgbClr val="1D1856"/>
      </a:dk1>
      <a:lt1>
        <a:srgbClr val="FFFFFF"/>
      </a:lt1>
      <a:dk2>
        <a:srgbClr val="4B7DFF"/>
      </a:dk2>
      <a:lt2>
        <a:srgbClr val="E7EBEB"/>
      </a:lt2>
      <a:accent1>
        <a:srgbClr val="4B7DFF"/>
      </a:accent1>
      <a:accent2>
        <a:srgbClr val="FBB116"/>
      </a:accent2>
      <a:accent3>
        <a:srgbClr val="E67B3E"/>
      </a:accent3>
      <a:accent4>
        <a:srgbClr val="667B35"/>
      </a:accent4>
      <a:accent5>
        <a:srgbClr val="84B95B"/>
      </a:accent5>
      <a:accent6>
        <a:srgbClr val="86C3EB"/>
      </a:accent6>
      <a:hlink>
        <a:srgbClr val="0064FF"/>
      </a:hlink>
      <a:folHlink>
        <a:srgbClr val="86C3EB"/>
      </a:folHlink>
    </a:clrScheme>
    <a:fontScheme name="Roboto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017" cap="flat">
          <a:noFill/>
          <a:prstDash val="solid"/>
          <a:miter/>
        </a:ln>
      </a:spPr>
      <a:bodyPr rtlCol="0" anchor="ctr"/>
      <a:lstStyle>
        <a:defPPr algn="l">
          <a:defRPr>
            <a:solidFill>
              <a:schemeClr val="accent2"/>
            </a:solidFill>
          </a:defRPr>
        </a:defPPr>
      </a:lstStyle>
    </a:spDef>
    <a:lnDef>
      <a:spPr>
        <a:ln w="2857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9" id="{3F32AAF5-B6E5-4B43-BFC0-2480DA58D687}" vid="{56C10282-E7D8-984F-B870-92529CB24B8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b27da4-2e3e-416a-a040-6d0b2e3a2039">
      <Terms xmlns="http://schemas.microsoft.com/office/infopath/2007/PartnerControls"/>
    </lcf76f155ced4ddcb4097134ff3c332f>
    <TaxCatchAll xmlns="a6b7a42b-578f-4fd1-9d67-5a3066b9c5a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6FE10225DE664B90ECA796EE42F5B4" ma:contentTypeVersion="19" ma:contentTypeDescription="Create a new document." ma:contentTypeScope="" ma:versionID="11c98c7be4b19e814abce4ccf5389628">
  <xsd:schema xmlns:xsd="http://www.w3.org/2001/XMLSchema" xmlns:xs="http://www.w3.org/2001/XMLSchema" xmlns:p="http://schemas.microsoft.com/office/2006/metadata/properties" xmlns:ns2="bcb27da4-2e3e-416a-a040-6d0b2e3a2039" xmlns:ns3="a6b7a42b-578f-4fd1-9d67-5a3066b9c5a5" targetNamespace="http://schemas.microsoft.com/office/2006/metadata/properties" ma:root="true" ma:fieldsID="74ffbbad23b780b7928ca1a27605d123" ns2:_="" ns3:_="">
    <xsd:import namespace="bcb27da4-2e3e-416a-a040-6d0b2e3a2039"/>
    <xsd:import namespace="a6b7a42b-578f-4fd1-9d67-5a3066b9c5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27da4-2e3e-416a-a040-6d0b2e3a20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a65aa6-ac8d-46e4-9aa8-b40f8e8101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b7a42b-578f-4fd1-9d67-5a3066b9c5a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851e4de-f63a-4e75-992f-a8dbd26a3671}" ma:internalName="TaxCatchAll" ma:showField="CatchAllData" ma:web="a6b7a42b-578f-4fd1-9d67-5a3066b9c5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avi Document" ma:contentTypeID="0x0101009954897F3EE3CC4ABB9FB9EDAC9CDEBC00829077562E4B4F4F98F681ADDADB1D0F" ma:contentTypeVersion="167" ma:contentTypeDescription="Gavi Document content type " ma:contentTypeScope="" ma:versionID="676d1dae38ff63385bed2cfe9a8ee424">
  <xsd:schema xmlns:xsd="http://www.w3.org/2001/XMLSchema" xmlns:xs="http://www.w3.org/2001/XMLSchema" xmlns:p="http://schemas.microsoft.com/office/2006/metadata/properties" xmlns:ns2="700359ba-e36c-422a-9925-ddada98091a9" xmlns:ns3="d0706217-df7c-4bf4-936d-b09aa3b837af" xmlns:ns4="a0d399e1-4586-4335-9383-7d9098bfc9ba" targetNamespace="http://schemas.microsoft.com/office/2006/metadata/properties" ma:root="true" ma:fieldsID="fa4285699c144fa7076f0a95edac858d" ns2:_="" ns3:_="" ns4:_="">
    <xsd:import namespace="700359ba-e36c-422a-9925-ddada98091a9"/>
    <xsd:import namespace="d0706217-df7c-4bf4-936d-b09aa3b837af"/>
    <xsd:import namespace="a0d399e1-4586-4335-9383-7d9098bfc9ba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TaxCatchAll" minOccurs="0"/>
                <xsd:element ref="ns3:TaxCatchAllLabel" minOccurs="0"/>
                <xsd:element ref="ns4:MediaServiceAutoKeyPoints" minOccurs="0"/>
                <xsd:element ref="ns4:MediaServiceKeyPoints" minOccurs="0"/>
                <xsd:element ref="ns4:_Flow_SignoffStatus" minOccurs="0"/>
                <xsd:element ref="ns4:MediaLengthInSeconds" minOccurs="0"/>
                <xsd:element ref="ns4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0359ba-e36c-422a-9925-ddada98091a9" elementFormDefault="qualified">
    <xsd:import namespace="http://schemas.microsoft.com/office/2006/documentManagement/types"/>
    <xsd:import namespace="http://schemas.microsoft.com/office/infopath/2007/PartnerControls"/>
    <xsd:element name="_dlc_DocId" ma:index="3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4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5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706217-df7c-4bf4-936d-b09aa3b837af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description="" ma:hidden="true" ma:list="{be8d0b83-5287-4986-bb7f-bce56a97355c}" ma:internalName="TaxCatchAll" ma:showField="CatchAllData" ma:web="700359ba-e36c-422a-9925-ddada98091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description="" ma:hidden="true" ma:list="{be8d0b83-5287-4986-bb7f-bce56a97355c}" ma:internalName="TaxCatchAllLabel" ma:readOnly="true" ma:showField="CatchAllDataLabel" ma:web="700359ba-e36c-422a-9925-ddada98091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d399e1-4586-4335-9383-7d9098bfc9ba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15" nillable="true" ma:displayName="Sign-off status" ma:internalName="Sign_x002d_off_x0020_status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3cb0222-e980-4273-ad97-85dba3159c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haredContentType xmlns="Microsoft.SharePoint.Taxonomy.ContentTypeSync" SourceId="93cb0222-e980-4273-ad97-85dba3159c09" ContentTypeId="0x0101009954897F3EE3CC4ABB9FB9EDAC9CDEBC" PreviousValue="false"/>
</file>

<file path=customXml/itemProps1.xml><?xml version="1.0" encoding="utf-8"?>
<ds:datastoreItem xmlns:ds="http://schemas.openxmlformats.org/officeDocument/2006/customXml" ds:itemID="{8044C96D-306F-431B-823E-721AE4113A45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d0706217-df7c-4bf4-936d-b09aa3b837af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a0d399e1-4586-4335-9383-7d9098bfc9ba"/>
    <ds:schemaRef ds:uri="700359ba-e36c-422a-9925-ddada98091a9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3FF18BE-A003-45CA-85CA-5DE2EA8698CF}"/>
</file>

<file path=customXml/itemProps3.xml><?xml version="1.0" encoding="utf-8"?>
<ds:datastoreItem xmlns:ds="http://schemas.openxmlformats.org/officeDocument/2006/customXml" ds:itemID="{123DA177-8D3E-4625-BA92-2753D827CD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0359ba-e36c-422a-9925-ddada98091a9"/>
    <ds:schemaRef ds:uri="d0706217-df7c-4bf4-936d-b09aa3b837af"/>
    <ds:schemaRef ds:uri="a0d399e1-4586-4335-9383-7d9098bfc9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F37963BA-3110-44C4-A6D6-44DDB69B39B5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05254FB4-1A98-4FFC-B8FD-84514397A857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776</TotalTime>
  <Words>1324</Words>
  <Application>Microsoft Office PowerPoint</Application>
  <PresentationFormat>Widescreen</PresentationFormat>
  <Paragraphs>213</Paragraphs>
  <Slides>3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7" baseType="lpstr">
      <vt:lpstr>Arial</vt:lpstr>
      <vt:lpstr>Calibri</vt:lpstr>
      <vt:lpstr>Cambria</vt:lpstr>
      <vt:lpstr>Courier New</vt:lpstr>
      <vt:lpstr>Poppins</vt:lpstr>
      <vt:lpstr>Poppins SemiBold</vt:lpstr>
      <vt:lpstr>Roboto</vt:lpstr>
      <vt:lpstr>Roboto Light</vt:lpstr>
      <vt:lpstr>Roboto Medium</vt:lpstr>
      <vt:lpstr>Wingdings</vt:lpstr>
      <vt:lpstr>Linked_Blue_2022</vt:lpstr>
      <vt:lpstr>SoM</vt:lpstr>
      <vt:lpstr>think-cell Slide</vt:lpstr>
      <vt:lpstr>One-dose HPV vaccination webinar: Evidence, lessons learned and strategies with experiences from Guyana and Estonia</vt:lpstr>
      <vt:lpstr>Welcome! </vt:lpstr>
      <vt:lpstr>Agenda </vt:lpstr>
      <vt:lpstr>HPV One Dose Vaccination: Evidence, lessons learned from Guyana </vt:lpstr>
      <vt:lpstr>HPV Vaccine Delivery </vt:lpstr>
      <vt:lpstr>Delivery Methods</vt:lpstr>
      <vt:lpstr>National coverage 9-13 boys /girls[ excludes 14-15] </vt:lpstr>
      <vt:lpstr>Accumulative regional coverage boys /girls </vt:lpstr>
      <vt:lpstr>HPV Vaccine Doses Administered April to October 2024</vt:lpstr>
      <vt:lpstr>Why single dose strategy ?</vt:lpstr>
      <vt:lpstr>Reviewing the evidence and making the case for one dose  </vt:lpstr>
      <vt:lpstr>Approach: leveraging social media to address HPV vaccine hesitancy </vt:lpstr>
      <vt:lpstr>Context: HPV vaccine hesitancy in Guyana </vt:lpstr>
      <vt:lpstr>Approach: leveraging social media to address HPV vaccine hesitancy </vt:lpstr>
      <vt:lpstr>Challenges &amp; Lessons learned</vt:lpstr>
      <vt:lpstr>2024 Campaign Material [ samples] </vt:lpstr>
      <vt:lpstr>Approach: leveraging social media to address HPV vaccine hesitancy [ 2024 promotion ]</vt:lpstr>
      <vt:lpstr>Approach: leveraging social media to address HPV vaccine hesitancy [ 2024 promotion ]</vt:lpstr>
      <vt:lpstr>Approach: leveraging social media to address HPV vaccine hesitancy [ 2024 promotion ]</vt:lpstr>
      <vt:lpstr>Approach: leveraging social media to address HPV vaccine hesitancy [ 2024 promotion ]</vt:lpstr>
      <vt:lpstr>      Questions ? </vt:lpstr>
      <vt:lpstr>One-dose HPV vaccination—Estonian experience</vt:lpstr>
      <vt:lpstr>Health system in Estonia</vt:lpstr>
      <vt:lpstr>Before 2024</vt:lpstr>
      <vt:lpstr>Why we wanted to change NIP?</vt:lpstr>
      <vt:lpstr>Since 01.02.2024</vt:lpstr>
      <vt:lpstr>Why the change?</vt:lpstr>
      <vt:lpstr>Communication</vt:lpstr>
      <vt:lpstr>Response</vt:lpstr>
      <vt:lpstr>Fears</vt:lpstr>
      <vt:lpstr>PowerPoint Presentation</vt:lpstr>
      <vt:lpstr>Thank you for listening!</vt:lpstr>
      <vt:lpstr>Facilitated discussion</vt:lpstr>
      <vt:lpstr>Thank you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nked Immunisation Action Network Presentation Template</dc:title>
  <dc:creator>Christina Shaw</dc:creator>
  <cp:lastModifiedBy>Colleen Keating</cp:lastModifiedBy>
  <cp:revision>56</cp:revision>
  <dcterms:created xsi:type="dcterms:W3CDTF">2022-02-07T18:36:26Z</dcterms:created>
  <dcterms:modified xsi:type="dcterms:W3CDTF">2024-10-09T11:5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54897F3EE3CC4ABB9FB9EDAC9CDEBC00829077562E4B4F4F98F681ADDADB1D0F</vt:lpwstr>
  </property>
  <property fmtid="{D5CDD505-2E9C-101B-9397-08002B2CF9AE}" pid="3" name="MediaServiceImageTags">
    <vt:lpwstr/>
  </property>
  <property fmtid="{D5CDD505-2E9C-101B-9397-08002B2CF9AE}" pid="4" name="MSIP_Label_8f5e72d3-b6ef-4c9c-b371-eb3c79f627ee_Enabled">
    <vt:lpwstr>true</vt:lpwstr>
  </property>
  <property fmtid="{D5CDD505-2E9C-101B-9397-08002B2CF9AE}" pid="5" name="MSIP_Label_8f5e72d3-b6ef-4c9c-b371-eb3c79f627ee_SetDate">
    <vt:lpwstr>2023-02-02T22:52:20Z</vt:lpwstr>
  </property>
  <property fmtid="{D5CDD505-2E9C-101B-9397-08002B2CF9AE}" pid="6" name="MSIP_Label_8f5e72d3-b6ef-4c9c-b371-eb3c79f627ee_Method">
    <vt:lpwstr>Privileged</vt:lpwstr>
  </property>
  <property fmtid="{D5CDD505-2E9C-101B-9397-08002B2CF9AE}" pid="7" name="MSIP_Label_8f5e72d3-b6ef-4c9c-b371-eb3c79f627ee_Name">
    <vt:lpwstr>8f5e72d3-b6ef-4c9c-b371-eb3c79f627ee</vt:lpwstr>
  </property>
  <property fmtid="{D5CDD505-2E9C-101B-9397-08002B2CF9AE}" pid="8" name="MSIP_Label_8f5e72d3-b6ef-4c9c-b371-eb3c79f627ee_SiteId">
    <vt:lpwstr>1de6d9f3-0daf-4df6-b9d6-5959f16f6118</vt:lpwstr>
  </property>
  <property fmtid="{D5CDD505-2E9C-101B-9397-08002B2CF9AE}" pid="9" name="MSIP_Label_8f5e72d3-b6ef-4c9c-b371-eb3c79f627ee_ActionId">
    <vt:lpwstr>bb5ef9b2-0556-4729-96c6-000037fdadd1</vt:lpwstr>
  </property>
  <property fmtid="{D5CDD505-2E9C-101B-9397-08002B2CF9AE}" pid="10" name="MSIP_Label_8f5e72d3-b6ef-4c9c-b371-eb3c79f627ee_ContentBits">
    <vt:lpwstr>1</vt:lpwstr>
  </property>
  <property fmtid="{D5CDD505-2E9C-101B-9397-08002B2CF9AE}" pid="11" name="kfa83adfad8641678ddaedda80d7e126">
    <vt:lpwstr/>
  </property>
  <property fmtid="{D5CDD505-2E9C-101B-9397-08002B2CF9AE}" pid="12" name="_dlc_DocIdItemGuid">
    <vt:lpwstr>6692b0e4-d217-455e-9e1c-5d3286fec4eb</vt:lpwstr>
  </property>
  <property fmtid="{D5CDD505-2E9C-101B-9397-08002B2CF9AE}" pid="13" name="Test">
    <vt:lpwstr/>
  </property>
</Properties>
</file>